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8.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2" r:id="rId1"/>
    <p:sldMasterId id="2147483688" r:id="rId2"/>
    <p:sldMasterId id="2147483717" r:id="rId3"/>
    <p:sldMasterId id="2147483737" r:id="rId4"/>
    <p:sldMasterId id="2147483741" r:id="rId5"/>
    <p:sldMasterId id="2147483760" r:id="rId6"/>
    <p:sldMasterId id="2147483781" r:id="rId7"/>
    <p:sldMasterId id="2147483808" r:id="rId8"/>
    <p:sldMasterId id="2147483855" r:id="rId9"/>
    <p:sldMasterId id="2147483864" r:id="rId10"/>
  </p:sldMasterIdLst>
  <p:notesMasterIdLst>
    <p:notesMasterId r:id="rId32"/>
  </p:notesMasterIdLst>
  <p:handoutMasterIdLst>
    <p:handoutMasterId r:id="rId33"/>
  </p:handoutMasterIdLst>
  <p:sldIdLst>
    <p:sldId id="735" r:id="rId11"/>
    <p:sldId id="571" r:id="rId12"/>
    <p:sldId id="640" r:id="rId13"/>
    <p:sldId id="686" r:id="rId14"/>
    <p:sldId id="690" r:id="rId15"/>
    <p:sldId id="688" r:id="rId16"/>
    <p:sldId id="689" r:id="rId17"/>
    <p:sldId id="692" r:id="rId18"/>
    <p:sldId id="693" r:id="rId19"/>
    <p:sldId id="708" r:id="rId20"/>
    <p:sldId id="734" r:id="rId21"/>
    <p:sldId id="699" r:id="rId22"/>
    <p:sldId id="711" r:id="rId23"/>
    <p:sldId id="697" r:id="rId24"/>
    <p:sldId id="713" r:id="rId25"/>
    <p:sldId id="724" r:id="rId26"/>
    <p:sldId id="695" r:id="rId27"/>
    <p:sldId id="714" r:id="rId28"/>
    <p:sldId id="715" r:id="rId29"/>
    <p:sldId id="730" r:id="rId30"/>
    <p:sldId id="733" r:id="rId31"/>
  </p:sldIdLst>
  <p:sldSz cx="9144000" cy="5143500" type="screen16x9"/>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Y 1" id="{626DE230-4E9B-4743-A58C-7F0A7057FF87}">
          <p14:sldIdLst>
            <p14:sldId id="735"/>
            <p14:sldId id="571"/>
            <p14:sldId id="640"/>
            <p14:sldId id="686"/>
            <p14:sldId id="690"/>
            <p14:sldId id="688"/>
            <p14:sldId id="689"/>
            <p14:sldId id="692"/>
            <p14:sldId id="693"/>
            <p14:sldId id="708"/>
            <p14:sldId id="734"/>
            <p14:sldId id="699"/>
            <p14:sldId id="711"/>
            <p14:sldId id="697"/>
            <p14:sldId id="713"/>
            <p14:sldId id="724"/>
            <p14:sldId id="695"/>
            <p14:sldId id="714"/>
            <p14:sldId id="715"/>
            <p14:sldId id="730"/>
            <p14:sldId id="73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1202">
          <p15:clr>
            <a:srgbClr val="A4A3A4"/>
          </p15:clr>
        </p15:guide>
        <p15:guide id="4" pos="197">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eto_Davila,Cesar (COps CEE) BIG-DE-I" initials="N(CB" lastIdx="3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CCECFF"/>
    <a:srgbClr val="CCCCFF"/>
    <a:srgbClr val="FFFFFF"/>
    <a:srgbClr val="92D050"/>
    <a:srgbClr val="EAEAEA"/>
    <a:srgbClr val="000000"/>
    <a:srgbClr val="0072BB"/>
    <a:srgbClr val="8B0B27"/>
    <a:srgbClr val="005C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8"/>
    <p:restoredTop sz="76605" autoAdjust="0"/>
  </p:normalViewPr>
  <p:slideViewPr>
    <p:cSldViewPr snapToGrid="0">
      <p:cViewPr varScale="1">
        <p:scale>
          <a:sx n="81" d="100"/>
          <a:sy n="81" d="100"/>
        </p:scale>
        <p:origin x="1016" y="176"/>
      </p:cViewPr>
      <p:guideLst>
        <p:guide orient="horz" pos="1620"/>
        <p:guide pos="2880"/>
        <p:guide orient="horz" pos="1202"/>
        <p:guide pos="19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47" d="100"/>
          <a:sy n="47" d="100"/>
        </p:scale>
        <p:origin x="-282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0590F435-3D86-4DDB-A9B4-5DC104966776}" type="datetimeFigureOut">
              <a:rPr lang="en-GB" smtClean="0"/>
              <a:t>24/10/2018</a:t>
            </a:fld>
            <a:endParaRPr lang="en-GB"/>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7459C120-40D7-4C4B-A68F-30898706D34C}" type="slidenum">
              <a:rPr lang="en-GB" smtClean="0"/>
              <a:t>‹#›</a:t>
            </a:fld>
            <a:endParaRPr lang="en-GB"/>
          </a:p>
        </p:txBody>
      </p:sp>
    </p:spTree>
    <p:extLst>
      <p:ext uri="{BB962C8B-B14F-4D97-AF65-F5344CB8AC3E}">
        <p14:creationId xmlns:p14="http://schemas.microsoft.com/office/powerpoint/2010/main" val="340199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6E0B35A-FDEA-419F-AC6A-A07DB929B75C}" type="datetimeFigureOut">
              <a:rPr lang="en-GB" smtClean="0"/>
              <a:t>24/10/2018</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4C53297D-E234-4F1D-BB6C-981FBC7E1B8E}" type="slidenum">
              <a:rPr lang="en-GB" smtClean="0"/>
              <a:t>‹#›</a:t>
            </a:fld>
            <a:endParaRPr lang="en-GB"/>
          </a:p>
        </p:txBody>
      </p:sp>
    </p:spTree>
    <p:extLst>
      <p:ext uri="{BB962C8B-B14F-4D97-AF65-F5344CB8AC3E}">
        <p14:creationId xmlns:p14="http://schemas.microsoft.com/office/powerpoint/2010/main" val="3683316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6031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2</a:t>
            </a:fld>
            <a:endParaRPr lang="en-GB"/>
          </a:p>
        </p:txBody>
      </p:sp>
    </p:spTree>
    <p:extLst>
      <p:ext uri="{BB962C8B-B14F-4D97-AF65-F5344CB8AC3E}">
        <p14:creationId xmlns:p14="http://schemas.microsoft.com/office/powerpoint/2010/main" val="2040126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3</a:t>
            </a:fld>
            <a:endParaRPr lang="en-GB"/>
          </a:p>
        </p:txBody>
      </p:sp>
    </p:spTree>
    <p:extLst>
      <p:ext uri="{BB962C8B-B14F-4D97-AF65-F5344CB8AC3E}">
        <p14:creationId xmlns:p14="http://schemas.microsoft.com/office/powerpoint/2010/main" val="2040126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5</a:t>
            </a:fld>
            <a:endParaRPr lang="en-GB"/>
          </a:p>
        </p:txBody>
      </p:sp>
    </p:spTree>
    <p:extLst>
      <p:ext uri="{BB962C8B-B14F-4D97-AF65-F5344CB8AC3E}">
        <p14:creationId xmlns:p14="http://schemas.microsoft.com/office/powerpoint/2010/main" val="2040126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6</a:t>
            </a:fld>
            <a:endParaRPr lang="en-GB"/>
          </a:p>
        </p:txBody>
      </p:sp>
    </p:spTree>
    <p:extLst>
      <p:ext uri="{BB962C8B-B14F-4D97-AF65-F5344CB8AC3E}">
        <p14:creationId xmlns:p14="http://schemas.microsoft.com/office/powerpoint/2010/main" val="2040126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9</a:t>
            </a:fld>
            <a:endParaRPr lang="en-GB"/>
          </a:p>
        </p:txBody>
      </p:sp>
    </p:spTree>
    <p:extLst>
      <p:ext uri="{BB962C8B-B14F-4D97-AF65-F5344CB8AC3E}">
        <p14:creationId xmlns:p14="http://schemas.microsoft.com/office/powerpoint/2010/main" val="4762416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57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CD58A7-436D-4BAE-B893-5C96FF91E82B}"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134705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CD58A7-436D-4BAE-B893-5C96FF91E82B}"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34705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0</a:t>
            </a:fld>
            <a:endParaRPr lang="en-GB"/>
          </a:p>
        </p:txBody>
      </p:sp>
    </p:spTree>
    <p:extLst>
      <p:ext uri="{BB962C8B-B14F-4D97-AF65-F5344CB8AC3E}">
        <p14:creationId xmlns:p14="http://schemas.microsoft.com/office/powerpoint/2010/main" val="2040126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53297D-E234-4F1D-BB6C-981FBC7E1B8E}" type="slidenum">
              <a:rPr lang="en-GB" smtClean="0"/>
              <a:t>11</a:t>
            </a:fld>
            <a:endParaRPr lang="en-GB"/>
          </a:p>
        </p:txBody>
      </p:sp>
    </p:spTree>
    <p:extLst>
      <p:ext uri="{BB962C8B-B14F-4D97-AF65-F5344CB8AC3E}">
        <p14:creationId xmlns:p14="http://schemas.microsoft.com/office/powerpoint/2010/main" val="20401262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3.png"/><Relationship Id="rId5" Type="http://schemas.openxmlformats.org/officeDocument/2006/relationships/image" Target="../media/image34.emf"/><Relationship Id="rId4" Type="http://schemas.openxmlformats.org/officeDocument/2006/relationships/oleObject" Target="../embeddings/oleObject4.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9.xml"/><Relationship Id="rId4" Type="http://schemas.openxmlformats.org/officeDocument/2006/relationships/image" Target="../media/image45.png"/></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3.png"/><Relationship Id="rId5" Type="http://schemas.openxmlformats.org/officeDocument/2006/relationships/image" Target="../media/image46.emf"/><Relationship Id="rId4" Type="http://schemas.openxmlformats.org/officeDocument/2006/relationships/oleObject" Target="../embeddings/oleObject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7.emf"/><Relationship Id="rId4" Type="http://schemas.openxmlformats.org/officeDocument/2006/relationships/oleObject" Target="../embeddings/oleObject6.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3.png"/><Relationship Id="rId4" Type="http://schemas.microsoft.com/office/2007/relationships/hdphoto" Target="../media/hdphoto1.wdp"/></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1.png"/><Relationship Id="rId4" Type="http://schemas.microsoft.com/office/2007/relationships/hdphoto" Target="../media/hdphoto1.wdp"/></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1.png"/><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1.wdp"/><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3.png"/><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1.png"/><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11.png"/><Relationship Id="rId4" Type="http://schemas.microsoft.com/office/2007/relationships/hdphoto" Target="../media/hdphoto1.wdp"/></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31.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5.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4.png"/><Relationship Id="rId5" Type="http://schemas.openxmlformats.org/officeDocument/2006/relationships/image" Target="../media/image34.emf"/><Relationship Id="rId4" Type="http://schemas.openxmlformats.org/officeDocument/2006/relationships/oleObject" Target="../embeddings/oleObject3.bin"/></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3"/>
          <a:srcRect l="18520"/>
          <a:stretch/>
        </p:blipFill>
        <p:spPr>
          <a:xfrm>
            <a:off x="0" y="1667144"/>
            <a:ext cx="1927209" cy="3154686"/>
          </a:xfrm>
          <a:prstGeom prst="rect">
            <a:avLst/>
          </a:prstGeom>
        </p:spPr>
      </p:pic>
      <p:pic>
        <p:nvPicPr>
          <p:cNvPr id="9" name="Picture 8"/>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13" name="Picture 12"/>
          <p:cNvPicPr>
            <a:picLocks noChangeAspect="1"/>
          </p:cNvPicPr>
          <p:nvPr userDrawn="1"/>
        </p:nvPicPr>
        <p:blipFill rotWithShape="1">
          <a:blip r:embed="rId6"/>
          <a:srcRect t="48080"/>
          <a:stretch/>
        </p:blipFill>
        <p:spPr>
          <a:xfrm>
            <a:off x="6490277" y="0"/>
            <a:ext cx="2368301" cy="1368881"/>
          </a:xfrm>
          <a:prstGeom prst="rect">
            <a:avLst/>
          </a:prstGeom>
        </p:spPr>
      </p:pic>
      <p:sp>
        <p:nvSpPr>
          <p:cNvPr id="17" name="Rectangle 4"/>
          <p:cNvSpPr>
            <a:spLocks noGrp="1" noChangeArrowheads="1"/>
          </p:cNvSpPr>
          <p:nvPr>
            <p:ph type="subTitle" idx="1" hasCustomPrompt="1"/>
          </p:nvPr>
        </p:nvSpPr>
        <p:spPr bwMode="white">
          <a:xfrm>
            <a:off x="3131467" y="3931786"/>
            <a:ext cx="5560692" cy="611789"/>
          </a:xfrm>
        </p:spPr>
        <p:txBody>
          <a:bodyPr wrap="square">
            <a:noAutofit/>
          </a:bodyPr>
          <a:lstStyle>
            <a:lvl1pPr>
              <a:spcBef>
                <a:spcPts val="600"/>
              </a:spcBef>
              <a:defRPr sz="2000" baseline="0">
                <a:solidFill>
                  <a:schemeClr val="bg1"/>
                </a:solidFill>
                <a:sym typeface="Symbol" pitchFamily="18" charset="2"/>
              </a:defRPr>
            </a:lvl1pPr>
          </a:lstStyle>
          <a:p>
            <a:r>
              <a:rPr lang="de-DE" noProof="0" dirty="0">
                <a:sym typeface="Symbol" pitchFamily="18" charset="2"/>
              </a:rPr>
              <a:t>Title</a:t>
            </a:r>
            <a:endParaRPr lang="en-GB" noProof="0" dirty="0">
              <a:sym typeface="Symbol" pitchFamily="18" charset="2"/>
            </a:endParaRPr>
          </a:p>
        </p:txBody>
      </p:sp>
      <p:sp>
        <p:nvSpPr>
          <p:cNvPr id="18" name="Rectangle 5"/>
          <p:cNvSpPr>
            <a:spLocks noGrp="1" noChangeArrowheads="1"/>
          </p:cNvSpPr>
          <p:nvPr>
            <p:ph type="ctrTitle" hasCustomPrompt="1"/>
          </p:nvPr>
        </p:nvSpPr>
        <p:spPr>
          <a:xfrm>
            <a:off x="3131803" y="2872022"/>
            <a:ext cx="5562134" cy="990296"/>
          </a:xfrm>
          <a:noFill/>
        </p:spPr>
        <p:txBody>
          <a:bodyPr anchor="b">
            <a:noAutofit/>
          </a:bodyPr>
          <a:lstStyle>
            <a:lvl1pPr>
              <a:spcBef>
                <a:spcPts val="600"/>
              </a:spcBef>
              <a:defRPr sz="2400" b="1" cap="all" baseline="0">
                <a:solidFill>
                  <a:schemeClr val="bg1"/>
                </a:solidFill>
              </a:defRPr>
            </a:lvl1pPr>
          </a:lstStyle>
          <a:p>
            <a:r>
              <a:rPr lang="de-DE" noProof="0" dirty="0"/>
              <a:t>Name</a:t>
            </a:r>
            <a:endParaRPr lang="en-GB" noProof="0" dirty="0"/>
          </a:p>
        </p:txBody>
      </p:sp>
      <p:pic>
        <p:nvPicPr>
          <p:cNvPr id="12" name="Picture 11"/>
          <p:cNvPicPr>
            <a:picLocks noChangeAspect="1"/>
          </p:cNvPicPr>
          <p:nvPr userDrawn="1"/>
        </p:nvPicPr>
        <p:blipFill>
          <a:blip r:embed="rId7"/>
          <a:stretch>
            <a:fillRect/>
          </a:stretch>
        </p:blipFill>
        <p:spPr>
          <a:xfrm>
            <a:off x="1988679" y="890721"/>
            <a:ext cx="4638822" cy="2026802"/>
          </a:xfrm>
          <a:prstGeom prst="rect">
            <a:avLst/>
          </a:prstGeom>
        </p:spPr>
      </p:pic>
    </p:spTree>
    <p:extLst>
      <p:ext uri="{BB962C8B-B14F-4D97-AF65-F5344CB8AC3E}">
        <p14:creationId xmlns:p14="http://schemas.microsoft.com/office/powerpoint/2010/main" val="2013269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mp; content - 1 column">
    <p:spTree>
      <p:nvGrpSpPr>
        <p:cNvPr id="1" name=""/>
        <p:cNvGrpSpPr/>
        <p:nvPr/>
      </p:nvGrpSpPr>
      <p:grpSpPr>
        <a:xfrm>
          <a:off x="0" y="0"/>
          <a:ext cx="0" cy="0"/>
          <a:chOff x="0" y="0"/>
          <a:chExt cx="0" cy="0"/>
        </a:xfrm>
      </p:grpSpPr>
      <p:grpSp>
        <p:nvGrpSpPr>
          <p:cNvPr id="11" name="Group 10"/>
          <p:cNvGrpSpPr/>
          <p:nvPr userDrawn="1"/>
        </p:nvGrpSpPr>
        <p:grpSpPr>
          <a:xfrm>
            <a:off x="7471011" y="-1"/>
            <a:ext cx="1672989" cy="1588851"/>
            <a:chOff x="7471011" y="-1"/>
            <a:chExt cx="1672989" cy="1588851"/>
          </a:xfrm>
        </p:grpSpPr>
        <p:pic>
          <p:nvPicPr>
            <p:cNvPr id="12" name="Picture 11"/>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19" name="Picture 18"/>
            <p:cNvPicPr>
              <a:picLocks noChangeAspect="1"/>
            </p:cNvPicPr>
            <p:nvPr userDrawn="1"/>
          </p:nvPicPr>
          <p:blipFill rotWithShape="1">
            <a:blip r:embed="rId3"/>
            <a:srcRect t="47335" r="36214"/>
            <a:stretch/>
          </p:blipFill>
          <p:spPr>
            <a:xfrm>
              <a:off x="7471011" y="-1"/>
              <a:ext cx="1672989" cy="1588851"/>
            </a:xfrm>
            <a:prstGeom prst="rect">
              <a:avLst/>
            </a:prstGeom>
          </p:spPr>
        </p:pic>
      </p:grpSp>
      <p:sp>
        <p:nvSpPr>
          <p:cNvPr id="2" name="Titel 1"/>
          <p:cNvSpPr>
            <a:spLocks noGrp="1"/>
          </p:cNvSpPr>
          <p:nvPr userDrawn="1">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sp>
        <p:nvSpPr>
          <p:cNvPr id="15" name="Text Placeholder 7"/>
          <p:cNvSpPr>
            <a:spLocks noGrp="1"/>
          </p:cNvSpPr>
          <p:nvPr userDrawn="1">
            <p:ph type="body" sz="quarter" idx="13"/>
          </p:nvPr>
        </p:nvSpPr>
        <p:spPr>
          <a:xfrm>
            <a:off x="358775" y="868363"/>
            <a:ext cx="8103600" cy="3495161"/>
          </a:xfrm>
          <a:noFill/>
          <a:ln w="9525">
            <a:noFill/>
            <a:miter lim="800000"/>
            <a:headEnd/>
            <a:tailEnd/>
          </a:ln>
          <a:effectLst/>
        </p:spPr>
        <p:txBody>
          <a:bodyPr vert="horz" wrap="square" lIns="0" tIns="0" rIns="0" bIns="0" numCol="1" anchor="t" anchorCtr="0" compatLnSpc="1">
            <a:prstTxWarp prst="textNoShape">
              <a:avLst/>
            </a:prstTxWarp>
          </a:bodyPr>
          <a:lstStyle>
            <a:lvl1pPr marL="265113" indent="-265113">
              <a:lnSpc>
                <a:spcPct val="100000"/>
              </a:lnSpc>
              <a:spcBef>
                <a:spcPts val="600"/>
              </a:spcBef>
              <a:buClr>
                <a:schemeClr val="accent1"/>
              </a:buClr>
              <a:buFont typeface="Arial" panose="020B0604020202020204" pitchFamily="34" charset="0"/>
              <a:buChar char="•"/>
              <a:defRPr lang="en-US" dirty="0"/>
            </a:lvl1pPr>
            <a:lvl2pPr>
              <a:defRPr lang="en-US" dirty="0"/>
            </a:lvl2pPr>
            <a:lvl3pPr marL="542925" indent="-265113">
              <a:lnSpc>
                <a:spcPct val="100000"/>
              </a:lnSpc>
              <a:spcBef>
                <a:spcPts val="600"/>
              </a:spcBef>
              <a:buFont typeface="Arial" panose="020B0604020202020204" pitchFamily="34" charset="0"/>
              <a:buChar char="•"/>
              <a:defRPr lang="en-US" sz="1600" dirty="0"/>
            </a:lvl3pPr>
            <a:lvl4pPr>
              <a:lnSpc>
                <a:spcPct val="100000"/>
              </a:lnSpc>
              <a:spcBef>
                <a:spcPts val="600"/>
              </a:spcBef>
              <a:defRPr lang="en-US" sz="1600" dirty="0"/>
            </a:lvl4pPr>
            <a:lvl5pPr>
              <a:lnSpc>
                <a:spcPct val="100000"/>
              </a:lnSpc>
              <a:spcBef>
                <a:spcPts val="600"/>
              </a:spcBef>
              <a:defRPr lang="en-GB" sz="1600" dirty="0"/>
            </a:lvl5pPr>
            <a:lvl6pPr>
              <a:lnSpc>
                <a:spcPct val="100000"/>
              </a:lnSpc>
              <a:spcBef>
                <a:spcPts val="600"/>
              </a:spcBef>
              <a:defRPr sz="1600">
                <a:solidFill>
                  <a:schemeClr val="accent1"/>
                </a:solidFill>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grpSp>
        <p:nvGrpSpPr>
          <p:cNvPr id="4" name="Group 3"/>
          <p:cNvGrpSpPr/>
          <p:nvPr userDrawn="1"/>
        </p:nvGrpSpPr>
        <p:grpSpPr>
          <a:xfrm>
            <a:off x="0" y="667932"/>
            <a:ext cx="9144000" cy="54000"/>
            <a:chOff x="0" y="667932"/>
            <a:chExt cx="9144000" cy="72000"/>
          </a:xfrm>
        </p:grpSpPr>
        <p:sp>
          <p:nvSpPr>
            <p:cNvPr id="16" name="Rectangle 15"/>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7" name="Rectangle 16"/>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4" name="Picture 13"/>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461601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Tree>
    <p:extLst>
      <p:ext uri="{BB962C8B-B14F-4D97-AF65-F5344CB8AC3E}">
        <p14:creationId xmlns:p14="http://schemas.microsoft.com/office/powerpoint/2010/main" val="3345370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3" name="Gerade Verbindung 12"/>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de-DE" noProof="0"/>
              <a:t>Bild durch Klicken auf Symbol hinzufügen</a:t>
            </a:r>
            <a:endParaRPr lang="en-GB" noProof="0" dirty="0"/>
          </a:p>
        </p:txBody>
      </p:sp>
    </p:spTree>
    <p:extLst>
      <p:ext uri="{BB962C8B-B14F-4D97-AF65-F5344CB8AC3E}">
        <p14:creationId xmlns:p14="http://schemas.microsoft.com/office/powerpoint/2010/main" val="206941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tandard page_01">
    <p:spTree>
      <p:nvGrpSpPr>
        <p:cNvPr id="1" name=""/>
        <p:cNvGrpSpPr/>
        <p:nvPr/>
      </p:nvGrpSpPr>
      <p:grpSpPr>
        <a:xfrm>
          <a:off x="0" y="0"/>
          <a:ext cx="0" cy="0"/>
          <a:chOff x="0" y="0"/>
          <a:chExt cx="0" cy="0"/>
        </a:xfrm>
      </p:grpSpPr>
      <p:sp>
        <p:nvSpPr>
          <p:cNvPr id="9" name="Rechteck 8"/>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3746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Standard page_0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4379"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11" name="Rechteck 10"/>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7" name="Textplatzhalter 18"/>
          <p:cNvSpPr>
            <a:spLocks noGrp="1"/>
          </p:cNvSpPr>
          <p:nvPr>
            <p:ph type="body" sz="quarter" idx="11"/>
          </p:nvPr>
        </p:nvSpPr>
        <p:spPr>
          <a:xfrm>
            <a:off x="367579" y="290572"/>
            <a:ext cx="8408849" cy="369332"/>
          </a:xfrm>
        </p:spPr>
        <p:txBody>
          <a:bodyPr wrap="square">
            <a:spAutoFit/>
          </a:bodyPr>
          <a:lstStyle>
            <a:lvl1pPr marL="0" indent="0">
              <a:buNone/>
              <a:defRPr sz="2400">
                <a:solidFill>
                  <a:srgbClr val="003366"/>
                </a:solidFill>
                <a:latin typeface="BISansCond" panose="02000006050000020004" pitchFamily="2" charset="0"/>
              </a:defRPr>
            </a:lvl1pPr>
          </a:lstStyle>
          <a:p>
            <a:pPr lvl="0"/>
            <a:r>
              <a:rPr lang="de-DE" noProof="0"/>
              <a:t>Textmasterformat bearbeiten</a:t>
            </a:r>
          </a:p>
        </p:txBody>
      </p:sp>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7" name="Gerade Verbindung 6"/>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5433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Standard page_03">
    <p:spTree>
      <p:nvGrpSpPr>
        <p:cNvPr id="1" name=""/>
        <p:cNvGrpSpPr/>
        <p:nvPr/>
      </p:nvGrpSpPr>
      <p:grpSpPr>
        <a:xfrm>
          <a:off x="0" y="0"/>
          <a:ext cx="0" cy="0"/>
          <a:chOff x="0" y="0"/>
          <a:chExt cx="0" cy="0"/>
        </a:xfrm>
      </p:grpSpPr>
      <p:sp>
        <p:nvSpPr>
          <p:cNvPr id="12" name="Rechteck 11"/>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7" name="Textplatzhalter 18"/>
          <p:cNvSpPr>
            <a:spLocks noGrp="1"/>
          </p:cNvSpPr>
          <p:nvPr>
            <p:ph type="body" sz="quarter" idx="11"/>
          </p:nvPr>
        </p:nvSpPr>
        <p:spPr>
          <a:xfrm>
            <a:off x="367579" y="290572"/>
            <a:ext cx="8408849" cy="369332"/>
          </a:xfrm>
        </p:spPr>
        <p:txBody>
          <a:bodyPr wrap="square">
            <a:spAutoFit/>
          </a:bodyPr>
          <a:lstStyle>
            <a:lvl1pPr marL="0" indent="0">
              <a:buNone/>
              <a:defRPr sz="2400">
                <a:solidFill>
                  <a:srgbClr val="003366"/>
                </a:solidFill>
                <a:latin typeface="BISansCond" panose="02000006050000020004" pitchFamily="2" charset="0"/>
              </a:defRPr>
            </a:lvl1pPr>
          </a:lstStyle>
          <a:p>
            <a:pPr lvl="0"/>
            <a:r>
              <a:rPr lang="de-DE" noProof="0"/>
              <a:t>Textmasterformat bearbeiten</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650755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Standard page_04">
    <p:spTree>
      <p:nvGrpSpPr>
        <p:cNvPr id="1" name=""/>
        <p:cNvGrpSpPr/>
        <p:nvPr/>
      </p:nvGrpSpPr>
      <p:grpSpPr>
        <a:xfrm>
          <a:off x="0" y="0"/>
          <a:ext cx="0" cy="0"/>
          <a:chOff x="0" y="0"/>
          <a:chExt cx="0" cy="0"/>
        </a:xfrm>
      </p:grpSpPr>
      <p:sp>
        <p:nvSpPr>
          <p:cNvPr id="12" name="Rechteck 11"/>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sp>
        <p:nvSpPr>
          <p:cNvPr id="17" name="Textplatzhalter 18"/>
          <p:cNvSpPr>
            <a:spLocks noGrp="1"/>
          </p:cNvSpPr>
          <p:nvPr>
            <p:ph type="body" sz="quarter" idx="11"/>
          </p:nvPr>
        </p:nvSpPr>
        <p:spPr>
          <a:xfrm>
            <a:off x="367579" y="290572"/>
            <a:ext cx="8408849" cy="369332"/>
          </a:xfrm>
        </p:spPr>
        <p:txBody>
          <a:bodyPr wrap="square">
            <a:spAutoFit/>
          </a:bodyPr>
          <a:lstStyle>
            <a:lvl1pPr marL="0" indent="0">
              <a:buNone/>
              <a:defRPr sz="2400">
                <a:solidFill>
                  <a:srgbClr val="003366"/>
                </a:solidFill>
                <a:latin typeface="BISansCond" panose="02000006050000020004" pitchFamily="2" charset="0"/>
              </a:defRPr>
            </a:lvl1pPr>
          </a:lstStyle>
          <a:p>
            <a:pPr lvl="0"/>
            <a:r>
              <a:rPr lang="de-DE" noProof="0"/>
              <a:t>Textmasterformat bearbeiten</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203898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iagram slide_01">
    <p:spTree>
      <p:nvGrpSpPr>
        <p:cNvPr id="1" name=""/>
        <p:cNvGrpSpPr/>
        <p:nvPr/>
      </p:nvGrpSpPr>
      <p:grpSpPr>
        <a:xfrm>
          <a:off x="0" y="0"/>
          <a:ext cx="0" cy="0"/>
          <a:chOff x="0" y="0"/>
          <a:chExt cx="0" cy="0"/>
        </a:xfrm>
      </p:grpSpPr>
      <p:sp>
        <p:nvSpPr>
          <p:cNvPr id="14" name="Rechteck 13"/>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15" name="Rechteck 14"/>
          <p:cNvSpPr/>
          <p:nvPr/>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a:xfrm>
            <a:off x="367577" y="1200152"/>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7" name="Textplatzhalter 18"/>
          <p:cNvSpPr>
            <a:spLocks noGrp="1"/>
          </p:cNvSpPr>
          <p:nvPr>
            <p:ph type="body" sz="quarter" idx="11"/>
          </p:nvPr>
        </p:nvSpPr>
        <p:spPr>
          <a:xfrm>
            <a:off x="367579" y="290572"/>
            <a:ext cx="8408849" cy="369332"/>
          </a:xfrm>
        </p:spPr>
        <p:txBody>
          <a:bodyPr wrap="square">
            <a:spAutoFit/>
          </a:bodyPr>
          <a:lstStyle>
            <a:lvl1pPr marL="0" indent="0">
              <a:buNone/>
              <a:defRPr sz="2400">
                <a:solidFill>
                  <a:srgbClr val="003366"/>
                </a:solidFill>
                <a:latin typeface="BISansCond" panose="02000006050000020004" pitchFamily="2" charset="0"/>
              </a:defRPr>
            </a:lvl1pPr>
          </a:lstStyle>
          <a:p>
            <a:pPr lvl="0"/>
            <a:r>
              <a:rPr lang="de-DE" noProof="0"/>
              <a:t>Textmasterformat bearbeiten</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138026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ext slide_01">
    <p:spTree>
      <p:nvGrpSpPr>
        <p:cNvPr id="1" name=""/>
        <p:cNvGrpSpPr/>
        <p:nvPr/>
      </p:nvGrpSpPr>
      <p:grpSpPr>
        <a:xfrm>
          <a:off x="0" y="0"/>
          <a:ext cx="0" cy="0"/>
          <a:chOff x="0" y="0"/>
          <a:chExt cx="0" cy="0"/>
        </a:xfrm>
      </p:grpSpPr>
      <p:sp>
        <p:nvSpPr>
          <p:cNvPr id="12" name="Rechteck 11"/>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a:xfrm>
            <a:off x="1771581" y="1451438"/>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7" name="Textplatzhalter 18"/>
          <p:cNvSpPr>
            <a:spLocks noGrp="1"/>
          </p:cNvSpPr>
          <p:nvPr>
            <p:ph type="body" sz="quarter" idx="11"/>
          </p:nvPr>
        </p:nvSpPr>
        <p:spPr>
          <a:xfrm>
            <a:off x="1781921" y="290572"/>
            <a:ext cx="5055314" cy="369332"/>
          </a:xfrm>
        </p:spPr>
        <p:txBody>
          <a:bodyPr wrap="square">
            <a:spAutoFit/>
          </a:bodyPr>
          <a:lstStyle>
            <a:lvl1pPr marL="0" indent="0">
              <a:buNone/>
              <a:defRPr sz="2400">
                <a:solidFill>
                  <a:srgbClr val="003366"/>
                </a:solidFill>
                <a:latin typeface="BISansCond" panose="02000006050000020004" pitchFamily="2" charset="0"/>
              </a:defRPr>
            </a:lvl1pPr>
          </a:lstStyle>
          <a:p>
            <a:pPr lvl="0"/>
            <a:r>
              <a:rPr lang="de-DE" noProof="0"/>
              <a:t>Textmasterformat bearbeiten</a:t>
            </a:r>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dirty="0" smtClean="0">
                <a:solidFill>
                  <a:schemeClr val="bg1"/>
                </a:solidFill>
                <a:latin typeface="+mj-lt"/>
              </a:defRPr>
            </a:lvl1pPr>
          </a:lstStyle>
          <a:p>
            <a:pPr marL="0" lvl="0" algn="ctr"/>
            <a:r>
              <a:rPr lang="en-GB" noProof="0" dirty="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2575527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Organisational chart_01">
    <p:spTree>
      <p:nvGrpSpPr>
        <p:cNvPr id="1" name=""/>
        <p:cNvGrpSpPr/>
        <p:nvPr/>
      </p:nvGrpSpPr>
      <p:grpSpPr>
        <a:xfrm>
          <a:off x="0" y="0"/>
          <a:ext cx="0" cy="0"/>
          <a:chOff x="0" y="0"/>
          <a:chExt cx="0" cy="0"/>
        </a:xfrm>
      </p:grpSpPr>
      <p:sp>
        <p:nvSpPr>
          <p:cNvPr id="11" name="Rechteck 10"/>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2" name="Titel 1"/>
          <p:cNvSpPr>
            <a:spLocks noGrp="1"/>
          </p:cNvSpPr>
          <p:nvPr>
            <p:ph type="title"/>
          </p:nvPr>
        </p:nvSpPr>
        <p:spPr>
          <a:xfrm>
            <a:off x="1351330" y="4888178"/>
            <a:ext cx="7425097" cy="184666"/>
          </a:xfrm>
        </p:spPr>
        <p:txBody>
          <a:bodyPr anchor="b" anchorCtr="0"/>
          <a:lstStyle>
            <a:lvl1pPr algn="r">
              <a:defRPr sz="1200">
                <a:solidFill>
                  <a:srgbClr val="003366"/>
                </a:solidFill>
              </a:defRPr>
            </a:lvl1pPr>
          </a:lstStyle>
          <a:p>
            <a:r>
              <a:rPr lang="de-DE" noProof="0"/>
              <a:t>Titelmasterformat durch Klicken bearbeiten</a:t>
            </a:r>
            <a:endParaRPr lang="en-GB" noProof="0" dirty="0"/>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3035912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endParaRPr lang="en-GB">
              <a:solidFill>
                <a:prstClr val="white">
                  <a:lumMod val="65000"/>
                </a:prstClr>
              </a:solidFill>
            </a:endParaRPr>
          </a:p>
        </p:txBody>
      </p:sp>
      <p:sp>
        <p:nvSpPr>
          <p:cNvPr id="5" name="Fußzeilenplatzhalter 4"/>
          <p:cNvSpPr>
            <a:spLocks noGrp="1"/>
          </p:cNvSpPr>
          <p:nvPr>
            <p:ph type="ftr" sz="quarter" idx="11"/>
          </p:nvPr>
        </p:nvSpPr>
        <p:spPr/>
        <p:txBody>
          <a:bodyPr/>
          <a:lstStyle/>
          <a:p>
            <a:r>
              <a:rPr lang="en-GB">
                <a:solidFill>
                  <a:prstClr val="white">
                    <a:lumMod val="65000"/>
                  </a:prstClr>
                </a:solidFill>
              </a:rPr>
              <a:t>#ConV2X 2018</a:t>
            </a:r>
          </a:p>
        </p:txBody>
      </p:sp>
      <p:sp>
        <p:nvSpPr>
          <p:cNvPr id="6" name="Foliennummernplatzhalter 5"/>
          <p:cNvSpPr>
            <a:spLocks noGrp="1"/>
          </p:cNvSpPr>
          <p:nvPr>
            <p:ph type="sldNum" sz="quarter" idx="12"/>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cxnSp>
        <p:nvCxnSpPr>
          <p:cNvPr id="7" name="Gerade Verbindung 6"/>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8327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mp; content - 2 columns">
    <p:spTree>
      <p:nvGrpSpPr>
        <p:cNvPr id="1" name=""/>
        <p:cNvGrpSpPr/>
        <p:nvPr/>
      </p:nvGrpSpPr>
      <p:grpSpPr>
        <a:xfrm>
          <a:off x="0" y="0"/>
          <a:ext cx="0" cy="0"/>
          <a:chOff x="0" y="0"/>
          <a:chExt cx="0" cy="0"/>
        </a:xfrm>
      </p:grpSpPr>
      <p:grpSp>
        <p:nvGrpSpPr>
          <p:cNvPr id="13" name="Group 12"/>
          <p:cNvGrpSpPr/>
          <p:nvPr userDrawn="1"/>
        </p:nvGrpSpPr>
        <p:grpSpPr>
          <a:xfrm>
            <a:off x="7471011" y="-1"/>
            <a:ext cx="1672989" cy="1588851"/>
            <a:chOff x="7471011" y="-1"/>
            <a:chExt cx="1672989" cy="1588851"/>
          </a:xfrm>
        </p:grpSpPr>
        <p:pic>
          <p:nvPicPr>
            <p:cNvPr id="15" name="Picture 14"/>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23" name="Picture 22"/>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7" name="Group 16"/>
          <p:cNvGrpSpPr/>
          <p:nvPr userDrawn="1"/>
        </p:nvGrpSpPr>
        <p:grpSpPr>
          <a:xfrm>
            <a:off x="0" y="667932"/>
            <a:ext cx="9144000" cy="54000"/>
            <a:chOff x="0" y="667932"/>
            <a:chExt cx="9144000" cy="72000"/>
          </a:xfrm>
        </p:grpSpPr>
        <p:sp>
          <p:nvSpPr>
            <p:cNvPr id="18" name="Rectangle 17"/>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21" name="Rectangle 20"/>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19" name="Text Placeholder 7"/>
          <p:cNvSpPr>
            <a:spLocks noGrp="1"/>
          </p:cNvSpPr>
          <p:nvPr>
            <p:ph type="body" sz="quarter" idx="13"/>
          </p:nvPr>
        </p:nvSpPr>
        <p:spPr>
          <a:xfrm>
            <a:off x="358775"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7"/>
          <p:cNvSpPr>
            <a:spLocks noGrp="1"/>
          </p:cNvSpPr>
          <p:nvPr>
            <p:ph type="body" sz="quarter" idx="14"/>
          </p:nvPr>
        </p:nvSpPr>
        <p:spPr>
          <a:xfrm>
            <a:off x="4679521"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pic>
        <p:nvPicPr>
          <p:cNvPr id="16" name="Picture 15"/>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90449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a:solidFill>
                <a:prstClr val="white">
                  <a:lumMod val="65000"/>
                </a:prstClr>
              </a:solidFill>
            </a:endParaRPr>
          </a:p>
        </p:txBody>
      </p:sp>
      <p:sp>
        <p:nvSpPr>
          <p:cNvPr id="5" name="Fußzeilenplatzhalter 4"/>
          <p:cNvSpPr>
            <a:spLocks noGrp="1"/>
          </p:cNvSpPr>
          <p:nvPr>
            <p:ph type="ftr" sz="quarter" idx="11"/>
          </p:nvPr>
        </p:nvSpPr>
        <p:spPr/>
        <p:txBody>
          <a:bodyPr/>
          <a:lstStyle/>
          <a:p>
            <a:r>
              <a:rPr lang="en-GB">
                <a:solidFill>
                  <a:prstClr val="white">
                    <a:lumMod val="65000"/>
                  </a:prstClr>
                </a:solidFill>
              </a:rPr>
              <a:t>#ConV2X 2018</a:t>
            </a:r>
          </a:p>
        </p:txBody>
      </p:sp>
      <p:sp>
        <p:nvSpPr>
          <p:cNvPr id="6" name="Foliennummernplatzhalter 5"/>
          <p:cNvSpPr>
            <a:spLocks noGrp="1"/>
          </p:cNvSpPr>
          <p:nvPr>
            <p:ph type="sldNum" sz="quarter" idx="12"/>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cxnSp>
        <p:nvCxnSpPr>
          <p:cNvPr id="7" name="Gerade Verbindung 6"/>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8459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a:solidFill>
                <a:prstClr val="white">
                  <a:lumMod val="65000"/>
                </a:prstClr>
              </a:solidFill>
            </a:endParaRPr>
          </a:p>
        </p:txBody>
      </p:sp>
      <p:sp>
        <p:nvSpPr>
          <p:cNvPr id="5" name="Fußzeilenplatzhalter 4"/>
          <p:cNvSpPr>
            <a:spLocks noGrp="1"/>
          </p:cNvSpPr>
          <p:nvPr>
            <p:ph type="ftr" sz="quarter" idx="11"/>
          </p:nvPr>
        </p:nvSpPr>
        <p:spPr/>
        <p:txBody>
          <a:bodyPr/>
          <a:lstStyle/>
          <a:p>
            <a:r>
              <a:rPr lang="en-GB">
                <a:solidFill>
                  <a:prstClr val="white">
                    <a:lumMod val="65000"/>
                  </a:prstClr>
                </a:solidFill>
              </a:rPr>
              <a:t>#ConV2X 2018</a:t>
            </a:r>
          </a:p>
        </p:txBody>
      </p:sp>
      <p:sp>
        <p:nvSpPr>
          <p:cNvPr id="6" name="Foliennummernplatzhalter 5"/>
          <p:cNvSpPr>
            <a:spLocks noGrp="1"/>
          </p:cNvSpPr>
          <p:nvPr>
            <p:ph type="sldNum" sz="quarter" idx="12"/>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cxnSp>
        <p:nvCxnSpPr>
          <p:cNvPr id="7" name="Gerade Verbindung 6"/>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164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a:solidFill>
                <a:prstClr val="white">
                  <a:lumMod val="65000"/>
                </a:prstClr>
              </a:solidFill>
            </a:endParaRPr>
          </a:p>
        </p:txBody>
      </p:sp>
      <p:sp>
        <p:nvSpPr>
          <p:cNvPr id="6" name="Fußzeilenplatzhalter 5"/>
          <p:cNvSpPr>
            <a:spLocks noGrp="1"/>
          </p:cNvSpPr>
          <p:nvPr>
            <p:ph type="ftr" sz="quarter" idx="13"/>
          </p:nvPr>
        </p:nvSpPr>
        <p:spPr/>
        <p:txBody>
          <a:bodyPr/>
          <a:lstStyle/>
          <a:p>
            <a:r>
              <a:rPr lang="en-GB">
                <a:solidFill>
                  <a:prstClr val="white">
                    <a:lumMod val="65000"/>
                  </a:prstClr>
                </a:solidFill>
              </a:rPr>
              <a:t>#ConV2X 2018</a:t>
            </a:r>
          </a:p>
        </p:txBody>
      </p:sp>
      <p:sp>
        <p:nvSpPr>
          <p:cNvPr id="7" name="Foliennummernplatzhalter 6"/>
          <p:cNvSpPr>
            <a:spLocks noGrp="1"/>
          </p:cNvSpPr>
          <p:nvPr>
            <p:ph type="sldNum" sz="quarter" idx="14"/>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1109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77" y="1200152"/>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a:solidFill>
                <a:prstClr val="white">
                  <a:lumMod val="65000"/>
                </a:prstClr>
              </a:solidFill>
            </a:endParaRPr>
          </a:p>
        </p:txBody>
      </p:sp>
      <p:sp>
        <p:nvSpPr>
          <p:cNvPr id="6" name="Fußzeilenplatzhalter 5"/>
          <p:cNvSpPr>
            <a:spLocks noGrp="1"/>
          </p:cNvSpPr>
          <p:nvPr>
            <p:ph type="ftr" sz="quarter" idx="13"/>
          </p:nvPr>
        </p:nvSpPr>
        <p:spPr/>
        <p:txBody>
          <a:bodyPr/>
          <a:lstStyle/>
          <a:p>
            <a:r>
              <a:rPr lang="en-GB">
                <a:solidFill>
                  <a:prstClr val="white">
                    <a:lumMod val="65000"/>
                  </a:prstClr>
                </a:solidFill>
              </a:rPr>
              <a:t>#ConV2X 2018</a:t>
            </a:r>
          </a:p>
        </p:txBody>
      </p:sp>
      <p:sp>
        <p:nvSpPr>
          <p:cNvPr id="7" name="Foliennummernplatzhalter 6"/>
          <p:cNvSpPr>
            <a:spLocks noGrp="1"/>
          </p:cNvSpPr>
          <p:nvPr>
            <p:ph type="sldNum" sz="quarter" idx="14"/>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6967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a:solidFill>
                <a:prstClr val="white">
                  <a:lumMod val="65000"/>
                </a:prstClr>
              </a:solidFill>
            </a:endParaRPr>
          </a:p>
        </p:txBody>
      </p:sp>
      <p:sp>
        <p:nvSpPr>
          <p:cNvPr id="3" name="Fußzeilenplatzhalter 2"/>
          <p:cNvSpPr>
            <a:spLocks noGrp="1"/>
          </p:cNvSpPr>
          <p:nvPr>
            <p:ph type="ftr" sz="quarter" idx="11"/>
          </p:nvPr>
        </p:nvSpPr>
        <p:spPr/>
        <p:txBody>
          <a:bodyPr/>
          <a:lstStyle/>
          <a:p>
            <a:r>
              <a:rPr lang="en-GB">
                <a:solidFill>
                  <a:prstClr val="white">
                    <a:lumMod val="65000"/>
                  </a:prstClr>
                </a:solidFill>
              </a:rPr>
              <a:t>#ConV2X 2018</a:t>
            </a:r>
          </a:p>
        </p:txBody>
      </p:sp>
      <p:sp>
        <p:nvSpPr>
          <p:cNvPr id="4" name="Foliennummernplatzhalter 3"/>
          <p:cNvSpPr>
            <a:spLocks noGrp="1"/>
          </p:cNvSpPr>
          <p:nvPr>
            <p:ph type="sldNum" sz="quarter" idx="12"/>
          </p:nvPr>
        </p:nvSpPr>
        <p:spPr/>
        <p:txBody>
          <a:body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spTree>
    <p:extLst>
      <p:ext uri="{BB962C8B-B14F-4D97-AF65-F5344CB8AC3E}">
        <p14:creationId xmlns:p14="http://schemas.microsoft.com/office/powerpoint/2010/main" val="2408253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Chapter title_01">
    <p:spTree>
      <p:nvGrpSpPr>
        <p:cNvPr id="1" name=""/>
        <p:cNvGrpSpPr/>
        <p:nvPr/>
      </p:nvGrpSpPr>
      <p:grpSpPr>
        <a:xfrm>
          <a:off x="0" y="0"/>
          <a:ext cx="0" cy="0"/>
          <a:chOff x="0" y="0"/>
          <a:chExt cx="0" cy="0"/>
        </a:xfrm>
      </p:grpSpPr>
      <p:sp>
        <p:nvSpPr>
          <p:cNvPr id="13" name="Rechteck 12"/>
          <p:cNvSpPr/>
          <p:nvPr/>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8"/>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a:t>Textmasterformat bearbeiten</a:t>
            </a:r>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0" name="Gerade Verbindung 9"/>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a:t>Textmasterformat bearbeiten</a:t>
            </a:r>
          </a:p>
        </p:txBody>
      </p:sp>
    </p:spTree>
    <p:extLst>
      <p:ext uri="{BB962C8B-B14F-4D97-AF65-F5344CB8AC3E}">
        <p14:creationId xmlns:p14="http://schemas.microsoft.com/office/powerpoint/2010/main" val="1695105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_Chapter title_02">
    <p:spTree>
      <p:nvGrpSpPr>
        <p:cNvPr id="1" name=""/>
        <p:cNvGrpSpPr/>
        <p:nvPr/>
      </p:nvGrpSpPr>
      <p:grpSpPr>
        <a:xfrm>
          <a:off x="0" y="0"/>
          <a:ext cx="0" cy="0"/>
          <a:chOff x="0" y="0"/>
          <a:chExt cx="0" cy="0"/>
        </a:xfrm>
      </p:grpSpPr>
      <p:sp>
        <p:nvSpPr>
          <p:cNvPr id="14" name="Rechteck 13"/>
          <p:cNvSpPr/>
          <p:nvPr/>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8"/>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a:t>Textmasterformat bearbeiten</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a:t>Textmasterformat bearbeiten</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3" name="Gerade Verbindung 12"/>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a:t>Textmasterformat bearbeiten</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de-DE"/>
              <a:t>Bild durch Klicken auf Symbol hinzufügen</a:t>
            </a:r>
          </a:p>
        </p:txBody>
      </p:sp>
    </p:spTree>
    <p:extLst>
      <p:ext uri="{BB962C8B-B14F-4D97-AF65-F5344CB8AC3E}">
        <p14:creationId xmlns:p14="http://schemas.microsoft.com/office/powerpoint/2010/main" val="705311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7423" t="15980" r="7499" b="18233"/>
          <a:stretch/>
        </p:blipFill>
        <p:spPr>
          <a:xfrm>
            <a:off x="-11060" y="-22123"/>
            <a:ext cx="9158748" cy="5165623"/>
          </a:xfrm>
          <a:prstGeom prst="rect">
            <a:avLst/>
          </a:prstGeom>
        </p:spPr>
      </p:pic>
      <p:grpSp>
        <p:nvGrpSpPr>
          <p:cNvPr id="39" name="Group 38"/>
          <p:cNvGrpSpPr/>
          <p:nvPr userDrawn="1"/>
        </p:nvGrpSpPr>
        <p:grpSpPr>
          <a:xfrm>
            <a:off x="-3688" y="1193800"/>
            <a:ext cx="9158748" cy="2129366"/>
            <a:chOff x="-4917" y="1591733"/>
            <a:chExt cx="12211664" cy="2839155"/>
          </a:xfrm>
        </p:grpSpPr>
        <p:grpSp>
          <p:nvGrpSpPr>
            <p:cNvPr id="36" name="Group 35"/>
            <p:cNvGrpSpPr/>
            <p:nvPr userDrawn="1"/>
          </p:nvGrpSpPr>
          <p:grpSpPr>
            <a:xfrm>
              <a:off x="-4917" y="1591733"/>
              <a:ext cx="12211664" cy="2839155"/>
              <a:chOff x="-4917" y="1591733"/>
              <a:chExt cx="12211664" cy="2839155"/>
            </a:xfrm>
          </p:grpSpPr>
          <p:cxnSp>
            <p:nvCxnSpPr>
              <p:cNvPr id="31" name="Straight Connector 30"/>
              <p:cNvCxnSpPr/>
              <p:nvPr userDrawn="1"/>
            </p:nvCxnSpPr>
            <p:spPr bwMode="auto">
              <a:xfrm>
                <a:off x="-4917" y="1591733"/>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cxnSp>
            <p:nvCxnSpPr>
              <p:cNvPr id="32" name="Straight Connector 31"/>
              <p:cNvCxnSpPr/>
              <p:nvPr userDrawn="1"/>
            </p:nvCxnSpPr>
            <p:spPr bwMode="auto">
              <a:xfrm>
                <a:off x="-4917" y="1941688"/>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cxnSp>
            <p:nvCxnSpPr>
              <p:cNvPr id="33" name="Straight Connector 32"/>
              <p:cNvCxnSpPr/>
              <p:nvPr userDrawn="1"/>
            </p:nvCxnSpPr>
            <p:spPr bwMode="auto">
              <a:xfrm>
                <a:off x="-4917" y="4430888"/>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sp>
            <p:nvSpPr>
              <p:cNvPr id="34" name="Rectangle 33"/>
              <p:cNvSpPr/>
              <p:nvPr userDrawn="1"/>
            </p:nvSpPr>
            <p:spPr bwMode="auto">
              <a:xfrm>
                <a:off x="1136650" y="1591733"/>
                <a:ext cx="4349750" cy="349955"/>
              </a:xfrm>
              <a:prstGeom prst="rect">
                <a:avLst/>
              </a:prstGeom>
              <a:solidFill>
                <a:srgbClr val="003366"/>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0" rIns="91440" bIns="0" numCol="1" rtlCol="0" anchor="t" anchorCtr="0" compatLnSpc="1">
                <a:prstTxWarp prst="textNoShape">
                  <a:avLst/>
                </a:prstTxWarp>
              </a:bodyPr>
              <a:lstStyle/>
              <a:p>
                <a:pPr algn="l" eaLnBrk="0" hangingPunct="0">
                  <a:lnSpc>
                    <a:spcPct val="100000"/>
                  </a:lnSpc>
                  <a:spcBef>
                    <a:spcPct val="0"/>
                  </a:spcBef>
                  <a:buClrTx/>
                  <a:buFontTx/>
                  <a:buNone/>
                </a:pPr>
                <a:endParaRPr lang="en-GB" sz="1350" dirty="0" err="1">
                  <a:solidFill>
                    <a:srgbClr val="FFFFFF"/>
                  </a:solidFill>
                  <a:latin typeface="+mn-lt"/>
                </a:endParaRPr>
              </a:p>
            </p:txBody>
          </p:sp>
          <p:sp>
            <p:nvSpPr>
              <p:cNvPr id="35" name="Rectangle 34"/>
              <p:cNvSpPr/>
              <p:nvPr userDrawn="1"/>
            </p:nvSpPr>
            <p:spPr bwMode="auto">
              <a:xfrm>
                <a:off x="3308654" y="1938417"/>
                <a:ext cx="8882841" cy="2492189"/>
              </a:xfrm>
              <a:prstGeom prst="rect">
                <a:avLst/>
              </a:prstGeom>
              <a:solidFill>
                <a:srgbClr val="003366"/>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0" rIns="91440" bIns="0" numCol="1" rtlCol="0" anchor="t" anchorCtr="0" compatLnSpc="1">
                <a:prstTxWarp prst="textNoShape">
                  <a:avLst/>
                </a:prstTxWarp>
              </a:bodyPr>
              <a:lstStyle/>
              <a:p>
                <a:pPr algn="l" eaLnBrk="0" hangingPunct="0">
                  <a:lnSpc>
                    <a:spcPct val="100000"/>
                  </a:lnSpc>
                  <a:spcBef>
                    <a:spcPct val="0"/>
                  </a:spcBef>
                  <a:buClrTx/>
                  <a:buFontTx/>
                  <a:buNone/>
                </a:pPr>
                <a:endParaRPr lang="en-GB" sz="1350" dirty="0" err="1">
                  <a:solidFill>
                    <a:srgbClr val="FFFFFF"/>
                  </a:solidFill>
                  <a:latin typeface="+mn-lt"/>
                </a:endParaRPr>
              </a:p>
            </p:txBody>
          </p:sp>
        </p:grpSp>
        <p:sp>
          <p:nvSpPr>
            <p:cNvPr id="38" name="TextBox 37"/>
            <p:cNvSpPr txBox="1"/>
            <p:nvPr userDrawn="1"/>
          </p:nvSpPr>
          <p:spPr>
            <a:xfrm>
              <a:off x="1287760" y="1607802"/>
              <a:ext cx="2646452" cy="338555"/>
            </a:xfrm>
            <a:prstGeom prst="rect">
              <a:avLst/>
            </a:prstGeom>
            <a:noFill/>
          </p:spPr>
          <p:txBody>
            <a:bodyPr wrap="none" rtlCol="0">
              <a:spAutoFit/>
            </a:bodyPr>
            <a:lstStyle/>
            <a:p>
              <a:pPr algn="l">
                <a:lnSpc>
                  <a:spcPct val="100000"/>
                </a:lnSpc>
                <a:spcBef>
                  <a:spcPts val="0"/>
                </a:spcBef>
              </a:pPr>
              <a:r>
                <a:rPr lang="en-GB" sz="1050" dirty="0" err="1">
                  <a:solidFill>
                    <a:schemeClr val="tx1"/>
                  </a:solidFill>
                  <a:latin typeface="BISansMl" panose="02000503040000020004" pitchFamily="50" charset="0"/>
                </a:rPr>
                <a:t>Boehringer</a:t>
              </a:r>
              <a:r>
                <a:rPr lang="en-GB" sz="1050" dirty="0">
                  <a:solidFill>
                    <a:schemeClr val="tx1"/>
                  </a:solidFill>
                  <a:latin typeface="BISansMl" panose="02000503040000020004" pitchFamily="50" charset="0"/>
                </a:rPr>
                <a:t> </a:t>
              </a:r>
              <a:r>
                <a:rPr lang="en-GB" sz="1050" dirty="0" err="1">
                  <a:solidFill>
                    <a:schemeClr val="tx1"/>
                  </a:solidFill>
                  <a:latin typeface="BISansMl" panose="02000503040000020004" pitchFamily="50" charset="0"/>
                </a:rPr>
                <a:t>Ingelheim</a:t>
              </a:r>
              <a:r>
                <a:rPr lang="en-GB" sz="1050" dirty="0">
                  <a:solidFill>
                    <a:schemeClr val="tx1"/>
                  </a:solidFill>
                  <a:latin typeface="BISansMl" panose="02000503040000020004" pitchFamily="50" charset="0"/>
                </a:rPr>
                <a:t> </a:t>
              </a:r>
              <a:r>
                <a:rPr lang="en-GB" sz="1050" dirty="0" err="1">
                  <a:solidFill>
                    <a:schemeClr val="tx1"/>
                  </a:solidFill>
                  <a:latin typeface="BISansMl" panose="02000503040000020004" pitchFamily="50" charset="0"/>
                </a:rPr>
                <a:t>Biosimilars</a:t>
              </a:r>
              <a:endParaRPr lang="en-GB" sz="1050" dirty="0">
                <a:solidFill>
                  <a:schemeClr val="tx1"/>
                </a:solidFill>
                <a:latin typeface="BISansMl" panose="02000503040000020004" pitchFamily="50" charset="0"/>
              </a:endParaRPr>
            </a:p>
          </p:txBody>
        </p:sp>
      </p:grpSp>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b="21463"/>
          <a:stretch/>
        </p:blipFill>
        <p:spPr>
          <a:xfrm>
            <a:off x="7268129" y="4460096"/>
            <a:ext cx="1609298" cy="505196"/>
          </a:xfrm>
          <a:prstGeom prst="rect">
            <a:avLst/>
          </a:prstGeom>
        </p:spPr>
      </p:pic>
      <p:grpSp>
        <p:nvGrpSpPr>
          <p:cNvPr id="2" name="Group 6"/>
          <p:cNvGrpSpPr>
            <a:grpSpLocks/>
          </p:cNvGrpSpPr>
          <p:nvPr/>
        </p:nvGrpSpPr>
        <p:grpSpPr bwMode="auto">
          <a:xfrm>
            <a:off x="0" y="0"/>
            <a:ext cx="9144000" cy="5143500"/>
            <a:chOff x="0" y="0"/>
            <a:chExt cx="5760" cy="4320"/>
          </a:xfrm>
        </p:grpSpPr>
        <p:sp>
          <p:nvSpPr>
            <p:cNvPr id="7" name="Line 7"/>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8" name="Line 8"/>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9" name="Line 9"/>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10" name="Line 10"/>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grpSp>
      <p:sp>
        <p:nvSpPr>
          <p:cNvPr id="6" name="Text Placeholder 5"/>
          <p:cNvSpPr>
            <a:spLocks noGrp="1"/>
          </p:cNvSpPr>
          <p:nvPr>
            <p:ph type="body" sz="quarter" idx="10" hasCustomPrompt="1"/>
          </p:nvPr>
        </p:nvSpPr>
        <p:spPr>
          <a:xfrm>
            <a:off x="2787650" y="2704798"/>
            <a:ext cx="5993493" cy="260801"/>
          </a:xfrm>
          <a:prstGeom prst="rect">
            <a:avLst/>
          </a:prstGeom>
        </p:spPr>
        <p:txBody>
          <a:bodyPr lIns="0" tIns="0" rIns="0" bIns="0" anchor="b"/>
          <a:lstStyle>
            <a:lvl1pPr marL="0" indent="0" algn="l">
              <a:lnSpc>
                <a:spcPct val="95000"/>
              </a:lnSpc>
              <a:spcBef>
                <a:spcPts val="0"/>
              </a:spcBef>
              <a:spcAft>
                <a:spcPts val="0"/>
              </a:spcAft>
              <a:buNone/>
              <a:defRPr sz="1050">
                <a:solidFill>
                  <a:srgbClr val="FFFFFF"/>
                </a:solidFill>
                <a:latin typeface="+mn-lt"/>
              </a:defRPr>
            </a:lvl1pPr>
          </a:lstStyle>
          <a:p>
            <a:pPr lvl="0"/>
            <a:r>
              <a:rPr lang="en-US" dirty="0"/>
              <a:t>Click to edit name</a:t>
            </a:r>
          </a:p>
        </p:txBody>
      </p:sp>
      <p:sp>
        <p:nvSpPr>
          <p:cNvPr id="14" name="Text Placeholder 5"/>
          <p:cNvSpPr>
            <a:spLocks noGrp="1"/>
          </p:cNvSpPr>
          <p:nvPr>
            <p:ph type="body" sz="quarter" idx="11" hasCustomPrompt="1"/>
          </p:nvPr>
        </p:nvSpPr>
        <p:spPr>
          <a:xfrm>
            <a:off x="2787650" y="3003805"/>
            <a:ext cx="5993493" cy="260801"/>
          </a:xfrm>
          <a:prstGeom prst="rect">
            <a:avLst/>
          </a:prstGeom>
        </p:spPr>
        <p:txBody>
          <a:bodyPr lIns="0" tIns="0" rIns="0" bIns="0" anchor="b"/>
          <a:lstStyle>
            <a:lvl1pPr marL="0" indent="0" algn="l">
              <a:lnSpc>
                <a:spcPct val="95000"/>
              </a:lnSpc>
              <a:spcBef>
                <a:spcPts val="0"/>
              </a:spcBef>
              <a:spcAft>
                <a:spcPts val="0"/>
              </a:spcAft>
              <a:buNone/>
              <a:defRPr sz="1050">
                <a:solidFill>
                  <a:srgbClr val="FFFFFF"/>
                </a:solidFill>
                <a:latin typeface="+mn-lt"/>
              </a:defRPr>
            </a:lvl1pPr>
          </a:lstStyle>
          <a:p>
            <a:pPr lvl="0"/>
            <a:r>
              <a:rPr lang="en-US" dirty="0"/>
              <a:t>Click to edit job title</a:t>
            </a:r>
          </a:p>
        </p:txBody>
      </p:sp>
      <p:sp>
        <p:nvSpPr>
          <p:cNvPr id="11" name="Title 10"/>
          <p:cNvSpPr>
            <a:spLocks noGrp="1"/>
          </p:cNvSpPr>
          <p:nvPr>
            <p:ph type="title"/>
          </p:nvPr>
        </p:nvSpPr>
        <p:spPr>
          <a:xfrm>
            <a:off x="2787650" y="1534204"/>
            <a:ext cx="5993493" cy="978582"/>
          </a:xfrm>
        </p:spPr>
        <p:txBody>
          <a:bodyPr anchor="t"/>
          <a:lstStyle>
            <a:lvl1pPr algn="l">
              <a:lnSpc>
                <a:spcPct val="100000"/>
              </a:lnSpc>
              <a:defRPr sz="2100" b="1" i="0">
                <a:solidFill>
                  <a:schemeClr val="tx1"/>
                </a:solidFill>
                <a:latin typeface="+mj-lt"/>
                <a:cs typeface="BISansNEXT" panose="02000503040000020004" pitchFamily="50" charset="0"/>
              </a:defRPr>
            </a:lvl1pPr>
          </a:lstStyle>
          <a:p>
            <a:r>
              <a:rPr lang="en-US" dirty="0"/>
              <a:t>Click to edit Master title style</a:t>
            </a:r>
            <a:endParaRPr lang="en-GB" dirty="0"/>
          </a:p>
        </p:txBody>
      </p:sp>
    </p:spTree>
    <p:extLst>
      <p:ext uri="{BB962C8B-B14F-4D97-AF65-F5344CB8AC3E}">
        <p14:creationId xmlns:p14="http://schemas.microsoft.com/office/powerpoint/2010/main" val="3193349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Section Slide">
    <p:bg>
      <p:bgPr>
        <a:solidFill>
          <a:schemeClr val="tx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7423" t="15980" r="7499" b="18233"/>
          <a:stretch/>
        </p:blipFill>
        <p:spPr>
          <a:xfrm>
            <a:off x="-11060" y="-22123"/>
            <a:ext cx="9158748" cy="5165623"/>
          </a:xfrm>
          <a:prstGeom prst="rect">
            <a:avLst/>
          </a:prstGeom>
        </p:spPr>
      </p:pic>
      <p:grpSp>
        <p:nvGrpSpPr>
          <p:cNvPr id="14" name="Group 13"/>
          <p:cNvGrpSpPr/>
          <p:nvPr userDrawn="1"/>
        </p:nvGrpSpPr>
        <p:grpSpPr>
          <a:xfrm>
            <a:off x="-3688" y="1193800"/>
            <a:ext cx="9158748" cy="2129366"/>
            <a:chOff x="-4917" y="1591733"/>
            <a:chExt cx="12211664" cy="2839155"/>
          </a:xfrm>
        </p:grpSpPr>
        <p:grpSp>
          <p:nvGrpSpPr>
            <p:cNvPr id="17" name="Group 16"/>
            <p:cNvGrpSpPr/>
            <p:nvPr userDrawn="1"/>
          </p:nvGrpSpPr>
          <p:grpSpPr>
            <a:xfrm>
              <a:off x="-4917" y="1591733"/>
              <a:ext cx="12211664" cy="2839155"/>
              <a:chOff x="-4917" y="1591733"/>
              <a:chExt cx="12211664" cy="2839155"/>
            </a:xfrm>
          </p:grpSpPr>
          <p:cxnSp>
            <p:nvCxnSpPr>
              <p:cNvPr id="19" name="Straight Connector 18"/>
              <p:cNvCxnSpPr/>
              <p:nvPr userDrawn="1"/>
            </p:nvCxnSpPr>
            <p:spPr bwMode="auto">
              <a:xfrm>
                <a:off x="-4917" y="1591733"/>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cxnSp>
            <p:nvCxnSpPr>
              <p:cNvPr id="20" name="Straight Connector 19"/>
              <p:cNvCxnSpPr/>
              <p:nvPr userDrawn="1"/>
            </p:nvCxnSpPr>
            <p:spPr bwMode="auto">
              <a:xfrm>
                <a:off x="-4917" y="1941688"/>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cxnSp>
            <p:nvCxnSpPr>
              <p:cNvPr id="21" name="Straight Connector 20"/>
              <p:cNvCxnSpPr/>
              <p:nvPr userDrawn="1"/>
            </p:nvCxnSpPr>
            <p:spPr bwMode="auto">
              <a:xfrm>
                <a:off x="-4917" y="4430888"/>
                <a:ext cx="12211664" cy="0"/>
              </a:xfrm>
              <a:prstGeom prst="line">
                <a:avLst/>
              </a:prstGeom>
              <a:solidFill>
                <a:schemeClr val="bg1"/>
              </a:solidFill>
              <a:ln w="25400" cap="flat" cmpd="sng" algn="ctr">
                <a:solidFill>
                  <a:srgbClr val="003366"/>
                </a:solidFill>
                <a:prstDash val="solid"/>
                <a:round/>
                <a:headEnd type="none" w="med" len="med"/>
                <a:tailEnd type="none" w="med" len="med"/>
              </a:ln>
              <a:effectLst/>
            </p:spPr>
          </p:cxnSp>
          <p:sp>
            <p:nvSpPr>
              <p:cNvPr id="22" name="Rectangle 21"/>
              <p:cNvSpPr/>
              <p:nvPr userDrawn="1"/>
            </p:nvSpPr>
            <p:spPr bwMode="auto">
              <a:xfrm>
                <a:off x="1136650" y="1591733"/>
                <a:ext cx="4349750" cy="349955"/>
              </a:xfrm>
              <a:prstGeom prst="rect">
                <a:avLst/>
              </a:prstGeom>
              <a:solidFill>
                <a:srgbClr val="003366"/>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0" rIns="91440" bIns="0" numCol="1" rtlCol="0" anchor="t" anchorCtr="0" compatLnSpc="1">
                <a:prstTxWarp prst="textNoShape">
                  <a:avLst/>
                </a:prstTxWarp>
              </a:bodyPr>
              <a:lstStyle/>
              <a:p>
                <a:pPr algn="l" eaLnBrk="0" hangingPunct="0">
                  <a:lnSpc>
                    <a:spcPct val="100000"/>
                  </a:lnSpc>
                  <a:spcBef>
                    <a:spcPct val="0"/>
                  </a:spcBef>
                  <a:buClrTx/>
                  <a:buFontTx/>
                  <a:buNone/>
                </a:pPr>
                <a:endParaRPr lang="en-GB" sz="1350" dirty="0" err="1">
                  <a:solidFill>
                    <a:srgbClr val="FFFFFF"/>
                  </a:solidFill>
                  <a:latin typeface="+mn-lt"/>
                </a:endParaRPr>
              </a:p>
            </p:txBody>
          </p:sp>
          <p:sp>
            <p:nvSpPr>
              <p:cNvPr id="23" name="Rectangle 22"/>
              <p:cNvSpPr/>
              <p:nvPr userDrawn="1"/>
            </p:nvSpPr>
            <p:spPr bwMode="auto">
              <a:xfrm>
                <a:off x="3308654" y="1938417"/>
                <a:ext cx="8882841" cy="2492189"/>
              </a:xfrm>
              <a:prstGeom prst="rect">
                <a:avLst/>
              </a:prstGeom>
              <a:solidFill>
                <a:srgbClr val="003366"/>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0" rIns="91440" bIns="0" numCol="1" rtlCol="0" anchor="t" anchorCtr="0" compatLnSpc="1">
                <a:prstTxWarp prst="textNoShape">
                  <a:avLst/>
                </a:prstTxWarp>
              </a:bodyPr>
              <a:lstStyle/>
              <a:p>
                <a:pPr algn="l" eaLnBrk="0" hangingPunct="0">
                  <a:lnSpc>
                    <a:spcPct val="100000"/>
                  </a:lnSpc>
                  <a:spcBef>
                    <a:spcPct val="0"/>
                  </a:spcBef>
                  <a:buClrTx/>
                  <a:buFontTx/>
                  <a:buNone/>
                </a:pPr>
                <a:endParaRPr lang="en-GB" sz="1350" dirty="0" err="1">
                  <a:solidFill>
                    <a:srgbClr val="FFFFFF"/>
                  </a:solidFill>
                  <a:latin typeface="+mn-lt"/>
                </a:endParaRPr>
              </a:p>
            </p:txBody>
          </p:sp>
        </p:grpSp>
        <p:sp>
          <p:nvSpPr>
            <p:cNvPr id="18" name="TextBox 17"/>
            <p:cNvSpPr txBox="1"/>
            <p:nvPr userDrawn="1"/>
          </p:nvSpPr>
          <p:spPr>
            <a:xfrm>
              <a:off x="1287760" y="1607802"/>
              <a:ext cx="2646452" cy="338555"/>
            </a:xfrm>
            <a:prstGeom prst="rect">
              <a:avLst/>
            </a:prstGeom>
            <a:noFill/>
          </p:spPr>
          <p:txBody>
            <a:bodyPr wrap="none" rtlCol="0">
              <a:spAutoFit/>
            </a:bodyPr>
            <a:lstStyle/>
            <a:p>
              <a:pPr algn="l">
                <a:lnSpc>
                  <a:spcPct val="100000"/>
                </a:lnSpc>
                <a:spcBef>
                  <a:spcPts val="0"/>
                </a:spcBef>
              </a:pPr>
              <a:r>
                <a:rPr lang="en-GB" sz="1050" dirty="0" err="1">
                  <a:solidFill>
                    <a:schemeClr val="tx1"/>
                  </a:solidFill>
                  <a:latin typeface="BISansMl" panose="02000503040000020004" pitchFamily="50" charset="0"/>
                </a:rPr>
                <a:t>Boehringer</a:t>
              </a:r>
              <a:r>
                <a:rPr lang="en-GB" sz="1050" dirty="0">
                  <a:solidFill>
                    <a:schemeClr val="tx1"/>
                  </a:solidFill>
                  <a:latin typeface="BISansMl" panose="02000503040000020004" pitchFamily="50" charset="0"/>
                </a:rPr>
                <a:t> </a:t>
              </a:r>
              <a:r>
                <a:rPr lang="en-GB" sz="1050" dirty="0" err="1">
                  <a:solidFill>
                    <a:schemeClr val="tx1"/>
                  </a:solidFill>
                  <a:latin typeface="BISansMl" panose="02000503040000020004" pitchFamily="50" charset="0"/>
                </a:rPr>
                <a:t>Ingelheim</a:t>
              </a:r>
              <a:r>
                <a:rPr lang="en-GB" sz="1050" dirty="0">
                  <a:solidFill>
                    <a:schemeClr val="tx1"/>
                  </a:solidFill>
                  <a:latin typeface="BISansMl" panose="02000503040000020004" pitchFamily="50" charset="0"/>
                </a:rPr>
                <a:t> </a:t>
              </a:r>
              <a:r>
                <a:rPr lang="en-GB" sz="1050" dirty="0" err="1">
                  <a:solidFill>
                    <a:schemeClr val="tx1"/>
                  </a:solidFill>
                  <a:latin typeface="BISansMl" panose="02000503040000020004" pitchFamily="50" charset="0"/>
                </a:rPr>
                <a:t>Biosimilars</a:t>
              </a:r>
              <a:endParaRPr lang="en-GB" sz="1050" dirty="0">
                <a:solidFill>
                  <a:schemeClr val="tx1"/>
                </a:solidFill>
                <a:latin typeface="BISansMl" panose="02000503040000020004" pitchFamily="50" charset="0"/>
              </a:endParaRPr>
            </a:p>
          </p:txBody>
        </p:sp>
      </p:grpSp>
      <p:pic>
        <p:nvPicPr>
          <p:cNvPr id="24" name="Picture 23"/>
          <p:cNvPicPr>
            <a:picLocks noChangeAspect="1"/>
          </p:cNvPicPr>
          <p:nvPr userDrawn="1"/>
        </p:nvPicPr>
        <p:blipFill rotWithShape="1">
          <a:blip r:embed="rId3" cstate="print">
            <a:extLst>
              <a:ext uri="{28A0092B-C50C-407E-A947-70E740481C1C}">
                <a14:useLocalDpi xmlns:a14="http://schemas.microsoft.com/office/drawing/2010/main" val="0"/>
              </a:ext>
            </a:extLst>
          </a:blip>
          <a:srcRect b="21463"/>
          <a:stretch/>
        </p:blipFill>
        <p:spPr>
          <a:xfrm>
            <a:off x="7268129" y="4460096"/>
            <a:ext cx="1609298" cy="505196"/>
          </a:xfrm>
          <a:prstGeom prst="rect">
            <a:avLst/>
          </a:prstGeom>
        </p:spPr>
      </p:pic>
      <p:grpSp>
        <p:nvGrpSpPr>
          <p:cNvPr id="2" name="Group 6"/>
          <p:cNvGrpSpPr>
            <a:grpSpLocks/>
          </p:cNvGrpSpPr>
          <p:nvPr/>
        </p:nvGrpSpPr>
        <p:grpSpPr bwMode="auto">
          <a:xfrm>
            <a:off x="0" y="0"/>
            <a:ext cx="9144000" cy="5143500"/>
            <a:chOff x="0" y="0"/>
            <a:chExt cx="5760" cy="4320"/>
          </a:xfrm>
        </p:grpSpPr>
        <p:sp>
          <p:nvSpPr>
            <p:cNvPr id="7" name="Line 7"/>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8" name="Line 8"/>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9" name="Line 9"/>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sp>
          <p:nvSpPr>
            <p:cNvPr id="10" name="Line 10"/>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grpSp>
      <p:sp>
        <p:nvSpPr>
          <p:cNvPr id="11" name="Title 10"/>
          <p:cNvSpPr>
            <a:spLocks noGrp="1"/>
          </p:cNvSpPr>
          <p:nvPr>
            <p:ph type="title"/>
          </p:nvPr>
        </p:nvSpPr>
        <p:spPr>
          <a:xfrm>
            <a:off x="2787650" y="1608287"/>
            <a:ext cx="5993493" cy="1604510"/>
          </a:xfrm>
        </p:spPr>
        <p:txBody>
          <a:bodyPr anchor="ctr"/>
          <a:lstStyle>
            <a:lvl1pPr algn="l">
              <a:lnSpc>
                <a:spcPct val="90000"/>
              </a:lnSpc>
              <a:defRPr sz="2100" b="0" i="0">
                <a:solidFill>
                  <a:schemeClr val="tx1"/>
                </a:solidFill>
                <a:latin typeface="+mj-lt"/>
                <a:cs typeface="BISansNEXT" panose="02000503040000020004" pitchFamily="50" charset="0"/>
              </a:defRPr>
            </a:lvl1pPr>
          </a:lstStyle>
          <a:p>
            <a:r>
              <a:rPr lang="en-US" dirty="0"/>
              <a:t>Click to edit Master title style</a:t>
            </a:r>
            <a:endParaRPr lang="en-GB" dirty="0"/>
          </a:p>
        </p:txBody>
      </p:sp>
    </p:spTree>
    <p:extLst>
      <p:ext uri="{BB962C8B-B14F-4D97-AF65-F5344CB8AC3E}">
        <p14:creationId xmlns:p14="http://schemas.microsoft.com/office/powerpoint/2010/main" val="4248023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
        <p:nvSpPr>
          <p:cNvPr id="10" name="Content Placeholder 8"/>
          <p:cNvSpPr>
            <a:spLocks noGrp="1"/>
          </p:cNvSpPr>
          <p:nvPr>
            <p:ph sz="quarter" idx="13"/>
          </p:nvPr>
        </p:nvSpPr>
        <p:spPr>
          <a:xfrm>
            <a:off x="357189" y="850393"/>
            <a:ext cx="8415337" cy="3507581"/>
          </a:xfrm>
        </p:spPr>
        <p:txBody>
          <a:bodyPr/>
          <a:lstStyle>
            <a:lvl5pPr>
              <a:defRPr/>
            </a:lvl5pPr>
            <a:lvl6pPr>
              <a:defRPr/>
            </a:lvl6pPr>
            <a:lvl7pPr>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307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pSp>
        <p:nvGrpSpPr>
          <p:cNvPr id="12" name="Group 11"/>
          <p:cNvGrpSpPr/>
          <p:nvPr userDrawn="1"/>
        </p:nvGrpSpPr>
        <p:grpSpPr>
          <a:xfrm>
            <a:off x="7471011" y="-1"/>
            <a:ext cx="1672989" cy="1588851"/>
            <a:chOff x="7471011" y="-1"/>
            <a:chExt cx="1672989" cy="1588851"/>
          </a:xfrm>
        </p:grpSpPr>
        <p:pic>
          <p:nvPicPr>
            <p:cNvPr id="16" name="Picture 15"/>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18" name="Picture 17"/>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3" name="Group 12"/>
          <p:cNvGrpSpPr/>
          <p:nvPr userDrawn="1"/>
        </p:nvGrpSpPr>
        <p:grpSpPr>
          <a:xfrm>
            <a:off x="0" y="667932"/>
            <a:ext cx="9144000" cy="54000"/>
            <a:chOff x="0" y="667932"/>
            <a:chExt cx="9144000" cy="72000"/>
          </a:xfrm>
        </p:grpSpPr>
        <p:sp>
          <p:nvSpPr>
            <p:cNvPr id="14" name="Rectangle 13"/>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5" name="Rectangle 14"/>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2" name="Titel 1"/>
          <p:cNvSpPr>
            <a:spLocks noGrp="1"/>
          </p:cNvSpPr>
          <p:nvPr>
            <p:ph type="title" hasCustomPrompt="1"/>
          </p:nvPr>
        </p:nvSpPr>
        <p:spPr/>
        <p:txBody>
          <a:bodyPr/>
          <a:lstStyle>
            <a:lvl1pPr>
              <a:defRPr cap="all" baseline="0"/>
            </a:lvl1pPr>
          </a:lstStyle>
          <a:p>
            <a:r>
              <a:rPr lang="de-DE" noProof="0" dirty="0"/>
              <a:t>Title</a:t>
            </a:r>
            <a:endParaRPr lang="en-GB" noProof="0" dirty="0"/>
          </a:p>
        </p:txBody>
      </p:sp>
      <p:pic>
        <p:nvPicPr>
          <p:cNvPr id="11" name="Picture 10"/>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2852764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eadline and 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
        <p:nvSpPr>
          <p:cNvPr id="6" name="Text Placeholder 6"/>
          <p:cNvSpPr>
            <a:spLocks noGrp="1"/>
          </p:cNvSpPr>
          <p:nvPr>
            <p:ph type="body" sz="quarter" idx="18"/>
          </p:nvPr>
        </p:nvSpPr>
        <p:spPr>
          <a:xfrm>
            <a:off x="357189" y="850393"/>
            <a:ext cx="8415337" cy="3507581"/>
          </a:xfrm>
        </p:spPr>
        <p:txBody>
          <a:bodyPr/>
          <a:lstStyle>
            <a:lvl1pPr marL="219075" indent="-219075">
              <a:buFont typeface="Arial" pitchFamily="34" charset="0"/>
              <a:buChar char="•"/>
              <a:defRPr/>
            </a:lvl1pPr>
            <a:lvl2pPr marL="429816" indent="-214313">
              <a:buSzPct val="100000"/>
              <a:buFont typeface="Courier New" pitchFamily="49" charset="0"/>
              <a:buChar char="o"/>
              <a:defRPr sz="1200"/>
            </a:lvl2pPr>
            <a:lvl3pPr marL="641747" indent="-219075">
              <a:buSzPct val="140000"/>
              <a:buFont typeface="Arial" pitchFamily="34" charset="0"/>
              <a:buChar char="•"/>
              <a:defRPr sz="1050"/>
            </a:lvl3pPr>
            <a:lvl4pPr marL="859631" indent="-217885">
              <a:buSzPct val="100000"/>
              <a:buFont typeface="Courier New" pitchFamily="49" charset="0"/>
              <a:buChar char="o"/>
              <a:defRPr sz="1050"/>
            </a:lvl4pPr>
            <a:lvl5pPr marL="1029891" indent="-216694">
              <a:buSzPct val="140000"/>
              <a:buFont typeface="Arial" pitchFamily="34" charset="0"/>
              <a:buChar char="•"/>
              <a:defRPr sz="1050"/>
            </a:lvl5pPr>
            <a:lvl6pPr marL="1240631" indent="-217885">
              <a:buSzPct val="100000"/>
              <a:buFont typeface="Courier New" pitchFamily="49" charset="0"/>
              <a:buChar char="o"/>
              <a:defRPr sz="1050" baseline="0"/>
            </a:lvl6pPr>
            <a:lvl7pPr marL="1457325" indent="-210741">
              <a:buSzPct val="140000"/>
              <a:buFont typeface="Arial" pitchFamily="34" charset="0"/>
              <a:buChar char="•"/>
              <a:defRPr sz="1050"/>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0840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140429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_No Title">
    <p:spTree>
      <p:nvGrpSpPr>
        <p:cNvPr id="1" name=""/>
        <p:cNvGrpSpPr/>
        <p:nvPr/>
      </p:nvGrpSpPr>
      <p:grpSpPr>
        <a:xfrm>
          <a:off x="0" y="0"/>
          <a:ext cx="0" cy="0"/>
          <a:chOff x="0" y="0"/>
          <a:chExt cx="0" cy="0"/>
        </a:xfrm>
      </p:grpSpPr>
      <p:sp>
        <p:nvSpPr>
          <p:cNvPr id="6"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400348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8" name="Title 7"/>
          <p:cNvSpPr>
            <a:spLocks noGrp="1"/>
          </p:cNvSpPr>
          <p:nvPr>
            <p:ph type="title"/>
          </p:nvPr>
        </p:nvSpPr>
        <p:spPr>
          <a:xfrm>
            <a:off x="357188" y="94501"/>
            <a:ext cx="6873927" cy="648890"/>
          </a:xfrm>
        </p:spPr>
        <p:txBody>
          <a:bodyPr/>
          <a:lstStyle/>
          <a:p>
            <a:r>
              <a:rPr lang="en-US" dirty="0"/>
              <a:t>Click to edit Master title style</a:t>
            </a:r>
          </a:p>
        </p:txBody>
      </p:sp>
      <p:sp>
        <p:nvSpPr>
          <p:cNvPr id="9" name="Content Placeholder 11"/>
          <p:cNvSpPr>
            <a:spLocks noGrp="1"/>
          </p:cNvSpPr>
          <p:nvPr>
            <p:ph sz="quarter" idx="20"/>
          </p:nvPr>
        </p:nvSpPr>
        <p:spPr>
          <a:xfrm>
            <a:off x="357188" y="850393"/>
            <a:ext cx="4142385" cy="35075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1"/>
          <p:cNvSpPr>
            <a:spLocks noGrp="1"/>
          </p:cNvSpPr>
          <p:nvPr>
            <p:ph sz="quarter" idx="21"/>
          </p:nvPr>
        </p:nvSpPr>
        <p:spPr>
          <a:xfrm>
            <a:off x="4630141" y="850393"/>
            <a:ext cx="4142385" cy="35075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4092655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7189" y="850392"/>
            <a:ext cx="4144645" cy="479822"/>
          </a:xfrm>
          <a:prstGeom prst="rect">
            <a:avLst/>
          </a:prstGeom>
        </p:spPr>
        <p:txBody>
          <a:bodyPr anchor="b"/>
          <a:lstStyle>
            <a:lvl1pPr marL="0" indent="0" algn="l">
              <a:spcBef>
                <a:spcPts val="0"/>
              </a:spcBef>
              <a:spcAft>
                <a:spcPts val="0"/>
              </a:spcAft>
              <a:buNone/>
              <a:defRPr sz="135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Text Placeholder 4"/>
          <p:cNvSpPr>
            <a:spLocks noGrp="1"/>
          </p:cNvSpPr>
          <p:nvPr>
            <p:ph type="body" sz="quarter" idx="3"/>
          </p:nvPr>
        </p:nvSpPr>
        <p:spPr>
          <a:xfrm>
            <a:off x="4627881" y="850392"/>
            <a:ext cx="4144645" cy="479822"/>
          </a:xfrm>
          <a:prstGeom prst="rect">
            <a:avLst/>
          </a:prstGeom>
        </p:spPr>
        <p:txBody>
          <a:bodyPr anchor="b"/>
          <a:lstStyle>
            <a:lvl1pPr marL="0" indent="0" algn="l">
              <a:spcBef>
                <a:spcPts val="0"/>
              </a:spcBef>
              <a:spcAft>
                <a:spcPts val="0"/>
              </a:spcAft>
              <a:buNone/>
              <a:defRPr sz="135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0" name="Title 9"/>
          <p:cNvSpPr>
            <a:spLocks noGrp="1"/>
          </p:cNvSpPr>
          <p:nvPr>
            <p:ph type="title"/>
          </p:nvPr>
        </p:nvSpPr>
        <p:spPr/>
        <p:txBody>
          <a:bodyPr/>
          <a:lstStyle/>
          <a:p>
            <a:r>
              <a:rPr lang="en-US"/>
              <a:t>Click to edit Master title style</a:t>
            </a:r>
          </a:p>
        </p:txBody>
      </p:sp>
      <p:sp>
        <p:nvSpPr>
          <p:cNvPr id="12" name="Content Placeholder 11"/>
          <p:cNvSpPr>
            <a:spLocks noGrp="1"/>
          </p:cNvSpPr>
          <p:nvPr>
            <p:ph sz="quarter" idx="20"/>
          </p:nvPr>
        </p:nvSpPr>
        <p:spPr>
          <a:xfrm>
            <a:off x="357188" y="1357884"/>
            <a:ext cx="4142385" cy="29604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1"/>
          <p:cNvSpPr>
            <a:spLocks noGrp="1"/>
          </p:cNvSpPr>
          <p:nvPr>
            <p:ph sz="quarter" idx="21"/>
          </p:nvPr>
        </p:nvSpPr>
        <p:spPr>
          <a:xfrm>
            <a:off x="4630141" y="1357884"/>
            <a:ext cx="4142385" cy="29604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25698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ef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8" name="Content Placeholder 11"/>
          <p:cNvSpPr>
            <a:spLocks noGrp="1"/>
          </p:cNvSpPr>
          <p:nvPr>
            <p:ph sz="quarter" idx="20"/>
          </p:nvPr>
        </p:nvSpPr>
        <p:spPr>
          <a:xfrm>
            <a:off x="357188" y="850393"/>
            <a:ext cx="4142385" cy="35075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331013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igh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8" name="Content Placeholder 11"/>
          <p:cNvSpPr>
            <a:spLocks noGrp="1"/>
          </p:cNvSpPr>
          <p:nvPr>
            <p:ph sz="quarter" idx="21"/>
          </p:nvPr>
        </p:nvSpPr>
        <p:spPr>
          <a:xfrm>
            <a:off x="4630141" y="850393"/>
            <a:ext cx="4142385" cy="35075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6" hasCustomPrompt="1"/>
          </p:nvPr>
        </p:nvSpPr>
        <p:spPr>
          <a:xfrm>
            <a:off x="356616" y="4903470"/>
            <a:ext cx="7516368" cy="82296"/>
          </a:xfrm>
        </p:spPr>
        <p:txBody>
          <a:bodyPr lIns="0" tIns="0" rIns="0" bIns="0" anchor="b" anchorCtr="0">
            <a:noAutofit/>
          </a:bodyPr>
          <a:lstStyle>
            <a:lvl1pPr>
              <a:spcBef>
                <a:spcPts val="0"/>
              </a:spcBef>
              <a:spcAft>
                <a:spcPts val="0"/>
              </a:spcAft>
              <a:defRPr sz="600"/>
            </a:lvl1pPr>
            <a:lvl2pPr>
              <a:defRPr sz="600"/>
            </a:lvl2pPr>
            <a:lvl3pPr>
              <a:defRPr sz="600"/>
            </a:lvl3pPr>
            <a:lvl4pPr>
              <a:defRPr sz="600"/>
            </a:lvl4pPr>
            <a:lvl5pPr>
              <a:defRPr sz="600"/>
            </a:lvl5pPr>
          </a:lstStyle>
          <a:p>
            <a:pPr lvl="0"/>
            <a:r>
              <a:rPr lang="en-US" dirty="0"/>
              <a:t>Source/Note</a:t>
            </a:r>
          </a:p>
        </p:txBody>
      </p:sp>
    </p:spTree>
    <p:extLst>
      <p:ext uri="{BB962C8B-B14F-4D97-AF65-F5344CB8AC3E}">
        <p14:creationId xmlns:p14="http://schemas.microsoft.com/office/powerpoint/2010/main" val="657363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884369" cy="1477328"/>
          </a:xfrm>
        </p:spPr>
        <p:txBody>
          <a:bodyPr wrap="square" lIns="0">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4" y="357275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0" name="Gerade Verbindung 9"/>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940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1477328"/>
          </a:xfrm>
        </p:spPr>
        <p:txBody>
          <a:bodyPr wrap="square">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1" name="Gerade Verbindung 10"/>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dirty="0">
                <a:solidFill>
                  <a:schemeClr val="bg1"/>
                </a:solidFill>
                <a:latin typeface="+mj-lt"/>
              </a:defRPr>
            </a:lvl1pPr>
          </a:lstStyle>
          <a:p>
            <a:pPr marL="0" lvl="0" algn="ctr"/>
            <a:r>
              <a:rPr lang="en-GB" noProof="0" dirty="0"/>
              <a:t>Add. info [font size variable]</a:t>
            </a:r>
          </a:p>
        </p:txBody>
      </p:sp>
    </p:spTree>
    <p:extLst>
      <p:ext uri="{BB962C8B-B14F-4D97-AF65-F5344CB8AC3E}">
        <p14:creationId xmlns:p14="http://schemas.microsoft.com/office/powerpoint/2010/main" val="283375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197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698615" y="1190585"/>
            <a:ext cx="1990747" cy="2655183"/>
          </a:xfrm>
          <a:prstGeom prst="rect">
            <a:avLst/>
          </a:prstGeom>
        </p:spPr>
      </p:pic>
      <p:pic>
        <p:nvPicPr>
          <p:cNvPr id="13" name="Picture 12"/>
          <p:cNvPicPr>
            <a:picLocks noChangeAspect="1"/>
          </p:cNvPicPr>
          <p:nvPr userDrawn="1"/>
        </p:nvPicPr>
        <p:blipFill rotWithShape="1">
          <a:blip r:embed="rId3"/>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2843808" y="901430"/>
            <a:ext cx="5562134" cy="3326859"/>
          </a:xfrm>
          <a:noFill/>
        </p:spPr>
        <p:txBody>
          <a:bodyPr anchor="ctr" anchorCtr="0">
            <a:noAutofit/>
          </a:bodyPr>
          <a:lstStyle>
            <a:lvl1pPr>
              <a:lnSpc>
                <a:spcPts val="5600"/>
              </a:lnSpc>
              <a:spcBef>
                <a:spcPts val="600"/>
              </a:spcBef>
              <a:defRPr sz="54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8" name="Picture 7"/>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259639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Tree>
    <p:extLst>
      <p:ext uri="{BB962C8B-B14F-4D97-AF65-F5344CB8AC3E}">
        <p14:creationId xmlns:p14="http://schemas.microsoft.com/office/powerpoint/2010/main" val="272581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de-DE" noProof="0"/>
              <a:t>Bild durch Klicken auf Symbol hinzufügen</a:t>
            </a:r>
            <a:endParaRPr lang="en-GB" noProof="0" dirty="0"/>
          </a:p>
        </p:txBody>
      </p:sp>
    </p:spTree>
    <p:extLst>
      <p:ext uri="{BB962C8B-B14F-4D97-AF65-F5344CB8AC3E}">
        <p14:creationId xmlns:p14="http://schemas.microsoft.com/office/powerpoint/2010/main" val="319983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433773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endParaRPr lang="en-GB" dirty="0"/>
          </a:p>
        </p:txBody>
      </p:sp>
      <p:sp>
        <p:nvSpPr>
          <p:cNvPr id="5" name="Fußzeilenplatzhalter 4"/>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367575" y="78437"/>
            <a:ext cx="8408850" cy="553998"/>
          </a:xfrm>
        </p:spPr>
        <p:txBody>
          <a:bodyPr/>
          <a:lstStyle>
            <a:lvl1pPr>
              <a:defRPr sz="3600"/>
            </a:lvl1pPr>
          </a:lstStyle>
          <a:p>
            <a:r>
              <a:rPr lang="de-DE" dirty="0"/>
              <a:t>Titelmasterformat durch Klicken bearbeiten</a:t>
            </a:r>
          </a:p>
        </p:txBody>
      </p:sp>
    </p:spTree>
    <p:extLst>
      <p:ext uri="{BB962C8B-B14F-4D97-AF65-F5344CB8AC3E}">
        <p14:creationId xmlns:p14="http://schemas.microsoft.com/office/powerpoint/2010/main" val="2142281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de-DE"/>
              <a:t>Titelmasterformat durch Klicken bearbeiten</a:t>
            </a:r>
          </a:p>
        </p:txBody>
      </p:sp>
      <p:sp>
        <p:nvSpPr>
          <p:cNvPr id="6" name="Datumsplatzhalter 5"/>
          <p:cNvSpPr>
            <a:spLocks noGrp="1"/>
          </p:cNvSpPr>
          <p:nvPr>
            <p:ph type="dt" sz="half" idx="10"/>
          </p:nvPr>
        </p:nvSpPr>
        <p:spPr/>
        <p:txBody>
          <a:bodyPr/>
          <a:lstStyle/>
          <a:p>
            <a:endParaRPr lang="en-GB" dirty="0"/>
          </a:p>
        </p:txBody>
      </p:sp>
      <p:sp>
        <p:nvSpPr>
          <p:cNvPr id="7" name="Fußzeilenplatzhalter 6"/>
          <p:cNvSpPr>
            <a:spLocks noGrp="1"/>
          </p:cNvSpPr>
          <p:nvPr>
            <p:ph type="ftr" sz="quarter" idx="11"/>
          </p:nvPr>
        </p:nvSpPr>
        <p:spPr/>
        <p:txBody>
          <a:bodyPr/>
          <a:lstStyle/>
          <a:p>
            <a:r>
              <a:rPr lang="en-GB"/>
              <a:t>#ConV2X 2018</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4041724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73"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7" name="Titel 6"/>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792661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15" name="Rechteck 14"/>
          <p:cNvSpPr/>
          <p:nvPr userDrawn="1"/>
        </p:nvSpPr>
        <p:spPr>
          <a:xfrm>
            <a:off x="0" y="103559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367575" y="1200151"/>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endParaRPr lang="en-GB" dirty="0"/>
          </a:p>
        </p:txBody>
      </p:sp>
      <p:sp>
        <p:nvSpPr>
          <p:cNvPr id="6" name="Fußzeilenplatzhalter 5"/>
          <p:cNvSpPr>
            <a:spLocks noGrp="1"/>
          </p:cNvSpPr>
          <p:nvPr>
            <p:ph type="ftr" sz="quarter" idx="11"/>
          </p:nvPr>
        </p:nvSpPr>
        <p:spPr/>
        <p:txBody>
          <a:bodyPr/>
          <a:lstStyle/>
          <a:p>
            <a:r>
              <a:rPr lang="en-GB"/>
              <a:t>#ConV2X 2018</a:t>
            </a:r>
            <a:endParaRPr lang="en-GB" dirty="0"/>
          </a:p>
        </p:txBody>
      </p:sp>
      <p:sp>
        <p:nvSpPr>
          <p:cNvPr id="7" name="Foliennummernplatzhalter 6"/>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150300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1771575" y="1451438"/>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dirty="0" smtClean="0">
                <a:solidFill>
                  <a:schemeClr val="bg1"/>
                </a:solidFill>
                <a:latin typeface="+mj-lt"/>
              </a:defRPr>
            </a:lvl1pPr>
          </a:lstStyle>
          <a:p>
            <a:pPr marL="0" lvl="0" algn="ctr"/>
            <a:r>
              <a:rPr lang="en-GB" noProof="0" dirty="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dirty="0"/>
          </a:p>
        </p:txBody>
      </p:sp>
      <p:sp>
        <p:nvSpPr>
          <p:cNvPr id="5" name="Fußzeilenplatzhalter 4"/>
          <p:cNvSpPr>
            <a:spLocks noGrp="1"/>
          </p:cNvSpPr>
          <p:nvPr>
            <p:ph type="ftr" sz="quarter" idx="13"/>
          </p:nvPr>
        </p:nvSpPr>
        <p:spPr/>
        <p:txBody>
          <a:bodyPr/>
          <a:lstStyle/>
          <a:p>
            <a:r>
              <a:rPr lang="en-GB"/>
              <a:t>#ConV2X 2018</a:t>
            </a:r>
            <a:endParaRPr lang="en-GB" dirty="0"/>
          </a:p>
        </p:txBody>
      </p:sp>
      <p:sp>
        <p:nvSpPr>
          <p:cNvPr id="7" name="Foliennummernplatzhalter 6"/>
          <p:cNvSpPr>
            <a:spLocks noGrp="1"/>
          </p:cNvSpPr>
          <p:nvPr>
            <p:ph type="sldNum" sz="quarter" idx="14"/>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1771575" y="659904"/>
            <a:ext cx="5065660" cy="369332"/>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1888835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86249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368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357886" y="1456365"/>
            <a:ext cx="1683404" cy="2245261"/>
          </a:xfrm>
          <a:prstGeom prst="rect">
            <a:avLst/>
          </a:prstGeom>
        </p:spPr>
      </p:pic>
      <p:sp>
        <p:nvSpPr>
          <p:cNvPr id="18" name="Rectangle 5"/>
          <p:cNvSpPr>
            <a:spLocks noGrp="1" noChangeArrowheads="1"/>
          </p:cNvSpPr>
          <p:nvPr>
            <p:ph type="ctrTitle"/>
          </p:nvPr>
        </p:nvSpPr>
        <p:spPr>
          <a:xfrm>
            <a:off x="2195736" y="915566"/>
            <a:ext cx="5562134" cy="3326859"/>
          </a:xfrm>
          <a:noFill/>
        </p:spPr>
        <p:txBody>
          <a:bodyPr anchor="ctr" anchorCtr="0">
            <a:noAutofit/>
          </a:bodyPr>
          <a:lstStyle>
            <a:lvl1pPr>
              <a:lnSpc>
                <a:spcPts val="5200"/>
              </a:lnSpc>
              <a:spcBef>
                <a:spcPts val="600"/>
              </a:spcBef>
              <a:defRPr sz="5000" b="1" cap="all" baseline="0">
                <a:solidFill>
                  <a:schemeClr val="bg1"/>
                </a:solidFill>
              </a:defRPr>
            </a:lvl1pPr>
          </a:lstStyle>
          <a:p>
            <a:endParaRPr lang="en-GB" noProof="0" dirty="0"/>
          </a:p>
        </p:txBody>
      </p:sp>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8" name="Picture 7"/>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1340007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9827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02143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73"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47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75" y="1200151"/>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4502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noProof="0" dirty="0"/>
          </a:p>
        </p:txBody>
      </p:sp>
      <p:sp>
        <p:nvSpPr>
          <p:cNvPr id="3" name="Fußzeilenplatzhalter 2"/>
          <p:cNvSpPr>
            <a:spLocks noGrp="1"/>
          </p:cNvSpPr>
          <p:nvPr>
            <p:ph type="ftr" sz="quarter" idx="11"/>
          </p:nvPr>
        </p:nvSpPr>
        <p:spPr/>
        <p:txBody>
          <a:bodyPr/>
          <a:lstStyle/>
          <a:p>
            <a:r>
              <a:rPr lang="en-GB" noProof="0"/>
              <a:t>#ConV2X 2018</a:t>
            </a:r>
            <a:endParaRPr lang="en-GB" noProof="0" dirty="0"/>
          </a:p>
        </p:txBody>
      </p:sp>
      <p:sp>
        <p:nvSpPr>
          <p:cNvPr id="4" name="Foliennummernplatzhalter 3"/>
          <p:cNvSpPr>
            <a:spLocks noGrp="1"/>
          </p:cNvSpPr>
          <p:nvPr>
            <p:ph type="sldNum" sz="quarter" idx="12"/>
          </p:nvPr>
        </p:nvSpPr>
        <p:spPr/>
        <p:txBody>
          <a:bodyPr/>
          <a:lstStyle/>
          <a:p>
            <a:fld id="{143B55C4-4F5A-416B-997D-6CE47EB0A945}" type="slidenum">
              <a:rPr lang="en-GB" noProof="0" smtClean="0"/>
              <a:t>‹#›</a:t>
            </a:fld>
            <a:endParaRPr lang="en-GB" noProof="0" dirty="0"/>
          </a:p>
        </p:txBody>
      </p:sp>
    </p:spTree>
    <p:extLst>
      <p:ext uri="{BB962C8B-B14F-4D97-AF65-F5344CB8AC3E}">
        <p14:creationId xmlns:p14="http://schemas.microsoft.com/office/powerpoint/2010/main" val="3711796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Empty slide">
    <p:spTree>
      <p:nvGrpSpPr>
        <p:cNvPr id="1" name=""/>
        <p:cNvGrpSpPr/>
        <p:nvPr/>
      </p:nvGrpSpPr>
      <p:grpSpPr>
        <a:xfrm>
          <a:off x="0" y="0"/>
          <a:ext cx="0" cy="0"/>
          <a:chOff x="0" y="0"/>
          <a:chExt cx="0" cy="0"/>
        </a:xfrm>
      </p:grpSpPr>
      <p:sp>
        <p:nvSpPr>
          <p:cNvPr id="78" name="Shape 78"/>
          <p:cNvSpPr>
            <a:spLocks noGrp="1"/>
          </p:cNvSpPr>
          <p:nvPr>
            <p:ph type="title"/>
          </p:nvPr>
        </p:nvSpPr>
        <p:spPr>
          <a:prstGeom prst="rect">
            <a:avLst/>
          </a:prstGeom>
        </p:spPr>
        <p:txBody>
          <a:bodyPr/>
          <a:lstStyle/>
          <a:p>
            <a:r>
              <a:t>Title Text</a:t>
            </a:r>
          </a:p>
        </p:txBody>
      </p:sp>
      <p:sp>
        <p:nvSpPr>
          <p:cNvPr id="79" name="Shape 79"/>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401492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Graphic with text">
    <p:spTree>
      <p:nvGrpSpPr>
        <p:cNvPr id="1" name=""/>
        <p:cNvGrpSpPr/>
        <p:nvPr/>
      </p:nvGrpSpPr>
      <p:grpSpPr>
        <a:xfrm>
          <a:off x="0" y="0"/>
          <a:ext cx="0" cy="0"/>
          <a:chOff x="0" y="0"/>
          <a:chExt cx="0" cy="0"/>
        </a:xfrm>
      </p:grpSpPr>
      <p:sp>
        <p:nvSpPr>
          <p:cNvPr id="114" name="Shape 114"/>
          <p:cNvSpPr/>
          <p:nvPr/>
        </p:nvSpPr>
        <p:spPr>
          <a:xfrm>
            <a:off x="357160" y="4286262"/>
            <a:ext cx="4143407" cy="321473"/>
          </a:xfrm>
          <a:prstGeom prst="rect">
            <a:avLst/>
          </a:prstGeom>
          <a:solidFill>
            <a:srgbClr val="A3C2E0"/>
          </a:solidFill>
          <a:ln w="12700">
            <a:miter lim="400000"/>
          </a:ln>
        </p:spPr>
        <p:txBody>
          <a:bodyPr lIns="0" tIns="0" rIns="0" bIns="0" anchor="ctr"/>
          <a:lstStyle/>
          <a:p>
            <a:pPr eaLnBrk="1" fontAlgn="auto">
              <a:spcBef>
                <a:spcPts val="0"/>
              </a:spcBef>
              <a:spcAft>
                <a:spcPts val="0"/>
              </a:spcAft>
              <a:defRPr sz="1400">
                <a:latin typeface="BISansCond"/>
                <a:ea typeface="BISansCond"/>
                <a:cs typeface="BISansCond"/>
                <a:sym typeface="BISansCond"/>
              </a:defRPr>
            </a:pPr>
            <a:endParaRPr sz="1050" kern="0">
              <a:solidFill>
                <a:srgbClr val="003366"/>
              </a:solidFill>
              <a:latin typeface="BISansCond"/>
              <a:ea typeface="BISansCond"/>
              <a:cs typeface="BISansCond"/>
              <a:sym typeface="BISansCond"/>
            </a:endParaRPr>
          </a:p>
        </p:txBody>
      </p:sp>
      <p:sp>
        <p:nvSpPr>
          <p:cNvPr id="115" name="Shape 115"/>
          <p:cNvSpPr>
            <a:spLocks noGrp="1"/>
          </p:cNvSpPr>
          <p:nvPr>
            <p:ph type="title"/>
          </p:nvPr>
        </p:nvSpPr>
        <p:spPr>
          <a:prstGeom prst="rect">
            <a:avLst/>
          </a:prstGeom>
        </p:spPr>
        <p:txBody>
          <a:bodyPr/>
          <a:lstStyle/>
          <a:p>
            <a:r>
              <a:t>Title Text</a:t>
            </a:r>
          </a:p>
        </p:txBody>
      </p:sp>
      <p:sp>
        <p:nvSpPr>
          <p:cNvPr id="116" name="Shape 116"/>
          <p:cNvSpPr>
            <a:spLocks noGrp="1"/>
          </p:cNvSpPr>
          <p:nvPr>
            <p:ph type="body" sz="half" idx="1"/>
          </p:nvPr>
        </p:nvSpPr>
        <p:spPr>
          <a:xfrm>
            <a:off x="4651375" y="944166"/>
            <a:ext cx="4141788" cy="36492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7" name="Shape 117"/>
          <p:cNvSpPr>
            <a:spLocks noGrp="1"/>
          </p:cNvSpPr>
          <p:nvPr>
            <p:ph type="body" sz="quarter" idx="13"/>
          </p:nvPr>
        </p:nvSpPr>
        <p:spPr>
          <a:xfrm>
            <a:off x="357187" y="4339856"/>
            <a:ext cx="4143378" cy="267880"/>
          </a:xfrm>
          <a:prstGeom prst="rect">
            <a:avLst/>
          </a:prstGeom>
        </p:spPr>
        <p:txBody>
          <a:bodyPr/>
          <a:lstStyle/>
          <a:p>
            <a:endParaRPr/>
          </a:p>
        </p:txBody>
      </p:sp>
      <p:sp>
        <p:nvSpPr>
          <p:cNvPr id="118" name="Shape 118"/>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995001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nd Conten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3" name="Shape 53"/>
          <p:cNvSpPr>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hasCustomPrompt="1"/>
          </p:nvPr>
        </p:nvSpPr>
        <p:spPr/>
        <p:txBody>
          <a:bodyPr/>
          <a:lstStyle/>
          <a:p>
            <a:r>
              <a:rPr lang="en-US" dirty="0"/>
              <a:t>Click to add title</a:t>
            </a:r>
            <a:endParaRPr lang="de-DE" dirty="0"/>
          </a:p>
        </p:txBody>
      </p:sp>
    </p:spTree>
    <p:extLst>
      <p:ext uri="{BB962C8B-B14F-4D97-AF65-F5344CB8AC3E}">
        <p14:creationId xmlns:p14="http://schemas.microsoft.com/office/powerpoint/2010/main" val="2185909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Interlink with picture">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Title Text</a:t>
            </a:r>
          </a:p>
        </p:txBody>
      </p:sp>
      <p:sp>
        <p:nvSpPr>
          <p:cNvPr id="97" name="Shape 97"/>
          <p:cNvSpPr>
            <a:spLocks noGrp="1"/>
          </p:cNvSpPr>
          <p:nvPr>
            <p:ph type="pic" idx="13"/>
          </p:nvPr>
        </p:nvSpPr>
        <p:spPr>
          <a:xfrm>
            <a:off x="0" y="750094"/>
            <a:ext cx="9144000" cy="3857639"/>
          </a:xfrm>
          <a:prstGeom prst="rect">
            <a:avLst/>
          </a:prstGeom>
        </p:spPr>
        <p:txBody>
          <a:bodyPr lIns="91439" tIns="45719" rIns="91439" bIns="45719">
            <a:noAutofit/>
          </a:bodyPr>
          <a:lstStyle/>
          <a:p>
            <a:endParaRPr/>
          </a:p>
        </p:txBody>
      </p:sp>
      <p:sp>
        <p:nvSpPr>
          <p:cNvPr id="98" name="Shape 98"/>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01963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105" name="Shape 105"/>
          <p:cNvSpPr>
            <a:spLocks noGrp="1"/>
          </p:cNvSpPr>
          <p:nvPr>
            <p:ph type="title"/>
          </p:nvPr>
        </p:nvSpPr>
        <p:spPr>
          <a:prstGeom prst="rect">
            <a:avLst/>
          </a:prstGeom>
        </p:spPr>
        <p:txBody>
          <a:bodyPr/>
          <a:lstStyle/>
          <a:p>
            <a:r>
              <a:t>Title Text</a:t>
            </a:r>
          </a:p>
        </p:txBody>
      </p:sp>
      <p:sp>
        <p:nvSpPr>
          <p:cNvPr id="106" name="Shape 106"/>
          <p:cNvSpPr>
            <a:spLocks noGrp="1"/>
          </p:cNvSpPr>
          <p:nvPr>
            <p:ph type="body" idx="1"/>
          </p:nvPr>
        </p:nvSpPr>
        <p:spPr>
          <a:prstGeom prst="rect">
            <a:avLst/>
          </a:prstGeom>
        </p:spPr>
        <p:txBody>
          <a:bodyPr/>
          <a:lstStyle>
            <a:lvl1pPr>
              <a:defRPr sz="3150" b="1"/>
            </a:lvl1pPr>
            <a:lvl2pPr>
              <a:defRPr sz="3150" b="1"/>
            </a:lvl2pPr>
            <a:lvl3pPr>
              <a:defRPr sz="3150" b="1"/>
            </a:lvl3pPr>
            <a:lvl4pPr>
              <a:defRPr sz="3150" b="1"/>
            </a:lvl4pPr>
            <a:lvl5pPr>
              <a:defRPr sz="3150" b="1"/>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42969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1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4408529" y="830588"/>
            <a:ext cx="1287465" cy="1717171"/>
          </a:xfrm>
          <a:prstGeom prst="rect">
            <a:avLst/>
          </a:prstGeom>
        </p:spPr>
      </p:pic>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5792049" y="639831"/>
            <a:ext cx="3060848" cy="1512523"/>
          </a:xfrm>
          <a:noFill/>
        </p:spPr>
        <p:txBody>
          <a:bodyPr anchor="b" anchorCtr="0">
            <a:noAutofit/>
          </a:bodyPr>
          <a:lstStyle>
            <a:lvl1pPr>
              <a:lnSpc>
                <a:spcPts val="3600"/>
              </a:lnSpc>
              <a:spcBef>
                <a:spcPts val="600"/>
              </a:spcBef>
              <a:defRPr sz="32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4" name="Text Placeholder 3"/>
          <p:cNvSpPr>
            <a:spLocks noGrp="1"/>
          </p:cNvSpPr>
          <p:nvPr>
            <p:ph type="body" sz="quarter" idx="10"/>
          </p:nvPr>
        </p:nvSpPr>
        <p:spPr>
          <a:xfrm>
            <a:off x="5792049" y="2283718"/>
            <a:ext cx="3060000" cy="2304256"/>
          </a:xfrm>
        </p:spPr>
        <p:txBody>
          <a:bodyPr/>
          <a:lstStyle>
            <a:lvl1pPr>
              <a:spcBef>
                <a:spcPts val="600"/>
              </a:spcBef>
              <a:defRPr sz="1400">
                <a:solidFill>
                  <a:schemeClr val="bg1"/>
                </a:solidFill>
              </a:defRPr>
            </a:lvl1pPr>
            <a:lvl2pPr>
              <a:spcBef>
                <a:spcPts val="600"/>
              </a:spcBef>
              <a:defRPr sz="1400">
                <a:solidFill>
                  <a:schemeClr val="bg1"/>
                </a:solidFill>
              </a:defRPr>
            </a:lvl2pPr>
            <a:lvl3pPr>
              <a:spcBef>
                <a:spcPts val="600"/>
              </a:spcBef>
              <a:defRPr sz="14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3828498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a:xfrm>
            <a:off x="7630236" y="4910708"/>
            <a:ext cx="573875" cy="153888"/>
          </a:xfrm>
        </p:spPr>
        <p:txBody>
          <a:bodyPr/>
          <a:lstStyle>
            <a:lvl1pPr>
              <a:defRPr/>
            </a:lvl1pPr>
          </a:lstStyle>
          <a:p>
            <a:endParaRPr lang="en-GB" dirty="0"/>
          </a:p>
        </p:txBody>
      </p:sp>
      <p:sp>
        <p:nvSpPr>
          <p:cNvPr id="5" name="Fußzeilenplatzhalter 4"/>
          <p:cNvSpPr>
            <a:spLocks noGrp="1"/>
          </p:cNvSpPr>
          <p:nvPr>
            <p:ph type="ftr" sz="quarter" idx="11"/>
          </p:nvPr>
        </p:nvSpPr>
        <p:spPr/>
        <p:txBody>
          <a:bodyPr/>
          <a:lstStyle>
            <a:lvl1pPr>
              <a:defRPr/>
            </a:lvl1pPr>
          </a:lstStyle>
          <a:p>
            <a:r>
              <a:rPr lang="en-GB"/>
              <a:t>#ConV2X 2018</a:t>
            </a:r>
            <a:endParaRPr lang="en-GB" dirty="0"/>
          </a:p>
        </p:txBody>
      </p:sp>
      <p:sp>
        <p:nvSpPr>
          <p:cNvPr id="6" name="Foliennummernplatzhalter 5"/>
          <p:cNvSpPr>
            <a:spLocks noGrp="1"/>
          </p:cNvSpPr>
          <p:nvPr>
            <p:ph type="sldNum" sz="quarter" idx="12"/>
          </p:nvPr>
        </p:nvSpPr>
        <p:spPr>
          <a:xfrm>
            <a:off x="8628949" y="4910708"/>
            <a:ext cx="147476" cy="153888"/>
          </a:xfrm>
        </p:spPr>
        <p:txBody>
          <a:bodyPr/>
          <a:lstStyle>
            <a:lvl1pPr>
              <a:defRPr/>
            </a:lvl1pPr>
          </a:lstStyle>
          <a:p>
            <a:fld id="{D446586B-FF75-47A1-A069-ED9CC9CD5B58}" type="slidenum">
              <a:rPr lang="en-GB" smtClean="0"/>
              <a:pPr/>
              <a:t>‹#›</a:t>
            </a:fld>
            <a:endParaRPr lang="en-GB" dirty="0"/>
          </a:p>
        </p:txBody>
      </p:sp>
    </p:spTree>
    <p:extLst>
      <p:ext uri="{BB962C8B-B14F-4D97-AF65-F5344CB8AC3E}">
        <p14:creationId xmlns:p14="http://schemas.microsoft.com/office/powerpoint/2010/main" val="2049292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2320" y="3122991"/>
            <a:ext cx="7274214" cy="960921"/>
          </a:xfrm>
        </p:spPr>
        <p:txBody>
          <a:bodyPr/>
          <a:lstStyle>
            <a:lvl1pPr algn="l">
              <a:defRPr>
                <a:solidFill>
                  <a:srgbClr val="0072BB"/>
                </a:solidFill>
                <a:latin typeface="+mn-lt"/>
                <a:cs typeface="Calibri" panose="020F0502020204030204"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432771" y="4204028"/>
            <a:ext cx="7264498" cy="623504"/>
          </a:xfrm>
        </p:spPr>
        <p:txBody>
          <a:bodyPr/>
          <a:lstStyle>
            <a:lvl1pPr marL="0" indent="0" algn="l">
              <a:buNone/>
              <a:defRPr>
                <a:solidFill>
                  <a:schemeClr val="bg1">
                    <a:lumMod val="50000"/>
                  </a:schemeClr>
                </a:solidFill>
                <a:latin typeface="+mn-lt"/>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139801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1527" y="308867"/>
            <a:ext cx="7696792" cy="463300"/>
          </a:xfrm>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51371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986082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57200" y="4767263"/>
            <a:ext cx="2133600" cy="273844"/>
          </a:xfrm>
          <a:prstGeom prst="rect">
            <a:avLst/>
          </a:prstGeom>
        </p:spPr>
        <p:txBody>
          <a:bodyPr/>
          <a:lstStyle>
            <a:lvl1pPr>
              <a:defRPr>
                <a:latin typeface="Calibri" panose="020F0502020204030204" pitchFamily="34" charset="0"/>
              </a:defRPr>
            </a:lvl1pPr>
          </a:lstStyle>
          <a:p>
            <a:endParaRPr lang="es-ES" dirty="0">
              <a:solidFill>
                <a:prstClr val="black">
                  <a:tint val="75000"/>
                </a:prstClr>
              </a:solidFill>
            </a:endParaRPr>
          </a:p>
        </p:txBody>
      </p:sp>
      <p:sp>
        <p:nvSpPr>
          <p:cNvPr id="3" name="Marcador de pie de página 2"/>
          <p:cNvSpPr>
            <a:spLocks noGrp="1"/>
          </p:cNvSpPr>
          <p:nvPr>
            <p:ph type="ftr" sz="quarter" idx="11"/>
          </p:nvPr>
        </p:nvSpPr>
        <p:spPr>
          <a:xfrm>
            <a:off x="3124200" y="4767263"/>
            <a:ext cx="2895600" cy="273844"/>
          </a:xfrm>
          <a:prstGeom prst="rect">
            <a:avLst/>
          </a:prstGeom>
        </p:spPr>
        <p:txBody>
          <a:bodyPr/>
          <a:lstStyle>
            <a:lvl1pPr>
              <a:defRPr>
                <a:latin typeface="Calibri" panose="020F0502020204030204" pitchFamily="34" charset="0"/>
              </a:defRPr>
            </a:lvl1pPr>
          </a:lstStyle>
          <a:p>
            <a:r>
              <a:rPr lang="es-ES">
                <a:solidFill>
                  <a:prstClr val="black">
                    <a:tint val="75000"/>
                  </a:prstClr>
                </a:solidFill>
              </a:rPr>
              <a:t>#ConV2X 2018</a:t>
            </a:r>
            <a:endParaRPr lang="es-ES" dirty="0">
              <a:solidFill>
                <a:prstClr val="black">
                  <a:tint val="75000"/>
                </a:prstClr>
              </a:solidFill>
            </a:endParaRPr>
          </a:p>
        </p:txBody>
      </p:sp>
      <p:sp>
        <p:nvSpPr>
          <p:cNvPr id="4" name="Marcador de número de diapositiva 3"/>
          <p:cNvSpPr>
            <a:spLocks noGrp="1"/>
          </p:cNvSpPr>
          <p:nvPr>
            <p:ph type="sldNum" sz="quarter" idx="12"/>
          </p:nvPr>
        </p:nvSpPr>
        <p:spPr>
          <a:xfrm>
            <a:off x="6553200" y="4767263"/>
            <a:ext cx="2133600" cy="273844"/>
          </a:xfrm>
          <a:prstGeom prst="rect">
            <a:avLst/>
          </a:prstGeom>
        </p:spPr>
        <p:txBody>
          <a:bodyPr/>
          <a:lstStyle>
            <a:lvl1pPr>
              <a:defRPr>
                <a:latin typeface="Calibri" panose="020F0502020204030204" pitchFamily="34" charset="0"/>
              </a:defRPr>
            </a:lvl1pPr>
          </a:lstStyle>
          <a:p>
            <a:fld id="{8E676B82-9692-5646-AC61-BB0DF3E0EDBE}" type="slidenum">
              <a:rPr lang="es-ES" smtClean="0">
                <a:solidFill>
                  <a:prstClr val="black">
                    <a:tint val="75000"/>
                  </a:prstClr>
                </a:solidFill>
              </a:rPr>
              <a:pPr/>
              <a:t>‹#›</a:t>
            </a:fld>
            <a:endParaRPr lang="es-ES" dirty="0">
              <a:solidFill>
                <a:prstClr val="black">
                  <a:tint val="75000"/>
                </a:prstClr>
              </a:solidFill>
            </a:endParaRPr>
          </a:p>
        </p:txBody>
      </p:sp>
    </p:spTree>
    <p:extLst>
      <p:ext uri="{BB962C8B-B14F-4D97-AF65-F5344CB8AC3E}">
        <p14:creationId xmlns:p14="http://schemas.microsoft.com/office/powerpoint/2010/main" val="2518881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2_Standard slide">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58789" y="149996"/>
            <a:ext cx="6780213" cy="356639"/>
          </a:xfrm>
        </p:spPr>
        <p:txBody>
          <a:bodyPr/>
          <a:lstStyle>
            <a:lvl1pPr>
              <a:defRPr/>
            </a:lvl1pPr>
          </a:lstStyle>
          <a:p>
            <a:r>
              <a:rPr lang="de-DE" noProof="0" dirty="0"/>
              <a:t>Title</a:t>
            </a:r>
            <a:endParaRPr lang="en-GB" noProof="0" dirty="0"/>
          </a:p>
        </p:txBody>
      </p:sp>
      <p:sp>
        <p:nvSpPr>
          <p:cNvPr id="15" name="Text Placeholder 7"/>
          <p:cNvSpPr>
            <a:spLocks noGrp="1"/>
          </p:cNvSpPr>
          <p:nvPr>
            <p:ph type="body" sz="quarter" idx="13"/>
          </p:nvPr>
        </p:nvSpPr>
        <p:spPr>
          <a:xfrm>
            <a:off x="358775" y="866782"/>
            <a:ext cx="8404796" cy="3495161"/>
          </a:xfrm>
        </p:spPr>
        <p:txBody>
          <a:bodyPr/>
          <a:lstStyle>
            <a:lvl1pPr>
              <a:lnSpc>
                <a:spcPct val="85000"/>
              </a:lnSpc>
              <a:defRPr/>
            </a:lvl1pPr>
            <a:lvl2pPr>
              <a:lnSpc>
                <a:spcPct val="85000"/>
              </a:lnSpc>
              <a:defRPr>
                <a:latin typeface="Calibri" panose="020F0502020204030204" pitchFamily="34" charset="0"/>
                <a:cs typeface="Calibri" panose="020F0502020204030204" pitchFamily="34" charset="0"/>
              </a:defRPr>
            </a:lvl2pPr>
            <a:lvl3pPr>
              <a:lnSpc>
                <a:spcPct val="85000"/>
              </a:lnSpc>
              <a:defRPr>
                <a:latin typeface="Calibri" panose="020F0502020204030204" pitchFamily="34" charset="0"/>
                <a:cs typeface="Calibri" panose="020F0502020204030204" pitchFamily="34" charset="0"/>
              </a:defRPr>
            </a:lvl3pPr>
            <a:lvl4pPr>
              <a:lnSpc>
                <a:spcPct val="85000"/>
              </a:lnSpc>
              <a:defRPr>
                <a:latin typeface="Calibri" panose="020F0502020204030204" pitchFamily="34" charset="0"/>
                <a:cs typeface="Calibri" panose="020F0502020204030204" pitchFamily="34" charset="0"/>
              </a:defRPr>
            </a:lvl4pPr>
            <a:lvl5pPr>
              <a:lnSpc>
                <a:spcPct val="85000"/>
              </a:lnSpc>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4649472"/>
            <a:ext cx="2010032" cy="402494"/>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 y="501698"/>
            <a:ext cx="8962767" cy="351678"/>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8237837" y="4749327"/>
            <a:ext cx="724930" cy="175490"/>
          </a:xfrm>
          <a:prstGeom prst="rect">
            <a:avLst/>
          </a:prstGeom>
        </p:spPr>
      </p:pic>
      <p:sp>
        <p:nvSpPr>
          <p:cNvPr id="9" name="Rectangle 97"/>
          <p:cNvSpPr txBox="1">
            <a:spLocks noChangeArrowheads="1"/>
          </p:cNvSpPr>
          <p:nvPr userDrawn="1"/>
        </p:nvSpPr>
        <p:spPr bwMode="auto">
          <a:xfrm>
            <a:off x="7092280" y="4814382"/>
            <a:ext cx="1800200" cy="27027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a:defRPr/>
            </a:lvl1pPr>
          </a:lstStyle>
          <a:p>
            <a:pPr algn="r">
              <a:defRPr/>
            </a:pPr>
            <a:fld id="{66F0EABA-E365-442F-89E6-4F9C2B9DDC1A}" type="slidenum">
              <a:rPr lang="de-DE" sz="1000" smtClean="0">
                <a:solidFill>
                  <a:srgbClr val="000000"/>
                </a:solidFill>
              </a:rPr>
              <a:pPr algn="r">
                <a:defRPr/>
              </a:pPr>
              <a:t>‹#›</a:t>
            </a:fld>
            <a:endParaRPr lang="de-DE" sz="1000" dirty="0">
              <a:solidFill>
                <a:srgbClr val="000000"/>
              </a:solidFill>
            </a:endParaRPr>
          </a:p>
        </p:txBody>
      </p:sp>
    </p:spTree>
    <p:extLst>
      <p:ext uri="{BB962C8B-B14F-4D97-AF65-F5344CB8AC3E}">
        <p14:creationId xmlns:p14="http://schemas.microsoft.com/office/powerpoint/2010/main" val="121624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8"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p:nvPr>
        </p:nvSpPr>
        <p:spPr>
          <a:xfrm>
            <a:off x="367575" y="1200151"/>
            <a:ext cx="2934425" cy="2782569"/>
          </a:xfrm>
        </p:spPr>
        <p:txBody>
          <a:bodyPr/>
          <a:lstStyle>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Grafik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a:xfrm>
            <a:off x="7726416" y="4910708"/>
            <a:ext cx="477695" cy="153888"/>
          </a:xfrm>
          <a:prstGeom prst="rect">
            <a:avLst/>
          </a:prstGeom>
        </p:spPr>
        <p:txBody>
          <a:bodyPr/>
          <a:lstStyle/>
          <a:p>
            <a:endParaRPr lang="en-US" noProof="0" dirty="0"/>
          </a:p>
        </p:txBody>
      </p:sp>
      <p:sp>
        <p:nvSpPr>
          <p:cNvPr id="6" name="Fußzeilenplatzhalter 5"/>
          <p:cNvSpPr>
            <a:spLocks noGrp="1"/>
          </p:cNvSpPr>
          <p:nvPr>
            <p:ph type="ftr" sz="quarter" idx="13"/>
          </p:nvPr>
        </p:nvSpPr>
        <p:spPr>
          <a:xfrm>
            <a:off x="1351328" y="4910708"/>
            <a:ext cx="6139718" cy="153888"/>
          </a:xfrm>
          <a:prstGeom prst="rect">
            <a:avLst/>
          </a:prstGeom>
        </p:spPr>
        <p:txBody>
          <a:bodyPr/>
          <a:lstStyle>
            <a:lvl1pPr>
              <a:defRPr/>
            </a:lvl1pPr>
          </a:lstStyle>
          <a:p>
            <a:r>
              <a:rPr lang="en-US"/>
              <a:t>#ConV2X 2018</a:t>
            </a:r>
            <a:endParaRPr lang="en-US" dirty="0"/>
          </a:p>
        </p:txBody>
      </p:sp>
      <p:sp>
        <p:nvSpPr>
          <p:cNvPr id="7" name="Foliennummernplatzhalter 6"/>
          <p:cNvSpPr>
            <a:spLocks noGrp="1"/>
          </p:cNvSpPr>
          <p:nvPr>
            <p:ph type="sldNum" sz="quarter" idx="14"/>
          </p:nvPr>
        </p:nvSpPr>
        <p:spPr>
          <a:xfrm>
            <a:off x="8628949" y="4910708"/>
            <a:ext cx="147476" cy="153888"/>
          </a:xfrm>
          <a:prstGeom prst="rect">
            <a:avLst/>
          </a:prstGeom>
        </p:spPr>
        <p:txBody>
          <a:bodyPr/>
          <a:lstStyle/>
          <a:p>
            <a:fld id="{143B55C4-4F5A-416B-997D-6CE47EB0A945}" type="slidenum">
              <a:rPr lang="en-US" noProof="0" smtClean="0"/>
              <a:pPr/>
              <a:t>‹#›</a:t>
            </a:fld>
            <a:endParaRPr lang="en-US" noProof="0" dirty="0"/>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noProof="0" dirty="0"/>
              <a:t>Click to edit Master title style</a:t>
            </a:r>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214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tx">
  <p:cSld name="Standa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6592"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37" name="Shape 37"/>
          <p:cNvSpPr>
            <a:spLocks noGrp="1"/>
          </p:cNvSpPr>
          <p:nvPr>
            <p:ph type="title"/>
          </p:nvPr>
        </p:nvSpPr>
        <p:spPr>
          <a:prstGeom prst="rect">
            <a:avLst/>
          </a:prstGeom>
        </p:spPr>
        <p:txBody>
          <a:bodyPr/>
          <a:lstStyle/>
          <a:p>
            <a:r>
              <a:t>Texte du titre</a:t>
            </a:r>
          </a:p>
        </p:txBody>
      </p:sp>
      <p:sp>
        <p:nvSpPr>
          <p:cNvPr id="5" name="Shape 38"/>
          <p:cNvSpPr>
            <a:spLocks noGrp="1"/>
          </p:cNvSpPr>
          <p:nvPr>
            <p:ph type="sldNum" sz="quarter" idx="2"/>
          </p:nvPr>
        </p:nvSpPr>
        <p:spPr>
          <a:xfrm>
            <a:off x="7893051" y="4951810"/>
            <a:ext cx="900113" cy="134540"/>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sz="1800" b="0" i="0" u="none" strike="noStrike" kern="1200" cap="none" spc="0" normalizeH="0" baseline="0" noProof="0">
                <a:ln>
                  <a:noFill/>
                </a:ln>
                <a:solidFill>
                  <a:srgbClr val="00407D"/>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dirty="0">
              <a:ln>
                <a:noFill/>
              </a:ln>
              <a:solidFill>
                <a:srgbClr val="00407D"/>
              </a:solidFill>
              <a:effectLst/>
              <a:uLnTx/>
              <a:uFillTx/>
              <a:latin typeface="Calibri"/>
              <a:ea typeface="+mn-ea"/>
              <a:cs typeface="+mn-cs"/>
            </a:endParaRPr>
          </a:p>
        </p:txBody>
      </p:sp>
    </p:spTree>
    <p:extLst>
      <p:ext uri="{BB962C8B-B14F-4D97-AF65-F5344CB8AC3E}">
        <p14:creationId xmlns:p14="http://schemas.microsoft.com/office/powerpoint/2010/main" val="1203970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Freeform 6" descr="Map of World"/>
          <p:cNvSpPr>
            <a:spLocks noEditPoints="1"/>
          </p:cNvSpPr>
          <p:nvPr/>
        </p:nvSpPr>
        <p:spPr bwMode="gray">
          <a:xfrm>
            <a:off x="-3573" y="214313"/>
            <a:ext cx="9145191" cy="4786313"/>
          </a:xfrm>
          <a:custGeom>
            <a:avLst/>
            <a:gdLst>
              <a:gd name="T0" fmla="*/ 1321 w 3839"/>
              <a:gd name="T1" fmla="*/ 1341 h 2010"/>
              <a:gd name="T2" fmla="*/ 644 w 3839"/>
              <a:gd name="T3" fmla="*/ 1032 h 2010"/>
              <a:gd name="T4" fmla="*/ 995 w 3839"/>
              <a:gd name="T5" fmla="*/ 749 h 2010"/>
              <a:gd name="T6" fmla="*/ 1013 w 3839"/>
              <a:gd name="T7" fmla="*/ 526 h 2010"/>
              <a:gd name="T8" fmla="*/ 776 w 3839"/>
              <a:gd name="T9" fmla="*/ 409 h 2010"/>
              <a:gd name="T10" fmla="*/ 530 w 3839"/>
              <a:gd name="T11" fmla="*/ 365 h 2010"/>
              <a:gd name="T12" fmla="*/ 69 w 3839"/>
              <a:gd name="T13" fmla="*/ 510 h 2010"/>
              <a:gd name="T14" fmla="*/ 344 w 3839"/>
              <a:gd name="T15" fmla="*/ 718 h 2010"/>
              <a:gd name="T16" fmla="*/ 878 w 3839"/>
              <a:gd name="T17" fmla="*/ 1232 h 2010"/>
              <a:gd name="T18" fmla="*/ 915 w 3839"/>
              <a:gd name="T19" fmla="*/ 1949 h 2010"/>
              <a:gd name="T20" fmla="*/ 798 w 3839"/>
              <a:gd name="T21" fmla="*/ 732 h 2010"/>
              <a:gd name="T22" fmla="*/ 447 w 3839"/>
              <a:gd name="T23" fmla="*/ 485 h 2010"/>
              <a:gd name="T24" fmla="*/ 1031 w 3839"/>
              <a:gd name="T25" fmla="*/ 1993 h 2010"/>
              <a:gd name="T26" fmla="*/ 1022 w 3839"/>
              <a:gd name="T27" fmla="*/ 1085 h 2010"/>
              <a:gd name="T28" fmla="*/ 1145 w 3839"/>
              <a:gd name="T29" fmla="*/ 692 h 2010"/>
              <a:gd name="T30" fmla="*/ 1730 w 3839"/>
              <a:gd name="T31" fmla="*/ 572 h 2010"/>
              <a:gd name="T32" fmla="*/ 769 w 3839"/>
              <a:gd name="T33" fmla="*/ 322 h 2010"/>
              <a:gd name="T34" fmla="*/ 982 w 3839"/>
              <a:gd name="T35" fmla="*/ 409 h 2010"/>
              <a:gd name="T36" fmla="*/ 724 w 3839"/>
              <a:gd name="T37" fmla="*/ 56 h 2010"/>
              <a:gd name="T38" fmla="*/ 904 w 3839"/>
              <a:gd name="T39" fmla="*/ 129 h 2010"/>
              <a:gd name="T40" fmla="*/ 1688 w 3839"/>
              <a:gd name="T41" fmla="*/ 616 h 2010"/>
              <a:gd name="T42" fmla="*/ 3363 w 3839"/>
              <a:gd name="T43" fmla="*/ 206 h 2010"/>
              <a:gd name="T44" fmla="*/ 2041 w 3839"/>
              <a:gd name="T45" fmla="*/ 117 h 2010"/>
              <a:gd name="T46" fmla="*/ 1973 w 3839"/>
              <a:gd name="T47" fmla="*/ 332 h 2010"/>
              <a:gd name="T48" fmla="*/ 2419 w 3839"/>
              <a:gd name="T49" fmla="*/ 209 h 2010"/>
              <a:gd name="T50" fmla="*/ 229 w 3839"/>
              <a:gd name="T51" fmla="*/ 579 h 2010"/>
              <a:gd name="T52" fmla="*/ 478 w 3839"/>
              <a:gd name="T53" fmla="*/ 218 h 2010"/>
              <a:gd name="T54" fmla="*/ 672 w 3839"/>
              <a:gd name="T55" fmla="*/ 227 h 2010"/>
              <a:gd name="T56" fmla="*/ 799 w 3839"/>
              <a:gd name="T57" fmla="*/ 452 h 2010"/>
              <a:gd name="T58" fmla="*/ 599 w 3839"/>
              <a:gd name="T59" fmla="*/ 353 h 2010"/>
              <a:gd name="T60" fmla="*/ 3451 w 3839"/>
              <a:gd name="T61" fmla="*/ 742 h 2010"/>
              <a:gd name="T62" fmla="*/ 3361 w 3839"/>
              <a:gd name="T63" fmla="*/ 1324 h 2010"/>
              <a:gd name="T64" fmla="*/ 3374 w 3839"/>
              <a:gd name="T65" fmla="*/ 1451 h 2010"/>
              <a:gd name="T66" fmla="*/ 3332 w 3839"/>
              <a:gd name="T67" fmla="*/ 1692 h 2010"/>
              <a:gd name="T68" fmla="*/ 3404 w 3839"/>
              <a:gd name="T69" fmla="*/ 775 h 2010"/>
              <a:gd name="T70" fmla="*/ 3221 w 3839"/>
              <a:gd name="T71" fmla="*/ 1282 h 2010"/>
              <a:gd name="T72" fmla="*/ 3044 w 3839"/>
              <a:gd name="T73" fmla="*/ 242 h 2010"/>
              <a:gd name="T74" fmla="*/ 3561 w 3839"/>
              <a:gd name="T75" fmla="*/ 308 h 2010"/>
              <a:gd name="T76" fmla="*/ 2905 w 3839"/>
              <a:gd name="T77" fmla="*/ 187 h 2010"/>
              <a:gd name="T78" fmla="*/ 2430 w 3839"/>
              <a:gd name="T79" fmla="*/ 350 h 2010"/>
              <a:gd name="T80" fmla="*/ 1993 w 3839"/>
              <a:gd name="T81" fmla="*/ 339 h 2010"/>
              <a:gd name="T82" fmla="*/ 1882 w 3839"/>
              <a:gd name="T83" fmla="*/ 517 h 2010"/>
              <a:gd name="T84" fmla="*/ 1865 w 3839"/>
              <a:gd name="T85" fmla="*/ 563 h 2010"/>
              <a:gd name="T86" fmla="*/ 1950 w 3839"/>
              <a:gd name="T87" fmla="*/ 820 h 2010"/>
              <a:gd name="T88" fmla="*/ 2138 w 3839"/>
              <a:gd name="T89" fmla="*/ 929 h 2010"/>
              <a:gd name="T90" fmla="*/ 2050 w 3839"/>
              <a:gd name="T91" fmla="*/ 1700 h 2010"/>
              <a:gd name="T92" fmla="*/ 2336 w 3839"/>
              <a:gd name="T93" fmla="*/ 1003 h 2010"/>
              <a:gd name="T94" fmla="*/ 2852 w 3839"/>
              <a:gd name="T95" fmla="*/ 1110 h 2010"/>
              <a:gd name="T96" fmla="*/ 3151 w 3839"/>
              <a:gd name="T97" fmla="*/ 946 h 2010"/>
              <a:gd name="T98" fmla="*/ 3448 w 3839"/>
              <a:gd name="T99" fmla="*/ 526 h 2010"/>
              <a:gd name="T100" fmla="*/ 1819 w 3839"/>
              <a:gd name="T101" fmla="*/ 632 h 2010"/>
              <a:gd name="T102" fmla="*/ 2168 w 3839"/>
              <a:gd name="T103" fmla="*/ 724 h 2010"/>
              <a:gd name="T104" fmla="*/ 3013 w 3839"/>
              <a:gd name="T105" fmla="*/ 586 h 2010"/>
              <a:gd name="T106" fmla="*/ 1539 w 3839"/>
              <a:gd name="T107" fmla="*/ 229 h 2010"/>
              <a:gd name="T108" fmla="*/ 1244 w 3839"/>
              <a:gd name="T109" fmla="*/ 14 h 2010"/>
              <a:gd name="T110" fmla="*/ 1158 w 3839"/>
              <a:gd name="T111" fmla="*/ 294 h 2010"/>
              <a:gd name="T112" fmla="*/ 1214 w 3839"/>
              <a:gd name="T113" fmla="*/ 496 h 2010"/>
              <a:gd name="T114" fmla="*/ 2936 w 3839"/>
              <a:gd name="T115" fmla="*/ 1287 h 2010"/>
              <a:gd name="T116" fmla="*/ 2334 w 3839"/>
              <a:gd name="T117" fmla="*/ 1466 h 2010"/>
              <a:gd name="T118" fmla="*/ 925 w 3839"/>
              <a:gd name="T119" fmla="*/ 1053 h 2010"/>
              <a:gd name="T120" fmla="*/ 3158 w 3839"/>
              <a:gd name="T121" fmla="*/ 1165 h 2010"/>
              <a:gd name="T122" fmla="*/ 2967 w 3839"/>
              <a:gd name="T123" fmla="*/ 1314 h 2010"/>
              <a:gd name="T124" fmla="*/ 3121 w 3839"/>
              <a:gd name="T125" fmla="*/ 1172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39" h="2010">
                <a:moveTo>
                  <a:pt x="916" y="1842"/>
                </a:moveTo>
                <a:cubicBezTo>
                  <a:pt x="916" y="1841"/>
                  <a:pt x="916" y="1840"/>
                  <a:pt x="915" y="1840"/>
                </a:cubicBezTo>
                <a:cubicBezTo>
                  <a:pt x="914" y="1841"/>
                  <a:pt x="916" y="1842"/>
                  <a:pt x="916" y="1842"/>
                </a:cubicBezTo>
                <a:close/>
                <a:moveTo>
                  <a:pt x="917" y="1831"/>
                </a:moveTo>
                <a:cubicBezTo>
                  <a:pt x="917" y="1830"/>
                  <a:pt x="915" y="1831"/>
                  <a:pt x="915" y="1832"/>
                </a:cubicBezTo>
                <a:cubicBezTo>
                  <a:pt x="916" y="1832"/>
                  <a:pt x="916" y="1832"/>
                  <a:pt x="916" y="1832"/>
                </a:cubicBezTo>
                <a:cubicBezTo>
                  <a:pt x="916" y="1832"/>
                  <a:pt x="916" y="1832"/>
                  <a:pt x="916" y="1833"/>
                </a:cubicBezTo>
                <a:cubicBezTo>
                  <a:pt x="916" y="1833"/>
                  <a:pt x="917" y="1833"/>
                  <a:pt x="917" y="1832"/>
                </a:cubicBezTo>
                <a:cubicBezTo>
                  <a:pt x="917" y="1832"/>
                  <a:pt x="917" y="1832"/>
                  <a:pt x="917" y="1832"/>
                </a:cubicBezTo>
                <a:cubicBezTo>
                  <a:pt x="918" y="1832"/>
                  <a:pt x="918" y="1832"/>
                  <a:pt x="918" y="1832"/>
                </a:cubicBezTo>
                <a:cubicBezTo>
                  <a:pt x="919" y="1832"/>
                  <a:pt x="918" y="1831"/>
                  <a:pt x="917" y="1831"/>
                </a:cubicBezTo>
                <a:close/>
                <a:moveTo>
                  <a:pt x="912" y="1843"/>
                </a:moveTo>
                <a:cubicBezTo>
                  <a:pt x="912" y="1843"/>
                  <a:pt x="913" y="1844"/>
                  <a:pt x="913" y="1844"/>
                </a:cubicBezTo>
                <a:cubicBezTo>
                  <a:pt x="913" y="1844"/>
                  <a:pt x="913" y="1844"/>
                  <a:pt x="913" y="1845"/>
                </a:cubicBezTo>
                <a:cubicBezTo>
                  <a:pt x="913" y="1846"/>
                  <a:pt x="914" y="1844"/>
                  <a:pt x="915" y="1844"/>
                </a:cubicBezTo>
                <a:cubicBezTo>
                  <a:pt x="915" y="1844"/>
                  <a:pt x="916" y="1844"/>
                  <a:pt x="916" y="1844"/>
                </a:cubicBezTo>
                <a:cubicBezTo>
                  <a:pt x="916" y="1843"/>
                  <a:pt x="917" y="1844"/>
                  <a:pt x="917" y="1843"/>
                </a:cubicBezTo>
                <a:cubicBezTo>
                  <a:pt x="917" y="1843"/>
                  <a:pt x="917" y="1842"/>
                  <a:pt x="917" y="1842"/>
                </a:cubicBezTo>
                <a:cubicBezTo>
                  <a:pt x="916" y="1842"/>
                  <a:pt x="916" y="1842"/>
                  <a:pt x="915" y="1842"/>
                </a:cubicBezTo>
                <a:cubicBezTo>
                  <a:pt x="915" y="1842"/>
                  <a:pt x="914" y="1842"/>
                  <a:pt x="914" y="1842"/>
                </a:cubicBezTo>
                <a:cubicBezTo>
                  <a:pt x="913" y="1842"/>
                  <a:pt x="911" y="1842"/>
                  <a:pt x="912" y="1843"/>
                </a:cubicBezTo>
                <a:close/>
                <a:moveTo>
                  <a:pt x="919" y="1841"/>
                </a:moveTo>
                <a:cubicBezTo>
                  <a:pt x="918" y="1842"/>
                  <a:pt x="918" y="1842"/>
                  <a:pt x="919" y="1843"/>
                </a:cubicBezTo>
                <a:cubicBezTo>
                  <a:pt x="919" y="1843"/>
                  <a:pt x="919" y="1844"/>
                  <a:pt x="919" y="1844"/>
                </a:cubicBezTo>
                <a:cubicBezTo>
                  <a:pt x="920" y="1844"/>
                  <a:pt x="920" y="1843"/>
                  <a:pt x="920" y="1842"/>
                </a:cubicBezTo>
                <a:cubicBezTo>
                  <a:pt x="920" y="1841"/>
                  <a:pt x="920" y="1841"/>
                  <a:pt x="919" y="1841"/>
                </a:cubicBezTo>
                <a:close/>
                <a:moveTo>
                  <a:pt x="918" y="1847"/>
                </a:moveTo>
                <a:cubicBezTo>
                  <a:pt x="919" y="1847"/>
                  <a:pt x="918" y="1846"/>
                  <a:pt x="918" y="1845"/>
                </a:cubicBezTo>
                <a:cubicBezTo>
                  <a:pt x="918" y="1845"/>
                  <a:pt x="918" y="1845"/>
                  <a:pt x="918" y="1845"/>
                </a:cubicBezTo>
                <a:cubicBezTo>
                  <a:pt x="917" y="1844"/>
                  <a:pt x="917" y="1845"/>
                  <a:pt x="918" y="1845"/>
                </a:cubicBezTo>
                <a:cubicBezTo>
                  <a:pt x="918" y="1846"/>
                  <a:pt x="918" y="1846"/>
                  <a:pt x="918" y="1846"/>
                </a:cubicBezTo>
                <a:cubicBezTo>
                  <a:pt x="918" y="1846"/>
                  <a:pt x="918" y="1847"/>
                  <a:pt x="918" y="1847"/>
                </a:cubicBezTo>
                <a:close/>
                <a:moveTo>
                  <a:pt x="911" y="1852"/>
                </a:moveTo>
                <a:cubicBezTo>
                  <a:pt x="911" y="1852"/>
                  <a:pt x="911" y="1851"/>
                  <a:pt x="910" y="1852"/>
                </a:cubicBezTo>
                <a:cubicBezTo>
                  <a:pt x="910" y="1853"/>
                  <a:pt x="911" y="1852"/>
                  <a:pt x="911" y="1852"/>
                </a:cubicBezTo>
                <a:cubicBezTo>
                  <a:pt x="912" y="1853"/>
                  <a:pt x="912" y="1853"/>
                  <a:pt x="912" y="1853"/>
                </a:cubicBezTo>
                <a:cubicBezTo>
                  <a:pt x="912" y="1852"/>
                  <a:pt x="912" y="1852"/>
                  <a:pt x="912" y="1852"/>
                </a:cubicBezTo>
                <a:cubicBezTo>
                  <a:pt x="912" y="1851"/>
                  <a:pt x="912" y="1851"/>
                  <a:pt x="913" y="1850"/>
                </a:cubicBezTo>
                <a:cubicBezTo>
                  <a:pt x="913" y="1850"/>
                  <a:pt x="911" y="1850"/>
                  <a:pt x="912" y="1851"/>
                </a:cubicBezTo>
                <a:cubicBezTo>
                  <a:pt x="912" y="1851"/>
                  <a:pt x="912" y="1851"/>
                  <a:pt x="911" y="1852"/>
                </a:cubicBezTo>
                <a:close/>
                <a:moveTo>
                  <a:pt x="912" y="1839"/>
                </a:moveTo>
                <a:cubicBezTo>
                  <a:pt x="912" y="1840"/>
                  <a:pt x="911" y="1840"/>
                  <a:pt x="911" y="1840"/>
                </a:cubicBezTo>
                <a:cubicBezTo>
                  <a:pt x="911" y="1840"/>
                  <a:pt x="909" y="1840"/>
                  <a:pt x="910" y="1840"/>
                </a:cubicBezTo>
                <a:cubicBezTo>
                  <a:pt x="910" y="1840"/>
                  <a:pt x="911" y="1840"/>
                  <a:pt x="912" y="1840"/>
                </a:cubicBezTo>
                <a:cubicBezTo>
                  <a:pt x="912" y="1840"/>
                  <a:pt x="913" y="1840"/>
                  <a:pt x="913" y="1840"/>
                </a:cubicBezTo>
                <a:cubicBezTo>
                  <a:pt x="914" y="1839"/>
                  <a:pt x="912" y="1839"/>
                  <a:pt x="912" y="1839"/>
                </a:cubicBezTo>
                <a:close/>
                <a:moveTo>
                  <a:pt x="911" y="1858"/>
                </a:moveTo>
                <a:cubicBezTo>
                  <a:pt x="912" y="1858"/>
                  <a:pt x="912" y="1858"/>
                  <a:pt x="912" y="1857"/>
                </a:cubicBezTo>
                <a:cubicBezTo>
                  <a:pt x="912" y="1857"/>
                  <a:pt x="913" y="1857"/>
                  <a:pt x="913" y="1857"/>
                </a:cubicBezTo>
                <a:cubicBezTo>
                  <a:pt x="914" y="1857"/>
                  <a:pt x="914" y="1855"/>
                  <a:pt x="913" y="1855"/>
                </a:cubicBezTo>
                <a:cubicBezTo>
                  <a:pt x="913" y="1855"/>
                  <a:pt x="913" y="1854"/>
                  <a:pt x="912" y="1854"/>
                </a:cubicBezTo>
                <a:cubicBezTo>
                  <a:pt x="912" y="1854"/>
                  <a:pt x="911" y="1854"/>
                  <a:pt x="911" y="1855"/>
                </a:cubicBezTo>
                <a:cubicBezTo>
                  <a:pt x="911" y="1855"/>
                  <a:pt x="911" y="1856"/>
                  <a:pt x="911" y="1856"/>
                </a:cubicBezTo>
                <a:cubicBezTo>
                  <a:pt x="911" y="1857"/>
                  <a:pt x="910" y="1858"/>
                  <a:pt x="911" y="1858"/>
                </a:cubicBezTo>
                <a:close/>
                <a:moveTo>
                  <a:pt x="920" y="1854"/>
                </a:moveTo>
                <a:cubicBezTo>
                  <a:pt x="919" y="1854"/>
                  <a:pt x="918" y="1856"/>
                  <a:pt x="918" y="1856"/>
                </a:cubicBezTo>
                <a:cubicBezTo>
                  <a:pt x="918" y="1857"/>
                  <a:pt x="919" y="1857"/>
                  <a:pt x="919" y="1857"/>
                </a:cubicBezTo>
                <a:cubicBezTo>
                  <a:pt x="919" y="1857"/>
                  <a:pt x="919" y="1857"/>
                  <a:pt x="919" y="1857"/>
                </a:cubicBezTo>
                <a:cubicBezTo>
                  <a:pt x="919" y="1858"/>
                  <a:pt x="919" y="1858"/>
                  <a:pt x="920" y="1858"/>
                </a:cubicBezTo>
                <a:cubicBezTo>
                  <a:pt x="920" y="1858"/>
                  <a:pt x="920" y="1856"/>
                  <a:pt x="920" y="1856"/>
                </a:cubicBezTo>
                <a:cubicBezTo>
                  <a:pt x="920" y="1856"/>
                  <a:pt x="920" y="1854"/>
                  <a:pt x="920" y="1854"/>
                </a:cubicBezTo>
                <a:close/>
                <a:moveTo>
                  <a:pt x="917" y="1855"/>
                </a:moveTo>
                <a:cubicBezTo>
                  <a:pt x="918" y="1855"/>
                  <a:pt x="918" y="1855"/>
                  <a:pt x="918" y="1854"/>
                </a:cubicBezTo>
                <a:cubicBezTo>
                  <a:pt x="918" y="1854"/>
                  <a:pt x="917" y="1854"/>
                  <a:pt x="916" y="1854"/>
                </a:cubicBezTo>
                <a:cubicBezTo>
                  <a:pt x="916" y="1854"/>
                  <a:pt x="915" y="1854"/>
                  <a:pt x="915" y="1855"/>
                </a:cubicBezTo>
                <a:cubicBezTo>
                  <a:pt x="915" y="1855"/>
                  <a:pt x="915" y="1855"/>
                  <a:pt x="915" y="1855"/>
                </a:cubicBezTo>
                <a:cubicBezTo>
                  <a:pt x="914" y="1856"/>
                  <a:pt x="915" y="1856"/>
                  <a:pt x="915" y="1856"/>
                </a:cubicBezTo>
                <a:cubicBezTo>
                  <a:pt x="916" y="1856"/>
                  <a:pt x="916" y="1856"/>
                  <a:pt x="916" y="1856"/>
                </a:cubicBezTo>
                <a:cubicBezTo>
                  <a:pt x="916" y="1857"/>
                  <a:pt x="916" y="1857"/>
                  <a:pt x="917" y="1857"/>
                </a:cubicBezTo>
                <a:cubicBezTo>
                  <a:pt x="917" y="1857"/>
                  <a:pt x="917" y="1857"/>
                  <a:pt x="917" y="1856"/>
                </a:cubicBezTo>
                <a:cubicBezTo>
                  <a:pt x="917" y="1856"/>
                  <a:pt x="917" y="1856"/>
                  <a:pt x="917" y="1855"/>
                </a:cubicBezTo>
                <a:close/>
                <a:moveTo>
                  <a:pt x="907" y="1842"/>
                </a:moveTo>
                <a:cubicBezTo>
                  <a:pt x="907" y="1842"/>
                  <a:pt x="907" y="1843"/>
                  <a:pt x="907" y="1842"/>
                </a:cubicBezTo>
                <a:cubicBezTo>
                  <a:pt x="907" y="1842"/>
                  <a:pt x="908" y="1842"/>
                  <a:pt x="908" y="1842"/>
                </a:cubicBezTo>
                <a:cubicBezTo>
                  <a:pt x="908" y="1841"/>
                  <a:pt x="907" y="1842"/>
                  <a:pt x="907" y="1842"/>
                </a:cubicBezTo>
                <a:close/>
                <a:moveTo>
                  <a:pt x="917" y="1837"/>
                </a:moveTo>
                <a:cubicBezTo>
                  <a:pt x="917" y="1837"/>
                  <a:pt x="917" y="1837"/>
                  <a:pt x="917" y="1837"/>
                </a:cubicBezTo>
                <a:cubicBezTo>
                  <a:pt x="917" y="1836"/>
                  <a:pt x="917" y="1836"/>
                  <a:pt x="917" y="1836"/>
                </a:cubicBezTo>
                <a:cubicBezTo>
                  <a:pt x="917" y="1836"/>
                  <a:pt x="917" y="1836"/>
                  <a:pt x="917" y="1835"/>
                </a:cubicBezTo>
                <a:cubicBezTo>
                  <a:pt x="917" y="1835"/>
                  <a:pt x="917" y="1835"/>
                  <a:pt x="917" y="1835"/>
                </a:cubicBezTo>
                <a:cubicBezTo>
                  <a:pt x="916" y="1835"/>
                  <a:pt x="916" y="1835"/>
                  <a:pt x="915" y="1836"/>
                </a:cubicBezTo>
                <a:cubicBezTo>
                  <a:pt x="915" y="1836"/>
                  <a:pt x="915" y="1836"/>
                  <a:pt x="916" y="1836"/>
                </a:cubicBezTo>
                <a:cubicBezTo>
                  <a:pt x="916" y="1837"/>
                  <a:pt x="916" y="1837"/>
                  <a:pt x="916" y="1837"/>
                </a:cubicBezTo>
                <a:cubicBezTo>
                  <a:pt x="916" y="1839"/>
                  <a:pt x="916" y="1837"/>
                  <a:pt x="917" y="1837"/>
                </a:cubicBezTo>
                <a:close/>
                <a:moveTo>
                  <a:pt x="908" y="1827"/>
                </a:moveTo>
                <a:cubicBezTo>
                  <a:pt x="907" y="1827"/>
                  <a:pt x="907" y="1828"/>
                  <a:pt x="908" y="1828"/>
                </a:cubicBezTo>
                <a:cubicBezTo>
                  <a:pt x="908" y="1829"/>
                  <a:pt x="909" y="1828"/>
                  <a:pt x="908" y="1827"/>
                </a:cubicBezTo>
                <a:close/>
                <a:moveTo>
                  <a:pt x="919" y="1852"/>
                </a:moveTo>
                <a:cubicBezTo>
                  <a:pt x="920" y="1851"/>
                  <a:pt x="919" y="1851"/>
                  <a:pt x="919" y="1851"/>
                </a:cubicBezTo>
                <a:cubicBezTo>
                  <a:pt x="919" y="1850"/>
                  <a:pt x="919" y="1849"/>
                  <a:pt x="919" y="1848"/>
                </a:cubicBezTo>
                <a:cubicBezTo>
                  <a:pt x="918" y="1848"/>
                  <a:pt x="917" y="1848"/>
                  <a:pt x="917" y="1847"/>
                </a:cubicBezTo>
                <a:cubicBezTo>
                  <a:pt x="916" y="1847"/>
                  <a:pt x="916" y="1847"/>
                  <a:pt x="916" y="1846"/>
                </a:cubicBezTo>
                <a:cubicBezTo>
                  <a:pt x="916" y="1846"/>
                  <a:pt x="915" y="1846"/>
                  <a:pt x="915" y="1846"/>
                </a:cubicBezTo>
                <a:cubicBezTo>
                  <a:pt x="914" y="1846"/>
                  <a:pt x="913" y="1847"/>
                  <a:pt x="914" y="1848"/>
                </a:cubicBezTo>
                <a:cubicBezTo>
                  <a:pt x="914" y="1848"/>
                  <a:pt x="914" y="1848"/>
                  <a:pt x="914" y="1848"/>
                </a:cubicBezTo>
                <a:cubicBezTo>
                  <a:pt x="914" y="1848"/>
                  <a:pt x="914" y="1848"/>
                  <a:pt x="914" y="1848"/>
                </a:cubicBezTo>
                <a:cubicBezTo>
                  <a:pt x="914" y="1849"/>
                  <a:pt x="914" y="1849"/>
                  <a:pt x="914" y="1849"/>
                </a:cubicBezTo>
                <a:cubicBezTo>
                  <a:pt x="915" y="1850"/>
                  <a:pt x="915" y="1849"/>
                  <a:pt x="916" y="1850"/>
                </a:cubicBezTo>
                <a:cubicBezTo>
                  <a:pt x="916" y="1850"/>
                  <a:pt x="916" y="1850"/>
                  <a:pt x="917" y="1850"/>
                </a:cubicBezTo>
                <a:cubicBezTo>
                  <a:pt x="917" y="1850"/>
                  <a:pt x="918" y="1851"/>
                  <a:pt x="918" y="1852"/>
                </a:cubicBezTo>
                <a:cubicBezTo>
                  <a:pt x="919" y="1852"/>
                  <a:pt x="919" y="1852"/>
                  <a:pt x="919" y="1852"/>
                </a:cubicBezTo>
                <a:close/>
                <a:moveTo>
                  <a:pt x="918" y="1852"/>
                </a:moveTo>
                <a:cubicBezTo>
                  <a:pt x="918" y="1852"/>
                  <a:pt x="917" y="1852"/>
                  <a:pt x="917" y="1851"/>
                </a:cubicBezTo>
                <a:cubicBezTo>
                  <a:pt x="917" y="1851"/>
                  <a:pt x="916" y="1851"/>
                  <a:pt x="916" y="1851"/>
                </a:cubicBezTo>
                <a:cubicBezTo>
                  <a:pt x="915" y="1851"/>
                  <a:pt x="915" y="1851"/>
                  <a:pt x="914" y="1851"/>
                </a:cubicBezTo>
                <a:cubicBezTo>
                  <a:pt x="914" y="1851"/>
                  <a:pt x="914" y="1852"/>
                  <a:pt x="914" y="1852"/>
                </a:cubicBezTo>
                <a:cubicBezTo>
                  <a:pt x="915" y="1852"/>
                  <a:pt x="915" y="1852"/>
                  <a:pt x="916" y="1852"/>
                </a:cubicBezTo>
                <a:cubicBezTo>
                  <a:pt x="917" y="1852"/>
                  <a:pt x="917" y="1853"/>
                  <a:pt x="918" y="1852"/>
                </a:cubicBezTo>
                <a:cubicBezTo>
                  <a:pt x="918" y="1852"/>
                  <a:pt x="918" y="1852"/>
                  <a:pt x="918" y="1852"/>
                </a:cubicBezTo>
                <a:close/>
                <a:moveTo>
                  <a:pt x="1016" y="1991"/>
                </a:moveTo>
                <a:cubicBezTo>
                  <a:pt x="1015" y="1991"/>
                  <a:pt x="1015" y="1991"/>
                  <a:pt x="1014" y="1991"/>
                </a:cubicBezTo>
                <a:cubicBezTo>
                  <a:pt x="1013" y="1991"/>
                  <a:pt x="1012" y="1991"/>
                  <a:pt x="1012" y="1991"/>
                </a:cubicBezTo>
                <a:cubicBezTo>
                  <a:pt x="1010" y="1991"/>
                  <a:pt x="1008" y="1991"/>
                  <a:pt x="1007" y="1990"/>
                </a:cubicBezTo>
                <a:cubicBezTo>
                  <a:pt x="1006" y="1990"/>
                  <a:pt x="1006" y="1990"/>
                  <a:pt x="1006" y="1990"/>
                </a:cubicBezTo>
                <a:cubicBezTo>
                  <a:pt x="1005" y="1990"/>
                  <a:pt x="1005" y="1990"/>
                  <a:pt x="1004" y="1989"/>
                </a:cubicBezTo>
                <a:cubicBezTo>
                  <a:pt x="1004" y="1989"/>
                  <a:pt x="1003" y="1988"/>
                  <a:pt x="1002" y="1988"/>
                </a:cubicBezTo>
                <a:cubicBezTo>
                  <a:pt x="1002" y="1987"/>
                  <a:pt x="1001" y="1987"/>
                  <a:pt x="1001" y="1986"/>
                </a:cubicBezTo>
                <a:cubicBezTo>
                  <a:pt x="1000" y="1986"/>
                  <a:pt x="999" y="1986"/>
                  <a:pt x="998" y="1985"/>
                </a:cubicBezTo>
                <a:cubicBezTo>
                  <a:pt x="997" y="1985"/>
                  <a:pt x="996" y="1984"/>
                  <a:pt x="994" y="1983"/>
                </a:cubicBezTo>
                <a:cubicBezTo>
                  <a:pt x="993" y="1982"/>
                  <a:pt x="992" y="1981"/>
                  <a:pt x="991" y="1981"/>
                </a:cubicBezTo>
                <a:cubicBezTo>
                  <a:pt x="990" y="1980"/>
                  <a:pt x="989" y="1980"/>
                  <a:pt x="989" y="1979"/>
                </a:cubicBezTo>
                <a:cubicBezTo>
                  <a:pt x="988" y="1979"/>
                  <a:pt x="988" y="1978"/>
                  <a:pt x="987" y="1977"/>
                </a:cubicBezTo>
                <a:cubicBezTo>
                  <a:pt x="987" y="1977"/>
                  <a:pt x="987" y="1976"/>
                  <a:pt x="986" y="1976"/>
                </a:cubicBezTo>
                <a:cubicBezTo>
                  <a:pt x="985" y="1975"/>
                  <a:pt x="984" y="1974"/>
                  <a:pt x="984" y="1973"/>
                </a:cubicBezTo>
                <a:cubicBezTo>
                  <a:pt x="983" y="1972"/>
                  <a:pt x="983" y="1971"/>
                  <a:pt x="982" y="1971"/>
                </a:cubicBezTo>
                <a:cubicBezTo>
                  <a:pt x="981" y="1970"/>
                  <a:pt x="980" y="1970"/>
                  <a:pt x="980" y="1970"/>
                </a:cubicBezTo>
                <a:cubicBezTo>
                  <a:pt x="979" y="1970"/>
                  <a:pt x="978" y="1969"/>
                  <a:pt x="979" y="1968"/>
                </a:cubicBezTo>
                <a:cubicBezTo>
                  <a:pt x="979" y="1968"/>
                  <a:pt x="979" y="1967"/>
                  <a:pt x="980" y="1966"/>
                </a:cubicBezTo>
                <a:cubicBezTo>
                  <a:pt x="981" y="1966"/>
                  <a:pt x="981" y="1965"/>
                  <a:pt x="980" y="1964"/>
                </a:cubicBezTo>
                <a:cubicBezTo>
                  <a:pt x="980" y="1964"/>
                  <a:pt x="979" y="1963"/>
                  <a:pt x="979" y="1963"/>
                </a:cubicBezTo>
                <a:cubicBezTo>
                  <a:pt x="979" y="1962"/>
                  <a:pt x="978" y="1962"/>
                  <a:pt x="978" y="1961"/>
                </a:cubicBezTo>
                <a:cubicBezTo>
                  <a:pt x="977" y="1960"/>
                  <a:pt x="977" y="1960"/>
                  <a:pt x="976" y="1960"/>
                </a:cubicBezTo>
                <a:cubicBezTo>
                  <a:pt x="975" y="1960"/>
                  <a:pt x="974" y="1960"/>
                  <a:pt x="974" y="1960"/>
                </a:cubicBezTo>
                <a:cubicBezTo>
                  <a:pt x="973" y="1960"/>
                  <a:pt x="972" y="1960"/>
                  <a:pt x="971" y="1959"/>
                </a:cubicBezTo>
                <a:cubicBezTo>
                  <a:pt x="971" y="1959"/>
                  <a:pt x="970" y="1958"/>
                  <a:pt x="970" y="1958"/>
                </a:cubicBezTo>
                <a:cubicBezTo>
                  <a:pt x="969" y="1957"/>
                  <a:pt x="968" y="1957"/>
                  <a:pt x="968" y="1958"/>
                </a:cubicBezTo>
                <a:cubicBezTo>
                  <a:pt x="967" y="1958"/>
                  <a:pt x="966" y="1958"/>
                  <a:pt x="966" y="1959"/>
                </a:cubicBezTo>
                <a:cubicBezTo>
                  <a:pt x="965" y="1959"/>
                  <a:pt x="965" y="1960"/>
                  <a:pt x="965" y="1961"/>
                </a:cubicBezTo>
                <a:cubicBezTo>
                  <a:pt x="964" y="1961"/>
                  <a:pt x="964" y="1962"/>
                  <a:pt x="963" y="1963"/>
                </a:cubicBezTo>
                <a:cubicBezTo>
                  <a:pt x="962" y="1963"/>
                  <a:pt x="961" y="1962"/>
                  <a:pt x="961" y="1962"/>
                </a:cubicBezTo>
                <a:cubicBezTo>
                  <a:pt x="960" y="1961"/>
                  <a:pt x="960" y="1961"/>
                  <a:pt x="959" y="1961"/>
                </a:cubicBezTo>
                <a:cubicBezTo>
                  <a:pt x="958" y="1961"/>
                  <a:pt x="957" y="1961"/>
                  <a:pt x="957" y="1961"/>
                </a:cubicBezTo>
                <a:cubicBezTo>
                  <a:pt x="957" y="1962"/>
                  <a:pt x="958" y="1962"/>
                  <a:pt x="958" y="1962"/>
                </a:cubicBezTo>
                <a:cubicBezTo>
                  <a:pt x="958" y="1963"/>
                  <a:pt x="958" y="1963"/>
                  <a:pt x="958" y="1963"/>
                </a:cubicBezTo>
                <a:cubicBezTo>
                  <a:pt x="958" y="1964"/>
                  <a:pt x="959" y="1963"/>
                  <a:pt x="959" y="1964"/>
                </a:cubicBezTo>
                <a:cubicBezTo>
                  <a:pt x="959" y="1964"/>
                  <a:pt x="960" y="1964"/>
                  <a:pt x="960" y="1964"/>
                </a:cubicBezTo>
                <a:cubicBezTo>
                  <a:pt x="960" y="1965"/>
                  <a:pt x="960" y="1965"/>
                  <a:pt x="959" y="1965"/>
                </a:cubicBezTo>
                <a:cubicBezTo>
                  <a:pt x="959" y="1965"/>
                  <a:pt x="958" y="1966"/>
                  <a:pt x="958" y="1965"/>
                </a:cubicBezTo>
                <a:cubicBezTo>
                  <a:pt x="958" y="1965"/>
                  <a:pt x="958" y="1964"/>
                  <a:pt x="957" y="1964"/>
                </a:cubicBezTo>
                <a:cubicBezTo>
                  <a:pt x="957" y="1964"/>
                  <a:pt x="957" y="1965"/>
                  <a:pt x="957" y="1965"/>
                </a:cubicBezTo>
                <a:cubicBezTo>
                  <a:pt x="956" y="1967"/>
                  <a:pt x="956" y="1967"/>
                  <a:pt x="956" y="1968"/>
                </a:cubicBezTo>
                <a:cubicBezTo>
                  <a:pt x="956" y="1969"/>
                  <a:pt x="957" y="1969"/>
                  <a:pt x="957" y="1970"/>
                </a:cubicBezTo>
                <a:cubicBezTo>
                  <a:pt x="957" y="1970"/>
                  <a:pt x="957" y="1971"/>
                  <a:pt x="957" y="1971"/>
                </a:cubicBezTo>
                <a:cubicBezTo>
                  <a:pt x="957" y="1972"/>
                  <a:pt x="958" y="1972"/>
                  <a:pt x="959" y="1972"/>
                </a:cubicBezTo>
                <a:cubicBezTo>
                  <a:pt x="959" y="1973"/>
                  <a:pt x="960" y="1973"/>
                  <a:pt x="961" y="1972"/>
                </a:cubicBezTo>
                <a:cubicBezTo>
                  <a:pt x="962" y="1972"/>
                  <a:pt x="962" y="1971"/>
                  <a:pt x="963" y="1971"/>
                </a:cubicBezTo>
                <a:cubicBezTo>
                  <a:pt x="964" y="1971"/>
                  <a:pt x="965" y="1971"/>
                  <a:pt x="965" y="1970"/>
                </a:cubicBezTo>
                <a:cubicBezTo>
                  <a:pt x="966" y="1971"/>
                  <a:pt x="966" y="1970"/>
                  <a:pt x="967" y="1970"/>
                </a:cubicBezTo>
                <a:cubicBezTo>
                  <a:pt x="967" y="1971"/>
                  <a:pt x="967" y="1971"/>
                  <a:pt x="968" y="1971"/>
                </a:cubicBezTo>
                <a:cubicBezTo>
                  <a:pt x="968" y="1971"/>
                  <a:pt x="969" y="1971"/>
                  <a:pt x="969" y="1972"/>
                </a:cubicBezTo>
                <a:cubicBezTo>
                  <a:pt x="970" y="1972"/>
                  <a:pt x="969" y="1973"/>
                  <a:pt x="968" y="1973"/>
                </a:cubicBezTo>
                <a:cubicBezTo>
                  <a:pt x="968" y="1974"/>
                  <a:pt x="968" y="1974"/>
                  <a:pt x="967" y="1974"/>
                </a:cubicBezTo>
                <a:cubicBezTo>
                  <a:pt x="966" y="1975"/>
                  <a:pt x="965" y="1975"/>
                  <a:pt x="965" y="1975"/>
                </a:cubicBezTo>
                <a:cubicBezTo>
                  <a:pt x="964" y="1975"/>
                  <a:pt x="963" y="1976"/>
                  <a:pt x="962" y="1976"/>
                </a:cubicBezTo>
                <a:cubicBezTo>
                  <a:pt x="961" y="1976"/>
                  <a:pt x="960" y="1976"/>
                  <a:pt x="960" y="1977"/>
                </a:cubicBezTo>
                <a:cubicBezTo>
                  <a:pt x="959" y="1978"/>
                  <a:pt x="960" y="1979"/>
                  <a:pt x="960" y="1979"/>
                </a:cubicBezTo>
                <a:cubicBezTo>
                  <a:pt x="960" y="1980"/>
                  <a:pt x="960" y="1980"/>
                  <a:pt x="960" y="1981"/>
                </a:cubicBezTo>
                <a:cubicBezTo>
                  <a:pt x="960" y="1981"/>
                  <a:pt x="960" y="1982"/>
                  <a:pt x="961" y="1982"/>
                </a:cubicBezTo>
                <a:cubicBezTo>
                  <a:pt x="961" y="1982"/>
                  <a:pt x="961" y="1982"/>
                  <a:pt x="962" y="1983"/>
                </a:cubicBezTo>
                <a:cubicBezTo>
                  <a:pt x="962" y="1983"/>
                  <a:pt x="962" y="1983"/>
                  <a:pt x="963" y="1983"/>
                </a:cubicBezTo>
                <a:cubicBezTo>
                  <a:pt x="963" y="1983"/>
                  <a:pt x="963" y="1983"/>
                  <a:pt x="964" y="1984"/>
                </a:cubicBezTo>
                <a:cubicBezTo>
                  <a:pt x="964" y="1984"/>
                  <a:pt x="964" y="1984"/>
                  <a:pt x="965" y="1984"/>
                </a:cubicBezTo>
                <a:cubicBezTo>
                  <a:pt x="965" y="1984"/>
                  <a:pt x="966" y="1984"/>
                  <a:pt x="966" y="1985"/>
                </a:cubicBezTo>
                <a:cubicBezTo>
                  <a:pt x="966" y="1985"/>
                  <a:pt x="967" y="1985"/>
                  <a:pt x="967" y="1985"/>
                </a:cubicBezTo>
                <a:cubicBezTo>
                  <a:pt x="968" y="1986"/>
                  <a:pt x="969" y="1986"/>
                  <a:pt x="970" y="1986"/>
                </a:cubicBezTo>
                <a:cubicBezTo>
                  <a:pt x="970" y="1987"/>
                  <a:pt x="971" y="1987"/>
                  <a:pt x="972" y="1987"/>
                </a:cubicBezTo>
                <a:cubicBezTo>
                  <a:pt x="973" y="1987"/>
                  <a:pt x="973" y="1988"/>
                  <a:pt x="973" y="1989"/>
                </a:cubicBezTo>
                <a:cubicBezTo>
                  <a:pt x="972" y="1989"/>
                  <a:pt x="972" y="1989"/>
                  <a:pt x="972" y="1989"/>
                </a:cubicBezTo>
                <a:cubicBezTo>
                  <a:pt x="971" y="1990"/>
                  <a:pt x="971" y="1990"/>
                  <a:pt x="971" y="1990"/>
                </a:cubicBezTo>
                <a:cubicBezTo>
                  <a:pt x="971" y="1990"/>
                  <a:pt x="970" y="1990"/>
                  <a:pt x="970" y="1990"/>
                </a:cubicBezTo>
                <a:cubicBezTo>
                  <a:pt x="970" y="1990"/>
                  <a:pt x="969" y="1991"/>
                  <a:pt x="969" y="1990"/>
                </a:cubicBezTo>
                <a:cubicBezTo>
                  <a:pt x="969" y="1989"/>
                  <a:pt x="970" y="1989"/>
                  <a:pt x="970" y="1988"/>
                </a:cubicBezTo>
                <a:cubicBezTo>
                  <a:pt x="970" y="1988"/>
                  <a:pt x="969" y="1987"/>
                  <a:pt x="969" y="1987"/>
                </a:cubicBezTo>
                <a:cubicBezTo>
                  <a:pt x="968" y="1987"/>
                  <a:pt x="968" y="1986"/>
                  <a:pt x="968" y="1986"/>
                </a:cubicBezTo>
                <a:cubicBezTo>
                  <a:pt x="967" y="1987"/>
                  <a:pt x="967" y="1988"/>
                  <a:pt x="966" y="1987"/>
                </a:cubicBezTo>
                <a:cubicBezTo>
                  <a:pt x="966" y="1987"/>
                  <a:pt x="966" y="1987"/>
                  <a:pt x="965" y="1986"/>
                </a:cubicBezTo>
                <a:cubicBezTo>
                  <a:pt x="965" y="1986"/>
                  <a:pt x="965" y="1985"/>
                  <a:pt x="964" y="1985"/>
                </a:cubicBezTo>
                <a:cubicBezTo>
                  <a:pt x="964" y="1985"/>
                  <a:pt x="964" y="1986"/>
                  <a:pt x="964" y="1986"/>
                </a:cubicBezTo>
                <a:cubicBezTo>
                  <a:pt x="964" y="1987"/>
                  <a:pt x="963" y="1987"/>
                  <a:pt x="964" y="1988"/>
                </a:cubicBezTo>
                <a:cubicBezTo>
                  <a:pt x="964" y="1988"/>
                  <a:pt x="964" y="1989"/>
                  <a:pt x="964" y="1989"/>
                </a:cubicBezTo>
                <a:cubicBezTo>
                  <a:pt x="964" y="1989"/>
                  <a:pt x="964" y="1989"/>
                  <a:pt x="964" y="1989"/>
                </a:cubicBezTo>
                <a:cubicBezTo>
                  <a:pt x="963" y="1989"/>
                  <a:pt x="963" y="1987"/>
                  <a:pt x="963" y="1987"/>
                </a:cubicBezTo>
                <a:cubicBezTo>
                  <a:pt x="963" y="1986"/>
                  <a:pt x="963" y="1986"/>
                  <a:pt x="962" y="1986"/>
                </a:cubicBezTo>
                <a:cubicBezTo>
                  <a:pt x="962" y="1986"/>
                  <a:pt x="962" y="1986"/>
                  <a:pt x="962" y="1985"/>
                </a:cubicBezTo>
                <a:cubicBezTo>
                  <a:pt x="961" y="1985"/>
                  <a:pt x="961" y="1985"/>
                  <a:pt x="961" y="1985"/>
                </a:cubicBezTo>
                <a:cubicBezTo>
                  <a:pt x="961" y="1985"/>
                  <a:pt x="961" y="1986"/>
                  <a:pt x="961" y="1986"/>
                </a:cubicBezTo>
                <a:cubicBezTo>
                  <a:pt x="961" y="1987"/>
                  <a:pt x="961" y="1987"/>
                  <a:pt x="960" y="1987"/>
                </a:cubicBezTo>
                <a:cubicBezTo>
                  <a:pt x="960" y="1987"/>
                  <a:pt x="959" y="1987"/>
                  <a:pt x="959" y="1987"/>
                </a:cubicBezTo>
                <a:cubicBezTo>
                  <a:pt x="958" y="1986"/>
                  <a:pt x="957" y="1986"/>
                  <a:pt x="957" y="1985"/>
                </a:cubicBezTo>
                <a:cubicBezTo>
                  <a:pt x="956" y="1985"/>
                  <a:pt x="956" y="1984"/>
                  <a:pt x="956" y="1984"/>
                </a:cubicBezTo>
                <a:cubicBezTo>
                  <a:pt x="955" y="1983"/>
                  <a:pt x="956" y="1982"/>
                  <a:pt x="955" y="1981"/>
                </a:cubicBezTo>
                <a:cubicBezTo>
                  <a:pt x="955" y="1981"/>
                  <a:pt x="954" y="1981"/>
                  <a:pt x="954" y="1981"/>
                </a:cubicBezTo>
                <a:cubicBezTo>
                  <a:pt x="954" y="1980"/>
                  <a:pt x="955" y="1980"/>
                  <a:pt x="955" y="1981"/>
                </a:cubicBezTo>
                <a:cubicBezTo>
                  <a:pt x="955" y="1981"/>
                  <a:pt x="955" y="1981"/>
                  <a:pt x="956" y="1981"/>
                </a:cubicBezTo>
                <a:cubicBezTo>
                  <a:pt x="956" y="1981"/>
                  <a:pt x="957" y="1981"/>
                  <a:pt x="957" y="1982"/>
                </a:cubicBezTo>
                <a:cubicBezTo>
                  <a:pt x="957" y="1982"/>
                  <a:pt x="958" y="1982"/>
                  <a:pt x="958" y="1981"/>
                </a:cubicBezTo>
                <a:cubicBezTo>
                  <a:pt x="958" y="1981"/>
                  <a:pt x="957" y="1981"/>
                  <a:pt x="957" y="1981"/>
                </a:cubicBezTo>
                <a:cubicBezTo>
                  <a:pt x="957" y="1980"/>
                  <a:pt x="957" y="1979"/>
                  <a:pt x="957" y="1978"/>
                </a:cubicBezTo>
                <a:cubicBezTo>
                  <a:pt x="957" y="1978"/>
                  <a:pt x="956" y="1978"/>
                  <a:pt x="956" y="1977"/>
                </a:cubicBezTo>
                <a:cubicBezTo>
                  <a:pt x="956" y="1977"/>
                  <a:pt x="956" y="1976"/>
                  <a:pt x="956" y="1976"/>
                </a:cubicBezTo>
                <a:cubicBezTo>
                  <a:pt x="956" y="1976"/>
                  <a:pt x="956" y="1975"/>
                  <a:pt x="956" y="1975"/>
                </a:cubicBezTo>
                <a:cubicBezTo>
                  <a:pt x="956" y="1974"/>
                  <a:pt x="955" y="1974"/>
                  <a:pt x="955" y="1975"/>
                </a:cubicBezTo>
                <a:cubicBezTo>
                  <a:pt x="955" y="1975"/>
                  <a:pt x="954" y="1976"/>
                  <a:pt x="954" y="1976"/>
                </a:cubicBezTo>
                <a:cubicBezTo>
                  <a:pt x="953" y="1977"/>
                  <a:pt x="954" y="1978"/>
                  <a:pt x="953" y="1979"/>
                </a:cubicBezTo>
                <a:cubicBezTo>
                  <a:pt x="952" y="1979"/>
                  <a:pt x="951" y="1980"/>
                  <a:pt x="951" y="1980"/>
                </a:cubicBezTo>
                <a:cubicBezTo>
                  <a:pt x="951" y="1981"/>
                  <a:pt x="952" y="1981"/>
                  <a:pt x="952" y="1981"/>
                </a:cubicBezTo>
                <a:cubicBezTo>
                  <a:pt x="952" y="1982"/>
                  <a:pt x="952" y="1982"/>
                  <a:pt x="952" y="1983"/>
                </a:cubicBezTo>
                <a:cubicBezTo>
                  <a:pt x="952" y="1983"/>
                  <a:pt x="953" y="1983"/>
                  <a:pt x="953" y="1983"/>
                </a:cubicBezTo>
                <a:cubicBezTo>
                  <a:pt x="953" y="1984"/>
                  <a:pt x="952" y="1983"/>
                  <a:pt x="952" y="1983"/>
                </a:cubicBezTo>
                <a:cubicBezTo>
                  <a:pt x="952" y="1983"/>
                  <a:pt x="951" y="1983"/>
                  <a:pt x="951" y="1983"/>
                </a:cubicBezTo>
                <a:cubicBezTo>
                  <a:pt x="951" y="1983"/>
                  <a:pt x="951" y="1983"/>
                  <a:pt x="952" y="1984"/>
                </a:cubicBezTo>
                <a:cubicBezTo>
                  <a:pt x="952" y="1984"/>
                  <a:pt x="952" y="1984"/>
                  <a:pt x="953" y="1984"/>
                </a:cubicBezTo>
                <a:cubicBezTo>
                  <a:pt x="953" y="1984"/>
                  <a:pt x="953" y="1985"/>
                  <a:pt x="953" y="1985"/>
                </a:cubicBezTo>
                <a:cubicBezTo>
                  <a:pt x="954" y="1985"/>
                  <a:pt x="954" y="1985"/>
                  <a:pt x="955" y="1985"/>
                </a:cubicBezTo>
                <a:cubicBezTo>
                  <a:pt x="955" y="1986"/>
                  <a:pt x="956" y="1986"/>
                  <a:pt x="956" y="1986"/>
                </a:cubicBezTo>
                <a:cubicBezTo>
                  <a:pt x="956" y="1987"/>
                  <a:pt x="956" y="1987"/>
                  <a:pt x="956" y="1987"/>
                </a:cubicBezTo>
                <a:cubicBezTo>
                  <a:pt x="956" y="1987"/>
                  <a:pt x="957" y="1988"/>
                  <a:pt x="957" y="1988"/>
                </a:cubicBezTo>
                <a:cubicBezTo>
                  <a:pt x="957" y="1988"/>
                  <a:pt x="957" y="1989"/>
                  <a:pt x="957" y="1989"/>
                </a:cubicBezTo>
                <a:cubicBezTo>
                  <a:pt x="956" y="1989"/>
                  <a:pt x="956" y="1988"/>
                  <a:pt x="956" y="1988"/>
                </a:cubicBezTo>
                <a:cubicBezTo>
                  <a:pt x="956" y="1988"/>
                  <a:pt x="956" y="1988"/>
                  <a:pt x="955" y="1988"/>
                </a:cubicBezTo>
                <a:cubicBezTo>
                  <a:pt x="955" y="1988"/>
                  <a:pt x="954" y="1988"/>
                  <a:pt x="954" y="1988"/>
                </a:cubicBezTo>
                <a:cubicBezTo>
                  <a:pt x="954" y="1988"/>
                  <a:pt x="954" y="1989"/>
                  <a:pt x="954" y="1989"/>
                </a:cubicBezTo>
                <a:cubicBezTo>
                  <a:pt x="953" y="1989"/>
                  <a:pt x="953" y="1989"/>
                  <a:pt x="953" y="1989"/>
                </a:cubicBezTo>
                <a:cubicBezTo>
                  <a:pt x="953" y="1989"/>
                  <a:pt x="953" y="1988"/>
                  <a:pt x="953" y="1988"/>
                </a:cubicBezTo>
                <a:cubicBezTo>
                  <a:pt x="954" y="1987"/>
                  <a:pt x="955" y="1987"/>
                  <a:pt x="954" y="1986"/>
                </a:cubicBezTo>
                <a:cubicBezTo>
                  <a:pt x="954" y="1986"/>
                  <a:pt x="953" y="1987"/>
                  <a:pt x="952" y="1987"/>
                </a:cubicBezTo>
                <a:cubicBezTo>
                  <a:pt x="952" y="1988"/>
                  <a:pt x="951" y="1988"/>
                  <a:pt x="950" y="1988"/>
                </a:cubicBezTo>
                <a:cubicBezTo>
                  <a:pt x="949" y="1988"/>
                  <a:pt x="948" y="1988"/>
                  <a:pt x="948" y="1988"/>
                </a:cubicBezTo>
                <a:cubicBezTo>
                  <a:pt x="947" y="1988"/>
                  <a:pt x="946" y="1988"/>
                  <a:pt x="945" y="1988"/>
                </a:cubicBezTo>
                <a:cubicBezTo>
                  <a:pt x="944" y="1988"/>
                  <a:pt x="944" y="1988"/>
                  <a:pt x="944" y="1988"/>
                </a:cubicBezTo>
                <a:cubicBezTo>
                  <a:pt x="943" y="1989"/>
                  <a:pt x="943" y="1989"/>
                  <a:pt x="943" y="1989"/>
                </a:cubicBezTo>
                <a:cubicBezTo>
                  <a:pt x="942" y="1989"/>
                  <a:pt x="941" y="1988"/>
                  <a:pt x="942" y="1989"/>
                </a:cubicBezTo>
                <a:cubicBezTo>
                  <a:pt x="942" y="1989"/>
                  <a:pt x="942" y="1989"/>
                  <a:pt x="942" y="1990"/>
                </a:cubicBezTo>
                <a:cubicBezTo>
                  <a:pt x="942" y="1990"/>
                  <a:pt x="942" y="1990"/>
                  <a:pt x="941" y="1990"/>
                </a:cubicBezTo>
                <a:cubicBezTo>
                  <a:pt x="941" y="1990"/>
                  <a:pt x="941" y="1990"/>
                  <a:pt x="941" y="1989"/>
                </a:cubicBezTo>
                <a:cubicBezTo>
                  <a:pt x="941" y="1989"/>
                  <a:pt x="940" y="1989"/>
                  <a:pt x="940" y="1989"/>
                </a:cubicBezTo>
                <a:cubicBezTo>
                  <a:pt x="940" y="1989"/>
                  <a:pt x="940" y="1989"/>
                  <a:pt x="939" y="1989"/>
                </a:cubicBezTo>
                <a:cubicBezTo>
                  <a:pt x="938" y="1989"/>
                  <a:pt x="939" y="1990"/>
                  <a:pt x="939" y="1990"/>
                </a:cubicBezTo>
                <a:cubicBezTo>
                  <a:pt x="939" y="1991"/>
                  <a:pt x="939" y="1991"/>
                  <a:pt x="938" y="1991"/>
                </a:cubicBezTo>
                <a:cubicBezTo>
                  <a:pt x="938" y="1991"/>
                  <a:pt x="938" y="1992"/>
                  <a:pt x="938" y="1992"/>
                </a:cubicBezTo>
                <a:cubicBezTo>
                  <a:pt x="939" y="1993"/>
                  <a:pt x="939" y="1992"/>
                  <a:pt x="939" y="1991"/>
                </a:cubicBezTo>
                <a:cubicBezTo>
                  <a:pt x="939" y="1991"/>
                  <a:pt x="940" y="1991"/>
                  <a:pt x="941" y="1991"/>
                </a:cubicBezTo>
                <a:cubicBezTo>
                  <a:pt x="942" y="1991"/>
                  <a:pt x="942" y="1990"/>
                  <a:pt x="943" y="1990"/>
                </a:cubicBezTo>
                <a:cubicBezTo>
                  <a:pt x="944" y="1990"/>
                  <a:pt x="945" y="1991"/>
                  <a:pt x="945" y="1990"/>
                </a:cubicBezTo>
                <a:cubicBezTo>
                  <a:pt x="945" y="1990"/>
                  <a:pt x="946" y="1989"/>
                  <a:pt x="946" y="1989"/>
                </a:cubicBezTo>
                <a:cubicBezTo>
                  <a:pt x="946" y="1990"/>
                  <a:pt x="946" y="1990"/>
                  <a:pt x="947" y="1990"/>
                </a:cubicBezTo>
                <a:cubicBezTo>
                  <a:pt x="947" y="1990"/>
                  <a:pt x="947" y="1990"/>
                  <a:pt x="947" y="1990"/>
                </a:cubicBezTo>
                <a:cubicBezTo>
                  <a:pt x="947" y="1990"/>
                  <a:pt x="948" y="1991"/>
                  <a:pt x="947" y="1991"/>
                </a:cubicBezTo>
                <a:cubicBezTo>
                  <a:pt x="947" y="1991"/>
                  <a:pt x="946" y="1991"/>
                  <a:pt x="947" y="1992"/>
                </a:cubicBezTo>
                <a:cubicBezTo>
                  <a:pt x="947" y="1992"/>
                  <a:pt x="947" y="1992"/>
                  <a:pt x="948" y="1992"/>
                </a:cubicBezTo>
                <a:cubicBezTo>
                  <a:pt x="948" y="1992"/>
                  <a:pt x="948" y="1992"/>
                  <a:pt x="949" y="1992"/>
                </a:cubicBezTo>
                <a:cubicBezTo>
                  <a:pt x="949" y="1991"/>
                  <a:pt x="949" y="1991"/>
                  <a:pt x="949" y="1991"/>
                </a:cubicBezTo>
                <a:cubicBezTo>
                  <a:pt x="950" y="1990"/>
                  <a:pt x="950" y="1991"/>
                  <a:pt x="950" y="1991"/>
                </a:cubicBezTo>
                <a:cubicBezTo>
                  <a:pt x="950" y="1992"/>
                  <a:pt x="950" y="1992"/>
                  <a:pt x="950" y="1992"/>
                </a:cubicBezTo>
                <a:cubicBezTo>
                  <a:pt x="950" y="1993"/>
                  <a:pt x="950" y="1993"/>
                  <a:pt x="950" y="1993"/>
                </a:cubicBezTo>
                <a:cubicBezTo>
                  <a:pt x="950" y="1993"/>
                  <a:pt x="950" y="1993"/>
                  <a:pt x="950" y="1993"/>
                </a:cubicBezTo>
                <a:cubicBezTo>
                  <a:pt x="951" y="1992"/>
                  <a:pt x="952" y="1991"/>
                  <a:pt x="952" y="1991"/>
                </a:cubicBezTo>
                <a:cubicBezTo>
                  <a:pt x="953" y="1991"/>
                  <a:pt x="952" y="1991"/>
                  <a:pt x="953" y="1992"/>
                </a:cubicBezTo>
                <a:cubicBezTo>
                  <a:pt x="953" y="1992"/>
                  <a:pt x="953" y="1992"/>
                  <a:pt x="953" y="1992"/>
                </a:cubicBezTo>
                <a:cubicBezTo>
                  <a:pt x="954" y="1992"/>
                  <a:pt x="954" y="1992"/>
                  <a:pt x="955" y="1992"/>
                </a:cubicBezTo>
                <a:cubicBezTo>
                  <a:pt x="955" y="1991"/>
                  <a:pt x="955" y="1991"/>
                  <a:pt x="956" y="1991"/>
                </a:cubicBezTo>
                <a:cubicBezTo>
                  <a:pt x="956" y="1991"/>
                  <a:pt x="955" y="1992"/>
                  <a:pt x="955" y="1992"/>
                </a:cubicBezTo>
                <a:cubicBezTo>
                  <a:pt x="954" y="1992"/>
                  <a:pt x="954" y="1992"/>
                  <a:pt x="954" y="1992"/>
                </a:cubicBezTo>
                <a:cubicBezTo>
                  <a:pt x="953" y="1992"/>
                  <a:pt x="953" y="1992"/>
                  <a:pt x="953" y="1993"/>
                </a:cubicBezTo>
                <a:cubicBezTo>
                  <a:pt x="953" y="1993"/>
                  <a:pt x="953" y="1993"/>
                  <a:pt x="953" y="1993"/>
                </a:cubicBezTo>
                <a:cubicBezTo>
                  <a:pt x="953" y="1993"/>
                  <a:pt x="952" y="1993"/>
                  <a:pt x="952" y="1994"/>
                </a:cubicBezTo>
                <a:cubicBezTo>
                  <a:pt x="952" y="1994"/>
                  <a:pt x="952" y="1994"/>
                  <a:pt x="953" y="1994"/>
                </a:cubicBezTo>
                <a:cubicBezTo>
                  <a:pt x="953" y="1994"/>
                  <a:pt x="953" y="1994"/>
                  <a:pt x="954" y="1994"/>
                </a:cubicBezTo>
                <a:cubicBezTo>
                  <a:pt x="954" y="1994"/>
                  <a:pt x="955" y="1994"/>
                  <a:pt x="955" y="1994"/>
                </a:cubicBezTo>
                <a:cubicBezTo>
                  <a:pt x="955" y="1994"/>
                  <a:pt x="956" y="1993"/>
                  <a:pt x="956" y="1993"/>
                </a:cubicBezTo>
                <a:cubicBezTo>
                  <a:pt x="956" y="1993"/>
                  <a:pt x="958" y="1993"/>
                  <a:pt x="958" y="1993"/>
                </a:cubicBezTo>
                <a:cubicBezTo>
                  <a:pt x="959" y="1994"/>
                  <a:pt x="958" y="1994"/>
                  <a:pt x="958" y="1994"/>
                </a:cubicBezTo>
                <a:cubicBezTo>
                  <a:pt x="958" y="1995"/>
                  <a:pt x="958" y="1995"/>
                  <a:pt x="959" y="1994"/>
                </a:cubicBezTo>
                <a:cubicBezTo>
                  <a:pt x="959" y="1994"/>
                  <a:pt x="959" y="1994"/>
                  <a:pt x="960" y="1994"/>
                </a:cubicBezTo>
                <a:cubicBezTo>
                  <a:pt x="960" y="1994"/>
                  <a:pt x="961" y="1994"/>
                  <a:pt x="961" y="1993"/>
                </a:cubicBezTo>
                <a:cubicBezTo>
                  <a:pt x="961" y="1993"/>
                  <a:pt x="961" y="1992"/>
                  <a:pt x="962" y="1992"/>
                </a:cubicBezTo>
                <a:cubicBezTo>
                  <a:pt x="962" y="1992"/>
                  <a:pt x="962" y="1994"/>
                  <a:pt x="963" y="1993"/>
                </a:cubicBezTo>
                <a:cubicBezTo>
                  <a:pt x="963" y="1993"/>
                  <a:pt x="964" y="1992"/>
                  <a:pt x="964" y="1992"/>
                </a:cubicBezTo>
                <a:cubicBezTo>
                  <a:pt x="965" y="1992"/>
                  <a:pt x="965" y="1994"/>
                  <a:pt x="965" y="1994"/>
                </a:cubicBezTo>
                <a:cubicBezTo>
                  <a:pt x="965" y="1994"/>
                  <a:pt x="966" y="1994"/>
                  <a:pt x="966" y="1995"/>
                </a:cubicBezTo>
                <a:cubicBezTo>
                  <a:pt x="966" y="1995"/>
                  <a:pt x="965" y="1995"/>
                  <a:pt x="965" y="1995"/>
                </a:cubicBezTo>
                <a:cubicBezTo>
                  <a:pt x="964" y="1995"/>
                  <a:pt x="964" y="1995"/>
                  <a:pt x="964" y="1995"/>
                </a:cubicBezTo>
                <a:cubicBezTo>
                  <a:pt x="963" y="1996"/>
                  <a:pt x="963" y="1996"/>
                  <a:pt x="963" y="1996"/>
                </a:cubicBezTo>
                <a:cubicBezTo>
                  <a:pt x="962" y="1997"/>
                  <a:pt x="963" y="1998"/>
                  <a:pt x="964" y="1997"/>
                </a:cubicBezTo>
                <a:cubicBezTo>
                  <a:pt x="964" y="1997"/>
                  <a:pt x="965" y="1996"/>
                  <a:pt x="966" y="1997"/>
                </a:cubicBezTo>
                <a:cubicBezTo>
                  <a:pt x="966" y="1997"/>
                  <a:pt x="966" y="1997"/>
                  <a:pt x="967" y="1997"/>
                </a:cubicBezTo>
                <a:cubicBezTo>
                  <a:pt x="967" y="1997"/>
                  <a:pt x="967" y="1997"/>
                  <a:pt x="968" y="1997"/>
                </a:cubicBezTo>
                <a:cubicBezTo>
                  <a:pt x="968" y="1997"/>
                  <a:pt x="968" y="1997"/>
                  <a:pt x="968" y="1997"/>
                </a:cubicBezTo>
                <a:cubicBezTo>
                  <a:pt x="967" y="1997"/>
                  <a:pt x="967" y="1998"/>
                  <a:pt x="967" y="1998"/>
                </a:cubicBezTo>
                <a:cubicBezTo>
                  <a:pt x="966" y="1998"/>
                  <a:pt x="966" y="1998"/>
                  <a:pt x="966" y="1997"/>
                </a:cubicBezTo>
                <a:cubicBezTo>
                  <a:pt x="965" y="1997"/>
                  <a:pt x="965" y="1997"/>
                  <a:pt x="965" y="1997"/>
                </a:cubicBezTo>
                <a:cubicBezTo>
                  <a:pt x="964" y="1997"/>
                  <a:pt x="964" y="1997"/>
                  <a:pt x="964" y="1998"/>
                </a:cubicBezTo>
                <a:cubicBezTo>
                  <a:pt x="963" y="1998"/>
                  <a:pt x="963" y="1998"/>
                  <a:pt x="963" y="1998"/>
                </a:cubicBezTo>
                <a:cubicBezTo>
                  <a:pt x="962" y="1998"/>
                  <a:pt x="962" y="1998"/>
                  <a:pt x="962" y="1999"/>
                </a:cubicBezTo>
                <a:cubicBezTo>
                  <a:pt x="961" y="1999"/>
                  <a:pt x="961" y="1999"/>
                  <a:pt x="962" y="1999"/>
                </a:cubicBezTo>
                <a:cubicBezTo>
                  <a:pt x="962" y="1999"/>
                  <a:pt x="962" y="1999"/>
                  <a:pt x="963" y="1999"/>
                </a:cubicBezTo>
                <a:cubicBezTo>
                  <a:pt x="963" y="1999"/>
                  <a:pt x="963" y="2000"/>
                  <a:pt x="964" y="2000"/>
                </a:cubicBezTo>
                <a:cubicBezTo>
                  <a:pt x="964" y="2000"/>
                  <a:pt x="966" y="1999"/>
                  <a:pt x="966" y="2000"/>
                </a:cubicBezTo>
                <a:cubicBezTo>
                  <a:pt x="966" y="2001"/>
                  <a:pt x="964" y="2001"/>
                  <a:pt x="964" y="2001"/>
                </a:cubicBezTo>
                <a:cubicBezTo>
                  <a:pt x="964" y="2002"/>
                  <a:pt x="965" y="2002"/>
                  <a:pt x="965" y="2002"/>
                </a:cubicBezTo>
                <a:cubicBezTo>
                  <a:pt x="965" y="2002"/>
                  <a:pt x="965" y="2003"/>
                  <a:pt x="966" y="2003"/>
                </a:cubicBezTo>
                <a:cubicBezTo>
                  <a:pt x="966" y="2003"/>
                  <a:pt x="967" y="2003"/>
                  <a:pt x="967" y="2003"/>
                </a:cubicBezTo>
                <a:cubicBezTo>
                  <a:pt x="967" y="2004"/>
                  <a:pt x="967" y="2004"/>
                  <a:pt x="968" y="2004"/>
                </a:cubicBezTo>
                <a:cubicBezTo>
                  <a:pt x="968" y="2004"/>
                  <a:pt x="968" y="2004"/>
                  <a:pt x="968" y="2003"/>
                </a:cubicBezTo>
                <a:cubicBezTo>
                  <a:pt x="969" y="2003"/>
                  <a:pt x="969" y="2003"/>
                  <a:pt x="970" y="2003"/>
                </a:cubicBezTo>
                <a:cubicBezTo>
                  <a:pt x="971" y="2002"/>
                  <a:pt x="970" y="2002"/>
                  <a:pt x="969" y="2001"/>
                </a:cubicBezTo>
                <a:cubicBezTo>
                  <a:pt x="969" y="2001"/>
                  <a:pt x="968" y="2001"/>
                  <a:pt x="968" y="2001"/>
                </a:cubicBezTo>
                <a:cubicBezTo>
                  <a:pt x="969" y="2000"/>
                  <a:pt x="969" y="2000"/>
                  <a:pt x="969" y="2000"/>
                </a:cubicBezTo>
                <a:cubicBezTo>
                  <a:pt x="970" y="2000"/>
                  <a:pt x="970" y="2000"/>
                  <a:pt x="970" y="2000"/>
                </a:cubicBezTo>
                <a:cubicBezTo>
                  <a:pt x="970" y="2000"/>
                  <a:pt x="970" y="2000"/>
                  <a:pt x="970" y="2000"/>
                </a:cubicBezTo>
                <a:cubicBezTo>
                  <a:pt x="970" y="1999"/>
                  <a:pt x="970" y="1999"/>
                  <a:pt x="971" y="1999"/>
                </a:cubicBezTo>
                <a:cubicBezTo>
                  <a:pt x="971" y="1999"/>
                  <a:pt x="971" y="1999"/>
                  <a:pt x="972" y="1999"/>
                </a:cubicBezTo>
                <a:cubicBezTo>
                  <a:pt x="972" y="2000"/>
                  <a:pt x="972" y="2000"/>
                  <a:pt x="972" y="2000"/>
                </a:cubicBezTo>
                <a:cubicBezTo>
                  <a:pt x="973" y="2000"/>
                  <a:pt x="974" y="2000"/>
                  <a:pt x="975" y="2000"/>
                </a:cubicBezTo>
                <a:cubicBezTo>
                  <a:pt x="975" y="2001"/>
                  <a:pt x="974" y="2002"/>
                  <a:pt x="974" y="2002"/>
                </a:cubicBezTo>
                <a:cubicBezTo>
                  <a:pt x="973" y="2003"/>
                  <a:pt x="973" y="2004"/>
                  <a:pt x="974" y="2004"/>
                </a:cubicBezTo>
                <a:cubicBezTo>
                  <a:pt x="974" y="2004"/>
                  <a:pt x="974" y="2004"/>
                  <a:pt x="975" y="2004"/>
                </a:cubicBezTo>
                <a:cubicBezTo>
                  <a:pt x="976" y="2004"/>
                  <a:pt x="977" y="2004"/>
                  <a:pt x="977" y="2004"/>
                </a:cubicBezTo>
                <a:cubicBezTo>
                  <a:pt x="978" y="2004"/>
                  <a:pt x="978" y="2004"/>
                  <a:pt x="978" y="2004"/>
                </a:cubicBezTo>
                <a:cubicBezTo>
                  <a:pt x="979" y="2004"/>
                  <a:pt x="980" y="2005"/>
                  <a:pt x="980" y="2005"/>
                </a:cubicBezTo>
                <a:cubicBezTo>
                  <a:pt x="981" y="2006"/>
                  <a:pt x="981" y="2006"/>
                  <a:pt x="982" y="2007"/>
                </a:cubicBezTo>
                <a:cubicBezTo>
                  <a:pt x="983" y="2007"/>
                  <a:pt x="983" y="2007"/>
                  <a:pt x="983" y="2008"/>
                </a:cubicBezTo>
                <a:cubicBezTo>
                  <a:pt x="983" y="2008"/>
                  <a:pt x="983" y="2008"/>
                  <a:pt x="983" y="2009"/>
                </a:cubicBezTo>
                <a:cubicBezTo>
                  <a:pt x="984" y="2009"/>
                  <a:pt x="984" y="2008"/>
                  <a:pt x="984" y="2008"/>
                </a:cubicBezTo>
                <a:cubicBezTo>
                  <a:pt x="984" y="2007"/>
                  <a:pt x="985" y="2007"/>
                  <a:pt x="984" y="2007"/>
                </a:cubicBezTo>
                <a:cubicBezTo>
                  <a:pt x="984" y="2006"/>
                  <a:pt x="983" y="2006"/>
                  <a:pt x="984" y="2005"/>
                </a:cubicBezTo>
                <a:cubicBezTo>
                  <a:pt x="984" y="2004"/>
                  <a:pt x="984" y="2004"/>
                  <a:pt x="983" y="2004"/>
                </a:cubicBezTo>
                <a:cubicBezTo>
                  <a:pt x="983" y="2004"/>
                  <a:pt x="983" y="2004"/>
                  <a:pt x="983" y="2004"/>
                </a:cubicBezTo>
                <a:cubicBezTo>
                  <a:pt x="983" y="2004"/>
                  <a:pt x="983" y="2003"/>
                  <a:pt x="983" y="2003"/>
                </a:cubicBezTo>
                <a:cubicBezTo>
                  <a:pt x="982" y="2003"/>
                  <a:pt x="981" y="2003"/>
                  <a:pt x="981" y="2003"/>
                </a:cubicBezTo>
                <a:cubicBezTo>
                  <a:pt x="980" y="2002"/>
                  <a:pt x="980" y="2002"/>
                  <a:pt x="980" y="2002"/>
                </a:cubicBezTo>
                <a:cubicBezTo>
                  <a:pt x="979" y="2002"/>
                  <a:pt x="979" y="2002"/>
                  <a:pt x="979" y="2002"/>
                </a:cubicBezTo>
                <a:cubicBezTo>
                  <a:pt x="978" y="2002"/>
                  <a:pt x="978" y="2002"/>
                  <a:pt x="978" y="2002"/>
                </a:cubicBezTo>
                <a:cubicBezTo>
                  <a:pt x="977" y="2002"/>
                  <a:pt x="978" y="2002"/>
                  <a:pt x="978" y="2002"/>
                </a:cubicBezTo>
                <a:cubicBezTo>
                  <a:pt x="979" y="2002"/>
                  <a:pt x="979" y="2002"/>
                  <a:pt x="979" y="2002"/>
                </a:cubicBezTo>
                <a:cubicBezTo>
                  <a:pt x="980" y="2002"/>
                  <a:pt x="980" y="2001"/>
                  <a:pt x="981" y="2002"/>
                </a:cubicBezTo>
                <a:cubicBezTo>
                  <a:pt x="981" y="2002"/>
                  <a:pt x="981" y="2002"/>
                  <a:pt x="982" y="2002"/>
                </a:cubicBezTo>
                <a:cubicBezTo>
                  <a:pt x="982" y="2001"/>
                  <a:pt x="982" y="2001"/>
                  <a:pt x="981" y="2001"/>
                </a:cubicBezTo>
                <a:cubicBezTo>
                  <a:pt x="981" y="2001"/>
                  <a:pt x="981" y="2001"/>
                  <a:pt x="981" y="2001"/>
                </a:cubicBezTo>
                <a:cubicBezTo>
                  <a:pt x="981" y="2000"/>
                  <a:pt x="981" y="2000"/>
                  <a:pt x="981" y="2000"/>
                </a:cubicBezTo>
                <a:cubicBezTo>
                  <a:pt x="981" y="2000"/>
                  <a:pt x="980" y="2000"/>
                  <a:pt x="980" y="2000"/>
                </a:cubicBezTo>
                <a:cubicBezTo>
                  <a:pt x="979" y="2000"/>
                  <a:pt x="979" y="1999"/>
                  <a:pt x="979" y="1999"/>
                </a:cubicBezTo>
                <a:cubicBezTo>
                  <a:pt x="978" y="1999"/>
                  <a:pt x="978" y="2000"/>
                  <a:pt x="978" y="2000"/>
                </a:cubicBezTo>
                <a:cubicBezTo>
                  <a:pt x="977" y="2000"/>
                  <a:pt x="976" y="1999"/>
                  <a:pt x="976" y="1999"/>
                </a:cubicBezTo>
                <a:cubicBezTo>
                  <a:pt x="975" y="1999"/>
                  <a:pt x="975" y="1999"/>
                  <a:pt x="974" y="1999"/>
                </a:cubicBezTo>
                <a:cubicBezTo>
                  <a:pt x="974" y="1999"/>
                  <a:pt x="973" y="1998"/>
                  <a:pt x="974" y="1998"/>
                </a:cubicBezTo>
                <a:cubicBezTo>
                  <a:pt x="974" y="1998"/>
                  <a:pt x="975" y="1998"/>
                  <a:pt x="975" y="1999"/>
                </a:cubicBezTo>
                <a:cubicBezTo>
                  <a:pt x="975" y="1999"/>
                  <a:pt x="976" y="1998"/>
                  <a:pt x="976" y="1999"/>
                </a:cubicBezTo>
                <a:cubicBezTo>
                  <a:pt x="977" y="1999"/>
                  <a:pt x="976" y="1999"/>
                  <a:pt x="977" y="1999"/>
                </a:cubicBezTo>
                <a:cubicBezTo>
                  <a:pt x="977" y="2000"/>
                  <a:pt x="977" y="1999"/>
                  <a:pt x="978" y="1999"/>
                </a:cubicBezTo>
                <a:cubicBezTo>
                  <a:pt x="978" y="1999"/>
                  <a:pt x="977" y="1999"/>
                  <a:pt x="977" y="1998"/>
                </a:cubicBezTo>
                <a:cubicBezTo>
                  <a:pt x="978" y="1998"/>
                  <a:pt x="978" y="1998"/>
                  <a:pt x="978" y="1998"/>
                </a:cubicBezTo>
                <a:cubicBezTo>
                  <a:pt x="978" y="1998"/>
                  <a:pt x="979" y="1999"/>
                  <a:pt x="979" y="1999"/>
                </a:cubicBezTo>
                <a:cubicBezTo>
                  <a:pt x="979" y="1998"/>
                  <a:pt x="979" y="1998"/>
                  <a:pt x="979" y="1998"/>
                </a:cubicBezTo>
                <a:cubicBezTo>
                  <a:pt x="980" y="1998"/>
                  <a:pt x="980" y="1998"/>
                  <a:pt x="980" y="1998"/>
                </a:cubicBezTo>
                <a:cubicBezTo>
                  <a:pt x="980" y="1998"/>
                  <a:pt x="981" y="1997"/>
                  <a:pt x="981" y="1997"/>
                </a:cubicBezTo>
                <a:cubicBezTo>
                  <a:pt x="981" y="1996"/>
                  <a:pt x="980" y="1996"/>
                  <a:pt x="980" y="1996"/>
                </a:cubicBezTo>
                <a:cubicBezTo>
                  <a:pt x="979" y="1996"/>
                  <a:pt x="978" y="1996"/>
                  <a:pt x="977" y="1996"/>
                </a:cubicBezTo>
                <a:cubicBezTo>
                  <a:pt x="976" y="1996"/>
                  <a:pt x="976" y="1996"/>
                  <a:pt x="975" y="1996"/>
                </a:cubicBezTo>
                <a:cubicBezTo>
                  <a:pt x="974" y="1996"/>
                  <a:pt x="974" y="1996"/>
                  <a:pt x="974" y="1996"/>
                </a:cubicBezTo>
                <a:cubicBezTo>
                  <a:pt x="973" y="1997"/>
                  <a:pt x="973" y="1997"/>
                  <a:pt x="972" y="1997"/>
                </a:cubicBezTo>
                <a:cubicBezTo>
                  <a:pt x="972" y="1997"/>
                  <a:pt x="972" y="1997"/>
                  <a:pt x="971" y="1996"/>
                </a:cubicBezTo>
                <a:cubicBezTo>
                  <a:pt x="971" y="1996"/>
                  <a:pt x="971" y="1996"/>
                  <a:pt x="970" y="1996"/>
                </a:cubicBezTo>
                <a:cubicBezTo>
                  <a:pt x="971" y="1995"/>
                  <a:pt x="972" y="1995"/>
                  <a:pt x="972" y="1995"/>
                </a:cubicBezTo>
                <a:cubicBezTo>
                  <a:pt x="973" y="1995"/>
                  <a:pt x="973" y="1995"/>
                  <a:pt x="974" y="1995"/>
                </a:cubicBezTo>
                <a:cubicBezTo>
                  <a:pt x="974" y="1995"/>
                  <a:pt x="974" y="1994"/>
                  <a:pt x="975" y="1994"/>
                </a:cubicBezTo>
                <a:cubicBezTo>
                  <a:pt x="975" y="1994"/>
                  <a:pt x="975" y="1994"/>
                  <a:pt x="976" y="1995"/>
                </a:cubicBezTo>
                <a:cubicBezTo>
                  <a:pt x="976" y="1995"/>
                  <a:pt x="977" y="1995"/>
                  <a:pt x="978" y="1995"/>
                </a:cubicBezTo>
                <a:cubicBezTo>
                  <a:pt x="979" y="1995"/>
                  <a:pt x="980" y="1995"/>
                  <a:pt x="980" y="1995"/>
                </a:cubicBezTo>
                <a:cubicBezTo>
                  <a:pt x="982" y="1995"/>
                  <a:pt x="984" y="1995"/>
                  <a:pt x="985" y="1995"/>
                </a:cubicBezTo>
                <a:cubicBezTo>
                  <a:pt x="987" y="1995"/>
                  <a:pt x="989" y="1995"/>
                  <a:pt x="990" y="1995"/>
                </a:cubicBezTo>
                <a:cubicBezTo>
                  <a:pt x="991" y="1995"/>
                  <a:pt x="992" y="1995"/>
                  <a:pt x="993" y="1995"/>
                </a:cubicBezTo>
                <a:cubicBezTo>
                  <a:pt x="994" y="1995"/>
                  <a:pt x="994" y="1996"/>
                  <a:pt x="995" y="1996"/>
                </a:cubicBezTo>
                <a:cubicBezTo>
                  <a:pt x="996" y="1996"/>
                  <a:pt x="996" y="1996"/>
                  <a:pt x="997" y="1996"/>
                </a:cubicBezTo>
                <a:cubicBezTo>
                  <a:pt x="998" y="1996"/>
                  <a:pt x="998" y="1997"/>
                  <a:pt x="998" y="1997"/>
                </a:cubicBezTo>
                <a:cubicBezTo>
                  <a:pt x="999" y="1997"/>
                  <a:pt x="999" y="1997"/>
                  <a:pt x="999" y="1997"/>
                </a:cubicBezTo>
                <a:cubicBezTo>
                  <a:pt x="1000" y="1998"/>
                  <a:pt x="1001" y="1998"/>
                  <a:pt x="1002" y="1998"/>
                </a:cubicBezTo>
                <a:cubicBezTo>
                  <a:pt x="1003" y="1997"/>
                  <a:pt x="1004" y="1997"/>
                  <a:pt x="1005" y="1997"/>
                </a:cubicBezTo>
                <a:cubicBezTo>
                  <a:pt x="1006" y="1997"/>
                  <a:pt x="1007" y="1997"/>
                  <a:pt x="1008" y="1997"/>
                </a:cubicBezTo>
                <a:cubicBezTo>
                  <a:pt x="1008" y="1996"/>
                  <a:pt x="1009" y="1996"/>
                  <a:pt x="1010" y="1996"/>
                </a:cubicBezTo>
                <a:cubicBezTo>
                  <a:pt x="1011" y="1996"/>
                  <a:pt x="1012" y="1996"/>
                  <a:pt x="1013" y="1996"/>
                </a:cubicBezTo>
                <a:cubicBezTo>
                  <a:pt x="1013" y="1996"/>
                  <a:pt x="1013" y="1996"/>
                  <a:pt x="1014" y="1996"/>
                </a:cubicBezTo>
                <a:cubicBezTo>
                  <a:pt x="1015" y="1996"/>
                  <a:pt x="1016" y="1995"/>
                  <a:pt x="1016" y="1995"/>
                </a:cubicBezTo>
                <a:cubicBezTo>
                  <a:pt x="1016" y="1994"/>
                  <a:pt x="1016" y="1993"/>
                  <a:pt x="1016" y="1993"/>
                </a:cubicBezTo>
                <a:cubicBezTo>
                  <a:pt x="1016" y="1993"/>
                  <a:pt x="1016" y="1992"/>
                  <a:pt x="1016" y="1992"/>
                </a:cubicBezTo>
                <a:cubicBezTo>
                  <a:pt x="1017" y="1992"/>
                  <a:pt x="1017" y="1992"/>
                  <a:pt x="1017" y="1992"/>
                </a:cubicBezTo>
                <a:cubicBezTo>
                  <a:pt x="1017" y="1991"/>
                  <a:pt x="1017" y="1991"/>
                  <a:pt x="1016" y="1991"/>
                </a:cubicBezTo>
                <a:close/>
                <a:moveTo>
                  <a:pt x="918" y="1973"/>
                </a:moveTo>
                <a:cubicBezTo>
                  <a:pt x="917" y="1973"/>
                  <a:pt x="918" y="1974"/>
                  <a:pt x="919" y="1974"/>
                </a:cubicBezTo>
                <a:cubicBezTo>
                  <a:pt x="919" y="1974"/>
                  <a:pt x="919" y="1973"/>
                  <a:pt x="918" y="1973"/>
                </a:cubicBezTo>
                <a:close/>
                <a:moveTo>
                  <a:pt x="914" y="1970"/>
                </a:moveTo>
                <a:cubicBezTo>
                  <a:pt x="914" y="1970"/>
                  <a:pt x="915" y="1970"/>
                  <a:pt x="915" y="1970"/>
                </a:cubicBezTo>
                <a:cubicBezTo>
                  <a:pt x="915" y="1969"/>
                  <a:pt x="914" y="1969"/>
                  <a:pt x="914" y="1970"/>
                </a:cubicBezTo>
                <a:close/>
                <a:moveTo>
                  <a:pt x="908" y="1954"/>
                </a:moveTo>
                <a:cubicBezTo>
                  <a:pt x="908" y="1954"/>
                  <a:pt x="909" y="1954"/>
                  <a:pt x="909" y="1954"/>
                </a:cubicBezTo>
                <a:cubicBezTo>
                  <a:pt x="909" y="1954"/>
                  <a:pt x="909" y="1953"/>
                  <a:pt x="909" y="1953"/>
                </a:cubicBezTo>
                <a:cubicBezTo>
                  <a:pt x="908" y="1953"/>
                  <a:pt x="907" y="1953"/>
                  <a:pt x="907" y="1953"/>
                </a:cubicBezTo>
                <a:cubicBezTo>
                  <a:pt x="906" y="1953"/>
                  <a:pt x="905" y="1953"/>
                  <a:pt x="906" y="1953"/>
                </a:cubicBezTo>
                <a:cubicBezTo>
                  <a:pt x="906" y="1954"/>
                  <a:pt x="906" y="1954"/>
                  <a:pt x="906" y="1954"/>
                </a:cubicBezTo>
                <a:cubicBezTo>
                  <a:pt x="907" y="1954"/>
                  <a:pt x="907" y="1956"/>
                  <a:pt x="908" y="1955"/>
                </a:cubicBezTo>
                <a:cubicBezTo>
                  <a:pt x="908" y="1955"/>
                  <a:pt x="908" y="1954"/>
                  <a:pt x="908" y="1954"/>
                </a:cubicBezTo>
                <a:close/>
                <a:moveTo>
                  <a:pt x="906" y="1949"/>
                </a:moveTo>
                <a:cubicBezTo>
                  <a:pt x="906" y="1949"/>
                  <a:pt x="907" y="1949"/>
                  <a:pt x="907" y="1948"/>
                </a:cubicBezTo>
                <a:cubicBezTo>
                  <a:pt x="907" y="1948"/>
                  <a:pt x="907" y="1947"/>
                  <a:pt x="907" y="1947"/>
                </a:cubicBezTo>
                <a:cubicBezTo>
                  <a:pt x="907" y="1946"/>
                  <a:pt x="907" y="1946"/>
                  <a:pt x="907" y="1946"/>
                </a:cubicBezTo>
                <a:cubicBezTo>
                  <a:pt x="907" y="1945"/>
                  <a:pt x="906" y="1944"/>
                  <a:pt x="906" y="1944"/>
                </a:cubicBezTo>
                <a:cubicBezTo>
                  <a:pt x="906" y="1944"/>
                  <a:pt x="905" y="1945"/>
                  <a:pt x="905" y="1945"/>
                </a:cubicBezTo>
                <a:cubicBezTo>
                  <a:pt x="905" y="1945"/>
                  <a:pt x="906" y="1945"/>
                  <a:pt x="906" y="1946"/>
                </a:cubicBezTo>
                <a:cubicBezTo>
                  <a:pt x="906" y="1947"/>
                  <a:pt x="905" y="1948"/>
                  <a:pt x="905" y="1947"/>
                </a:cubicBezTo>
                <a:cubicBezTo>
                  <a:pt x="905" y="1946"/>
                  <a:pt x="905" y="1945"/>
                  <a:pt x="904" y="1946"/>
                </a:cubicBezTo>
                <a:cubicBezTo>
                  <a:pt x="904" y="1946"/>
                  <a:pt x="904" y="1947"/>
                  <a:pt x="904" y="1947"/>
                </a:cubicBezTo>
                <a:cubicBezTo>
                  <a:pt x="904" y="1947"/>
                  <a:pt x="903" y="1947"/>
                  <a:pt x="904" y="1948"/>
                </a:cubicBezTo>
                <a:cubicBezTo>
                  <a:pt x="904" y="1948"/>
                  <a:pt x="904" y="1949"/>
                  <a:pt x="904" y="1949"/>
                </a:cubicBezTo>
                <a:cubicBezTo>
                  <a:pt x="905" y="1950"/>
                  <a:pt x="904" y="1950"/>
                  <a:pt x="904" y="1951"/>
                </a:cubicBezTo>
                <a:cubicBezTo>
                  <a:pt x="905" y="1952"/>
                  <a:pt x="906" y="1951"/>
                  <a:pt x="906" y="1951"/>
                </a:cubicBezTo>
                <a:cubicBezTo>
                  <a:pt x="906" y="1950"/>
                  <a:pt x="906" y="1950"/>
                  <a:pt x="906" y="1949"/>
                </a:cubicBezTo>
                <a:close/>
                <a:moveTo>
                  <a:pt x="921" y="1970"/>
                </a:moveTo>
                <a:cubicBezTo>
                  <a:pt x="922" y="1971"/>
                  <a:pt x="922" y="1971"/>
                  <a:pt x="922" y="1971"/>
                </a:cubicBezTo>
                <a:cubicBezTo>
                  <a:pt x="923" y="1971"/>
                  <a:pt x="923" y="1971"/>
                  <a:pt x="923" y="1971"/>
                </a:cubicBezTo>
                <a:cubicBezTo>
                  <a:pt x="924" y="1971"/>
                  <a:pt x="926" y="1971"/>
                  <a:pt x="926" y="1971"/>
                </a:cubicBezTo>
                <a:cubicBezTo>
                  <a:pt x="926" y="1971"/>
                  <a:pt x="925" y="1970"/>
                  <a:pt x="925" y="1970"/>
                </a:cubicBezTo>
                <a:cubicBezTo>
                  <a:pt x="925" y="1970"/>
                  <a:pt x="924" y="1970"/>
                  <a:pt x="924" y="1970"/>
                </a:cubicBezTo>
                <a:cubicBezTo>
                  <a:pt x="924" y="1969"/>
                  <a:pt x="923" y="1969"/>
                  <a:pt x="923" y="1969"/>
                </a:cubicBezTo>
                <a:cubicBezTo>
                  <a:pt x="923" y="1968"/>
                  <a:pt x="923" y="1968"/>
                  <a:pt x="923" y="1968"/>
                </a:cubicBezTo>
                <a:cubicBezTo>
                  <a:pt x="922" y="1968"/>
                  <a:pt x="921" y="1969"/>
                  <a:pt x="921" y="1968"/>
                </a:cubicBezTo>
                <a:cubicBezTo>
                  <a:pt x="921" y="1968"/>
                  <a:pt x="921" y="1968"/>
                  <a:pt x="921" y="1967"/>
                </a:cubicBezTo>
                <a:cubicBezTo>
                  <a:pt x="921" y="1967"/>
                  <a:pt x="921" y="1967"/>
                  <a:pt x="920" y="1967"/>
                </a:cubicBezTo>
                <a:cubicBezTo>
                  <a:pt x="920" y="1966"/>
                  <a:pt x="919" y="1967"/>
                  <a:pt x="918" y="1966"/>
                </a:cubicBezTo>
                <a:cubicBezTo>
                  <a:pt x="918" y="1966"/>
                  <a:pt x="918" y="1966"/>
                  <a:pt x="917" y="1966"/>
                </a:cubicBezTo>
                <a:cubicBezTo>
                  <a:pt x="917" y="1965"/>
                  <a:pt x="917" y="1965"/>
                  <a:pt x="916" y="1965"/>
                </a:cubicBezTo>
                <a:cubicBezTo>
                  <a:pt x="916" y="1965"/>
                  <a:pt x="916" y="1965"/>
                  <a:pt x="915" y="1964"/>
                </a:cubicBezTo>
                <a:cubicBezTo>
                  <a:pt x="915" y="1964"/>
                  <a:pt x="914" y="1964"/>
                  <a:pt x="914" y="1964"/>
                </a:cubicBezTo>
                <a:cubicBezTo>
                  <a:pt x="913" y="1964"/>
                  <a:pt x="912" y="1964"/>
                  <a:pt x="911" y="1964"/>
                </a:cubicBezTo>
                <a:cubicBezTo>
                  <a:pt x="911" y="1964"/>
                  <a:pt x="910" y="1963"/>
                  <a:pt x="909" y="1962"/>
                </a:cubicBezTo>
                <a:cubicBezTo>
                  <a:pt x="909" y="1962"/>
                  <a:pt x="908" y="1961"/>
                  <a:pt x="908" y="1961"/>
                </a:cubicBezTo>
                <a:cubicBezTo>
                  <a:pt x="907" y="1961"/>
                  <a:pt x="907" y="1962"/>
                  <a:pt x="908" y="1963"/>
                </a:cubicBezTo>
                <a:cubicBezTo>
                  <a:pt x="908" y="1963"/>
                  <a:pt x="909" y="1964"/>
                  <a:pt x="910" y="1964"/>
                </a:cubicBezTo>
                <a:cubicBezTo>
                  <a:pt x="910" y="1965"/>
                  <a:pt x="911" y="1966"/>
                  <a:pt x="911" y="1966"/>
                </a:cubicBezTo>
                <a:cubicBezTo>
                  <a:pt x="912" y="1967"/>
                  <a:pt x="913" y="1967"/>
                  <a:pt x="914" y="1967"/>
                </a:cubicBezTo>
                <a:cubicBezTo>
                  <a:pt x="914" y="1967"/>
                  <a:pt x="915" y="1967"/>
                  <a:pt x="916" y="1967"/>
                </a:cubicBezTo>
                <a:cubicBezTo>
                  <a:pt x="917" y="1966"/>
                  <a:pt x="917" y="1966"/>
                  <a:pt x="918" y="1967"/>
                </a:cubicBezTo>
                <a:cubicBezTo>
                  <a:pt x="918" y="1967"/>
                  <a:pt x="918" y="1968"/>
                  <a:pt x="919" y="1968"/>
                </a:cubicBezTo>
                <a:cubicBezTo>
                  <a:pt x="919" y="1969"/>
                  <a:pt x="919" y="1969"/>
                  <a:pt x="920" y="1969"/>
                </a:cubicBezTo>
                <a:cubicBezTo>
                  <a:pt x="920" y="1969"/>
                  <a:pt x="920" y="1970"/>
                  <a:pt x="920" y="1970"/>
                </a:cubicBezTo>
                <a:cubicBezTo>
                  <a:pt x="920" y="1970"/>
                  <a:pt x="921" y="1970"/>
                  <a:pt x="921" y="1970"/>
                </a:cubicBezTo>
                <a:close/>
                <a:moveTo>
                  <a:pt x="934" y="1986"/>
                </a:moveTo>
                <a:cubicBezTo>
                  <a:pt x="933" y="1986"/>
                  <a:pt x="933" y="1988"/>
                  <a:pt x="934" y="1988"/>
                </a:cubicBezTo>
                <a:cubicBezTo>
                  <a:pt x="934" y="1988"/>
                  <a:pt x="934" y="1987"/>
                  <a:pt x="934" y="1987"/>
                </a:cubicBezTo>
                <a:cubicBezTo>
                  <a:pt x="934" y="1987"/>
                  <a:pt x="935" y="1987"/>
                  <a:pt x="935" y="1987"/>
                </a:cubicBezTo>
                <a:cubicBezTo>
                  <a:pt x="935" y="1987"/>
                  <a:pt x="935" y="1987"/>
                  <a:pt x="935" y="1987"/>
                </a:cubicBezTo>
                <a:cubicBezTo>
                  <a:pt x="935" y="1986"/>
                  <a:pt x="935" y="1986"/>
                  <a:pt x="935" y="1986"/>
                </a:cubicBezTo>
                <a:cubicBezTo>
                  <a:pt x="934" y="1986"/>
                  <a:pt x="934" y="1986"/>
                  <a:pt x="934" y="1986"/>
                </a:cubicBezTo>
                <a:close/>
                <a:moveTo>
                  <a:pt x="934" y="1982"/>
                </a:moveTo>
                <a:cubicBezTo>
                  <a:pt x="934" y="1982"/>
                  <a:pt x="934" y="1982"/>
                  <a:pt x="935" y="1982"/>
                </a:cubicBezTo>
                <a:cubicBezTo>
                  <a:pt x="935" y="1981"/>
                  <a:pt x="935" y="1981"/>
                  <a:pt x="935" y="1980"/>
                </a:cubicBezTo>
                <a:cubicBezTo>
                  <a:pt x="935" y="1980"/>
                  <a:pt x="934" y="1980"/>
                  <a:pt x="934" y="1980"/>
                </a:cubicBezTo>
                <a:cubicBezTo>
                  <a:pt x="935" y="1979"/>
                  <a:pt x="935" y="1979"/>
                  <a:pt x="935" y="1979"/>
                </a:cubicBezTo>
                <a:cubicBezTo>
                  <a:pt x="936" y="1979"/>
                  <a:pt x="938" y="1979"/>
                  <a:pt x="937" y="1978"/>
                </a:cubicBezTo>
                <a:cubicBezTo>
                  <a:pt x="937" y="1978"/>
                  <a:pt x="937" y="1978"/>
                  <a:pt x="936" y="1978"/>
                </a:cubicBezTo>
                <a:cubicBezTo>
                  <a:pt x="936" y="1977"/>
                  <a:pt x="936" y="1977"/>
                  <a:pt x="936" y="1977"/>
                </a:cubicBezTo>
                <a:cubicBezTo>
                  <a:pt x="936" y="1977"/>
                  <a:pt x="936" y="1976"/>
                  <a:pt x="935" y="1976"/>
                </a:cubicBezTo>
                <a:cubicBezTo>
                  <a:pt x="935" y="1976"/>
                  <a:pt x="934" y="1977"/>
                  <a:pt x="934" y="1976"/>
                </a:cubicBezTo>
                <a:cubicBezTo>
                  <a:pt x="934" y="1976"/>
                  <a:pt x="934" y="1976"/>
                  <a:pt x="934" y="1975"/>
                </a:cubicBezTo>
                <a:cubicBezTo>
                  <a:pt x="933" y="1975"/>
                  <a:pt x="933" y="1974"/>
                  <a:pt x="932" y="1974"/>
                </a:cubicBezTo>
                <a:cubicBezTo>
                  <a:pt x="931" y="1974"/>
                  <a:pt x="930" y="1974"/>
                  <a:pt x="930" y="1973"/>
                </a:cubicBezTo>
                <a:cubicBezTo>
                  <a:pt x="929" y="1973"/>
                  <a:pt x="929" y="1973"/>
                  <a:pt x="928" y="1972"/>
                </a:cubicBezTo>
                <a:cubicBezTo>
                  <a:pt x="928" y="1972"/>
                  <a:pt x="927" y="1971"/>
                  <a:pt x="926" y="1972"/>
                </a:cubicBezTo>
                <a:cubicBezTo>
                  <a:pt x="925" y="1972"/>
                  <a:pt x="925" y="1973"/>
                  <a:pt x="924" y="1973"/>
                </a:cubicBezTo>
                <a:cubicBezTo>
                  <a:pt x="924" y="1973"/>
                  <a:pt x="924" y="1973"/>
                  <a:pt x="923" y="1973"/>
                </a:cubicBezTo>
                <a:cubicBezTo>
                  <a:pt x="923" y="1972"/>
                  <a:pt x="923" y="1973"/>
                  <a:pt x="923" y="1973"/>
                </a:cubicBezTo>
                <a:cubicBezTo>
                  <a:pt x="923" y="1973"/>
                  <a:pt x="924" y="1973"/>
                  <a:pt x="924" y="1974"/>
                </a:cubicBezTo>
                <a:cubicBezTo>
                  <a:pt x="924" y="1974"/>
                  <a:pt x="924" y="1974"/>
                  <a:pt x="925" y="1974"/>
                </a:cubicBezTo>
                <a:cubicBezTo>
                  <a:pt x="925" y="1975"/>
                  <a:pt x="926" y="1975"/>
                  <a:pt x="927" y="1975"/>
                </a:cubicBezTo>
                <a:cubicBezTo>
                  <a:pt x="927" y="1975"/>
                  <a:pt x="927" y="1975"/>
                  <a:pt x="928" y="1975"/>
                </a:cubicBezTo>
                <a:cubicBezTo>
                  <a:pt x="928" y="1976"/>
                  <a:pt x="927" y="1976"/>
                  <a:pt x="927" y="1976"/>
                </a:cubicBezTo>
                <a:cubicBezTo>
                  <a:pt x="927" y="1976"/>
                  <a:pt x="926" y="1976"/>
                  <a:pt x="926" y="1976"/>
                </a:cubicBezTo>
                <a:cubicBezTo>
                  <a:pt x="925" y="1976"/>
                  <a:pt x="925" y="1975"/>
                  <a:pt x="925" y="1975"/>
                </a:cubicBezTo>
                <a:cubicBezTo>
                  <a:pt x="924" y="1975"/>
                  <a:pt x="924" y="1974"/>
                  <a:pt x="923" y="1974"/>
                </a:cubicBezTo>
                <a:cubicBezTo>
                  <a:pt x="922" y="1974"/>
                  <a:pt x="921" y="1975"/>
                  <a:pt x="921" y="1975"/>
                </a:cubicBezTo>
                <a:cubicBezTo>
                  <a:pt x="920" y="1975"/>
                  <a:pt x="920" y="1975"/>
                  <a:pt x="920" y="1976"/>
                </a:cubicBezTo>
                <a:cubicBezTo>
                  <a:pt x="920" y="1976"/>
                  <a:pt x="921" y="1976"/>
                  <a:pt x="921" y="1976"/>
                </a:cubicBezTo>
                <a:cubicBezTo>
                  <a:pt x="921" y="1977"/>
                  <a:pt x="922" y="1977"/>
                  <a:pt x="923" y="1977"/>
                </a:cubicBezTo>
                <a:cubicBezTo>
                  <a:pt x="923" y="1977"/>
                  <a:pt x="924" y="1976"/>
                  <a:pt x="924" y="1977"/>
                </a:cubicBezTo>
                <a:cubicBezTo>
                  <a:pt x="924" y="1977"/>
                  <a:pt x="924" y="1977"/>
                  <a:pt x="924" y="1978"/>
                </a:cubicBezTo>
                <a:cubicBezTo>
                  <a:pt x="924" y="1978"/>
                  <a:pt x="924" y="1979"/>
                  <a:pt x="924" y="1979"/>
                </a:cubicBezTo>
                <a:cubicBezTo>
                  <a:pt x="924" y="1980"/>
                  <a:pt x="924" y="1981"/>
                  <a:pt x="925" y="1980"/>
                </a:cubicBezTo>
                <a:cubicBezTo>
                  <a:pt x="926" y="1980"/>
                  <a:pt x="926" y="1979"/>
                  <a:pt x="926" y="1979"/>
                </a:cubicBezTo>
                <a:cubicBezTo>
                  <a:pt x="927" y="1978"/>
                  <a:pt x="927" y="1978"/>
                  <a:pt x="928" y="1979"/>
                </a:cubicBezTo>
                <a:cubicBezTo>
                  <a:pt x="928" y="1979"/>
                  <a:pt x="928" y="1979"/>
                  <a:pt x="929" y="1979"/>
                </a:cubicBezTo>
                <a:cubicBezTo>
                  <a:pt x="929" y="1979"/>
                  <a:pt x="929" y="1979"/>
                  <a:pt x="930" y="1978"/>
                </a:cubicBezTo>
                <a:cubicBezTo>
                  <a:pt x="930" y="1978"/>
                  <a:pt x="930" y="1978"/>
                  <a:pt x="931" y="1978"/>
                </a:cubicBezTo>
                <a:cubicBezTo>
                  <a:pt x="931" y="1979"/>
                  <a:pt x="931" y="1979"/>
                  <a:pt x="931" y="1979"/>
                </a:cubicBezTo>
                <a:cubicBezTo>
                  <a:pt x="930" y="1980"/>
                  <a:pt x="930" y="1979"/>
                  <a:pt x="930" y="1980"/>
                </a:cubicBezTo>
                <a:cubicBezTo>
                  <a:pt x="930" y="1980"/>
                  <a:pt x="929" y="1980"/>
                  <a:pt x="929" y="1981"/>
                </a:cubicBezTo>
                <a:cubicBezTo>
                  <a:pt x="929" y="1981"/>
                  <a:pt x="928" y="1981"/>
                  <a:pt x="928" y="1982"/>
                </a:cubicBezTo>
                <a:cubicBezTo>
                  <a:pt x="928" y="1982"/>
                  <a:pt x="927" y="1982"/>
                  <a:pt x="927" y="1982"/>
                </a:cubicBezTo>
                <a:cubicBezTo>
                  <a:pt x="928" y="1983"/>
                  <a:pt x="928" y="1982"/>
                  <a:pt x="928" y="1983"/>
                </a:cubicBezTo>
                <a:cubicBezTo>
                  <a:pt x="929" y="1983"/>
                  <a:pt x="929" y="1983"/>
                  <a:pt x="929" y="1983"/>
                </a:cubicBezTo>
                <a:cubicBezTo>
                  <a:pt x="930" y="1983"/>
                  <a:pt x="930" y="1982"/>
                  <a:pt x="931" y="1982"/>
                </a:cubicBezTo>
                <a:cubicBezTo>
                  <a:pt x="932" y="1982"/>
                  <a:pt x="932" y="1982"/>
                  <a:pt x="932" y="1982"/>
                </a:cubicBezTo>
                <a:cubicBezTo>
                  <a:pt x="933" y="1983"/>
                  <a:pt x="932" y="1982"/>
                  <a:pt x="933" y="1981"/>
                </a:cubicBezTo>
                <a:cubicBezTo>
                  <a:pt x="933" y="1981"/>
                  <a:pt x="934" y="1981"/>
                  <a:pt x="934" y="1982"/>
                </a:cubicBezTo>
                <a:close/>
                <a:moveTo>
                  <a:pt x="904" y="1940"/>
                </a:moveTo>
                <a:cubicBezTo>
                  <a:pt x="904" y="1940"/>
                  <a:pt x="904" y="1940"/>
                  <a:pt x="903" y="1940"/>
                </a:cubicBezTo>
                <a:cubicBezTo>
                  <a:pt x="903" y="1938"/>
                  <a:pt x="902" y="1939"/>
                  <a:pt x="902" y="1940"/>
                </a:cubicBezTo>
                <a:cubicBezTo>
                  <a:pt x="902" y="1941"/>
                  <a:pt x="902" y="1941"/>
                  <a:pt x="902" y="1941"/>
                </a:cubicBezTo>
                <a:cubicBezTo>
                  <a:pt x="902" y="1942"/>
                  <a:pt x="901" y="1942"/>
                  <a:pt x="901" y="1942"/>
                </a:cubicBezTo>
                <a:cubicBezTo>
                  <a:pt x="901" y="1943"/>
                  <a:pt x="901" y="1944"/>
                  <a:pt x="901" y="1945"/>
                </a:cubicBezTo>
                <a:cubicBezTo>
                  <a:pt x="902" y="1945"/>
                  <a:pt x="903" y="1943"/>
                  <a:pt x="903" y="1943"/>
                </a:cubicBezTo>
                <a:cubicBezTo>
                  <a:pt x="903" y="1942"/>
                  <a:pt x="903" y="1942"/>
                  <a:pt x="903" y="1942"/>
                </a:cubicBezTo>
                <a:cubicBezTo>
                  <a:pt x="904" y="1941"/>
                  <a:pt x="904" y="1942"/>
                  <a:pt x="904" y="1941"/>
                </a:cubicBezTo>
                <a:cubicBezTo>
                  <a:pt x="905" y="1941"/>
                  <a:pt x="904" y="1940"/>
                  <a:pt x="904" y="1940"/>
                </a:cubicBezTo>
                <a:close/>
                <a:moveTo>
                  <a:pt x="936" y="1984"/>
                </a:moveTo>
                <a:cubicBezTo>
                  <a:pt x="936" y="1984"/>
                  <a:pt x="936" y="1983"/>
                  <a:pt x="936" y="1983"/>
                </a:cubicBezTo>
                <a:cubicBezTo>
                  <a:pt x="935" y="1983"/>
                  <a:pt x="935" y="1983"/>
                  <a:pt x="934" y="1984"/>
                </a:cubicBezTo>
                <a:cubicBezTo>
                  <a:pt x="934" y="1984"/>
                  <a:pt x="934" y="1984"/>
                  <a:pt x="934" y="1984"/>
                </a:cubicBezTo>
                <a:cubicBezTo>
                  <a:pt x="935" y="1985"/>
                  <a:pt x="935" y="1985"/>
                  <a:pt x="936" y="1985"/>
                </a:cubicBezTo>
                <a:cubicBezTo>
                  <a:pt x="936" y="1985"/>
                  <a:pt x="936" y="1985"/>
                  <a:pt x="936" y="1985"/>
                </a:cubicBezTo>
                <a:cubicBezTo>
                  <a:pt x="936" y="1984"/>
                  <a:pt x="936" y="1984"/>
                  <a:pt x="936" y="1984"/>
                </a:cubicBezTo>
                <a:close/>
                <a:moveTo>
                  <a:pt x="914" y="1955"/>
                </a:moveTo>
                <a:cubicBezTo>
                  <a:pt x="914" y="1955"/>
                  <a:pt x="914" y="1955"/>
                  <a:pt x="914" y="1955"/>
                </a:cubicBezTo>
                <a:cubicBezTo>
                  <a:pt x="914" y="1956"/>
                  <a:pt x="914" y="1956"/>
                  <a:pt x="915" y="1956"/>
                </a:cubicBezTo>
                <a:cubicBezTo>
                  <a:pt x="915" y="1956"/>
                  <a:pt x="915" y="1956"/>
                  <a:pt x="916" y="1956"/>
                </a:cubicBezTo>
                <a:cubicBezTo>
                  <a:pt x="916" y="1955"/>
                  <a:pt x="916" y="1956"/>
                  <a:pt x="916" y="1955"/>
                </a:cubicBezTo>
                <a:cubicBezTo>
                  <a:pt x="916" y="1955"/>
                  <a:pt x="916" y="1954"/>
                  <a:pt x="916" y="1954"/>
                </a:cubicBezTo>
                <a:cubicBezTo>
                  <a:pt x="915" y="1954"/>
                  <a:pt x="915" y="1954"/>
                  <a:pt x="915" y="1953"/>
                </a:cubicBezTo>
                <a:cubicBezTo>
                  <a:pt x="915" y="1953"/>
                  <a:pt x="915" y="1953"/>
                  <a:pt x="914" y="1953"/>
                </a:cubicBezTo>
                <a:cubicBezTo>
                  <a:pt x="914" y="1952"/>
                  <a:pt x="912" y="1951"/>
                  <a:pt x="912" y="1952"/>
                </a:cubicBezTo>
                <a:cubicBezTo>
                  <a:pt x="911" y="1952"/>
                  <a:pt x="911" y="1952"/>
                  <a:pt x="912" y="1952"/>
                </a:cubicBezTo>
                <a:cubicBezTo>
                  <a:pt x="912" y="1952"/>
                  <a:pt x="912" y="1952"/>
                  <a:pt x="913" y="1952"/>
                </a:cubicBezTo>
                <a:cubicBezTo>
                  <a:pt x="913" y="1953"/>
                  <a:pt x="913" y="1953"/>
                  <a:pt x="913" y="1953"/>
                </a:cubicBezTo>
                <a:cubicBezTo>
                  <a:pt x="914" y="1953"/>
                  <a:pt x="914" y="1953"/>
                  <a:pt x="914" y="1954"/>
                </a:cubicBezTo>
                <a:cubicBezTo>
                  <a:pt x="914" y="1954"/>
                  <a:pt x="914" y="1954"/>
                  <a:pt x="914" y="1955"/>
                </a:cubicBezTo>
                <a:close/>
                <a:moveTo>
                  <a:pt x="923" y="1982"/>
                </a:moveTo>
                <a:cubicBezTo>
                  <a:pt x="923" y="1983"/>
                  <a:pt x="923" y="1982"/>
                  <a:pt x="924" y="1983"/>
                </a:cubicBezTo>
                <a:cubicBezTo>
                  <a:pt x="924" y="1983"/>
                  <a:pt x="924" y="1983"/>
                  <a:pt x="924" y="1983"/>
                </a:cubicBezTo>
                <a:cubicBezTo>
                  <a:pt x="925" y="1983"/>
                  <a:pt x="924" y="1982"/>
                  <a:pt x="924" y="1982"/>
                </a:cubicBezTo>
                <a:cubicBezTo>
                  <a:pt x="924" y="1981"/>
                  <a:pt x="922" y="1981"/>
                  <a:pt x="923" y="1982"/>
                </a:cubicBezTo>
                <a:close/>
                <a:moveTo>
                  <a:pt x="904" y="1892"/>
                </a:moveTo>
                <a:cubicBezTo>
                  <a:pt x="904" y="1892"/>
                  <a:pt x="902" y="1892"/>
                  <a:pt x="902" y="1892"/>
                </a:cubicBezTo>
                <a:cubicBezTo>
                  <a:pt x="901" y="1893"/>
                  <a:pt x="902" y="1894"/>
                  <a:pt x="903" y="1894"/>
                </a:cubicBezTo>
                <a:cubicBezTo>
                  <a:pt x="903" y="1895"/>
                  <a:pt x="903" y="1895"/>
                  <a:pt x="904" y="1895"/>
                </a:cubicBezTo>
                <a:cubicBezTo>
                  <a:pt x="904" y="1896"/>
                  <a:pt x="904" y="1897"/>
                  <a:pt x="904" y="1897"/>
                </a:cubicBezTo>
                <a:cubicBezTo>
                  <a:pt x="904" y="1897"/>
                  <a:pt x="904" y="1897"/>
                  <a:pt x="904" y="1897"/>
                </a:cubicBezTo>
                <a:cubicBezTo>
                  <a:pt x="905" y="1897"/>
                  <a:pt x="905" y="1896"/>
                  <a:pt x="905" y="1895"/>
                </a:cubicBezTo>
                <a:cubicBezTo>
                  <a:pt x="906" y="1895"/>
                  <a:pt x="906" y="1895"/>
                  <a:pt x="906" y="1895"/>
                </a:cubicBezTo>
                <a:cubicBezTo>
                  <a:pt x="906" y="1894"/>
                  <a:pt x="906" y="1894"/>
                  <a:pt x="906" y="1894"/>
                </a:cubicBezTo>
                <a:cubicBezTo>
                  <a:pt x="905" y="1893"/>
                  <a:pt x="905" y="1892"/>
                  <a:pt x="904" y="1892"/>
                </a:cubicBezTo>
                <a:close/>
                <a:moveTo>
                  <a:pt x="899" y="1905"/>
                </a:moveTo>
                <a:cubicBezTo>
                  <a:pt x="899" y="1905"/>
                  <a:pt x="899" y="1905"/>
                  <a:pt x="900" y="1905"/>
                </a:cubicBezTo>
                <a:cubicBezTo>
                  <a:pt x="900" y="1905"/>
                  <a:pt x="899" y="1906"/>
                  <a:pt x="899" y="1906"/>
                </a:cubicBezTo>
                <a:cubicBezTo>
                  <a:pt x="898" y="1907"/>
                  <a:pt x="898" y="1907"/>
                  <a:pt x="898" y="1908"/>
                </a:cubicBezTo>
                <a:cubicBezTo>
                  <a:pt x="897" y="1908"/>
                  <a:pt x="897" y="1909"/>
                  <a:pt x="898" y="1909"/>
                </a:cubicBezTo>
                <a:cubicBezTo>
                  <a:pt x="898" y="1910"/>
                  <a:pt x="898" y="1909"/>
                  <a:pt x="899" y="1909"/>
                </a:cubicBezTo>
                <a:cubicBezTo>
                  <a:pt x="899" y="1909"/>
                  <a:pt x="899" y="1908"/>
                  <a:pt x="900" y="1908"/>
                </a:cubicBezTo>
                <a:cubicBezTo>
                  <a:pt x="901" y="1907"/>
                  <a:pt x="901" y="1907"/>
                  <a:pt x="901" y="1907"/>
                </a:cubicBezTo>
                <a:cubicBezTo>
                  <a:pt x="901" y="1906"/>
                  <a:pt x="901" y="1906"/>
                  <a:pt x="901" y="1906"/>
                </a:cubicBezTo>
                <a:cubicBezTo>
                  <a:pt x="901" y="1905"/>
                  <a:pt x="902" y="1905"/>
                  <a:pt x="902" y="1905"/>
                </a:cubicBezTo>
                <a:cubicBezTo>
                  <a:pt x="902" y="1904"/>
                  <a:pt x="901" y="1904"/>
                  <a:pt x="901" y="1904"/>
                </a:cubicBezTo>
                <a:cubicBezTo>
                  <a:pt x="901" y="1903"/>
                  <a:pt x="901" y="1903"/>
                  <a:pt x="900" y="1903"/>
                </a:cubicBezTo>
                <a:cubicBezTo>
                  <a:pt x="900" y="1903"/>
                  <a:pt x="900" y="1903"/>
                  <a:pt x="900" y="1903"/>
                </a:cubicBezTo>
                <a:cubicBezTo>
                  <a:pt x="900" y="1903"/>
                  <a:pt x="900" y="1903"/>
                  <a:pt x="900" y="1903"/>
                </a:cubicBezTo>
                <a:cubicBezTo>
                  <a:pt x="899" y="1904"/>
                  <a:pt x="899" y="1903"/>
                  <a:pt x="899" y="1903"/>
                </a:cubicBezTo>
                <a:cubicBezTo>
                  <a:pt x="898" y="1902"/>
                  <a:pt x="898" y="1902"/>
                  <a:pt x="898" y="1903"/>
                </a:cubicBezTo>
                <a:cubicBezTo>
                  <a:pt x="898" y="1903"/>
                  <a:pt x="897" y="1903"/>
                  <a:pt x="897" y="1903"/>
                </a:cubicBezTo>
                <a:cubicBezTo>
                  <a:pt x="897" y="1904"/>
                  <a:pt x="897" y="1904"/>
                  <a:pt x="898" y="1904"/>
                </a:cubicBezTo>
                <a:cubicBezTo>
                  <a:pt x="898" y="1904"/>
                  <a:pt x="898" y="1904"/>
                  <a:pt x="899" y="1905"/>
                </a:cubicBezTo>
                <a:close/>
                <a:moveTo>
                  <a:pt x="897" y="1897"/>
                </a:moveTo>
                <a:cubicBezTo>
                  <a:pt x="897" y="1898"/>
                  <a:pt x="897" y="1898"/>
                  <a:pt x="898" y="1898"/>
                </a:cubicBezTo>
                <a:cubicBezTo>
                  <a:pt x="898" y="1899"/>
                  <a:pt x="899" y="1899"/>
                  <a:pt x="899" y="1900"/>
                </a:cubicBezTo>
                <a:cubicBezTo>
                  <a:pt x="899" y="1900"/>
                  <a:pt x="898" y="1901"/>
                  <a:pt x="899" y="1901"/>
                </a:cubicBezTo>
                <a:cubicBezTo>
                  <a:pt x="899" y="1901"/>
                  <a:pt x="899" y="1901"/>
                  <a:pt x="900" y="1900"/>
                </a:cubicBezTo>
                <a:cubicBezTo>
                  <a:pt x="900" y="1900"/>
                  <a:pt x="900" y="1900"/>
                  <a:pt x="900" y="1900"/>
                </a:cubicBezTo>
                <a:cubicBezTo>
                  <a:pt x="900" y="1900"/>
                  <a:pt x="900" y="1900"/>
                  <a:pt x="900" y="1900"/>
                </a:cubicBezTo>
                <a:cubicBezTo>
                  <a:pt x="901" y="1900"/>
                  <a:pt x="901" y="1899"/>
                  <a:pt x="901" y="1899"/>
                </a:cubicBezTo>
                <a:cubicBezTo>
                  <a:pt x="901" y="1898"/>
                  <a:pt x="901" y="1897"/>
                  <a:pt x="900" y="1897"/>
                </a:cubicBezTo>
                <a:cubicBezTo>
                  <a:pt x="899" y="1897"/>
                  <a:pt x="899" y="1897"/>
                  <a:pt x="898" y="1897"/>
                </a:cubicBezTo>
                <a:cubicBezTo>
                  <a:pt x="898" y="1897"/>
                  <a:pt x="897" y="1897"/>
                  <a:pt x="897" y="1897"/>
                </a:cubicBezTo>
                <a:close/>
                <a:moveTo>
                  <a:pt x="901" y="1931"/>
                </a:moveTo>
                <a:cubicBezTo>
                  <a:pt x="901" y="1930"/>
                  <a:pt x="901" y="1929"/>
                  <a:pt x="902" y="1929"/>
                </a:cubicBezTo>
                <a:cubicBezTo>
                  <a:pt x="902" y="1928"/>
                  <a:pt x="903" y="1929"/>
                  <a:pt x="904" y="1928"/>
                </a:cubicBezTo>
                <a:cubicBezTo>
                  <a:pt x="904" y="1927"/>
                  <a:pt x="903" y="1927"/>
                  <a:pt x="903" y="1927"/>
                </a:cubicBezTo>
                <a:cubicBezTo>
                  <a:pt x="902" y="1927"/>
                  <a:pt x="902" y="1927"/>
                  <a:pt x="902" y="1927"/>
                </a:cubicBezTo>
                <a:cubicBezTo>
                  <a:pt x="901" y="1927"/>
                  <a:pt x="901" y="1927"/>
                  <a:pt x="901" y="1927"/>
                </a:cubicBezTo>
                <a:cubicBezTo>
                  <a:pt x="900" y="1927"/>
                  <a:pt x="899" y="1928"/>
                  <a:pt x="899" y="1928"/>
                </a:cubicBezTo>
                <a:cubicBezTo>
                  <a:pt x="899" y="1929"/>
                  <a:pt x="899" y="1930"/>
                  <a:pt x="900" y="1931"/>
                </a:cubicBezTo>
                <a:cubicBezTo>
                  <a:pt x="900" y="1931"/>
                  <a:pt x="900" y="1931"/>
                  <a:pt x="901" y="1932"/>
                </a:cubicBezTo>
                <a:cubicBezTo>
                  <a:pt x="901" y="1932"/>
                  <a:pt x="901" y="1931"/>
                  <a:pt x="901" y="1931"/>
                </a:cubicBezTo>
                <a:close/>
                <a:moveTo>
                  <a:pt x="903" y="1889"/>
                </a:moveTo>
                <a:cubicBezTo>
                  <a:pt x="903" y="1889"/>
                  <a:pt x="903" y="1888"/>
                  <a:pt x="903" y="1888"/>
                </a:cubicBezTo>
                <a:cubicBezTo>
                  <a:pt x="903" y="1888"/>
                  <a:pt x="904" y="1888"/>
                  <a:pt x="904" y="1888"/>
                </a:cubicBezTo>
                <a:cubicBezTo>
                  <a:pt x="904" y="1887"/>
                  <a:pt x="904" y="1887"/>
                  <a:pt x="904" y="1887"/>
                </a:cubicBezTo>
                <a:cubicBezTo>
                  <a:pt x="903" y="1887"/>
                  <a:pt x="903" y="1887"/>
                  <a:pt x="903" y="1887"/>
                </a:cubicBezTo>
                <a:cubicBezTo>
                  <a:pt x="902" y="1887"/>
                  <a:pt x="902" y="1887"/>
                  <a:pt x="902" y="1888"/>
                </a:cubicBezTo>
                <a:cubicBezTo>
                  <a:pt x="902" y="1888"/>
                  <a:pt x="902" y="1889"/>
                  <a:pt x="903" y="1889"/>
                </a:cubicBezTo>
                <a:close/>
                <a:moveTo>
                  <a:pt x="906" y="1930"/>
                </a:moveTo>
                <a:cubicBezTo>
                  <a:pt x="906" y="1930"/>
                  <a:pt x="906" y="1930"/>
                  <a:pt x="905" y="1930"/>
                </a:cubicBezTo>
                <a:cubicBezTo>
                  <a:pt x="905" y="1931"/>
                  <a:pt x="906" y="1931"/>
                  <a:pt x="906" y="1931"/>
                </a:cubicBezTo>
                <a:cubicBezTo>
                  <a:pt x="906" y="1932"/>
                  <a:pt x="906" y="1932"/>
                  <a:pt x="907" y="1932"/>
                </a:cubicBezTo>
                <a:cubicBezTo>
                  <a:pt x="907" y="1933"/>
                  <a:pt x="907" y="1933"/>
                  <a:pt x="907" y="1933"/>
                </a:cubicBezTo>
                <a:cubicBezTo>
                  <a:pt x="908" y="1934"/>
                  <a:pt x="907" y="1934"/>
                  <a:pt x="906" y="1933"/>
                </a:cubicBezTo>
                <a:cubicBezTo>
                  <a:pt x="906" y="1933"/>
                  <a:pt x="906" y="1933"/>
                  <a:pt x="905" y="1933"/>
                </a:cubicBezTo>
                <a:cubicBezTo>
                  <a:pt x="905" y="1934"/>
                  <a:pt x="906" y="1934"/>
                  <a:pt x="906" y="1934"/>
                </a:cubicBezTo>
                <a:cubicBezTo>
                  <a:pt x="906" y="1934"/>
                  <a:pt x="907" y="1935"/>
                  <a:pt x="907" y="1935"/>
                </a:cubicBezTo>
                <a:cubicBezTo>
                  <a:pt x="907" y="1935"/>
                  <a:pt x="907" y="1936"/>
                  <a:pt x="907" y="1936"/>
                </a:cubicBezTo>
                <a:cubicBezTo>
                  <a:pt x="908" y="1937"/>
                  <a:pt x="908" y="1936"/>
                  <a:pt x="909" y="1936"/>
                </a:cubicBezTo>
                <a:cubicBezTo>
                  <a:pt x="909" y="1936"/>
                  <a:pt x="909" y="1936"/>
                  <a:pt x="909" y="1935"/>
                </a:cubicBezTo>
                <a:cubicBezTo>
                  <a:pt x="910" y="1935"/>
                  <a:pt x="911" y="1935"/>
                  <a:pt x="911" y="1936"/>
                </a:cubicBezTo>
                <a:cubicBezTo>
                  <a:pt x="911" y="1936"/>
                  <a:pt x="911" y="1936"/>
                  <a:pt x="911" y="1936"/>
                </a:cubicBezTo>
                <a:cubicBezTo>
                  <a:pt x="912" y="1936"/>
                  <a:pt x="911" y="1935"/>
                  <a:pt x="911" y="1935"/>
                </a:cubicBezTo>
                <a:cubicBezTo>
                  <a:pt x="911" y="1934"/>
                  <a:pt x="911" y="1934"/>
                  <a:pt x="912" y="1933"/>
                </a:cubicBezTo>
                <a:cubicBezTo>
                  <a:pt x="912" y="1933"/>
                  <a:pt x="912" y="1932"/>
                  <a:pt x="912" y="1932"/>
                </a:cubicBezTo>
                <a:cubicBezTo>
                  <a:pt x="913" y="1932"/>
                  <a:pt x="913" y="1932"/>
                  <a:pt x="914" y="1933"/>
                </a:cubicBezTo>
                <a:cubicBezTo>
                  <a:pt x="914" y="1933"/>
                  <a:pt x="914" y="1933"/>
                  <a:pt x="914" y="1933"/>
                </a:cubicBezTo>
                <a:cubicBezTo>
                  <a:pt x="914" y="1933"/>
                  <a:pt x="914" y="1932"/>
                  <a:pt x="914" y="1932"/>
                </a:cubicBezTo>
                <a:cubicBezTo>
                  <a:pt x="914" y="1932"/>
                  <a:pt x="914" y="1932"/>
                  <a:pt x="914" y="1931"/>
                </a:cubicBezTo>
                <a:cubicBezTo>
                  <a:pt x="913" y="1931"/>
                  <a:pt x="913" y="1931"/>
                  <a:pt x="913" y="1931"/>
                </a:cubicBezTo>
                <a:cubicBezTo>
                  <a:pt x="913" y="1930"/>
                  <a:pt x="913" y="1930"/>
                  <a:pt x="913" y="1930"/>
                </a:cubicBezTo>
                <a:cubicBezTo>
                  <a:pt x="913" y="1929"/>
                  <a:pt x="912" y="1928"/>
                  <a:pt x="912" y="1928"/>
                </a:cubicBezTo>
                <a:cubicBezTo>
                  <a:pt x="912" y="1928"/>
                  <a:pt x="912" y="1928"/>
                  <a:pt x="912" y="1928"/>
                </a:cubicBezTo>
                <a:cubicBezTo>
                  <a:pt x="912" y="1927"/>
                  <a:pt x="911" y="1927"/>
                  <a:pt x="911" y="1927"/>
                </a:cubicBezTo>
                <a:cubicBezTo>
                  <a:pt x="910" y="1927"/>
                  <a:pt x="910" y="1927"/>
                  <a:pt x="910" y="1927"/>
                </a:cubicBezTo>
                <a:cubicBezTo>
                  <a:pt x="910" y="1926"/>
                  <a:pt x="909" y="1926"/>
                  <a:pt x="909" y="1926"/>
                </a:cubicBezTo>
                <a:cubicBezTo>
                  <a:pt x="909" y="1926"/>
                  <a:pt x="908" y="1927"/>
                  <a:pt x="908" y="1927"/>
                </a:cubicBezTo>
                <a:cubicBezTo>
                  <a:pt x="908" y="1928"/>
                  <a:pt x="908" y="1928"/>
                  <a:pt x="909" y="1928"/>
                </a:cubicBezTo>
                <a:cubicBezTo>
                  <a:pt x="909" y="1928"/>
                  <a:pt x="909" y="1929"/>
                  <a:pt x="909" y="1929"/>
                </a:cubicBezTo>
                <a:cubicBezTo>
                  <a:pt x="909" y="1930"/>
                  <a:pt x="910" y="1930"/>
                  <a:pt x="910" y="1931"/>
                </a:cubicBezTo>
                <a:cubicBezTo>
                  <a:pt x="909" y="1931"/>
                  <a:pt x="908" y="1931"/>
                  <a:pt x="909" y="1932"/>
                </a:cubicBezTo>
                <a:cubicBezTo>
                  <a:pt x="909" y="1932"/>
                  <a:pt x="909" y="1933"/>
                  <a:pt x="909" y="1933"/>
                </a:cubicBezTo>
                <a:cubicBezTo>
                  <a:pt x="908" y="1933"/>
                  <a:pt x="907" y="1932"/>
                  <a:pt x="907" y="1932"/>
                </a:cubicBezTo>
                <a:cubicBezTo>
                  <a:pt x="908" y="1931"/>
                  <a:pt x="908" y="1930"/>
                  <a:pt x="906" y="1930"/>
                </a:cubicBezTo>
                <a:close/>
                <a:moveTo>
                  <a:pt x="900" y="1917"/>
                </a:moveTo>
                <a:cubicBezTo>
                  <a:pt x="900" y="1917"/>
                  <a:pt x="900" y="1917"/>
                  <a:pt x="901" y="1918"/>
                </a:cubicBezTo>
                <a:cubicBezTo>
                  <a:pt x="901" y="1918"/>
                  <a:pt x="901" y="1919"/>
                  <a:pt x="901" y="1919"/>
                </a:cubicBezTo>
                <a:cubicBezTo>
                  <a:pt x="902" y="1919"/>
                  <a:pt x="902" y="1919"/>
                  <a:pt x="902" y="1918"/>
                </a:cubicBezTo>
                <a:cubicBezTo>
                  <a:pt x="902" y="1918"/>
                  <a:pt x="902" y="1917"/>
                  <a:pt x="902" y="1917"/>
                </a:cubicBezTo>
                <a:cubicBezTo>
                  <a:pt x="901" y="1917"/>
                  <a:pt x="901" y="1917"/>
                  <a:pt x="901" y="1916"/>
                </a:cubicBezTo>
                <a:cubicBezTo>
                  <a:pt x="901" y="1915"/>
                  <a:pt x="900" y="1913"/>
                  <a:pt x="898" y="1914"/>
                </a:cubicBezTo>
                <a:cubicBezTo>
                  <a:pt x="898" y="1914"/>
                  <a:pt x="898" y="1915"/>
                  <a:pt x="898" y="1916"/>
                </a:cubicBezTo>
                <a:cubicBezTo>
                  <a:pt x="898" y="1916"/>
                  <a:pt x="897" y="1916"/>
                  <a:pt x="897" y="1917"/>
                </a:cubicBezTo>
                <a:cubicBezTo>
                  <a:pt x="898" y="1917"/>
                  <a:pt x="898" y="1918"/>
                  <a:pt x="899" y="1917"/>
                </a:cubicBezTo>
                <a:cubicBezTo>
                  <a:pt x="899" y="1917"/>
                  <a:pt x="899" y="1917"/>
                  <a:pt x="900" y="1917"/>
                </a:cubicBezTo>
                <a:close/>
                <a:moveTo>
                  <a:pt x="910" y="1939"/>
                </a:moveTo>
                <a:cubicBezTo>
                  <a:pt x="909" y="1938"/>
                  <a:pt x="909" y="1938"/>
                  <a:pt x="909" y="1938"/>
                </a:cubicBezTo>
                <a:cubicBezTo>
                  <a:pt x="909" y="1938"/>
                  <a:pt x="909" y="1938"/>
                  <a:pt x="909" y="1937"/>
                </a:cubicBezTo>
                <a:cubicBezTo>
                  <a:pt x="908" y="1937"/>
                  <a:pt x="908" y="1938"/>
                  <a:pt x="907" y="1938"/>
                </a:cubicBezTo>
                <a:cubicBezTo>
                  <a:pt x="907" y="1939"/>
                  <a:pt x="906" y="1939"/>
                  <a:pt x="906" y="1939"/>
                </a:cubicBezTo>
                <a:cubicBezTo>
                  <a:pt x="906" y="1940"/>
                  <a:pt x="906" y="1940"/>
                  <a:pt x="906" y="1941"/>
                </a:cubicBezTo>
                <a:cubicBezTo>
                  <a:pt x="905" y="1941"/>
                  <a:pt x="905" y="1941"/>
                  <a:pt x="905" y="1941"/>
                </a:cubicBezTo>
                <a:cubicBezTo>
                  <a:pt x="904" y="1943"/>
                  <a:pt x="906" y="1942"/>
                  <a:pt x="906" y="1942"/>
                </a:cubicBezTo>
                <a:cubicBezTo>
                  <a:pt x="907" y="1942"/>
                  <a:pt x="907" y="1941"/>
                  <a:pt x="907" y="1941"/>
                </a:cubicBezTo>
                <a:cubicBezTo>
                  <a:pt x="907" y="1940"/>
                  <a:pt x="907" y="1940"/>
                  <a:pt x="908" y="1940"/>
                </a:cubicBezTo>
                <a:cubicBezTo>
                  <a:pt x="908" y="1940"/>
                  <a:pt x="908" y="1940"/>
                  <a:pt x="909" y="1940"/>
                </a:cubicBezTo>
                <a:cubicBezTo>
                  <a:pt x="909" y="1940"/>
                  <a:pt x="909" y="1941"/>
                  <a:pt x="909" y="1941"/>
                </a:cubicBezTo>
                <a:cubicBezTo>
                  <a:pt x="909" y="1941"/>
                  <a:pt x="910" y="1941"/>
                  <a:pt x="910" y="1941"/>
                </a:cubicBezTo>
                <a:cubicBezTo>
                  <a:pt x="910" y="1940"/>
                  <a:pt x="909" y="1940"/>
                  <a:pt x="910" y="1940"/>
                </a:cubicBezTo>
                <a:cubicBezTo>
                  <a:pt x="910" y="1939"/>
                  <a:pt x="910" y="1939"/>
                  <a:pt x="910" y="1939"/>
                </a:cubicBezTo>
                <a:close/>
                <a:moveTo>
                  <a:pt x="905" y="1922"/>
                </a:moveTo>
                <a:cubicBezTo>
                  <a:pt x="905" y="1922"/>
                  <a:pt x="905" y="1922"/>
                  <a:pt x="904" y="1922"/>
                </a:cubicBezTo>
                <a:cubicBezTo>
                  <a:pt x="904" y="1922"/>
                  <a:pt x="904" y="1921"/>
                  <a:pt x="903" y="1921"/>
                </a:cubicBezTo>
                <a:cubicBezTo>
                  <a:pt x="903" y="1921"/>
                  <a:pt x="903" y="1920"/>
                  <a:pt x="902" y="1920"/>
                </a:cubicBezTo>
                <a:cubicBezTo>
                  <a:pt x="902" y="1920"/>
                  <a:pt x="901" y="1920"/>
                  <a:pt x="900" y="1920"/>
                </a:cubicBezTo>
                <a:cubicBezTo>
                  <a:pt x="900" y="1920"/>
                  <a:pt x="901" y="1921"/>
                  <a:pt x="901" y="1921"/>
                </a:cubicBezTo>
                <a:cubicBezTo>
                  <a:pt x="901" y="1922"/>
                  <a:pt x="901" y="1922"/>
                  <a:pt x="901" y="1922"/>
                </a:cubicBezTo>
                <a:cubicBezTo>
                  <a:pt x="901" y="1922"/>
                  <a:pt x="902" y="1922"/>
                  <a:pt x="902" y="1922"/>
                </a:cubicBezTo>
                <a:cubicBezTo>
                  <a:pt x="903" y="1923"/>
                  <a:pt x="902" y="1923"/>
                  <a:pt x="901" y="1923"/>
                </a:cubicBezTo>
                <a:cubicBezTo>
                  <a:pt x="901" y="1923"/>
                  <a:pt x="900" y="1921"/>
                  <a:pt x="900" y="1923"/>
                </a:cubicBezTo>
                <a:cubicBezTo>
                  <a:pt x="900" y="1923"/>
                  <a:pt x="901" y="1924"/>
                  <a:pt x="901" y="1924"/>
                </a:cubicBezTo>
                <a:cubicBezTo>
                  <a:pt x="902" y="1925"/>
                  <a:pt x="902" y="1925"/>
                  <a:pt x="902" y="1926"/>
                </a:cubicBezTo>
                <a:cubicBezTo>
                  <a:pt x="902" y="1928"/>
                  <a:pt x="903" y="1925"/>
                  <a:pt x="903" y="1925"/>
                </a:cubicBezTo>
                <a:cubicBezTo>
                  <a:pt x="904" y="1924"/>
                  <a:pt x="904" y="1924"/>
                  <a:pt x="905" y="1924"/>
                </a:cubicBezTo>
                <a:cubicBezTo>
                  <a:pt x="906" y="1923"/>
                  <a:pt x="907" y="1923"/>
                  <a:pt x="907" y="1922"/>
                </a:cubicBezTo>
                <a:cubicBezTo>
                  <a:pt x="906" y="1921"/>
                  <a:pt x="905" y="1923"/>
                  <a:pt x="905" y="1923"/>
                </a:cubicBezTo>
                <a:cubicBezTo>
                  <a:pt x="905" y="1923"/>
                  <a:pt x="905" y="1922"/>
                  <a:pt x="905" y="1922"/>
                </a:cubicBezTo>
                <a:close/>
                <a:moveTo>
                  <a:pt x="726" y="720"/>
                </a:moveTo>
                <a:cubicBezTo>
                  <a:pt x="726" y="720"/>
                  <a:pt x="727" y="720"/>
                  <a:pt x="727" y="720"/>
                </a:cubicBezTo>
                <a:cubicBezTo>
                  <a:pt x="727" y="720"/>
                  <a:pt x="726" y="720"/>
                  <a:pt x="726" y="720"/>
                </a:cubicBezTo>
                <a:cubicBezTo>
                  <a:pt x="726" y="720"/>
                  <a:pt x="725" y="720"/>
                  <a:pt x="725" y="721"/>
                </a:cubicBezTo>
                <a:cubicBezTo>
                  <a:pt x="726" y="721"/>
                  <a:pt x="726" y="720"/>
                  <a:pt x="726" y="720"/>
                </a:cubicBezTo>
                <a:close/>
                <a:moveTo>
                  <a:pt x="904" y="1845"/>
                </a:moveTo>
                <a:cubicBezTo>
                  <a:pt x="904" y="1845"/>
                  <a:pt x="903" y="1846"/>
                  <a:pt x="904" y="1846"/>
                </a:cubicBezTo>
                <a:cubicBezTo>
                  <a:pt x="904" y="1846"/>
                  <a:pt x="904" y="1845"/>
                  <a:pt x="904" y="1845"/>
                </a:cubicBezTo>
                <a:close/>
                <a:moveTo>
                  <a:pt x="743" y="705"/>
                </a:moveTo>
                <a:cubicBezTo>
                  <a:pt x="744" y="705"/>
                  <a:pt x="744" y="705"/>
                  <a:pt x="745" y="704"/>
                </a:cubicBezTo>
                <a:cubicBezTo>
                  <a:pt x="745" y="704"/>
                  <a:pt x="746" y="704"/>
                  <a:pt x="747" y="703"/>
                </a:cubicBezTo>
                <a:cubicBezTo>
                  <a:pt x="747" y="703"/>
                  <a:pt x="748" y="702"/>
                  <a:pt x="749" y="702"/>
                </a:cubicBezTo>
                <a:cubicBezTo>
                  <a:pt x="749" y="702"/>
                  <a:pt x="751" y="702"/>
                  <a:pt x="750" y="701"/>
                </a:cubicBezTo>
                <a:cubicBezTo>
                  <a:pt x="750" y="701"/>
                  <a:pt x="749" y="701"/>
                  <a:pt x="749" y="701"/>
                </a:cubicBezTo>
                <a:cubicBezTo>
                  <a:pt x="748" y="702"/>
                  <a:pt x="747" y="702"/>
                  <a:pt x="747" y="702"/>
                </a:cubicBezTo>
                <a:cubicBezTo>
                  <a:pt x="746" y="703"/>
                  <a:pt x="745" y="703"/>
                  <a:pt x="744" y="703"/>
                </a:cubicBezTo>
                <a:cubicBezTo>
                  <a:pt x="744" y="704"/>
                  <a:pt x="743" y="704"/>
                  <a:pt x="743" y="705"/>
                </a:cubicBezTo>
                <a:cubicBezTo>
                  <a:pt x="742" y="705"/>
                  <a:pt x="743" y="706"/>
                  <a:pt x="743" y="705"/>
                </a:cubicBezTo>
                <a:close/>
                <a:moveTo>
                  <a:pt x="727" y="718"/>
                </a:moveTo>
                <a:cubicBezTo>
                  <a:pt x="727" y="718"/>
                  <a:pt x="726" y="719"/>
                  <a:pt x="727" y="719"/>
                </a:cubicBezTo>
                <a:cubicBezTo>
                  <a:pt x="727" y="719"/>
                  <a:pt x="727" y="719"/>
                  <a:pt x="727" y="718"/>
                </a:cubicBezTo>
                <a:close/>
                <a:moveTo>
                  <a:pt x="813" y="734"/>
                </a:moveTo>
                <a:cubicBezTo>
                  <a:pt x="814" y="734"/>
                  <a:pt x="815" y="734"/>
                  <a:pt x="816" y="735"/>
                </a:cubicBezTo>
                <a:cubicBezTo>
                  <a:pt x="816" y="735"/>
                  <a:pt x="817" y="735"/>
                  <a:pt x="818" y="736"/>
                </a:cubicBezTo>
                <a:cubicBezTo>
                  <a:pt x="819" y="736"/>
                  <a:pt x="819" y="736"/>
                  <a:pt x="820" y="736"/>
                </a:cubicBezTo>
                <a:cubicBezTo>
                  <a:pt x="821" y="737"/>
                  <a:pt x="821" y="737"/>
                  <a:pt x="822" y="737"/>
                </a:cubicBezTo>
                <a:cubicBezTo>
                  <a:pt x="822" y="737"/>
                  <a:pt x="823" y="737"/>
                  <a:pt x="823" y="738"/>
                </a:cubicBezTo>
                <a:cubicBezTo>
                  <a:pt x="824" y="738"/>
                  <a:pt x="824" y="738"/>
                  <a:pt x="825" y="738"/>
                </a:cubicBezTo>
                <a:cubicBezTo>
                  <a:pt x="826" y="738"/>
                  <a:pt x="826" y="739"/>
                  <a:pt x="827" y="739"/>
                </a:cubicBezTo>
                <a:cubicBezTo>
                  <a:pt x="827" y="739"/>
                  <a:pt x="827" y="738"/>
                  <a:pt x="827" y="738"/>
                </a:cubicBezTo>
                <a:cubicBezTo>
                  <a:pt x="827" y="737"/>
                  <a:pt x="828" y="737"/>
                  <a:pt x="828" y="737"/>
                </a:cubicBezTo>
                <a:cubicBezTo>
                  <a:pt x="829" y="736"/>
                  <a:pt x="829" y="736"/>
                  <a:pt x="829" y="735"/>
                </a:cubicBezTo>
                <a:cubicBezTo>
                  <a:pt x="829" y="734"/>
                  <a:pt x="829" y="734"/>
                  <a:pt x="829" y="734"/>
                </a:cubicBezTo>
                <a:cubicBezTo>
                  <a:pt x="829" y="733"/>
                  <a:pt x="829" y="733"/>
                  <a:pt x="828" y="733"/>
                </a:cubicBezTo>
                <a:cubicBezTo>
                  <a:pt x="828" y="733"/>
                  <a:pt x="828" y="733"/>
                  <a:pt x="828" y="734"/>
                </a:cubicBezTo>
                <a:cubicBezTo>
                  <a:pt x="828" y="734"/>
                  <a:pt x="828" y="734"/>
                  <a:pt x="828" y="734"/>
                </a:cubicBezTo>
                <a:cubicBezTo>
                  <a:pt x="828" y="734"/>
                  <a:pt x="827" y="735"/>
                  <a:pt x="827" y="735"/>
                </a:cubicBezTo>
                <a:cubicBezTo>
                  <a:pt x="826" y="735"/>
                  <a:pt x="827" y="734"/>
                  <a:pt x="826" y="733"/>
                </a:cubicBezTo>
                <a:cubicBezTo>
                  <a:pt x="826" y="733"/>
                  <a:pt x="825" y="732"/>
                  <a:pt x="825" y="732"/>
                </a:cubicBezTo>
                <a:cubicBezTo>
                  <a:pt x="824" y="733"/>
                  <a:pt x="824" y="733"/>
                  <a:pt x="823" y="733"/>
                </a:cubicBezTo>
                <a:cubicBezTo>
                  <a:pt x="823" y="733"/>
                  <a:pt x="822" y="732"/>
                  <a:pt x="822" y="732"/>
                </a:cubicBezTo>
                <a:cubicBezTo>
                  <a:pt x="821" y="732"/>
                  <a:pt x="821" y="732"/>
                  <a:pt x="820" y="732"/>
                </a:cubicBezTo>
                <a:cubicBezTo>
                  <a:pt x="819" y="733"/>
                  <a:pt x="819" y="734"/>
                  <a:pt x="817" y="734"/>
                </a:cubicBezTo>
                <a:cubicBezTo>
                  <a:pt x="817" y="734"/>
                  <a:pt x="817" y="734"/>
                  <a:pt x="816" y="733"/>
                </a:cubicBezTo>
                <a:cubicBezTo>
                  <a:pt x="816" y="733"/>
                  <a:pt x="816" y="733"/>
                  <a:pt x="815" y="732"/>
                </a:cubicBezTo>
                <a:cubicBezTo>
                  <a:pt x="815" y="732"/>
                  <a:pt x="814" y="733"/>
                  <a:pt x="814" y="733"/>
                </a:cubicBezTo>
                <a:cubicBezTo>
                  <a:pt x="813" y="733"/>
                  <a:pt x="813" y="733"/>
                  <a:pt x="813" y="733"/>
                </a:cubicBezTo>
                <a:cubicBezTo>
                  <a:pt x="812" y="733"/>
                  <a:pt x="812" y="733"/>
                  <a:pt x="812" y="733"/>
                </a:cubicBezTo>
                <a:cubicBezTo>
                  <a:pt x="811" y="733"/>
                  <a:pt x="810" y="734"/>
                  <a:pt x="811" y="734"/>
                </a:cubicBezTo>
                <a:cubicBezTo>
                  <a:pt x="811" y="735"/>
                  <a:pt x="813" y="734"/>
                  <a:pt x="813" y="734"/>
                </a:cubicBezTo>
                <a:close/>
                <a:moveTo>
                  <a:pt x="1361" y="1369"/>
                </a:moveTo>
                <a:cubicBezTo>
                  <a:pt x="1361" y="1368"/>
                  <a:pt x="1360" y="1368"/>
                  <a:pt x="1360" y="1367"/>
                </a:cubicBezTo>
                <a:cubicBezTo>
                  <a:pt x="1359" y="1366"/>
                  <a:pt x="1359" y="1366"/>
                  <a:pt x="1359" y="1365"/>
                </a:cubicBezTo>
                <a:cubicBezTo>
                  <a:pt x="1359" y="1364"/>
                  <a:pt x="1359" y="1363"/>
                  <a:pt x="1358" y="1363"/>
                </a:cubicBezTo>
                <a:cubicBezTo>
                  <a:pt x="1358" y="1362"/>
                  <a:pt x="1358" y="1361"/>
                  <a:pt x="1358" y="1360"/>
                </a:cubicBezTo>
                <a:cubicBezTo>
                  <a:pt x="1357" y="1359"/>
                  <a:pt x="1357" y="1359"/>
                  <a:pt x="1357" y="1358"/>
                </a:cubicBezTo>
                <a:cubicBezTo>
                  <a:pt x="1356" y="1357"/>
                  <a:pt x="1356" y="1357"/>
                  <a:pt x="1356" y="1356"/>
                </a:cubicBezTo>
                <a:cubicBezTo>
                  <a:pt x="1355" y="1356"/>
                  <a:pt x="1355" y="1356"/>
                  <a:pt x="1354" y="1356"/>
                </a:cubicBezTo>
                <a:cubicBezTo>
                  <a:pt x="1354" y="1355"/>
                  <a:pt x="1353" y="1355"/>
                  <a:pt x="1352" y="1355"/>
                </a:cubicBezTo>
                <a:cubicBezTo>
                  <a:pt x="1351" y="1355"/>
                  <a:pt x="1350" y="1354"/>
                  <a:pt x="1349" y="1354"/>
                </a:cubicBezTo>
                <a:cubicBezTo>
                  <a:pt x="1349" y="1355"/>
                  <a:pt x="1348" y="1355"/>
                  <a:pt x="1347" y="1355"/>
                </a:cubicBezTo>
                <a:cubicBezTo>
                  <a:pt x="1346" y="1355"/>
                  <a:pt x="1345" y="1355"/>
                  <a:pt x="1344" y="1355"/>
                </a:cubicBezTo>
                <a:cubicBezTo>
                  <a:pt x="1343" y="1355"/>
                  <a:pt x="1343" y="1356"/>
                  <a:pt x="1342" y="1355"/>
                </a:cubicBezTo>
                <a:cubicBezTo>
                  <a:pt x="1341" y="1355"/>
                  <a:pt x="1341" y="1355"/>
                  <a:pt x="1340" y="1355"/>
                </a:cubicBezTo>
                <a:cubicBezTo>
                  <a:pt x="1340" y="1354"/>
                  <a:pt x="1339" y="1354"/>
                  <a:pt x="1339" y="1354"/>
                </a:cubicBezTo>
                <a:cubicBezTo>
                  <a:pt x="1338" y="1353"/>
                  <a:pt x="1337" y="1353"/>
                  <a:pt x="1336" y="1353"/>
                </a:cubicBezTo>
                <a:cubicBezTo>
                  <a:pt x="1335" y="1352"/>
                  <a:pt x="1333" y="1350"/>
                  <a:pt x="1332" y="1349"/>
                </a:cubicBezTo>
                <a:cubicBezTo>
                  <a:pt x="1330" y="1348"/>
                  <a:pt x="1328" y="1347"/>
                  <a:pt x="1327" y="1345"/>
                </a:cubicBezTo>
                <a:cubicBezTo>
                  <a:pt x="1327" y="1345"/>
                  <a:pt x="1327" y="1345"/>
                  <a:pt x="1326" y="1344"/>
                </a:cubicBezTo>
                <a:cubicBezTo>
                  <a:pt x="1326" y="1344"/>
                  <a:pt x="1325" y="1344"/>
                  <a:pt x="1325" y="1344"/>
                </a:cubicBezTo>
                <a:cubicBezTo>
                  <a:pt x="1324" y="1343"/>
                  <a:pt x="1324" y="1342"/>
                  <a:pt x="1323" y="1342"/>
                </a:cubicBezTo>
                <a:cubicBezTo>
                  <a:pt x="1322" y="1341"/>
                  <a:pt x="1322" y="1341"/>
                  <a:pt x="1321" y="1341"/>
                </a:cubicBezTo>
                <a:cubicBezTo>
                  <a:pt x="1321" y="1340"/>
                  <a:pt x="1320" y="1340"/>
                  <a:pt x="1320" y="1340"/>
                </a:cubicBezTo>
                <a:cubicBezTo>
                  <a:pt x="1319" y="1339"/>
                  <a:pt x="1319" y="1339"/>
                  <a:pt x="1319" y="1339"/>
                </a:cubicBezTo>
                <a:cubicBezTo>
                  <a:pt x="1318" y="1337"/>
                  <a:pt x="1316" y="1336"/>
                  <a:pt x="1314" y="1336"/>
                </a:cubicBezTo>
                <a:cubicBezTo>
                  <a:pt x="1312" y="1335"/>
                  <a:pt x="1311" y="1334"/>
                  <a:pt x="1309" y="1333"/>
                </a:cubicBezTo>
                <a:cubicBezTo>
                  <a:pt x="1308" y="1332"/>
                  <a:pt x="1307" y="1332"/>
                  <a:pt x="1306" y="1331"/>
                </a:cubicBezTo>
                <a:cubicBezTo>
                  <a:pt x="1305" y="1331"/>
                  <a:pt x="1305" y="1331"/>
                  <a:pt x="1304" y="1330"/>
                </a:cubicBezTo>
                <a:cubicBezTo>
                  <a:pt x="1303" y="1330"/>
                  <a:pt x="1302" y="1330"/>
                  <a:pt x="1301" y="1330"/>
                </a:cubicBezTo>
                <a:cubicBezTo>
                  <a:pt x="1299" y="1329"/>
                  <a:pt x="1297" y="1329"/>
                  <a:pt x="1296" y="1329"/>
                </a:cubicBezTo>
                <a:cubicBezTo>
                  <a:pt x="1295" y="1329"/>
                  <a:pt x="1295" y="1330"/>
                  <a:pt x="1295" y="1330"/>
                </a:cubicBezTo>
                <a:cubicBezTo>
                  <a:pt x="1294" y="1330"/>
                  <a:pt x="1294" y="1330"/>
                  <a:pt x="1294" y="1330"/>
                </a:cubicBezTo>
                <a:cubicBezTo>
                  <a:pt x="1293" y="1330"/>
                  <a:pt x="1292" y="1330"/>
                  <a:pt x="1292" y="1330"/>
                </a:cubicBezTo>
                <a:cubicBezTo>
                  <a:pt x="1291" y="1330"/>
                  <a:pt x="1291" y="1330"/>
                  <a:pt x="1290" y="1330"/>
                </a:cubicBezTo>
                <a:cubicBezTo>
                  <a:pt x="1290" y="1330"/>
                  <a:pt x="1289" y="1330"/>
                  <a:pt x="1289" y="1330"/>
                </a:cubicBezTo>
                <a:cubicBezTo>
                  <a:pt x="1289" y="1330"/>
                  <a:pt x="1289" y="1331"/>
                  <a:pt x="1288" y="1331"/>
                </a:cubicBezTo>
                <a:cubicBezTo>
                  <a:pt x="1288" y="1330"/>
                  <a:pt x="1288" y="1330"/>
                  <a:pt x="1287" y="1330"/>
                </a:cubicBezTo>
                <a:cubicBezTo>
                  <a:pt x="1286" y="1329"/>
                  <a:pt x="1284" y="1328"/>
                  <a:pt x="1283" y="1329"/>
                </a:cubicBezTo>
                <a:cubicBezTo>
                  <a:pt x="1281" y="1329"/>
                  <a:pt x="1279" y="1330"/>
                  <a:pt x="1278" y="1329"/>
                </a:cubicBezTo>
                <a:cubicBezTo>
                  <a:pt x="1277" y="1329"/>
                  <a:pt x="1276" y="1328"/>
                  <a:pt x="1276" y="1328"/>
                </a:cubicBezTo>
                <a:cubicBezTo>
                  <a:pt x="1275" y="1328"/>
                  <a:pt x="1274" y="1328"/>
                  <a:pt x="1273" y="1327"/>
                </a:cubicBezTo>
                <a:cubicBezTo>
                  <a:pt x="1273" y="1327"/>
                  <a:pt x="1273" y="1327"/>
                  <a:pt x="1272" y="1327"/>
                </a:cubicBezTo>
                <a:cubicBezTo>
                  <a:pt x="1272" y="1326"/>
                  <a:pt x="1272" y="1326"/>
                  <a:pt x="1271" y="1326"/>
                </a:cubicBezTo>
                <a:cubicBezTo>
                  <a:pt x="1270" y="1326"/>
                  <a:pt x="1270" y="1326"/>
                  <a:pt x="1269" y="1325"/>
                </a:cubicBezTo>
                <a:cubicBezTo>
                  <a:pt x="1268" y="1325"/>
                  <a:pt x="1267" y="1325"/>
                  <a:pt x="1267" y="1325"/>
                </a:cubicBezTo>
                <a:cubicBezTo>
                  <a:pt x="1266" y="1324"/>
                  <a:pt x="1266" y="1324"/>
                  <a:pt x="1266" y="1324"/>
                </a:cubicBezTo>
                <a:cubicBezTo>
                  <a:pt x="1265" y="1324"/>
                  <a:pt x="1264" y="1324"/>
                  <a:pt x="1263" y="1325"/>
                </a:cubicBezTo>
                <a:cubicBezTo>
                  <a:pt x="1263" y="1325"/>
                  <a:pt x="1263" y="1325"/>
                  <a:pt x="1262" y="1325"/>
                </a:cubicBezTo>
                <a:cubicBezTo>
                  <a:pt x="1261" y="1325"/>
                  <a:pt x="1261" y="1325"/>
                  <a:pt x="1260" y="1325"/>
                </a:cubicBezTo>
                <a:cubicBezTo>
                  <a:pt x="1259" y="1326"/>
                  <a:pt x="1258" y="1326"/>
                  <a:pt x="1258" y="1327"/>
                </a:cubicBezTo>
                <a:cubicBezTo>
                  <a:pt x="1257" y="1327"/>
                  <a:pt x="1257" y="1328"/>
                  <a:pt x="1256" y="1329"/>
                </a:cubicBezTo>
                <a:cubicBezTo>
                  <a:pt x="1255" y="1329"/>
                  <a:pt x="1256" y="1328"/>
                  <a:pt x="1256" y="1327"/>
                </a:cubicBezTo>
                <a:cubicBezTo>
                  <a:pt x="1257" y="1327"/>
                  <a:pt x="1257" y="1326"/>
                  <a:pt x="1257" y="1325"/>
                </a:cubicBezTo>
                <a:cubicBezTo>
                  <a:pt x="1257" y="1325"/>
                  <a:pt x="1258" y="1325"/>
                  <a:pt x="1258" y="1324"/>
                </a:cubicBezTo>
                <a:cubicBezTo>
                  <a:pt x="1258" y="1324"/>
                  <a:pt x="1257" y="1324"/>
                  <a:pt x="1257" y="1324"/>
                </a:cubicBezTo>
                <a:cubicBezTo>
                  <a:pt x="1256" y="1324"/>
                  <a:pt x="1255" y="1324"/>
                  <a:pt x="1255" y="1325"/>
                </a:cubicBezTo>
                <a:cubicBezTo>
                  <a:pt x="1253" y="1326"/>
                  <a:pt x="1254" y="1328"/>
                  <a:pt x="1253" y="1330"/>
                </a:cubicBezTo>
                <a:cubicBezTo>
                  <a:pt x="1253" y="1331"/>
                  <a:pt x="1252" y="1331"/>
                  <a:pt x="1251" y="1332"/>
                </a:cubicBezTo>
                <a:cubicBezTo>
                  <a:pt x="1251" y="1332"/>
                  <a:pt x="1250" y="1333"/>
                  <a:pt x="1250" y="1334"/>
                </a:cubicBezTo>
                <a:cubicBezTo>
                  <a:pt x="1250" y="1333"/>
                  <a:pt x="1250" y="1333"/>
                  <a:pt x="1250" y="1332"/>
                </a:cubicBezTo>
                <a:cubicBezTo>
                  <a:pt x="1251" y="1331"/>
                  <a:pt x="1250" y="1331"/>
                  <a:pt x="1251" y="1330"/>
                </a:cubicBezTo>
                <a:cubicBezTo>
                  <a:pt x="1251" y="1329"/>
                  <a:pt x="1251" y="1329"/>
                  <a:pt x="1252" y="1328"/>
                </a:cubicBezTo>
                <a:cubicBezTo>
                  <a:pt x="1252" y="1327"/>
                  <a:pt x="1252" y="1327"/>
                  <a:pt x="1252" y="1326"/>
                </a:cubicBezTo>
                <a:cubicBezTo>
                  <a:pt x="1252" y="1325"/>
                  <a:pt x="1252" y="1324"/>
                  <a:pt x="1253" y="1323"/>
                </a:cubicBezTo>
                <a:cubicBezTo>
                  <a:pt x="1253" y="1323"/>
                  <a:pt x="1254" y="1322"/>
                  <a:pt x="1253" y="1321"/>
                </a:cubicBezTo>
                <a:cubicBezTo>
                  <a:pt x="1253" y="1321"/>
                  <a:pt x="1252" y="1322"/>
                  <a:pt x="1251" y="1322"/>
                </a:cubicBezTo>
                <a:cubicBezTo>
                  <a:pt x="1251" y="1322"/>
                  <a:pt x="1251" y="1323"/>
                  <a:pt x="1250" y="1323"/>
                </a:cubicBezTo>
                <a:cubicBezTo>
                  <a:pt x="1250" y="1323"/>
                  <a:pt x="1252" y="1320"/>
                  <a:pt x="1252" y="1319"/>
                </a:cubicBezTo>
                <a:cubicBezTo>
                  <a:pt x="1252" y="1319"/>
                  <a:pt x="1252" y="1317"/>
                  <a:pt x="1252" y="1317"/>
                </a:cubicBezTo>
                <a:cubicBezTo>
                  <a:pt x="1251" y="1316"/>
                  <a:pt x="1250" y="1318"/>
                  <a:pt x="1250" y="1317"/>
                </a:cubicBezTo>
                <a:cubicBezTo>
                  <a:pt x="1249" y="1317"/>
                  <a:pt x="1250" y="1315"/>
                  <a:pt x="1249" y="1315"/>
                </a:cubicBezTo>
                <a:cubicBezTo>
                  <a:pt x="1249" y="1315"/>
                  <a:pt x="1248" y="1315"/>
                  <a:pt x="1248" y="1315"/>
                </a:cubicBezTo>
                <a:cubicBezTo>
                  <a:pt x="1247" y="1315"/>
                  <a:pt x="1249" y="1313"/>
                  <a:pt x="1247" y="1313"/>
                </a:cubicBezTo>
                <a:cubicBezTo>
                  <a:pt x="1246" y="1313"/>
                  <a:pt x="1246" y="1314"/>
                  <a:pt x="1246" y="1314"/>
                </a:cubicBezTo>
                <a:cubicBezTo>
                  <a:pt x="1246" y="1314"/>
                  <a:pt x="1245" y="1313"/>
                  <a:pt x="1245" y="1314"/>
                </a:cubicBezTo>
                <a:cubicBezTo>
                  <a:pt x="1244" y="1314"/>
                  <a:pt x="1244" y="1316"/>
                  <a:pt x="1243" y="1315"/>
                </a:cubicBezTo>
                <a:cubicBezTo>
                  <a:pt x="1243" y="1314"/>
                  <a:pt x="1244" y="1312"/>
                  <a:pt x="1243" y="1312"/>
                </a:cubicBezTo>
                <a:cubicBezTo>
                  <a:pt x="1242" y="1313"/>
                  <a:pt x="1242" y="1313"/>
                  <a:pt x="1242" y="1312"/>
                </a:cubicBezTo>
                <a:cubicBezTo>
                  <a:pt x="1241" y="1312"/>
                  <a:pt x="1242" y="1312"/>
                  <a:pt x="1241" y="1312"/>
                </a:cubicBezTo>
                <a:cubicBezTo>
                  <a:pt x="1241" y="1311"/>
                  <a:pt x="1240" y="1311"/>
                  <a:pt x="1240" y="1311"/>
                </a:cubicBezTo>
                <a:cubicBezTo>
                  <a:pt x="1239" y="1311"/>
                  <a:pt x="1239" y="1312"/>
                  <a:pt x="1239" y="1312"/>
                </a:cubicBezTo>
                <a:cubicBezTo>
                  <a:pt x="1238" y="1312"/>
                  <a:pt x="1238" y="1311"/>
                  <a:pt x="1238" y="1311"/>
                </a:cubicBezTo>
                <a:cubicBezTo>
                  <a:pt x="1238" y="1310"/>
                  <a:pt x="1238" y="1310"/>
                  <a:pt x="1237" y="1310"/>
                </a:cubicBezTo>
                <a:cubicBezTo>
                  <a:pt x="1236" y="1310"/>
                  <a:pt x="1236" y="1310"/>
                  <a:pt x="1236" y="1310"/>
                </a:cubicBezTo>
                <a:cubicBezTo>
                  <a:pt x="1235" y="1310"/>
                  <a:pt x="1235" y="1309"/>
                  <a:pt x="1235" y="1309"/>
                </a:cubicBezTo>
                <a:cubicBezTo>
                  <a:pt x="1234" y="1309"/>
                  <a:pt x="1233" y="1310"/>
                  <a:pt x="1233" y="1310"/>
                </a:cubicBezTo>
                <a:cubicBezTo>
                  <a:pt x="1233" y="1309"/>
                  <a:pt x="1233" y="1308"/>
                  <a:pt x="1233" y="1307"/>
                </a:cubicBezTo>
                <a:cubicBezTo>
                  <a:pt x="1232" y="1307"/>
                  <a:pt x="1232" y="1308"/>
                  <a:pt x="1232" y="1309"/>
                </a:cubicBezTo>
                <a:cubicBezTo>
                  <a:pt x="1231" y="1309"/>
                  <a:pt x="1231" y="1309"/>
                  <a:pt x="1230" y="1309"/>
                </a:cubicBezTo>
                <a:cubicBezTo>
                  <a:pt x="1230" y="1309"/>
                  <a:pt x="1229" y="1309"/>
                  <a:pt x="1229" y="1309"/>
                </a:cubicBezTo>
                <a:cubicBezTo>
                  <a:pt x="1226" y="1309"/>
                  <a:pt x="1228" y="1307"/>
                  <a:pt x="1228" y="1307"/>
                </a:cubicBezTo>
                <a:cubicBezTo>
                  <a:pt x="1227" y="1306"/>
                  <a:pt x="1227" y="1308"/>
                  <a:pt x="1226" y="1307"/>
                </a:cubicBezTo>
                <a:cubicBezTo>
                  <a:pt x="1226" y="1307"/>
                  <a:pt x="1226" y="1306"/>
                  <a:pt x="1226" y="1306"/>
                </a:cubicBezTo>
                <a:cubicBezTo>
                  <a:pt x="1226" y="1305"/>
                  <a:pt x="1225" y="1306"/>
                  <a:pt x="1224" y="1306"/>
                </a:cubicBezTo>
                <a:cubicBezTo>
                  <a:pt x="1224" y="1306"/>
                  <a:pt x="1224" y="1306"/>
                  <a:pt x="1224" y="1306"/>
                </a:cubicBezTo>
                <a:cubicBezTo>
                  <a:pt x="1223" y="1306"/>
                  <a:pt x="1223" y="1306"/>
                  <a:pt x="1222" y="1306"/>
                </a:cubicBezTo>
                <a:cubicBezTo>
                  <a:pt x="1222" y="1306"/>
                  <a:pt x="1221" y="1305"/>
                  <a:pt x="1221" y="1305"/>
                </a:cubicBezTo>
                <a:cubicBezTo>
                  <a:pt x="1220" y="1304"/>
                  <a:pt x="1220" y="1304"/>
                  <a:pt x="1219" y="1304"/>
                </a:cubicBezTo>
                <a:cubicBezTo>
                  <a:pt x="1218" y="1304"/>
                  <a:pt x="1217" y="1304"/>
                  <a:pt x="1216" y="1304"/>
                </a:cubicBezTo>
                <a:cubicBezTo>
                  <a:pt x="1216" y="1304"/>
                  <a:pt x="1216" y="1304"/>
                  <a:pt x="1215" y="1304"/>
                </a:cubicBezTo>
                <a:cubicBezTo>
                  <a:pt x="1215" y="1304"/>
                  <a:pt x="1214" y="1304"/>
                  <a:pt x="1214" y="1304"/>
                </a:cubicBezTo>
                <a:cubicBezTo>
                  <a:pt x="1213" y="1305"/>
                  <a:pt x="1212" y="1305"/>
                  <a:pt x="1212" y="1305"/>
                </a:cubicBezTo>
                <a:cubicBezTo>
                  <a:pt x="1211" y="1306"/>
                  <a:pt x="1209" y="1306"/>
                  <a:pt x="1209" y="1308"/>
                </a:cubicBezTo>
                <a:cubicBezTo>
                  <a:pt x="1209" y="1308"/>
                  <a:pt x="1209" y="1309"/>
                  <a:pt x="1209" y="1310"/>
                </a:cubicBezTo>
                <a:cubicBezTo>
                  <a:pt x="1209" y="1311"/>
                  <a:pt x="1208" y="1311"/>
                  <a:pt x="1208" y="1311"/>
                </a:cubicBezTo>
                <a:cubicBezTo>
                  <a:pt x="1207" y="1312"/>
                  <a:pt x="1207" y="1312"/>
                  <a:pt x="1207" y="1313"/>
                </a:cubicBezTo>
                <a:cubicBezTo>
                  <a:pt x="1207" y="1314"/>
                  <a:pt x="1207" y="1314"/>
                  <a:pt x="1207" y="1315"/>
                </a:cubicBezTo>
                <a:cubicBezTo>
                  <a:pt x="1207" y="1315"/>
                  <a:pt x="1207" y="1315"/>
                  <a:pt x="1207" y="1316"/>
                </a:cubicBezTo>
                <a:cubicBezTo>
                  <a:pt x="1206" y="1316"/>
                  <a:pt x="1206" y="1313"/>
                  <a:pt x="1204" y="1314"/>
                </a:cubicBezTo>
                <a:cubicBezTo>
                  <a:pt x="1203" y="1315"/>
                  <a:pt x="1202" y="1316"/>
                  <a:pt x="1201" y="1317"/>
                </a:cubicBezTo>
                <a:cubicBezTo>
                  <a:pt x="1201" y="1317"/>
                  <a:pt x="1200" y="1317"/>
                  <a:pt x="1199" y="1318"/>
                </a:cubicBezTo>
                <a:cubicBezTo>
                  <a:pt x="1199" y="1318"/>
                  <a:pt x="1198" y="1319"/>
                  <a:pt x="1198" y="1320"/>
                </a:cubicBezTo>
                <a:cubicBezTo>
                  <a:pt x="1197" y="1321"/>
                  <a:pt x="1196" y="1323"/>
                  <a:pt x="1196" y="1325"/>
                </a:cubicBezTo>
                <a:cubicBezTo>
                  <a:pt x="1196" y="1324"/>
                  <a:pt x="1196" y="1323"/>
                  <a:pt x="1196" y="1323"/>
                </a:cubicBezTo>
                <a:cubicBezTo>
                  <a:pt x="1196" y="1322"/>
                  <a:pt x="1196" y="1322"/>
                  <a:pt x="1197" y="1322"/>
                </a:cubicBezTo>
                <a:cubicBezTo>
                  <a:pt x="1197" y="1321"/>
                  <a:pt x="1197" y="1320"/>
                  <a:pt x="1197" y="1319"/>
                </a:cubicBezTo>
                <a:cubicBezTo>
                  <a:pt x="1197" y="1319"/>
                  <a:pt x="1197" y="1318"/>
                  <a:pt x="1198" y="1318"/>
                </a:cubicBezTo>
                <a:cubicBezTo>
                  <a:pt x="1198" y="1318"/>
                  <a:pt x="1198" y="1317"/>
                  <a:pt x="1198" y="1317"/>
                </a:cubicBezTo>
                <a:cubicBezTo>
                  <a:pt x="1197" y="1317"/>
                  <a:pt x="1197" y="1317"/>
                  <a:pt x="1196" y="1317"/>
                </a:cubicBezTo>
                <a:cubicBezTo>
                  <a:pt x="1196" y="1317"/>
                  <a:pt x="1195" y="1318"/>
                  <a:pt x="1194" y="1318"/>
                </a:cubicBezTo>
                <a:cubicBezTo>
                  <a:pt x="1193" y="1318"/>
                  <a:pt x="1193" y="1319"/>
                  <a:pt x="1191" y="1319"/>
                </a:cubicBezTo>
                <a:cubicBezTo>
                  <a:pt x="1191" y="1319"/>
                  <a:pt x="1191" y="1318"/>
                  <a:pt x="1190" y="1318"/>
                </a:cubicBezTo>
                <a:cubicBezTo>
                  <a:pt x="1190" y="1318"/>
                  <a:pt x="1189" y="1318"/>
                  <a:pt x="1188" y="1318"/>
                </a:cubicBezTo>
                <a:cubicBezTo>
                  <a:pt x="1188" y="1318"/>
                  <a:pt x="1188" y="1318"/>
                  <a:pt x="1187" y="1319"/>
                </a:cubicBezTo>
                <a:cubicBezTo>
                  <a:pt x="1187" y="1319"/>
                  <a:pt x="1187" y="1318"/>
                  <a:pt x="1186" y="1318"/>
                </a:cubicBezTo>
                <a:cubicBezTo>
                  <a:pt x="1186" y="1318"/>
                  <a:pt x="1185" y="1317"/>
                  <a:pt x="1185" y="1317"/>
                </a:cubicBezTo>
                <a:cubicBezTo>
                  <a:pt x="1184" y="1317"/>
                  <a:pt x="1183" y="1318"/>
                  <a:pt x="1182" y="1317"/>
                </a:cubicBezTo>
                <a:cubicBezTo>
                  <a:pt x="1182" y="1317"/>
                  <a:pt x="1181" y="1316"/>
                  <a:pt x="1181" y="1315"/>
                </a:cubicBezTo>
                <a:cubicBezTo>
                  <a:pt x="1181" y="1315"/>
                  <a:pt x="1181" y="1314"/>
                  <a:pt x="1181" y="1313"/>
                </a:cubicBezTo>
                <a:cubicBezTo>
                  <a:pt x="1181" y="1312"/>
                  <a:pt x="1180" y="1312"/>
                  <a:pt x="1181" y="1311"/>
                </a:cubicBezTo>
                <a:cubicBezTo>
                  <a:pt x="1181" y="1312"/>
                  <a:pt x="1181" y="1313"/>
                  <a:pt x="1182" y="1314"/>
                </a:cubicBezTo>
                <a:cubicBezTo>
                  <a:pt x="1183" y="1315"/>
                  <a:pt x="1183" y="1316"/>
                  <a:pt x="1183" y="1316"/>
                </a:cubicBezTo>
                <a:cubicBezTo>
                  <a:pt x="1184" y="1317"/>
                  <a:pt x="1186" y="1318"/>
                  <a:pt x="1187" y="1317"/>
                </a:cubicBezTo>
                <a:cubicBezTo>
                  <a:pt x="1188" y="1317"/>
                  <a:pt x="1189" y="1317"/>
                  <a:pt x="1190" y="1317"/>
                </a:cubicBezTo>
                <a:cubicBezTo>
                  <a:pt x="1190" y="1317"/>
                  <a:pt x="1190" y="1317"/>
                  <a:pt x="1191" y="1317"/>
                </a:cubicBezTo>
                <a:cubicBezTo>
                  <a:pt x="1191" y="1317"/>
                  <a:pt x="1192" y="1317"/>
                  <a:pt x="1192" y="1317"/>
                </a:cubicBezTo>
                <a:cubicBezTo>
                  <a:pt x="1193" y="1317"/>
                  <a:pt x="1194" y="1317"/>
                  <a:pt x="1194" y="1317"/>
                </a:cubicBezTo>
                <a:cubicBezTo>
                  <a:pt x="1195" y="1316"/>
                  <a:pt x="1195" y="1316"/>
                  <a:pt x="1195" y="1316"/>
                </a:cubicBezTo>
                <a:cubicBezTo>
                  <a:pt x="1195" y="1315"/>
                  <a:pt x="1195" y="1314"/>
                  <a:pt x="1195" y="1315"/>
                </a:cubicBezTo>
                <a:cubicBezTo>
                  <a:pt x="1196" y="1315"/>
                  <a:pt x="1196" y="1315"/>
                  <a:pt x="1196" y="1316"/>
                </a:cubicBezTo>
                <a:cubicBezTo>
                  <a:pt x="1197" y="1316"/>
                  <a:pt x="1198" y="1316"/>
                  <a:pt x="1198" y="1316"/>
                </a:cubicBezTo>
                <a:cubicBezTo>
                  <a:pt x="1200" y="1315"/>
                  <a:pt x="1201" y="1315"/>
                  <a:pt x="1202" y="1314"/>
                </a:cubicBezTo>
                <a:cubicBezTo>
                  <a:pt x="1202" y="1314"/>
                  <a:pt x="1203" y="1313"/>
                  <a:pt x="1203" y="1313"/>
                </a:cubicBezTo>
                <a:cubicBezTo>
                  <a:pt x="1204" y="1312"/>
                  <a:pt x="1204" y="1311"/>
                  <a:pt x="1205" y="1310"/>
                </a:cubicBezTo>
                <a:cubicBezTo>
                  <a:pt x="1205" y="1310"/>
                  <a:pt x="1205" y="1309"/>
                  <a:pt x="1206" y="1308"/>
                </a:cubicBezTo>
                <a:cubicBezTo>
                  <a:pt x="1206" y="1307"/>
                  <a:pt x="1206" y="1307"/>
                  <a:pt x="1206" y="1306"/>
                </a:cubicBezTo>
                <a:cubicBezTo>
                  <a:pt x="1207" y="1306"/>
                  <a:pt x="1207" y="1305"/>
                  <a:pt x="1207" y="1305"/>
                </a:cubicBezTo>
                <a:cubicBezTo>
                  <a:pt x="1207" y="1304"/>
                  <a:pt x="1207" y="1303"/>
                  <a:pt x="1208" y="1302"/>
                </a:cubicBezTo>
                <a:cubicBezTo>
                  <a:pt x="1208" y="1302"/>
                  <a:pt x="1208" y="1301"/>
                  <a:pt x="1208" y="1300"/>
                </a:cubicBezTo>
                <a:cubicBezTo>
                  <a:pt x="1207" y="1299"/>
                  <a:pt x="1205" y="1300"/>
                  <a:pt x="1204" y="1299"/>
                </a:cubicBezTo>
                <a:cubicBezTo>
                  <a:pt x="1203" y="1299"/>
                  <a:pt x="1202" y="1299"/>
                  <a:pt x="1201" y="1299"/>
                </a:cubicBezTo>
                <a:cubicBezTo>
                  <a:pt x="1200" y="1299"/>
                  <a:pt x="1200" y="1299"/>
                  <a:pt x="1199" y="1299"/>
                </a:cubicBezTo>
                <a:cubicBezTo>
                  <a:pt x="1197" y="1299"/>
                  <a:pt x="1196" y="1300"/>
                  <a:pt x="1194" y="1300"/>
                </a:cubicBezTo>
                <a:cubicBezTo>
                  <a:pt x="1193" y="1300"/>
                  <a:pt x="1192" y="1299"/>
                  <a:pt x="1192" y="1299"/>
                </a:cubicBezTo>
                <a:cubicBezTo>
                  <a:pt x="1191" y="1299"/>
                  <a:pt x="1190" y="1299"/>
                  <a:pt x="1189" y="1299"/>
                </a:cubicBezTo>
                <a:cubicBezTo>
                  <a:pt x="1189" y="1299"/>
                  <a:pt x="1188" y="1298"/>
                  <a:pt x="1187" y="1299"/>
                </a:cubicBezTo>
                <a:cubicBezTo>
                  <a:pt x="1186" y="1299"/>
                  <a:pt x="1186" y="1299"/>
                  <a:pt x="1185" y="1299"/>
                </a:cubicBezTo>
                <a:cubicBezTo>
                  <a:pt x="1185" y="1299"/>
                  <a:pt x="1184" y="1298"/>
                  <a:pt x="1184" y="1299"/>
                </a:cubicBezTo>
                <a:cubicBezTo>
                  <a:pt x="1183" y="1299"/>
                  <a:pt x="1183" y="1299"/>
                  <a:pt x="1183" y="1299"/>
                </a:cubicBezTo>
                <a:cubicBezTo>
                  <a:pt x="1182" y="1300"/>
                  <a:pt x="1182" y="1300"/>
                  <a:pt x="1182" y="1301"/>
                </a:cubicBezTo>
                <a:cubicBezTo>
                  <a:pt x="1181" y="1301"/>
                  <a:pt x="1182" y="1301"/>
                  <a:pt x="1182" y="1302"/>
                </a:cubicBezTo>
                <a:cubicBezTo>
                  <a:pt x="1182" y="1302"/>
                  <a:pt x="1181" y="1302"/>
                  <a:pt x="1181" y="1303"/>
                </a:cubicBezTo>
                <a:cubicBezTo>
                  <a:pt x="1182" y="1303"/>
                  <a:pt x="1182" y="1304"/>
                  <a:pt x="1182" y="1304"/>
                </a:cubicBezTo>
                <a:cubicBezTo>
                  <a:pt x="1182" y="1304"/>
                  <a:pt x="1182" y="1304"/>
                  <a:pt x="1182" y="1304"/>
                </a:cubicBezTo>
                <a:cubicBezTo>
                  <a:pt x="1181" y="1303"/>
                  <a:pt x="1181" y="1304"/>
                  <a:pt x="1181" y="1304"/>
                </a:cubicBezTo>
                <a:cubicBezTo>
                  <a:pt x="1180" y="1304"/>
                  <a:pt x="1180" y="1304"/>
                  <a:pt x="1180" y="1304"/>
                </a:cubicBezTo>
                <a:cubicBezTo>
                  <a:pt x="1179" y="1304"/>
                  <a:pt x="1179" y="1304"/>
                  <a:pt x="1179" y="1304"/>
                </a:cubicBezTo>
                <a:cubicBezTo>
                  <a:pt x="1178" y="1305"/>
                  <a:pt x="1178" y="1305"/>
                  <a:pt x="1178" y="1305"/>
                </a:cubicBezTo>
                <a:cubicBezTo>
                  <a:pt x="1177" y="1305"/>
                  <a:pt x="1178" y="1306"/>
                  <a:pt x="1177" y="1306"/>
                </a:cubicBezTo>
                <a:cubicBezTo>
                  <a:pt x="1177" y="1307"/>
                  <a:pt x="1176" y="1307"/>
                  <a:pt x="1177" y="1308"/>
                </a:cubicBezTo>
                <a:cubicBezTo>
                  <a:pt x="1177" y="1308"/>
                  <a:pt x="1177" y="1308"/>
                  <a:pt x="1177" y="1307"/>
                </a:cubicBezTo>
                <a:cubicBezTo>
                  <a:pt x="1177" y="1307"/>
                  <a:pt x="1178" y="1307"/>
                  <a:pt x="1178" y="1307"/>
                </a:cubicBezTo>
                <a:cubicBezTo>
                  <a:pt x="1179" y="1306"/>
                  <a:pt x="1179" y="1305"/>
                  <a:pt x="1179" y="1305"/>
                </a:cubicBezTo>
                <a:cubicBezTo>
                  <a:pt x="1181" y="1305"/>
                  <a:pt x="1180" y="1306"/>
                  <a:pt x="1180" y="1307"/>
                </a:cubicBezTo>
                <a:cubicBezTo>
                  <a:pt x="1180" y="1307"/>
                  <a:pt x="1180" y="1307"/>
                  <a:pt x="1181" y="1308"/>
                </a:cubicBezTo>
                <a:cubicBezTo>
                  <a:pt x="1181" y="1308"/>
                  <a:pt x="1181" y="1308"/>
                  <a:pt x="1181" y="1309"/>
                </a:cubicBezTo>
                <a:cubicBezTo>
                  <a:pt x="1181" y="1309"/>
                  <a:pt x="1181" y="1309"/>
                  <a:pt x="1182" y="1309"/>
                </a:cubicBezTo>
                <a:cubicBezTo>
                  <a:pt x="1182" y="1310"/>
                  <a:pt x="1182" y="1310"/>
                  <a:pt x="1182" y="1310"/>
                </a:cubicBezTo>
                <a:cubicBezTo>
                  <a:pt x="1182" y="1310"/>
                  <a:pt x="1182" y="1310"/>
                  <a:pt x="1182" y="1310"/>
                </a:cubicBezTo>
                <a:cubicBezTo>
                  <a:pt x="1182" y="1310"/>
                  <a:pt x="1181" y="1310"/>
                  <a:pt x="1181" y="1310"/>
                </a:cubicBezTo>
                <a:cubicBezTo>
                  <a:pt x="1181" y="1309"/>
                  <a:pt x="1180" y="1310"/>
                  <a:pt x="1180" y="1309"/>
                </a:cubicBezTo>
                <a:cubicBezTo>
                  <a:pt x="1179" y="1309"/>
                  <a:pt x="1180" y="1308"/>
                  <a:pt x="1179" y="1308"/>
                </a:cubicBezTo>
                <a:cubicBezTo>
                  <a:pt x="1178" y="1308"/>
                  <a:pt x="1178" y="1308"/>
                  <a:pt x="1177" y="1309"/>
                </a:cubicBezTo>
                <a:cubicBezTo>
                  <a:pt x="1177" y="1309"/>
                  <a:pt x="1177" y="1309"/>
                  <a:pt x="1176" y="1310"/>
                </a:cubicBezTo>
                <a:cubicBezTo>
                  <a:pt x="1176" y="1310"/>
                  <a:pt x="1176" y="1310"/>
                  <a:pt x="1175" y="1310"/>
                </a:cubicBezTo>
                <a:cubicBezTo>
                  <a:pt x="1175" y="1311"/>
                  <a:pt x="1175" y="1311"/>
                  <a:pt x="1174" y="1311"/>
                </a:cubicBezTo>
                <a:cubicBezTo>
                  <a:pt x="1174" y="1311"/>
                  <a:pt x="1173" y="1312"/>
                  <a:pt x="1172" y="1312"/>
                </a:cubicBezTo>
                <a:cubicBezTo>
                  <a:pt x="1172" y="1312"/>
                  <a:pt x="1171" y="1313"/>
                  <a:pt x="1171" y="1313"/>
                </a:cubicBezTo>
                <a:cubicBezTo>
                  <a:pt x="1171" y="1313"/>
                  <a:pt x="1170" y="1313"/>
                  <a:pt x="1170" y="1313"/>
                </a:cubicBezTo>
                <a:cubicBezTo>
                  <a:pt x="1170" y="1314"/>
                  <a:pt x="1169" y="1314"/>
                  <a:pt x="1169" y="1314"/>
                </a:cubicBezTo>
                <a:cubicBezTo>
                  <a:pt x="1169" y="1315"/>
                  <a:pt x="1168" y="1315"/>
                  <a:pt x="1167" y="1315"/>
                </a:cubicBezTo>
                <a:cubicBezTo>
                  <a:pt x="1167" y="1315"/>
                  <a:pt x="1166" y="1316"/>
                  <a:pt x="1165" y="1316"/>
                </a:cubicBezTo>
                <a:cubicBezTo>
                  <a:pt x="1164" y="1316"/>
                  <a:pt x="1164" y="1315"/>
                  <a:pt x="1164" y="1315"/>
                </a:cubicBezTo>
                <a:cubicBezTo>
                  <a:pt x="1163" y="1314"/>
                  <a:pt x="1162" y="1314"/>
                  <a:pt x="1161" y="1314"/>
                </a:cubicBezTo>
                <a:cubicBezTo>
                  <a:pt x="1161" y="1315"/>
                  <a:pt x="1160" y="1315"/>
                  <a:pt x="1159" y="1315"/>
                </a:cubicBezTo>
                <a:cubicBezTo>
                  <a:pt x="1160" y="1315"/>
                  <a:pt x="1160" y="1314"/>
                  <a:pt x="1161" y="1314"/>
                </a:cubicBezTo>
                <a:cubicBezTo>
                  <a:pt x="1161" y="1313"/>
                  <a:pt x="1162" y="1313"/>
                  <a:pt x="1162" y="1313"/>
                </a:cubicBezTo>
                <a:cubicBezTo>
                  <a:pt x="1163" y="1313"/>
                  <a:pt x="1164" y="1313"/>
                  <a:pt x="1164" y="1313"/>
                </a:cubicBezTo>
                <a:cubicBezTo>
                  <a:pt x="1165" y="1313"/>
                  <a:pt x="1165" y="1312"/>
                  <a:pt x="1165" y="1313"/>
                </a:cubicBezTo>
                <a:cubicBezTo>
                  <a:pt x="1166" y="1313"/>
                  <a:pt x="1166" y="1313"/>
                  <a:pt x="1166" y="1313"/>
                </a:cubicBezTo>
                <a:cubicBezTo>
                  <a:pt x="1166" y="1313"/>
                  <a:pt x="1167" y="1313"/>
                  <a:pt x="1167" y="1313"/>
                </a:cubicBezTo>
                <a:cubicBezTo>
                  <a:pt x="1167" y="1313"/>
                  <a:pt x="1168" y="1313"/>
                  <a:pt x="1168" y="1312"/>
                </a:cubicBezTo>
                <a:cubicBezTo>
                  <a:pt x="1168" y="1312"/>
                  <a:pt x="1168" y="1311"/>
                  <a:pt x="1168" y="1310"/>
                </a:cubicBezTo>
                <a:cubicBezTo>
                  <a:pt x="1169" y="1309"/>
                  <a:pt x="1169" y="1309"/>
                  <a:pt x="1169" y="1308"/>
                </a:cubicBezTo>
                <a:cubicBezTo>
                  <a:pt x="1169" y="1307"/>
                  <a:pt x="1170" y="1307"/>
                  <a:pt x="1170" y="1306"/>
                </a:cubicBezTo>
                <a:cubicBezTo>
                  <a:pt x="1170" y="1307"/>
                  <a:pt x="1170" y="1307"/>
                  <a:pt x="1170" y="1308"/>
                </a:cubicBezTo>
                <a:cubicBezTo>
                  <a:pt x="1170" y="1308"/>
                  <a:pt x="1170" y="1308"/>
                  <a:pt x="1169" y="1309"/>
                </a:cubicBezTo>
                <a:cubicBezTo>
                  <a:pt x="1169" y="1309"/>
                  <a:pt x="1169" y="1309"/>
                  <a:pt x="1169" y="1310"/>
                </a:cubicBezTo>
                <a:cubicBezTo>
                  <a:pt x="1169" y="1310"/>
                  <a:pt x="1169" y="1310"/>
                  <a:pt x="1169" y="1311"/>
                </a:cubicBezTo>
                <a:cubicBezTo>
                  <a:pt x="1169" y="1311"/>
                  <a:pt x="1169" y="1312"/>
                  <a:pt x="1169" y="1312"/>
                </a:cubicBezTo>
                <a:cubicBezTo>
                  <a:pt x="1168" y="1312"/>
                  <a:pt x="1168" y="1313"/>
                  <a:pt x="1168" y="1313"/>
                </a:cubicBezTo>
                <a:cubicBezTo>
                  <a:pt x="1168" y="1313"/>
                  <a:pt x="1168" y="1314"/>
                  <a:pt x="1168" y="1314"/>
                </a:cubicBezTo>
                <a:cubicBezTo>
                  <a:pt x="1169" y="1314"/>
                  <a:pt x="1170" y="1313"/>
                  <a:pt x="1170" y="1313"/>
                </a:cubicBezTo>
                <a:cubicBezTo>
                  <a:pt x="1171" y="1313"/>
                  <a:pt x="1171" y="1312"/>
                  <a:pt x="1172" y="1312"/>
                </a:cubicBezTo>
                <a:cubicBezTo>
                  <a:pt x="1172" y="1311"/>
                  <a:pt x="1173" y="1311"/>
                  <a:pt x="1173" y="1311"/>
                </a:cubicBezTo>
                <a:cubicBezTo>
                  <a:pt x="1174" y="1310"/>
                  <a:pt x="1174" y="1310"/>
                  <a:pt x="1174" y="1309"/>
                </a:cubicBezTo>
                <a:cubicBezTo>
                  <a:pt x="1175" y="1308"/>
                  <a:pt x="1176" y="1307"/>
                  <a:pt x="1177" y="1305"/>
                </a:cubicBezTo>
                <a:cubicBezTo>
                  <a:pt x="1177" y="1305"/>
                  <a:pt x="1177" y="1303"/>
                  <a:pt x="1176" y="1303"/>
                </a:cubicBezTo>
                <a:cubicBezTo>
                  <a:pt x="1175" y="1302"/>
                  <a:pt x="1175" y="1303"/>
                  <a:pt x="1174" y="1303"/>
                </a:cubicBezTo>
                <a:cubicBezTo>
                  <a:pt x="1174" y="1303"/>
                  <a:pt x="1173" y="1303"/>
                  <a:pt x="1173" y="1303"/>
                </a:cubicBezTo>
                <a:cubicBezTo>
                  <a:pt x="1173" y="1303"/>
                  <a:pt x="1173" y="1302"/>
                  <a:pt x="1173" y="1302"/>
                </a:cubicBezTo>
                <a:cubicBezTo>
                  <a:pt x="1174" y="1302"/>
                  <a:pt x="1174" y="1301"/>
                  <a:pt x="1174" y="1300"/>
                </a:cubicBezTo>
                <a:cubicBezTo>
                  <a:pt x="1175" y="1300"/>
                  <a:pt x="1176" y="1299"/>
                  <a:pt x="1176" y="1299"/>
                </a:cubicBezTo>
                <a:cubicBezTo>
                  <a:pt x="1177" y="1298"/>
                  <a:pt x="1178" y="1297"/>
                  <a:pt x="1178" y="1297"/>
                </a:cubicBezTo>
                <a:cubicBezTo>
                  <a:pt x="1179" y="1296"/>
                  <a:pt x="1179" y="1295"/>
                  <a:pt x="1180" y="1294"/>
                </a:cubicBezTo>
                <a:cubicBezTo>
                  <a:pt x="1181" y="1294"/>
                  <a:pt x="1181" y="1293"/>
                  <a:pt x="1182" y="1293"/>
                </a:cubicBezTo>
                <a:cubicBezTo>
                  <a:pt x="1183" y="1292"/>
                  <a:pt x="1183" y="1291"/>
                  <a:pt x="1184" y="1291"/>
                </a:cubicBezTo>
                <a:cubicBezTo>
                  <a:pt x="1184" y="1290"/>
                  <a:pt x="1185" y="1290"/>
                  <a:pt x="1185" y="1290"/>
                </a:cubicBezTo>
                <a:cubicBezTo>
                  <a:pt x="1186" y="1289"/>
                  <a:pt x="1187" y="1288"/>
                  <a:pt x="1188" y="1287"/>
                </a:cubicBezTo>
                <a:cubicBezTo>
                  <a:pt x="1189" y="1286"/>
                  <a:pt x="1190" y="1285"/>
                  <a:pt x="1191" y="1284"/>
                </a:cubicBezTo>
                <a:cubicBezTo>
                  <a:pt x="1191" y="1283"/>
                  <a:pt x="1190" y="1283"/>
                  <a:pt x="1190" y="1283"/>
                </a:cubicBezTo>
                <a:cubicBezTo>
                  <a:pt x="1190" y="1282"/>
                  <a:pt x="1191" y="1282"/>
                  <a:pt x="1191" y="1282"/>
                </a:cubicBezTo>
                <a:cubicBezTo>
                  <a:pt x="1191" y="1281"/>
                  <a:pt x="1191" y="1281"/>
                  <a:pt x="1191" y="1281"/>
                </a:cubicBezTo>
                <a:cubicBezTo>
                  <a:pt x="1191" y="1279"/>
                  <a:pt x="1191" y="1277"/>
                  <a:pt x="1189" y="1277"/>
                </a:cubicBezTo>
                <a:cubicBezTo>
                  <a:pt x="1189" y="1277"/>
                  <a:pt x="1188" y="1276"/>
                  <a:pt x="1188" y="1276"/>
                </a:cubicBezTo>
                <a:cubicBezTo>
                  <a:pt x="1188" y="1276"/>
                  <a:pt x="1187" y="1276"/>
                  <a:pt x="1187" y="1276"/>
                </a:cubicBezTo>
                <a:cubicBezTo>
                  <a:pt x="1186" y="1276"/>
                  <a:pt x="1185" y="1276"/>
                  <a:pt x="1186" y="1275"/>
                </a:cubicBezTo>
                <a:cubicBezTo>
                  <a:pt x="1187" y="1274"/>
                  <a:pt x="1186" y="1274"/>
                  <a:pt x="1186" y="1273"/>
                </a:cubicBezTo>
                <a:cubicBezTo>
                  <a:pt x="1185" y="1273"/>
                  <a:pt x="1185" y="1272"/>
                  <a:pt x="1184" y="1272"/>
                </a:cubicBezTo>
                <a:cubicBezTo>
                  <a:pt x="1184" y="1273"/>
                  <a:pt x="1184" y="1273"/>
                  <a:pt x="1184" y="1273"/>
                </a:cubicBezTo>
                <a:cubicBezTo>
                  <a:pt x="1183" y="1273"/>
                  <a:pt x="1183" y="1273"/>
                  <a:pt x="1183" y="1273"/>
                </a:cubicBezTo>
                <a:cubicBezTo>
                  <a:pt x="1182" y="1273"/>
                  <a:pt x="1182" y="1273"/>
                  <a:pt x="1182" y="1273"/>
                </a:cubicBezTo>
                <a:cubicBezTo>
                  <a:pt x="1181" y="1273"/>
                  <a:pt x="1181" y="1273"/>
                  <a:pt x="1181" y="1272"/>
                </a:cubicBezTo>
                <a:cubicBezTo>
                  <a:pt x="1181" y="1271"/>
                  <a:pt x="1181" y="1269"/>
                  <a:pt x="1180" y="1267"/>
                </a:cubicBezTo>
                <a:cubicBezTo>
                  <a:pt x="1180" y="1265"/>
                  <a:pt x="1179" y="1264"/>
                  <a:pt x="1178" y="1262"/>
                </a:cubicBezTo>
                <a:cubicBezTo>
                  <a:pt x="1178" y="1261"/>
                  <a:pt x="1178" y="1260"/>
                  <a:pt x="1178" y="1259"/>
                </a:cubicBezTo>
                <a:cubicBezTo>
                  <a:pt x="1178" y="1258"/>
                  <a:pt x="1177" y="1258"/>
                  <a:pt x="1178" y="1257"/>
                </a:cubicBezTo>
                <a:cubicBezTo>
                  <a:pt x="1178" y="1256"/>
                  <a:pt x="1178" y="1254"/>
                  <a:pt x="1178" y="1253"/>
                </a:cubicBezTo>
                <a:cubicBezTo>
                  <a:pt x="1178" y="1253"/>
                  <a:pt x="1177" y="1252"/>
                  <a:pt x="1177" y="1252"/>
                </a:cubicBezTo>
                <a:cubicBezTo>
                  <a:pt x="1177" y="1252"/>
                  <a:pt x="1177" y="1253"/>
                  <a:pt x="1177" y="1253"/>
                </a:cubicBezTo>
                <a:cubicBezTo>
                  <a:pt x="1176" y="1253"/>
                  <a:pt x="1176" y="1251"/>
                  <a:pt x="1176" y="1251"/>
                </a:cubicBezTo>
                <a:cubicBezTo>
                  <a:pt x="1176" y="1250"/>
                  <a:pt x="1175" y="1249"/>
                  <a:pt x="1175" y="1249"/>
                </a:cubicBezTo>
                <a:cubicBezTo>
                  <a:pt x="1174" y="1249"/>
                  <a:pt x="1174" y="1248"/>
                  <a:pt x="1173" y="1248"/>
                </a:cubicBezTo>
                <a:cubicBezTo>
                  <a:pt x="1173" y="1248"/>
                  <a:pt x="1173" y="1247"/>
                  <a:pt x="1173" y="1247"/>
                </a:cubicBezTo>
                <a:cubicBezTo>
                  <a:pt x="1172" y="1246"/>
                  <a:pt x="1172" y="1248"/>
                  <a:pt x="1172" y="1248"/>
                </a:cubicBezTo>
                <a:cubicBezTo>
                  <a:pt x="1172" y="1249"/>
                  <a:pt x="1172" y="1249"/>
                  <a:pt x="1171" y="1249"/>
                </a:cubicBezTo>
                <a:cubicBezTo>
                  <a:pt x="1171" y="1250"/>
                  <a:pt x="1171" y="1250"/>
                  <a:pt x="1171" y="1250"/>
                </a:cubicBezTo>
                <a:cubicBezTo>
                  <a:pt x="1171" y="1250"/>
                  <a:pt x="1171" y="1249"/>
                  <a:pt x="1170" y="1249"/>
                </a:cubicBezTo>
                <a:cubicBezTo>
                  <a:pt x="1170" y="1248"/>
                  <a:pt x="1170" y="1247"/>
                  <a:pt x="1170" y="1246"/>
                </a:cubicBezTo>
                <a:cubicBezTo>
                  <a:pt x="1170" y="1245"/>
                  <a:pt x="1169" y="1245"/>
                  <a:pt x="1169" y="1245"/>
                </a:cubicBezTo>
                <a:cubicBezTo>
                  <a:pt x="1169" y="1245"/>
                  <a:pt x="1169" y="1244"/>
                  <a:pt x="1168" y="1244"/>
                </a:cubicBezTo>
                <a:cubicBezTo>
                  <a:pt x="1168" y="1244"/>
                  <a:pt x="1168" y="1244"/>
                  <a:pt x="1168" y="1245"/>
                </a:cubicBezTo>
                <a:cubicBezTo>
                  <a:pt x="1167" y="1245"/>
                  <a:pt x="1167" y="1245"/>
                  <a:pt x="1167" y="1244"/>
                </a:cubicBezTo>
                <a:cubicBezTo>
                  <a:pt x="1166" y="1244"/>
                  <a:pt x="1166" y="1243"/>
                  <a:pt x="1165" y="1243"/>
                </a:cubicBezTo>
                <a:cubicBezTo>
                  <a:pt x="1164" y="1243"/>
                  <a:pt x="1163" y="1243"/>
                  <a:pt x="1163" y="1242"/>
                </a:cubicBezTo>
                <a:cubicBezTo>
                  <a:pt x="1163" y="1241"/>
                  <a:pt x="1162" y="1240"/>
                  <a:pt x="1162" y="1239"/>
                </a:cubicBezTo>
                <a:cubicBezTo>
                  <a:pt x="1161" y="1239"/>
                  <a:pt x="1160" y="1238"/>
                  <a:pt x="1160" y="1238"/>
                </a:cubicBezTo>
                <a:cubicBezTo>
                  <a:pt x="1158" y="1237"/>
                  <a:pt x="1157" y="1236"/>
                  <a:pt x="1155" y="1235"/>
                </a:cubicBezTo>
                <a:cubicBezTo>
                  <a:pt x="1155" y="1235"/>
                  <a:pt x="1154" y="1234"/>
                  <a:pt x="1153" y="1234"/>
                </a:cubicBezTo>
                <a:cubicBezTo>
                  <a:pt x="1153" y="1234"/>
                  <a:pt x="1152" y="1234"/>
                  <a:pt x="1151" y="1234"/>
                </a:cubicBezTo>
                <a:cubicBezTo>
                  <a:pt x="1151" y="1233"/>
                  <a:pt x="1150" y="1233"/>
                  <a:pt x="1150" y="1233"/>
                </a:cubicBezTo>
                <a:cubicBezTo>
                  <a:pt x="1149" y="1233"/>
                  <a:pt x="1148" y="1232"/>
                  <a:pt x="1147" y="1231"/>
                </a:cubicBezTo>
                <a:cubicBezTo>
                  <a:pt x="1146" y="1231"/>
                  <a:pt x="1145" y="1232"/>
                  <a:pt x="1145" y="1231"/>
                </a:cubicBezTo>
                <a:cubicBezTo>
                  <a:pt x="1144" y="1231"/>
                  <a:pt x="1143" y="1231"/>
                  <a:pt x="1143" y="1230"/>
                </a:cubicBezTo>
                <a:cubicBezTo>
                  <a:pt x="1142" y="1230"/>
                  <a:pt x="1141" y="1230"/>
                  <a:pt x="1140" y="1229"/>
                </a:cubicBezTo>
                <a:cubicBezTo>
                  <a:pt x="1140" y="1229"/>
                  <a:pt x="1140" y="1229"/>
                  <a:pt x="1139" y="1229"/>
                </a:cubicBezTo>
                <a:cubicBezTo>
                  <a:pt x="1139" y="1229"/>
                  <a:pt x="1138" y="1229"/>
                  <a:pt x="1138" y="1229"/>
                </a:cubicBezTo>
                <a:cubicBezTo>
                  <a:pt x="1136" y="1229"/>
                  <a:pt x="1135" y="1229"/>
                  <a:pt x="1134" y="1229"/>
                </a:cubicBezTo>
                <a:cubicBezTo>
                  <a:pt x="1133" y="1229"/>
                  <a:pt x="1133" y="1228"/>
                  <a:pt x="1132" y="1228"/>
                </a:cubicBezTo>
                <a:cubicBezTo>
                  <a:pt x="1131" y="1228"/>
                  <a:pt x="1131" y="1228"/>
                  <a:pt x="1131" y="1229"/>
                </a:cubicBezTo>
                <a:cubicBezTo>
                  <a:pt x="1131" y="1229"/>
                  <a:pt x="1131" y="1229"/>
                  <a:pt x="1131" y="1229"/>
                </a:cubicBezTo>
                <a:cubicBezTo>
                  <a:pt x="1131" y="1230"/>
                  <a:pt x="1131" y="1230"/>
                  <a:pt x="1131" y="1230"/>
                </a:cubicBezTo>
                <a:cubicBezTo>
                  <a:pt x="1130" y="1230"/>
                  <a:pt x="1130" y="1230"/>
                  <a:pt x="1129" y="1230"/>
                </a:cubicBezTo>
                <a:cubicBezTo>
                  <a:pt x="1129" y="1229"/>
                  <a:pt x="1128" y="1229"/>
                  <a:pt x="1127" y="1229"/>
                </a:cubicBezTo>
                <a:cubicBezTo>
                  <a:pt x="1126" y="1229"/>
                  <a:pt x="1126" y="1229"/>
                  <a:pt x="1125" y="1229"/>
                </a:cubicBezTo>
                <a:cubicBezTo>
                  <a:pt x="1124" y="1229"/>
                  <a:pt x="1123" y="1229"/>
                  <a:pt x="1122" y="1230"/>
                </a:cubicBezTo>
                <a:cubicBezTo>
                  <a:pt x="1122" y="1230"/>
                  <a:pt x="1123" y="1231"/>
                  <a:pt x="1122" y="1232"/>
                </a:cubicBezTo>
                <a:cubicBezTo>
                  <a:pt x="1121" y="1232"/>
                  <a:pt x="1121" y="1231"/>
                  <a:pt x="1120" y="1231"/>
                </a:cubicBezTo>
                <a:cubicBezTo>
                  <a:pt x="1119" y="1230"/>
                  <a:pt x="1118" y="1230"/>
                  <a:pt x="1118" y="1230"/>
                </a:cubicBezTo>
                <a:cubicBezTo>
                  <a:pt x="1117" y="1230"/>
                  <a:pt x="1116" y="1229"/>
                  <a:pt x="1115" y="1229"/>
                </a:cubicBezTo>
                <a:cubicBezTo>
                  <a:pt x="1114" y="1229"/>
                  <a:pt x="1114" y="1229"/>
                  <a:pt x="1113" y="1229"/>
                </a:cubicBezTo>
                <a:cubicBezTo>
                  <a:pt x="1112" y="1229"/>
                  <a:pt x="1111" y="1229"/>
                  <a:pt x="1110" y="1229"/>
                </a:cubicBezTo>
                <a:cubicBezTo>
                  <a:pt x="1110" y="1229"/>
                  <a:pt x="1109" y="1229"/>
                  <a:pt x="1109" y="1230"/>
                </a:cubicBezTo>
                <a:cubicBezTo>
                  <a:pt x="1109" y="1230"/>
                  <a:pt x="1108" y="1230"/>
                  <a:pt x="1108" y="1230"/>
                </a:cubicBezTo>
                <a:cubicBezTo>
                  <a:pt x="1108" y="1230"/>
                  <a:pt x="1108" y="1228"/>
                  <a:pt x="1108" y="1228"/>
                </a:cubicBezTo>
                <a:cubicBezTo>
                  <a:pt x="1108" y="1227"/>
                  <a:pt x="1107" y="1226"/>
                  <a:pt x="1107" y="1226"/>
                </a:cubicBezTo>
                <a:cubicBezTo>
                  <a:pt x="1106" y="1225"/>
                  <a:pt x="1106" y="1225"/>
                  <a:pt x="1105" y="1225"/>
                </a:cubicBezTo>
                <a:cubicBezTo>
                  <a:pt x="1104" y="1225"/>
                  <a:pt x="1103" y="1225"/>
                  <a:pt x="1103" y="1224"/>
                </a:cubicBezTo>
                <a:cubicBezTo>
                  <a:pt x="1102" y="1224"/>
                  <a:pt x="1102" y="1223"/>
                  <a:pt x="1101" y="1222"/>
                </a:cubicBezTo>
                <a:cubicBezTo>
                  <a:pt x="1101" y="1222"/>
                  <a:pt x="1100" y="1221"/>
                  <a:pt x="1100" y="1220"/>
                </a:cubicBezTo>
                <a:cubicBezTo>
                  <a:pt x="1099" y="1220"/>
                  <a:pt x="1099" y="1220"/>
                  <a:pt x="1099" y="1220"/>
                </a:cubicBezTo>
                <a:cubicBezTo>
                  <a:pt x="1098" y="1219"/>
                  <a:pt x="1098" y="1220"/>
                  <a:pt x="1098" y="1219"/>
                </a:cubicBezTo>
                <a:cubicBezTo>
                  <a:pt x="1096" y="1219"/>
                  <a:pt x="1095" y="1217"/>
                  <a:pt x="1093" y="1219"/>
                </a:cubicBezTo>
                <a:cubicBezTo>
                  <a:pt x="1092" y="1220"/>
                  <a:pt x="1092" y="1222"/>
                  <a:pt x="1092" y="1223"/>
                </a:cubicBezTo>
                <a:cubicBezTo>
                  <a:pt x="1091" y="1223"/>
                  <a:pt x="1092" y="1222"/>
                  <a:pt x="1092" y="1222"/>
                </a:cubicBezTo>
                <a:cubicBezTo>
                  <a:pt x="1092" y="1221"/>
                  <a:pt x="1092" y="1220"/>
                  <a:pt x="1092" y="1219"/>
                </a:cubicBezTo>
                <a:cubicBezTo>
                  <a:pt x="1092" y="1219"/>
                  <a:pt x="1092" y="1219"/>
                  <a:pt x="1092" y="1218"/>
                </a:cubicBezTo>
                <a:cubicBezTo>
                  <a:pt x="1093" y="1218"/>
                  <a:pt x="1093" y="1217"/>
                  <a:pt x="1093" y="1217"/>
                </a:cubicBezTo>
                <a:cubicBezTo>
                  <a:pt x="1093" y="1216"/>
                  <a:pt x="1093" y="1215"/>
                  <a:pt x="1093" y="1214"/>
                </a:cubicBezTo>
                <a:cubicBezTo>
                  <a:pt x="1093" y="1213"/>
                  <a:pt x="1092" y="1212"/>
                  <a:pt x="1092" y="1211"/>
                </a:cubicBezTo>
                <a:cubicBezTo>
                  <a:pt x="1091" y="1210"/>
                  <a:pt x="1090" y="1209"/>
                  <a:pt x="1089" y="1208"/>
                </a:cubicBezTo>
                <a:cubicBezTo>
                  <a:pt x="1088" y="1207"/>
                  <a:pt x="1087" y="1206"/>
                  <a:pt x="1086" y="1205"/>
                </a:cubicBezTo>
                <a:cubicBezTo>
                  <a:pt x="1085" y="1205"/>
                  <a:pt x="1084" y="1204"/>
                  <a:pt x="1083" y="1204"/>
                </a:cubicBezTo>
                <a:cubicBezTo>
                  <a:pt x="1082" y="1203"/>
                  <a:pt x="1082" y="1203"/>
                  <a:pt x="1081" y="1202"/>
                </a:cubicBezTo>
                <a:cubicBezTo>
                  <a:pt x="1080" y="1202"/>
                  <a:pt x="1079" y="1202"/>
                  <a:pt x="1079" y="1201"/>
                </a:cubicBezTo>
                <a:cubicBezTo>
                  <a:pt x="1078" y="1201"/>
                  <a:pt x="1078" y="1200"/>
                  <a:pt x="1077" y="1200"/>
                </a:cubicBezTo>
                <a:cubicBezTo>
                  <a:pt x="1076" y="1200"/>
                  <a:pt x="1076" y="1199"/>
                  <a:pt x="1075" y="1199"/>
                </a:cubicBezTo>
                <a:cubicBezTo>
                  <a:pt x="1074" y="1198"/>
                  <a:pt x="1072" y="1198"/>
                  <a:pt x="1070" y="1198"/>
                </a:cubicBezTo>
                <a:cubicBezTo>
                  <a:pt x="1068" y="1198"/>
                  <a:pt x="1067" y="1200"/>
                  <a:pt x="1065" y="1200"/>
                </a:cubicBezTo>
                <a:cubicBezTo>
                  <a:pt x="1065" y="1200"/>
                  <a:pt x="1064" y="1200"/>
                  <a:pt x="1063" y="1200"/>
                </a:cubicBezTo>
                <a:cubicBezTo>
                  <a:pt x="1062" y="1200"/>
                  <a:pt x="1062" y="1201"/>
                  <a:pt x="1061" y="1201"/>
                </a:cubicBezTo>
                <a:cubicBezTo>
                  <a:pt x="1060" y="1201"/>
                  <a:pt x="1060" y="1200"/>
                  <a:pt x="1059" y="1200"/>
                </a:cubicBezTo>
                <a:cubicBezTo>
                  <a:pt x="1059" y="1200"/>
                  <a:pt x="1058" y="1199"/>
                  <a:pt x="1058" y="1199"/>
                </a:cubicBezTo>
                <a:cubicBezTo>
                  <a:pt x="1058" y="1199"/>
                  <a:pt x="1057" y="1199"/>
                  <a:pt x="1057" y="1198"/>
                </a:cubicBezTo>
                <a:cubicBezTo>
                  <a:pt x="1058" y="1198"/>
                  <a:pt x="1059" y="1198"/>
                  <a:pt x="1059" y="1198"/>
                </a:cubicBezTo>
                <a:cubicBezTo>
                  <a:pt x="1060" y="1198"/>
                  <a:pt x="1060" y="1198"/>
                  <a:pt x="1060" y="1199"/>
                </a:cubicBezTo>
                <a:cubicBezTo>
                  <a:pt x="1061" y="1199"/>
                  <a:pt x="1061" y="1199"/>
                  <a:pt x="1061" y="1199"/>
                </a:cubicBezTo>
                <a:cubicBezTo>
                  <a:pt x="1062" y="1199"/>
                  <a:pt x="1062" y="1198"/>
                  <a:pt x="1063" y="1197"/>
                </a:cubicBezTo>
                <a:cubicBezTo>
                  <a:pt x="1063" y="1197"/>
                  <a:pt x="1063" y="1197"/>
                  <a:pt x="1063" y="1196"/>
                </a:cubicBezTo>
                <a:cubicBezTo>
                  <a:pt x="1063" y="1196"/>
                  <a:pt x="1063" y="1195"/>
                  <a:pt x="1063" y="1195"/>
                </a:cubicBezTo>
                <a:cubicBezTo>
                  <a:pt x="1063" y="1194"/>
                  <a:pt x="1064" y="1192"/>
                  <a:pt x="1064" y="1192"/>
                </a:cubicBezTo>
                <a:cubicBezTo>
                  <a:pt x="1065" y="1192"/>
                  <a:pt x="1065" y="1192"/>
                  <a:pt x="1065" y="1191"/>
                </a:cubicBezTo>
                <a:cubicBezTo>
                  <a:pt x="1065" y="1191"/>
                  <a:pt x="1066" y="1191"/>
                  <a:pt x="1066" y="1191"/>
                </a:cubicBezTo>
                <a:cubicBezTo>
                  <a:pt x="1066" y="1191"/>
                  <a:pt x="1067" y="1191"/>
                  <a:pt x="1067" y="1190"/>
                </a:cubicBezTo>
                <a:cubicBezTo>
                  <a:pt x="1067" y="1190"/>
                  <a:pt x="1067" y="1190"/>
                  <a:pt x="1067" y="1190"/>
                </a:cubicBezTo>
                <a:cubicBezTo>
                  <a:pt x="1066" y="1189"/>
                  <a:pt x="1065" y="1189"/>
                  <a:pt x="1065" y="1189"/>
                </a:cubicBezTo>
                <a:cubicBezTo>
                  <a:pt x="1064" y="1188"/>
                  <a:pt x="1063" y="1188"/>
                  <a:pt x="1063" y="1187"/>
                </a:cubicBezTo>
                <a:cubicBezTo>
                  <a:pt x="1062" y="1187"/>
                  <a:pt x="1061" y="1186"/>
                  <a:pt x="1061" y="1186"/>
                </a:cubicBezTo>
                <a:cubicBezTo>
                  <a:pt x="1060" y="1185"/>
                  <a:pt x="1059" y="1185"/>
                  <a:pt x="1059" y="1184"/>
                </a:cubicBezTo>
                <a:cubicBezTo>
                  <a:pt x="1058" y="1184"/>
                  <a:pt x="1058" y="1184"/>
                  <a:pt x="1058" y="1184"/>
                </a:cubicBezTo>
                <a:cubicBezTo>
                  <a:pt x="1057" y="1184"/>
                  <a:pt x="1058" y="1184"/>
                  <a:pt x="1057" y="1185"/>
                </a:cubicBezTo>
                <a:cubicBezTo>
                  <a:pt x="1057" y="1185"/>
                  <a:pt x="1057" y="1185"/>
                  <a:pt x="1057" y="1185"/>
                </a:cubicBezTo>
                <a:cubicBezTo>
                  <a:pt x="1056" y="1186"/>
                  <a:pt x="1056" y="1186"/>
                  <a:pt x="1056" y="1186"/>
                </a:cubicBezTo>
                <a:cubicBezTo>
                  <a:pt x="1055" y="1187"/>
                  <a:pt x="1055" y="1186"/>
                  <a:pt x="1055" y="1186"/>
                </a:cubicBezTo>
                <a:cubicBezTo>
                  <a:pt x="1054" y="1185"/>
                  <a:pt x="1054" y="1184"/>
                  <a:pt x="1053" y="1184"/>
                </a:cubicBezTo>
                <a:cubicBezTo>
                  <a:pt x="1053" y="1184"/>
                  <a:pt x="1053" y="1183"/>
                  <a:pt x="1053" y="1183"/>
                </a:cubicBezTo>
                <a:cubicBezTo>
                  <a:pt x="1052" y="1183"/>
                  <a:pt x="1051" y="1183"/>
                  <a:pt x="1050" y="1183"/>
                </a:cubicBezTo>
                <a:cubicBezTo>
                  <a:pt x="1050" y="1184"/>
                  <a:pt x="1050" y="1185"/>
                  <a:pt x="1049" y="1185"/>
                </a:cubicBezTo>
                <a:cubicBezTo>
                  <a:pt x="1048" y="1185"/>
                  <a:pt x="1048" y="1183"/>
                  <a:pt x="1048" y="1183"/>
                </a:cubicBezTo>
                <a:cubicBezTo>
                  <a:pt x="1048" y="1182"/>
                  <a:pt x="1048" y="1181"/>
                  <a:pt x="1047" y="1181"/>
                </a:cubicBezTo>
                <a:cubicBezTo>
                  <a:pt x="1046" y="1181"/>
                  <a:pt x="1046" y="1181"/>
                  <a:pt x="1046" y="1181"/>
                </a:cubicBezTo>
                <a:cubicBezTo>
                  <a:pt x="1045" y="1181"/>
                  <a:pt x="1045" y="1181"/>
                  <a:pt x="1045" y="1180"/>
                </a:cubicBezTo>
                <a:cubicBezTo>
                  <a:pt x="1045" y="1180"/>
                  <a:pt x="1045" y="1179"/>
                  <a:pt x="1044" y="1179"/>
                </a:cubicBezTo>
                <a:cubicBezTo>
                  <a:pt x="1043" y="1179"/>
                  <a:pt x="1043" y="1178"/>
                  <a:pt x="1043" y="1178"/>
                </a:cubicBezTo>
                <a:cubicBezTo>
                  <a:pt x="1043" y="1177"/>
                  <a:pt x="1042" y="1177"/>
                  <a:pt x="1043" y="1176"/>
                </a:cubicBezTo>
                <a:cubicBezTo>
                  <a:pt x="1043" y="1176"/>
                  <a:pt x="1044" y="1176"/>
                  <a:pt x="1044" y="1176"/>
                </a:cubicBezTo>
                <a:cubicBezTo>
                  <a:pt x="1044" y="1176"/>
                  <a:pt x="1045" y="1176"/>
                  <a:pt x="1045" y="1176"/>
                </a:cubicBezTo>
                <a:cubicBezTo>
                  <a:pt x="1046" y="1176"/>
                  <a:pt x="1047" y="1177"/>
                  <a:pt x="1047" y="1177"/>
                </a:cubicBezTo>
                <a:cubicBezTo>
                  <a:pt x="1048" y="1177"/>
                  <a:pt x="1049" y="1176"/>
                  <a:pt x="1050" y="1176"/>
                </a:cubicBezTo>
                <a:cubicBezTo>
                  <a:pt x="1051" y="1176"/>
                  <a:pt x="1051" y="1175"/>
                  <a:pt x="1052" y="1175"/>
                </a:cubicBezTo>
                <a:cubicBezTo>
                  <a:pt x="1053" y="1175"/>
                  <a:pt x="1054" y="1175"/>
                  <a:pt x="1054" y="1174"/>
                </a:cubicBezTo>
                <a:cubicBezTo>
                  <a:pt x="1054" y="1174"/>
                  <a:pt x="1054" y="1174"/>
                  <a:pt x="1054" y="1174"/>
                </a:cubicBezTo>
                <a:cubicBezTo>
                  <a:pt x="1053" y="1174"/>
                  <a:pt x="1052" y="1174"/>
                  <a:pt x="1051" y="1174"/>
                </a:cubicBezTo>
                <a:cubicBezTo>
                  <a:pt x="1050" y="1174"/>
                  <a:pt x="1050" y="1174"/>
                  <a:pt x="1049" y="1174"/>
                </a:cubicBezTo>
                <a:cubicBezTo>
                  <a:pt x="1047" y="1174"/>
                  <a:pt x="1045" y="1174"/>
                  <a:pt x="1043" y="1174"/>
                </a:cubicBezTo>
                <a:cubicBezTo>
                  <a:pt x="1041" y="1174"/>
                  <a:pt x="1039" y="1174"/>
                  <a:pt x="1038" y="1175"/>
                </a:cubicBezTo>
                <a:cubicBezTo>
                  <a:pt x="1037" y="1175"/>
                  <a:pt x="1036" y="1175"/>
                  <a:pt x="1035" y="1175"/>
                </a:cubicBezTo>
                <a:cubicBezTo>
                  <a:pt x="1035" y="1175"/>
                  <a:pt x="1034" y="1175"/>
                  <a:pt x="1034" y="1175"/>
                </a:cubicBezTo>
                <a:cubicBezTo>
                  <a:pt x="1034" y="1175"/>
                  <a:pt x="1034" y="1175"/>
                  <a:pt x="1033" y="1175"/>
                </a:cubicBezTo>
                <a:cubicBezTo>
                  <a:pt x="1033" y="1174"/>
                  <a:pt x="1033" y="1175"/>
                  <a:pt x="1032" y="1174"/>
                </a:cubicBezTo>
                <a:cubicBezTo>
                  <a:pt x="1032" y="1174"/>
                  <a:pt x="1032" y="1174"/>
                  <a:pt x="1032" y="1174"/>
                </a:cubicBezTo>
                <a:cubicBezTo>
                  <a:pt x="1031" y="1175"/>
                  <a:pt x="1032" y="1175"/>
                  <a:pt x="1032" y="1175"/>
                </a:cubicBezTo>
                <a:cubicBezTo>
                  <a:pt x="1031" y="1176"/>
                  <a:pt x="1029" y="1175"/>
                  <a:pt x="1029" y="1175"/>
                </a:cubicBezTo>
                <a:cubicBezTo>
                  <a:pt x="1029" y="1175"/>
                  <a:pt x="1028" y="1175"/>
                  <a:pt x="1028" y="1175"/>
                </a:cubicBezTo>
                <a:cubicBezTo>
                  <a:pt x="1028" y="1175"/>
                  <a:pt x="1027" y="1175"/>
                  <a:pt x="1027" y="1175"/>
                </a:cubicBezTo>
                <a:cubicBezTo>
                  <a:pt x="1026" y="1175"/>
                  <a:pt x="1027" y="1176"/>
                  <a:pt x="1027" y="1176"/>
                </a:cubicBezTo>
                <a:cubicBezTo>
                  <a:pt x="1028" y="1176"/>
                  <a:pt x="1028" y="1176"/>
                  <a:pt x="1028" y="1176"/>
                </a:cubicBezTo>
                <a:cubicBezTo>
                  <a:pt x="1029" y="1177"/>
                  <a:pt x="1029" y="1177"/>
                  <a:pt x="1030" y="1177"/>
                </a:cubicBezTo>
                <a:cubicBezTo>
                  <a:pt x="1030" y="1177"/>
                  <a:pt x="1030" y="1177"/>
                  <a:pt x="1031" y="1177"/>
                </a:cubicBezTo>
                <a:cubicBezTo>
                  <a:pt x="1031" y="1177"/>
                  <a:pt x="1032" y="1176"/>
                  <a:pt x="1032" y="1177"/>
                </a:cubicBezTo>
                <a:cubicBezTo>
                  <a:pt x="1033" y="1177"/>
                  <a:pt x="1031" y="1178"/>
                  <a:pt x="1031" y="1178"/>
                </a:cubicBezTo>
                <a:cubicBezTo>
                  <a:pt x="1030" y="1178"/>
                  <a:pt x="1028" y="1178"/>
                  <a:pt x="1027" y="1178"/>
                </a:cubicBezTo>
                <a:cubicBezTo>
                  <a:pt x="1027" y="1178"/>
                  <a:pt x="1026" y="1179"/>
                  <a:pt x="1025" y="1179"/>
                </a:cubicBezTo>
                <a:cubicBezTo>
                  <a:pt x="1025" y="1179"/>
                  <a:pt x="1024" y="1179"/>
                  <a:pt x="1023" y="1180"/>
                </a:cubicBezTo>
                <a:cubicBezTo>
                  <a:pt x="1022" y="1180"/>
                  <a:pt x="1022" y="1181"/>
                  <a:pt x="1021" y="1181"/>
                </a:cubicBezTo>
                <a:cubicBezTo>
                  <a:pt x="1020" y="1182"/>
                  <a:pt x="1018" y="1182"/>
                  <a:pt x="1017" y="1181"/>
                </a:cubicBezTo>
                <a:cubicBezTo>
                  <a:pt x="1016" y="1181"/>
                  <a:pt x="1015" y="1181"/>
                  <a:pt x="1014" y="1181"/>
                </a:cubicBezTo>
                <a:cubicBezTo>
                  <a:pt x="1013" y="1181"/>
                  <a:pt x="1012" y="1181"/>
                  <a:pt x="1012" y="1181"/>
                </a:cubicBezTo>
                <a:cubicBezTo>
                  <a:pt x="1011" y="1181"/>
                  <a:pt x="1010" y="1180"/>
                  <a:pt x="1010" y="1180"/>
                </a:cubicBezTo>
                <a:cubicBezTo>
                  <a:pt x="1009" y="1180"/>
                  <a:pt x="1009" y="1179"/>
                  <a:pt x="1009" y="1179"/>
                </a:cubicBezTo>
                <a:cubicBezTo>
                  <a:pt x="1009" y="1179"/>
                  <a:pt x="1008" y="1179"/>
                  <a:pt x="1008" y="1179"/>
                </a:cubicBezTo>
                <a:cubicBezTo>
                  <a:pt x="1007" y="1178"/>
                  <a:pt x="1007" y="1176"/>
                  <a:pt x="1006" y="1175"/>
                </a:cubicBezTo>
                <a:cubicBezTo>
                  <a:pt x="1005" y="1175"/>
                  <a:pt x="1004" y="1175"/>
                  <a:pt x="1003" y="1175"/>
                </a:cubicBezTo>
                <a:cubicBezTo>
                  <a:pt x="1001" y="1175"/>
                  <a:pt x="999" y="1175"/>
                  <a:pt x="998" y="1175"/>
                </a:cubicBezTo>
                <a:cubicBezTo>
                  <a:pt x="996" y="1176"/>
                  <a:pt x="994" y="1176"/>
                  <a:pt x="992" y="1176"/>
                </a:cubicBezTo>
                <a:cubicBezTo>
                  <a:pt x="990" y="1176"/>
                  <a:pt x="989" y="1177"/>
                  <a:pt x="987" y="1177"/>
                </a:cubicBezTo>
                <a:cubicBezTo>
                  <a:pt x="986" y="1177"/>
                  <a:pt x="986" y="1177"/>
                  <a:pt x="986" y="1177"/>
                </a:cubicBezTo>
                <a:cubicBezTo>
                  <a:pt x="985" y="1177"/>
                  <a:pt x="985" y="1177"/>
                  <a:pt x="984" y="1177"/>
                </a:cubicBezTo>
                <a:cubicBezTo>
                  <a:pt x="984" y="1176"/>
                  <a:pt x="983" y="1176"/>
                  <a:pt x="983" y="1176"/>
                </a:cubicBezTo>
                <a:cubicBezTo>
                  <a:pt x="982" y="1175"/>
                  <a:pt x="981" y="1174"/>
                  <a:pt x="981" y="1174"/>
                </a:cubicBezTo>
                <a:cubicBezTo>
                  <a:pt x="981" y="1173"/>
                  <a:pt x="981" y="1172"/>
                  <a:pt x="981" y="1171"/>
                </a:cubicBezTo>
                <a:cubicBezTo>
                  <a:pt x="981" y="1171"/>
                  <a:pt x="981" y="1170"/>
                  <a:pt x="980" y="1170"/>
                </a:cubicBezTo>
                <a:cubicBezTo>
                  <a:pt x="979" y="1169"/>
                  <a:pt x="978" y="1167"/>
                  <a:pt x="977" y="1167"/>
                </a:cubicBezTo>
                <a:cubicBezTo>
                  <a:pt x="976" y="1167"/>
                  <a:pt x="975" y="1166"/>
                  <a:pt x="974" y="1166"/>
                </a:cubicBezTo>
                <a:cubicBezTo>
                  <a:pt x="973" y="1166"/>
                  <a:pt x="972" y="1166"/>
                  <a:pt x="972" y="1166"/>
                </a:cubicBezTo>
                <a:cubicBezTo>
                  <a:pt x="971" y="1166"/>
                  <a:pt x="970" y="1165"/>
                  <a:pt x="969" y="1165"/>
                </a:cubicBezTo>
                <a:cubicBezTo>
                  <a:pt x="968" y="1165"/>
                  <a:pt x="966" y="1166"/>
                  <a:pt x="965" y="1165"/>
                </a:cubicBezTo>
                <a:cubicBezTo>
                  <a:pt x="964" y="1164"/>
                  <a:pt x="964" y="1162"/>
                  <a:pt x="964" y="1160"/>
                </a:cubicBezTo>
                <a:cubicBezTo>
                  <a:pt x="963" y="1160"/>
                  <a:pt x="963" y="1160"/>
                  <a:pt x="963" y="1159"/>
                </a:cubicBezTo>
                <a:cubicBezTo>
                  <a:pt x="963" y="1159"/>
                  <a:pt x="963" y="1158"/>
                  <a:pt x="963" y="1158"/>
                </a:cubicBezTo>
                <a:cubicBezTo>
                  <a:pt x="963" y="1157"/>
                  <a:pt x="962" y="1157"/>
                  <a:pt x="961" y="1157"/>
                </a:cubicBezTo>
                <a:cubicBezTo>
                  <a:pt x="960" y="1157"/>
                  <a:pt x="960" y="1158"/>
                  <a:pt x="959" y="1159"/>
                </a:cubicBezTo>
                <a:cubicBezTo>
                  <a:pt x="959" y="1159"/>
                  <a:pt x="958" y="1160"/>
                  <a:pt x="958" y="1160"/>
                </a:cubicBezTo>
                <a:cubicBezTo>
                  <a:pt x="959" y="1161"/>
                  <a:pt x="959" y="1161"/>
                  <a:pt x="959" y="1162"/>
                </a:cubicBezTo>
                <a:cubicBezTo>
                  <a:pt x="959" y="1162"/>
                  <a:pt x="959" y="1162"/>
                  <a:pt x="959" y="1163"/>
                </a:cubicBezTo>
                <a:cubicBezTo>
                  <a:pt x="959" y="1163"/>
                  <a:pt x="960" y="1163"/>
                  <a:pt x="960" y="1163"/>
                </a:cubicBezTo>
                <a:cubicBezTo>
                  <a:pt x="960" y="1164"/>
                  <a:pt x="960" y="1164"/>
                  <a:pt x="960" y="1164"/>
                </a:cubicBezTo>
                <a:cubicBezTo>
                  <a:pt x="961" y="1165"/>
                  <a:pt x="961" y="1164"/>
                  <a:pt x="962" y="1164"/>
                </a:cubicBezTo>
                <a:cubicBezTo>
                  <a:pt x="962" y="1163"/>
                  <a:pt x="963" y="1163"/>
                  <a:pt x="964" y="1163"/>
                </a:cubicBezTo>
                <a:cubicBezTo>
                  <a:pt x="964" y="1163"/>
                  <a:pt x="964" y="1163"/>
                  <a:pt x="964" y="1164"/>
                </a:cubicBezTo>
                <a:cubicBezTo>
                  <a:pt x="964" y="1164"/>
                  <a:pt x="965" y="1165"/>
                  <a:pt x="964" y="1165"/>
                </a:cubicBezTo>
                <a:cubicBezTo>
                  <a:pt x="963" y="1165"/>
                  <a:pt x="962" y="1165"/>
                  <a:pt x="962" y="1165"/>
                </a:cubicBezTo>
                <a:cubicBezTo>
                  <a:pt x="961" y="1166"/>
                  <a:pt x="960" y="1166"/>
                  <a:pt x="960" y="1166"/>
                </a:cubicBezTo>
                <a:cubicBezTo>
                  <a:pt x="958" y="1167"/>
                  <a:pt x="956" y="1167"/>
                  <a:pt x="955" y="1168"/>
                </a:cubicBezTo>
                <a:cubicBezTo>
                  <a:pt x="954" y="1168"/>
                  <a:pt x="953" y="1168"/>
                  <a:pt x="952" y="1168"/>
                </a:cubicBezTo>
                <a:cubicBezTo>
                  <a:pt x="952" y="1169"/>
                  <a:pt x="951" y="1169"/>
                  <a:pt x="950" y="1169"/>
                </a:cubicBezTo>
                <a:cubicBezTo>
                  <a:pt x="950" y="1170"/>
                  <a:pt x="949" y="1170"/>
                  <a:pt x="949" y="1170"/>
                </a:cubicBezTo>
                <a:cubicBezTo>
                  <a:pt x="948" y="1171"/>
                  <a:pt x="948" y="1171"/>
                  <a:pt x="947" y="1171"/>
                </a:cubicBezTo>
                <a:cubicBezTo>
                  <a:pt x="946" y="1171"/>
                  <a:pt x="945" y="1171"/>
                  <a:pt x="945" y="1171"/>
                </a:cubicBezTo>
                <a:cubicBezTo>
                  <a:pt x="944" y="1172"/>
                  <a:pt x="944" y="1172"/>
                  <a:pt x="944" y="1173"/>
                </a:cubicBezTo>
                <a:cubicBezTo>
                  <a:pt x="944" y="1174"/>
                  <a:pt x="944" y="1175"/>
                  <a:pt x="944" y="1176"/>
                </a:cubicBezTo>
                <a:cubicBezTo>
                  <a:pt x="945" y="1177"/>
                  <a:pt x="945" y="1178"/>
                  <a:pt x="946" y="1180"/>
                </a:cubicBezTo>
                <a:cubicBezTo>
                  <a:pt x="946" y="1181"/>
                  <a:pt x="947" y="1181"/>
                  <a:pt x="947" y="1182"/>
                </a:cubicBezTo>
                <a:cubicBezTo>
                  <a:pt x="948" y="1183"/>
                  <a:pt x="948" y="1183"/>
                  <a:pt x="948" y="1184"/>
                </a:cubicBezTo>
                <a:cubicBezTo>
                  <a:pt x="948" y="1185"/>
                  <a:pt x="948" y="1185"/>
                  <a:pt x="949" y="1186"/>
                </a:cubicBezTo>
                <a:cubicBezTo>
                  <a:pt x="949" y="1187"/>
                  <a:pt x="950" y="1187"/>
                  <a:pt x="950" y="1188"/>
                </a:cubicBezTo>
                <a:cubicBezTo>
                  <a:pt x="949" y="1189"/>
                  <a:pt x="949" y="1190"/>
                  <a:pt x="949" y="1190"/>
                </a:cubicBezTo>
                <a:cubicBezTo>
                  <a:pt x="948" y="1191"/>
                  <a:pt x="948" y="1192"/>
                  <a:pt x="947" y="1192"/>
                </a:cubicBezTo>
                <a:cubicBezTo>
                  <a:pt x="946" y="1193"/>
                  <a:pt x="945" y="1194"/>
                  <a:pt x="943" y="1193"/>
                </a:cubicBezTo>
                <a:cubicBezTo>
                  <a:pt x="942" y="1193"/>
                  <a:pt x="942" y="1192"/>
                  <a:pt x="942" y="1191"/>
                </a:cubicBezTo>
                <a:cubicBezTo>
                  <a:pt x="942" y="1191"/>
                  <a:pt x="942" y="1190"/>
                  <a:pt x="941" y="1189"/>
                </a:cubicBezTo>
                <a:cubicBezTo>
                  <a:pt x="941" y="1189"/>
                  <a:pt x="940" y="1189"/>
                  <a:pt x="940" y="1188"/>
                </a:cubicBezTo>
                <a:cubicBezTo>
                  <a:pt x="939" y="1188"/>
                  <a:pt x="939" y="1187"/>
                  <a:pt x="938" y="1186"/>
                </a:cubicBezTo>
                <a:cubicBezTo>
                  <a:pt x="938" y="1186"/>
                  <a:pt x="937" y="1185"/>
                  <a:pt x="938" y="1184"/>
                </a:cubicBezTo>
                <a:cubicBezTo>
                  <a:pt x="938" y="1184"/>
                  <a:pt x="939" y="1183"/>
                  <a:pt x="939" y="1182"/>
                </a:cubicBezTo>
                <a:cubicBezTo>
                  <a:pt x="939" y="1182"/>
                  <a:pt x="940" y="1181"/>
                  <a:pt x="940" y="1180"/>
                </a:cubicBezTo>
                <a:cubicBezTo>
                  <a:pt x="941" y="1180"/>
                  <a:pt x="941" y="1179"/>
                  <a:pt x="942" y="1179"/>
                </a:cubicBezTo>
                <a:cubicBezTo>
                  <a:pt x="942" y="1178"/>
                  <a:pt x="942" y="1178"/>
                  <a:pt x="943" y="1177"/>
                </a:cubicBezTo>
                <a:cubicBezTo>
                  <a:pt x="943" y="1176"/>
                  <a:pt x="943" y="1176"/>
                  <a:pt x="943" y="1175"/>
                </a:cubicBezTo>
                <a:cubicBezTo>
                  <a:pt x="943" y="1174"/>
                  <a:pt x="943" y="1174"/>
                  <a:pt x="943" y="1174"/>
                </a:cubicBezTo>
                <a:cubicBezTo>
                  <a:pt x="942" y="1173"/>
                  <a:pt x="943" y="1173"/>
                  <a:pt x="943" y="1172"/>
                </a:cubicBezTo>
                <a:cubicBezTo>
                  <a:pt x="943" y="1172"/>
                  <a:pt x="942" y="1172"/>
                  <a:pt x="942" y="1171"/>
                </a:cubicBezTo>
                <a:cubicBezTo>
                  <a:pt x="943" y="1171"/>
                  <a:pt x="943" y="1171"/>
                  <a:pt x="943" y="1170"/>
                </a:cubicBezTo>
                <a:cubicBezTo>
                  <a:pt x="942" y="1170"/>
                  <a:pt x="942" y="1170"/>
                  <a:pt x="942" y="1170"/>
                </a:cubicBezTo>
                <a:cubicBezTo>
                  <a:pt x="942" y="1169"/>
                  <a:pt x="941" y="1169"/>
                  <a:pt x="941" y="1169"/>
                </a:cubicBezTo>
                <a:cubicBezTo>
                  <a:pt x="941" y="1168"/>
                  <a:pt x="940" y="1168"/>
                  <a:pt x="940" y="1167"/>
                </a:cubicBezTo>
                <a:cubicBezTo>
                  <a:pt x="939" y="1167"/>
                  <a:pt x="939" y="1166"/>
                  <a:pt x="939" y="1165"/>
                </a:cubicBezTo>
                <a:cubicBezTo>
                  <a:pt x="939" y="1164"/>
                  <a:pt x="940" y="1164"/>
                  <a:pt x="941" y="1164"/>
                </a:cubicBezTo>
                <a:cubicBezTo>
                  <a:pt x="942" y="1163"/>
                  <a:pt x="943" y="1163"/>
                  <a:pt x="945" y="1162"/>
                </a:cubicBezTo>
                <a:cubicBezTo>
                  <a:pt x="945" y="1162"/>
                  <a:pt x="946" y="1161"/>
                  <a:pt x="946" y="1161"/>
                </a:cubicBezTo>
                <a:cubicBezTo>
                  <a:pt x="947" y="1160"/>
                  <a:pt x="948" y="1161"/>
                  <a:pt x="948" y="1160"/>
                </a:cubicBezTo>
                <a:cubicBezTo>
                  <a:pt x="949" y="1159"/>
                  <a:pt x="949" y="1159"/>
                  <a:pt x="949" y="1158"/>
                </a:cubicBezTo>
                <a:cubicBezTo>
                  <a:pt x="948" y="1157"/>
                  <a:pt x="948" y="1157"/>
                  <a:pt x="948" y="1156"/>
                </a:cubicBezTo>
                <a:cubicBezTo>
                  <a:pt x="946" y="1155"/>
                  <a:pt x="945" y="1154"/>
                  <a:pt x="943" y="1154"/>
                </a:cubicBezTo>
                <a:cubicBezTo>
                  <a:pt x="943" y="1154"/>
                  <a:pt x="942" y="1154"/>
                  <a:pt x="941" y="1155"/>
                </a:cubicBezTo>
                <a:cubicBezTo>
                  <a:pt x="940" y="1155"/>
                  <a:pt x="940" y="1155"/>
                  <a:pt x="939" y="1156"/>
                </a:cubicBezTo>
                <a:cubicBezTo>
                  <a:pt x="938" y="1156"/>
                  <a:pt x="938" y="1156"/>
                  <a:pt x="937" y="1157"/>
                </a:cubicBezTo>
                <a:cubicBezTo>
                  <a:pt x="937" y="1157"/>
                  <a:pt x="936" y="1158"/>
                  <a:pt x="936" y="1158"/>
                </a:cubicBezTo>
                <a:cubicBezTo>
                  <a:pt x="936" y="1158"/>
                  <a:pt x="936" y="1159"/>
                  <a:pt x="936" y="1159"/>
                </a:cubicBezTo>
                <a:cubicBezTo>
                  <a:pt x="935" y="1160"/>
                  <a:pt x="935" y="1160"/>
                  <a:pt x="934" y="1161"/>
                </a:cubicBezTo>
                <a:cubicBezTo>
                  <a:pt x="934" y="1161"/>
                  <a:pt x="933" y="1162"/>
                  <a:pt x="933" y="1162"/>
                </a:cubicBezTo>
                <a:cubicBezTo>
                  <a:pt x="932" y="1163"/>
                  <a:pt x="931" y="1163"/>
                  <a:pt x="930" y="1163"/>
                </a:cubicBezTo>
                <a:cubicBezTo>
                  <a:pt x="930" y="1163"/>
                  <a:pt x="929" y="1164"/>
                  <a:pt x="929" y="1164"/>
                </a:cubicBezTo>
                <a:cubicBezTo>
                  <a:pt x="928" y="1164"/>
                  <a:pt x="928" y="1165"/>
                  <a:pt x="927" y="1165"/>
                </a:cubicBezTo>
                <a:cubicBezTo>
                  <a:pt x="926" y="1166"/>
                  <a:pt x="926" y="1167"/>
                  <a:pt x="925" y="1167"/>
                </a:cubicBezTo>
                <a:cubicBezTo>
                  <a:pt x="924" y="1168"/>
                  <a:pt x="923" y="1168"/>
                  <a:pt x="922" y="1168"/>
                </a:cubicBezTo>
                <a:cubicBezTo>
                  <a:pt x="922" y="1168"/>
                  <a:pt x="922" y="1168"/>
                  <a:pt x="921" y="1168"/>
                </a:cubicBezTo>
                <a:cubicBezTo>
                  <a:pt x="921" y="1168"/>
                  <a:pt x="920" y="1168"/>
                  <a:pt x="920" y="1168"/>
                </a:cubicBezTo>
                <a:cubicBezTo>
                  <a:pt x="919" y="1168"/>
                  <a:pt x="918" y="1168"/>
                  <a:pt x="918" y="1168"/>
                </a:cubicBezTo>
                <a:cubicBezTo>
                  <a:pt x="917" y="1168"/>
                  <a:pt x="917" y="1168"/>
                  <a:pt x="917" y="1167"/>
                </a:cubicBezTo>
                <a:cubicBezTo>
                  <a:pt x="916" y="1167"/>
                  <a:pt x="916" y="1167"/>
                  <a:pt x="916" y="1167"/>
                </a:cubicBezTo>
                <a:cubicBezTo>
                  <a:pt x="915" y="1167"/>
                  <a:pt x="914" y="1168"/>
                  <a:pt x="914" y="1168"/>
                </a:cubicBezTo>
                <a:cubicBezTo>
                  <a:pt x="914" y="1169"/>
                  <a:pt x="914" y="1170"/>
                  <a:pt x="913" y="1171"/>
                </a:cubicBezTo>
                <a:cubicBezTo>
                  <a:pt x="912" y="1171"/>
                  <a:pt x="911" y="1171"/>
                  <a:pt x="911" y="1171"/>
                </a:cubicBezTo>
                <a:cubicBezTo>
                  <a:pt x="910" y="1171"/>
                  <a:pt x="909" y="1171"/>
                  <a:pt x="909" y="1170"/>
                </a:cubicBezTo>
                <a:cubicBezTo>
                  <a:pt x="908" y="1170"/>
                  <a:pt x="907" y="1170"/>
                  <a:pt x="906" y="1170"/>
                </a:cubicBezTo>
                <a:cubicBezTo>
                  <a:pt x="906" y="1170"/>
                  <a:pt x="905" y="1171"/>
                  <a:pt x="905" y="1171"/>
                </a:cubicBezTo>
                <a:cubicBezTo>
                  <a:pt x="904" y="1171"/>
                  <a:pt x="904" y="1172"/>
                  <a:pt x="904" y="1172"/>
                </a:cubicBezTo>
                <a:cubicBezTo>
                  <a:pt x="904" y="1172"/>
                  <a:pt x="903" y="1172"/>
                  <a:pt x="903" y="1173"/>
                </a:cubicBezTo>
                <a:cubicBezTo>
                  <a:pt x="903" y="1173"/>
                  <a:pt x="903" y="1173"/>
                  <a:pt x="902" y="1174"/>
                </a:cubicBezTo>
                <a:cubicBezTo>
                  <a:pt x="902" y="1174"/>
                  <a:pt x="902" y="1174"/>
                  <a:pt x="902" y="1174"/>
                </a:cubicBezTo>
                <a:cubicBezTo>
                  <a:pt x="901" y="1175"/>
                  <a:pt x="900" y="1175"/>
                  <a:pt x="899" y="1175"/>
                </a:cubicBezTo>
                <a:cubicBezTo>
                  <a:pt x="899" y="1176"/>
                  <a:pt x="898" y="1177"/>
                  <a:pt x="898" y="1177"/>
                </a:cubicBezTo>
                <a:cubicBezTo>
                  <a:pt x="898" y="1178"/>
                  <a:pt x="898" y="1178"/>
                  <a:pt x="898" y="1178"/>
                </a:cubicBezTo>
                <a:cubicBezTo>
                  <a:pt x="897" y="1179"/>
                  <a:pt x="897" y="1180"/>
                  <a:pt x="897" y="1180"/>
                </a:cubicBezTo>
                <a:cubicBezTo>
                  <a:pt x="897" y="1181"/>
                  <a:pt x="897" y="1180"/>
                  <a:pt x="898" y="1180"/>
                </a:cubicBezTo>
                <a:cubicBezTo>
                  <a:pt x="898" y="1182"/>
                  <a:pt x="898" y="1183"/>
                  <a:pt x="897" y="1184"/>
                </a:cubicBezTo>
                <a:cubicBezTo>
                  <a:pt x="897" y="1185"/>
                  <a:pt x="896" y="1185"/>
                  <a:pt x="897" y="1186"/>
                </a:cubicBezTo>
                <a:cubicBezTo>
                  <a:pt x="898" y="1186"/>
                  <a:pt x="898" y="1186"/>
                  <a:pt x="898" y="1187"/>
                </a:cubicBezTo>
                <a:cubicBezTo>
                  <a:pt x="898" y="1187"/>
                  <a:pt x="898" y="1188"/>
                  <a:pt x="897" y="1188"/>
                </a:cubicBezTo>
                <a:cubicBezTo>
                  <a:pt x="897" y="1189"/>
                  <a:pt x="896" y="1189"/>
                  <a:pt x="895" y="1189"/>
                </a:cubicBezTo>
                <a:cubicBezTo>
                  <a:pt x="895" y="1189"/>
                  <a:pt x="894" y="1189"/>
                  <a:pt x="893" y="1190"/>
                </a:cubicBezTo>
                <a:cubicBezTo>
                  <a:pt x="892" y="1190"/>
                  <a:pt x="892" y="1190"/>
                  <a:pt x="891" y="1191"/>
                </a:cubicBezTo>
                <a:cubicBezTo>
                  <a:pt x="890" y="1192"/>
                  <a:pt x="891" y="1194"/>
                  <a:pt x="889" y="1195"/>
                </a:cubicBezTo>
                <a:cubicBezTo>
                  <a:pt x="889" y="1196"/>
                  <a:pt x="888" y="1196"/>
                  <a:pt x="887" y="1196"/>
                </a:cubicBezTo>
                <a:cubicBezTo>
                  <a:pt x="887" y="1197"/>
                  <a:pt x="886" y="1197"/>
                  <a:pt x="885" y="1198"/>
                </a:cubicBezTo>
                <a:cubicBezTo>
                  <a:pt x="885" y="1198"/>
                  <a:pt x="884" y="1198"/>
                  <a:pt x="883" y="1198"/>
                </a:cubicBezTo>
                <a:cubicBezTo>
                  <a:pt x="882" y="1199"/>
                  <a:pt x="883" y="1200"/>
                  <a:pt x="883" y="1200"/>
                </a:cubicBezTo>
                <a:cubicBezTo>
                  <a:pt x="884" y="1201"/>
                  <a:pt x="884" y="1202"/>
                  <a:pt x="884" y="1202"/>
                </a:cubicBezTo>
                <a:cubicBezTo>
                  <a:pt x="885" y="1203"/>
                  <a:pt x="885" y="1204"/>
                  <a:pt x="885" y="1204"/>
                </a:cubicBezTo>
                <a:cubicBezTo>
                  <a:pt x="885" y="1205"/>
                  <a:pt x="885" y="1206"/>
                  <a:pt x="884" y="1206"/>
                </a:cubicBezTo>
                <a:cubicBezTo>
                  <a:pt x="884" y="1206"/>
                  <a:pt x="883" y="1205"/>
                  <a:pt x="883" y="1205"/>
                </a:cubicBezTo>
                <a:cubicBezTo>
                  <a:pt x="883" y="1204"/>
                  <a:pt x="882" y="1203"/>
                  <a:pt x="882" y="1203"/>
                </a:cubicBezTo>
                <a:cubicBezTo>
                  <a:pt x="881" y="1202"/>
                  <a:pt x="881" y="1202"/>
                  <a:pt x="880" y="1201"/>
                </a:cubicBezTo>
                <a:cubicBezTo>
                  <a:pt x="880" y="1200"/>
                  <a:pt x="880" y="1199"/>
                  <a:pt x="879" y="1199"/>
                </a:cubicBezTo>
                <a:cubicBezTo>
                  <a:pt x="879" y="1198"/>
                  <a:pt x="878" y="1198"/>
                  <a:pt x="877" y="1198"/>
                </a:cubicBezTo>
                <a:cubicBezTo>
                  <a:pt x="875" y="1198"/>
                  <a:pt x="875" y="1196"/>
                  <a:pt x="874" y="1195"/>
                </a:cubicBezTo>
                <a:cubicBezTo>
                  <a:pt x="873" y="1194"/>
                  <a:pt x="873" y="1194"/>
                  <a:pt x="872" y="1193"/>
                </a:cubicBezTo>
                <a:cubicBezTo>
                  <a:pt x="872" y="1192"/>
                  <a:pt x="870" y="1192"/>
                  <a:pt x="869" y="1192"/>
                </a:cubicBezTo>
                <a:cubicBezTo>
                  <a:pt x="868" y="1191"/>
                  <a:pt x="867" y="1191"/>
                  <a:pt x="866" y="1191"/>
                </a:cubicBezTo>
                <a:cubicBezTo>
                  <a:pt x="864" y="1190"/>
                  <a:pt x="861" y="1189"/>
                  <a:pt x="859" y="1188"/>
                </a:cubicBezTo>
                <a:cubicBezTo>
                  <a:pt x="858" y="1188"/>
                  <a:pt x="858" y="1188"/>
                  <a:pt x="857" y="1187"/>
                </a:cubicBezTo>
                <a:cubicBezTo>
                  <a:pt x="856" y="1187"/>
                  <a:pt x="855" y="1187"/>
                  <a:pt x="854" y="1187"/>
                </a:cubicBezTo>
                <a:cubicBezTo>
                  <a:pt x="853" y="1188"/>
                  <a:pt x="852" y="1188"/>
                  <a:pt x="851" y="1188"/>
                </a:cubicBezTo>
                <a:cubicBezTo>
                  <a:pt x="850" y="1189"/>
                  <a:pt x="849" y="1189"/>
                  <a:pt x="849" y="1190"/>
                </a:cubicBezTo>
                <a:cubicBezTo>
                  <a:pt x="848" y="1190"/>
                  <a:pt x="848" y="1191"/>
                  <a:pt x="847" y="1191"/>
                </a:cubicBezTo>
                <a:cubicBezTo>
                  <a:pt x="846" y="1192"/>
                  <a:pt x="845" y="1192"/>
                  <a:pt x="845" y="1193"/>
                </a:cubicBezTo>
                <a:cubicBezTo>
                  <a:pt x="844" y="1193"/>
                  <a:pt x="843" y="1193"/>
                  <a:pt x="842" y="1194"/>
                </a:cubicBezTo>
                <a:cubicBezTo>
                  <a:pt x="841" y="1194"/>
                  <a:pt x="841" y="1194"/>
                  <a:pt x="840" y="1194"/>
                </a:cubicBezTo>
                <a:cubicBezTo>
                  <a:pt x="839" y="1195"/>
                  <a:pt x="838" y="1196"/>
                  <a:pt x="837" y="1196"/>
                </a:cubicBezTo>
                <a:cubicBezTo>
                  <a:pt x="836" y="1196"/>
                  <a:pt x="835" y="1197"/>
                  <a:pt x="834" y="1196"/>
                </a:cubicBezTo>
                <a:cubicBezTo>
                  <a:pt x="834" y="1196"/>
                  <a:pt x="833" y="1196"/>
                  <a:pt x="832" y="1196"/>
                </a:cubicBezTo>
                <a:cubicBezTo>
                  <a:pt x="831" y="1195"/>
                  <a:pt x="831" y="1195"/>
                  <a:pt x="830" y="1194"/>
                </a:cubicBezTo>
                <a:cubicBezTo>
                  <a:pt x="829" y="1194"/>
                  <a:pt x="828" y="1194"/>
                  <a:pt x="827" y="1193"/>
                </a:cubicBezTo>
                <a:cubicBezTo>
                  <a:pt x="827" y="1192"/>
                  <a:pt x="827" y="1192"/>
                  <a:pt x="826" y="1192"/>
                </a:cubicBezTo>
                <a:cubicBezTo>
                  <a:pt x="826" y="1193"/>
                  <a:pt x="827" y="1193"/>
                  <a:pt x="827" y="1194"/>
                </a:cubicBezTo>
                <a:cubicBezTo>
                  <a:pt x="827" y="1194"/>
                  <a:pt x="827" y="1194"/>
                  <a:pt x="827" y="1194"/>
                </a:cubicBezTo>
                <a:cubicBezTo>
                  <a:pt x="826" y="1194"/>
                  <a:pt x="826" y="1195"/>
                  <a:pt x="825" y="1195"/>
                </a:cubicBezTo>
                <a:cubicBezTo>
                  <a:pt x="825" y="1195"/>
                  <a:pt x="824" y="1195"/>
                  <a:pt x="823" y="1194"/>
                </a:cubicBezTo>
                <a:cubicBezTo>
                  <a:pt x="823" y="1194"/>
                  <a:pt x="823" y="1194"/>
                  <a:pt x="823" y="1194"/>
                </a:cubicBezTo>
                <a:cubicBezTo>
                  <a:pt x="823" y="1194"/>
                  <a:pt x="823" y="1194"/>
                  <a:pt x="823" y="1193"/>
                </a:cubicBezTo>
                <a:cubicBezTo>
                  <a:pt x="822" y="1193"/>
                  <a:pt x="822" y="1193"/>
                  <a:pt x="822" y="1192"/>
                </a:cubicBezTo>
                <a:cubicBezTo>
                  <a:pt x="822" y="1192"/>
                  <a:pt x="822" y="1192"/>
                  <a:pt x="822" y="1192"/>
                </a:cubicBezTo>
                <a:cubicBezTo>
                  <a:pt x="822" y="1191"/>
                  <a:pt x="821" y="1192"/>
                  <a:pt x="821" y="1191"/>
                </a:cubicBezTo>
                <a:cubicBezTo>
                  <a:pt x="821" y="1191"/>
                  <a:pt x="821" y="1191"/>
                  <a:pt x="821" y="1190"/>
                </a:cubicBezTo>
                <a:cubicBezTo>
                  <a:pt x="820" y="1190"/>
                  <a:pt x="820" y="1190"/>
                  <a:pt x="820" y="1190"/>
                </a:cubicBezTo>
                <a:cubicBezTo>
                  <a:pt x="820" y="1189"/>
                  <a:pt x="820" y="1189"/>
                  <a:pt x="819" y="1189"/>
                </a:cubicBezTo>
                <a:cubicBezTo>
                  <a:pt x="819" y="1188"/>
                  <a:pt x="819" y="1188"/>
                  <a:pt x="819" y="1188"/>
                </a:cubicBezTo>
                <a:cubicBezTo>
                  <a:pt x="819" y="1188"/>
                  <a:pt x="819" y="1187"/>
                  <a:pt x="818" y="1187"/>
                </a:cubicBezTo>
                <a:cubicBezTo>
                  <a:pt x="818" y="1187"/>
                  <a:pt x="818" y="1187"/>
                  <a:pt x="817" y="1187"/>
                </a:cubicBezTo>
                <a:cubicBezTo>
                  <a:pt x="817" y="1186"/>
                  <a:pt x="816" y="1186"/>
                  <a:pt x="816" y="1185"/>
                </a:cubicBezTo>
                <a:cubicBezTo>
                  <a:pt x="815" y="1185"/>
                  <a:pt x="815" y="1185"/>
                  <a:pt x="815" y="1185"/>
                </a:cubicBezTo>
                <a:cubicBezTo>
                  <a:pt x="814" y="1184"/>
                  <a:pt x="814" y="1184"/>
                  <a:pt x="813" y="1183"/>
                </a:cubicBezTo>
                <a:cubicBezTo>
                  <a:pt x="812" y="1182"/>
                  <a:pt x="811" y="1181"/>
                  <a:pt x="810" y="1180"/>
                </a:cubicBezTo>
                <a:cubicBezTo>
                  <a:pt x="810" y="1180"/>
                  <a:pt x="809" y="1179"/>
                  <a:pt x="809" y="1178"/>
                </a:cubicBezTo>
                <a:cubicBezTo>
                  <a:pt x="809" y="1177"/>
                  <a:pt x="808" y="1177"/>
                  <a:pt x="808" y="1176"/>
                </a:cubicBezTo>
                <a:cubicBezTo>
                  <a:pt x="807" y="1175"/>
                  <a:pt x="807" y="1174"/>
                  <a:pt x="807" y="1174"/>
                </a:cubicBezTo>
                <a:cubicBezTo>
                  <a:pt x="807" y="1173"/>
                  <a:pt x="806" y="1172"/>
                  <a:pt x="806" y="1172"/>
                </a:cubicBezTo>
                <a:cubicBezTo>
                  <a:pt x="805" y="1171"/>
                  <a:pt x="805" y="1171"/>
                  <a:pt x="804" y="1170"/>
                </a:cubicBezTo>
                <a:cubicBezTo>
                  <a:pt x="804" y="1170"/>
                  <a:pt x="804" y="1170"/>
                  <a:pt x="804" y="1169"/>
                </a:cubicBezTo>
                <a:cubicBezTo>
                  <a:pt x="804" y="1169"/>
                  <a:pt x="804" y="1169"/>
                  <a:pt x="803" y="1168"/>
                </a:cubicBezTo>
                <a:cubicBezTo>
                  <a:pt x="803" y="1168"/>
                  <a:pt x="804" y="1167"/>
                  <a:pt x="804" y="1166"/>
                </a:cubicBezTo>
                <a:cubicBezTo>
                  <a:pt x="804" y="1166"/>
                  <a:pt x="804" y="1165"/>
                  <a:pt x="805" y="1165"/>
                </a:cubicBezTo>
                <a:cubicBezTo>
                  <a:pt x="805" y="1165"/>
                  <a:pt x="806" y="1164"/>
                  <a:pt x="806" y="1164"/>
                </a:cubicBezTo>
                <a:cubicBezTo>
                  <a:pt x="806" y="1163"/>
                  <a:pt x="806" y="1163"/>
                  <a:pt x="805" y="1163"/>
                </a:cubicBezTo>
                <a:cubicBezTo>
                  <a:pt x="805" y="1162"/>
                  <a:pt x="805" y="1162"/>
                  <a:pt x="805" y="1162"/>
                </a:cubicBezTo>
                <a:cubicBezTo>
                  <a:pt x="804" y="1162"/>
                  <a:pt x="805" y="1161"/>
                  <a:pt x="805" y="1161"/>
                </a:cubicBezTo>
                <a:cubicBezTo>
                  <a:pt x="805" y="1160"/>
                  <a:pt x="805" y="1160"/>
                  <a:pt x="805" y="1160"/>
                </a:cubicBezTo>
                <a:cubicBezTo>
                  <a:pt x="805" y="1159"/>
                  <a:pt x="804" y="1159"/>
                  <a:pt x="804" y="1159"/>
                </a:cubicBezTo>
                <a:cubicBezTo>
                  <a:pt x="805" y="1158"/>
                  <a:pt x="805" y="1158"/>
                  <a:pt x="805" y="1159"/>
                </a:cubicBezTo>
                <a:cubicBezTo>
                  <a:pt x="805" y="1159"/>
                  <a:pt x="805" y="1159"/>
                  <a:pt x="805" y="1160"/>
                </a:cubicBezTo>
                <a:cubicBezTo>
                  <a:pt x="806" y="1159"/>
                  <a:pt x="806" y="1158"/>
                  <a:pt x="806" y="1158"/>
                </a:cubicBezTo>
                <a:cubicBezTo>
                  <a:pt x="806" y="1157"/>
                  <a:pt x="806" y="1156"/>
                  <a:pt x="806" y="1156"/>
                </a:cubicBezTo>
                <a:cubicBezTo>
                  <a:pt x="806" y="1155"/>
                  <a:pt x="806" y="1155"/>
                  <a:pt x="805" y="1155"/>
                </a:cubicBezTo>
                <a:cubicBezTo>
                  <a:pt x="805" y="1155"/>
                  <a:pt x="805" y="1155"/>
                  <a:pt x="805" y="1154"/>
                </a:cubicBezTo>
                <a:cubicBezTo>
                  <a:pt x="805" y="1153"/>
                  <a:pt x="806" y="1154"/>
                  <a:pt x="806" y="1153"/>
                </a:cubicBezTo>
                <a:cubicBezTo>
                  <a:pt x="806" y="1153"/>
                  <a:pt x="806" y="1152"/>
                  <a:pt x="806" y="1152"/>
                </a:cubicBezTo>
                <a:cubicBezTo>
                  <a:pt x="807" y="1152"/>
                  <a:pt x="807" y="1152"/>
                  <a:pt x="807" y="1153"/>
                </a:cubicBezTo>
                <a:cubicBezTo>
                  <a:pt x="807" y="1153"/>
                  <a:pt x="807" y="1153"/>
                  <a:pt x="806" y="1154"/>
                </a:cubicBezTo>
                <a:cubicBezTo>
                  <a:pt x="806" y="1154"/>
                  <a:pt x="807" y="1155"/>
                  <a:pt x="807" y="1155"/>
                </a:cubicBezTo>
                <a:cubicBezTo>
                  <a:pt x="807" y="1155"/>
                  <a:pt x="807" y="1156"/>
                  <a:pt x="807" y="1155"/>
                </a:cubicBezTo>
                <a:cubicBezTo>
                  <a:pt x="807" y="1155"/>
                  <a:pt x="807" y="1154"/>
                  <a:pt x="807" y="1154"/>
                </a:cubicBezTo>
                <a:cubicBezTo>
                  <a:pt x="807" y="1153"/>
                  <a:pt x="807" y="1152"/>
                  <a:pt x="807" y="1152"/>
                </a:cubicBezTo>
                <a:cubicBezTo>
                  <a:pt x="808" y="1151"/>
                  <a:pt x="807" y="1150"/>
                  <a:pt x="808" y="1150"/>
                </a:cubicBezTo>
                <a:cubicBezTo>
                  <a:pt x="808" y="1149"/>
                  <a:pt x="808" y="1148"/>
                  <a:pt x="808" y="1147"/>
                </a:cubicBezTo>
                <a:cubicBezTo>
                  <a:pt x="808" y="1147"/>
                  <a:pt x="808" y="1146"/>
                  <a:pt x="808" y="1146"/>
                </a:cubicBezTo>
                <a:cubicBezTo>
                  <a:pt x="808" y="1144"/>
                  <a:pt x="809" y="1142"/>
                  <a:pt x="809" y="1141"/>
                </a:cubicBezTo>
                <a:cubicBezTo>
                  <a:pt x="809" y="1139"/>
                  <a:pt x="809" y="1137"/>
                  <a:pt x="810" y="1135"/>
                </a:cubicBezTo>
                <a:cubicBezTo>
                  <a:pt x="810" y="1134"/>
                  <a:pt x="811" y="1134"/>
                  <a:pt x="811" y="1133"/>
                </a:cubicBezTo>
                <a:cubicBezTo>
                  <a:pt x="811" y="1132"/>
                  <a:pt x="811" y="1132"/>
                  <a:pt x="811" y="1131"/>
                </a:cubicBezTo>
                <a:cubicBezTo>
                  <a:pt x="811" y="1130"/>
                  <a:pt x="811" y="1130"/>
                  <a:pt x="811" y="1129"/>
                </a:cubicBezTo>
                <a:cubicBezTo>
                  <a:pt x="811" y="1129"/>
                  <a:pt x="810" y="1129"/>
                  <a:pt x="810" y="1128"/>
                </a:cubicBezTo>
                <a:cubicBezTo>
                  <a:pt x="810" y="1128"/>
                  <a:pt x="810" y="1128"/>
                  <a:pt x="810" y="1127"/>
                </a:cubicBezTo>
                <a:cubicBezTo>
                  <a:pt x="810" y="1127"/>
                  <a:pt x="809" y="1127"/>
                  <a:pt x="809" y="1126"/>
                </a:cubicBezTo>
                <a:cubicBezTo>
                  <a:pt x="809" y="1125"/>
                  <a:pt x="810" y="1126"/>
                  <a:pt x="810" y="1125"/>
                </a:cubicBezTo>
                <a:cubicBezTo>
                  <a:pt x="811" y="1125"/>
                  <a:pt x="811" y="1125"/>
                  <a:pt x="811" y="1125"/>
                </a:cubicBezTo>
                <a:cubicBezTo>
                  <a:pt x="812" y="1125"/>
                  <a:pt x="812" y="1125"/>
                  <a:pt x="812" y="1124"/>
                </a:cubicBezTo>
                <a:cubicBezTo>
                  <a:pt x="811" y="1124"/>
                  <a:pt x="810" y="1124"/>
                  <a:pt x="809" y="1124"/>
                </a:cubicBezTo>
                <a:cubicBezTo>
                  <a:pt x="809" y="1123"/>
                  <a:pt x="809" y="1123"/>
                  <a:pt x="808" y="1123"/>
                </a:cubicBezTo>
                <a:cubicBezTo>
                  <a:pt x="808" y="1123"/>
                  <a:pt x="808" y="1123"/>
                  <a:pt x="807" y="1122"/>
                </a:cubicBezTo>
                <a:cubicBezTo>
                  <a:pt x="807" y="1122"/>
                  <a:pt x="807" y="1121"/>
                  <a:pt x="807" y="1121"/>
                </a:cubicBezTo>
                <a:cubicBezTo>
                  <a:pt x="806" y="1121"/>
                  <a:pt x="806" y="1120"/>
                  <a:pt x="806" y="1120"/>
                </a:cubicBezTo>
                <a:cubicBezTo>
                  <a:pt x="805" y="1121"/>
                  <a:pt x="807" y="1121"/>
                  <a:pt x="806" y="1122"/>
                </a:cubicBezTo>
                <a:cubicBezTo>
                  <a:pt x="805" y="1122"/>
                  <a:pt x="805" y="1122"/>
                  <a:pt x="804" y="1122"/>
                </a:cubicBezTo>
                <a:cubicBezTo>
                  <a:pt x="804" y="1122"/>
                  <a:pt x="803" y="1121"/>
                  <a:pt x="803" y="1121"/>
                </a:cubicBezTo>
                <a:cubicBezTo>
                  <a:pt x="802" y="1121"/>
                  <a:pt x="801" y="1120"/>
                  <a:pt x="801" y="1119"/>
                </a:cubicBezTo>
                <a:cubicBezTo>
                  <a:pt x="801" y="1119"/>
                  <a:pt x="802" y="1118"/>
                  <a:pt x="802" y="1119"/>
                </a:cubicBezTo>
                <a:cubicBezTo>
                  <a:pt x="802" y="1119"/>
                  <a:pt x="803" y="1119"/>
                  <a:pt x="803" y="1119"/>
                </a:cubicBezTo>
                <a:cubicBezTo>
                  <a:pt x="804" y="1120"/>
                  <a:pt x="804" y="1119"/>
                  <a:pt x="805" y="1120"/>
                </a:cubicBezTo>
                <a:cubicBezTo>
                  <a:pt x="806" y="1121"/>
                  <a:pt x="805" y="1120"/>
                  <a:pt x="805" y="1119"/>
                </a:cubicBezTo>
                <a:cubicBezTo>
                  <a:pt x="804" y="1119"/>
                  <a:pt x="804" y="1119"/>
                  <a:pt x="803" y="1118"/>
                </a:cubicBezTo>
                <a:cubicBezTo>
                  <a:pt x="802" y="1118"/>
                  <a:pt x="801" y="1117"/>
                  <a:pt x="801" y="1116"/>
                </a:cubicBezTo>
                <a:cubicBezTo>
                  <a:pt x="800" y="1116"/>
                  <a:pt x="799" y="1115"/>
                  <a:pt x="798" y="1115"/>
                </a:cubicBezTo>
                <a:cubicBezTo>
                  <a:pt x="798" y="1115"/>
                  <a:pt x="797" y="1115"/>
                  <a:pt x="796" y="1115"/>
                </a:cubicBezTo>
                <a:cubicBezTo>
                  <a:pt x="794" y="1115"/>
                  <a:pt x="793" y="1115"/>
                  <a:pt x="791" y="1114"/>
                </a:cubicBezTo>
                <a:cubicBezTo>
                  <a:pt x="791" y="1113"/>
                  <a:pt x="790" y="1113"/>
                  <a:pt x="789" y="1113"/>
                </a:cubicBezTo>
                <a:cubicBezTo>
                  <a:pt x="788" y="1113"/>
                  <a:pt x="788" y="1114"/>
                  <a:pt x="787" y="1114"/>
                </a:cubicBezTo>
                <a:cubicBezTo>
                  <a:pt x="786" y="1114"/>
                  <a:pt x="785" y="1114"/>
                  <a:pt x="784" y="1114"/>
                </a:cubicBezTo>
                <a:cubicBezTo>
                  <a:pt x="783" y="1114"/>
                  <a:pt x="782" y="1112"/>
                  <a:pt x="781" y="1113"/>
                </a:cubicBezTo>
                <a:cubicBezTo>
                  <a:pt x="780" y="1113"/>
                  <a:pt x="780" y="1113"/>
                  <a:pt x="780" y="1113"/>
                </a:cubicBezTo>
                <a:cubicBezTo>
                  <a:pt x="779" y="1114"/>
                  <a:pt x="778" y="1115"/>
                  <a:pt x="777" y="1115"/>
                </a:cubicBezTo>
                <a:cubicBezTo>
                  <a:pt x="776" y="1115"/>
                  <a:pt x="775" y="1115"/>
                  <a:pt x="775" y="1115"/>
                </a:cubicBezTo>
                <a:cubicBezTo>
                  <a:pt x="774" y="1115"/>
                  <a:pt x="773" y="1115"/>
                  <a:pt x="772" y="1115"/>
                </a:cubicBezTo>
                <a:cubicBezTo>
                  <a:pt x="771" y="1115"/>
                  <a:pt x="771" y="1115"/>
                  <a:pt x="770" y="1115"/>
                </a:cubicBezTo>
                <a:cubicBezTo>
                  <a:pt x="769" y="1115"/>
                  <a:pt x="769" y="1116"/>
                  <a:pt x="768" y="1116"/>
                </a:cubicBezTo>
                <a:cubicBezTo>
                  <a:pt x="768" y="1116"/>
                  <a:pt x="767" y="1116"/>
                  <a:pt x="767" y="1115"/>
                </a:cubicBezTo>
                <a:cubicBezTo>
                  <a:pt x="766" y="1115"/>
                  <a:pt x="765" y="1115"/>
                  <a:pt x="764" y="1115"/>
                </a:cubicBezTo>
                <a:cubicBezTo>
                  <a:pt x="764" y="1115"/>
                  <a:pt x="763" y="1115"/>
                  <a:pt x="762" y="1114"/>
                </a:cubicBezTo>
                <a:cubicBezTo>
                  <a:pt x="761" y="1114"/>
                  <a:pt x="760" y="1114"/>
                  <a:pt x="759" y="1114"/>
                </a:cubicBezTo>
                <a:cubicBezTo>
                  <a:pt x="758" y="1114"/>
                  <a:pt x="758" y="1115"/>
                  <a:pt x="757" y="1115"/>
                </a:cubicBezTo>
                <a:cubicBezTo>
                  <a:pt x="757" y="1115"/>
                  <a:pt x="756" y="1115"/>
                  <a:pt x="756" y="1115"/>
                </a:cubicBezTo>
                <a:cubicBezTo>
                  <a:pt x="755" y="1116"/>
                  <a:pt x="755" y="1116"/>
                  <a:pt x="754" y="1116"/>
                </a:cubicBezTo>
                <a:cubicBezTo>
                  <a:pt x="754" y="1116"/>
                  <a:pt x="753" y="1116"/>
                  <a:pt x="753" y="1115"/>
                </a:cubicBezTo>
                <a:cubicBezTo>
                  <a:pt x="753" y="1115"/>
                  <a:pt x="753" y="1115"/>
                  <a:pt x="752" y="1115"/>
                </a:cubicBezTo>
                <a:cubicBezTo>
                  <a:pt x="752" y="1115"/>
                  <a:pt x="752" y="1115"/>
                  <a:pt x="751" y="1114"/>
                </a:cubicBezTo>
                <a:cubicBezTo>
                  <a:pt x="751" y="1114"/>
                  <a:pt x="751" y="1114"/>
                  <a:pt x="750" y="1114"/>
                </a:cubicBezTo>
                <a:cubicBezTo>
                  <a:pt x="750" y="1114"/>
                  <a:pt x="750" y="1114"/>
                  <a:pt x="750" y="1114"/>
                </a:cubicBezTo>
                <a:cubicBezTo>
                  <a:pt x="750" y="1113"/>
                  <a:pt x="750" y="1113"/>
                  <a:pt x="750" y="1113"/>
                </a:cubicBezTo>
                <a:cubicBezTo>
                  <a:pt x="749" y="1113"/>
                  <a:pt x="750" y="1114"/>
                  <a:pt x="750" y="1114"/>
                </a:cubicBezTo>
                <a:cubicBezTo>
                  <a:pt x="750" y="1114"/>
                  <a:pt x="750" y="1114"/>
                  <a:pt x="750" y="1115"/>
                </a:cubicBezTo>
                <a:cubicBezTo>
                  <a:pt x="750" y="1115"/>
                  <a:pt x="751" y="1115"/>
                  <a:pt x="751" y="1115"/>
                </a:cubicBezTo>
                <a:cubicBezTo>
                  <a:pt x="751" y="1115"/>
                  <a:pt x="748" y="1115"/>
                  <a:pt x="748" y="1115"/>
                </a:cubicBezTo>
                <a:cubicBezTo>
                  <a:pt x="748" y="1115"/>
                  <a:pt x="747" y="1115"/>
                  <a:pt x="747" y="1114"/>
                </a:cubicBezTo>
                <a:cubicBezTo>
                  <a:pt x="747" y="1114"/>
                  <a:pt x="746" y="1115"/>
                  <a:pt x="746" y="1114"/>
                </a:cubicBezTo>
                <a:cubicBezTo>
                  <a:pt x="746" y="1114"/>
                  <a:pt x="747" y="1113"/>
                  <a:pt x="747" y="1113"/>
                </a:cubicBezTo>
                <a:cubicBezTo>
                  <a:pt x="748" y="1112"/>
                  <a:pt x="748" y="1112"/>
                  <a:pt x="748" y="1111"/>
                </a:cubicBezTo>
                <a:cubicBezTo>
                  <a:pt x="749" y="1111"/>
                  <a:pt x="749" y="1111"/>
                  <a:pt x="749" y="1110"/>
                </a:cubicBezTo>
                <a:cubicBezTo>
                  <a:pt x="750" y="1110"/>
                  <a:pt x="750" y="1109"/>
                  <a:pt x="751" y="1108"/>
                </a:cubicBezTo>
                <a:cubicBezTo>
                  <a:pt x="752" y="1108"/>
                  <a:pt x="752" y="1107"/>
                  <a:pt x="752" y="1106"/>
                </a:cubicBezTo>
                <a:cubicBezTo>
                  <a:pt x="752" y="1106"/>
                  <a:pt x="753" y="1105"/>
                  <a:pt x="753" y="1104"/>
                </a:cubicBezTo>
                <a:cubicBezTo>
                  <a:pt x="754" y="1103"/>
                  <a:pt x="754" y="1102"/>
                  <a:pt x="754" y="1101"/>
                </a:cubicBezTo>
                <a:cubicBezTo>
                  <a:pt x="754" y="1101"/>
                  <a:pt x="753" y="1100"/>
                  <a:pt x="753" y="1099"/>
                </a:cubicBezTo>
                <a:cubicBezTo>
                  <a:pt x="753" y="1098"/>
                  <a:pt x="753" y="1097"/>
                  <a:pt x="753" y="1097"/>
                </a:cubicBezTo>
                <a:cubicBezTo>
                  <a:pt x="754" y="1096"/>
                  <a:pt x="753" y="1095"/>
                  <a:pt x="754" y="1094"/>
                </a:cubicBezTo>
                <a:cubicBezTo>
                  <a:pt x="754" y="1094"/>
                  <a:pt x="754" y="1093"/>
                  <a:pt x="754" y="1093"/>
                </a:cubicBezTo>
                <a:cubicBezTo>
                  <a:pt x="754" y="1092"/>
                  <a:pt x="754" y="1092"/>
                  <a:pt x="754" y="1091"/>
                </a:cubicBezTo>
                <a:cubicBezTo>
                  <a:pt x="755" y="1090"/>
                  <a:pt x="754" y="1090"/>
                  <a:pt x="754" y="1090"/>
                </a:cubicBezTo>
                <a:cubicBezTo>
                  <a:pt x="755" y="1089"/>
                  <a:pt x="755" y="1089"/>
                  <a:pt x="755" y="1088"/>
                </a:cubicBezTo>
                <a:cubicBezTo>
                  <a:pt x="755" y="1087"/>
                  <a:pt x="755" y="1087"/>
                  <a:pt x="755" y="1086"/>
                </a:cubicBezTo>
                <a:cubicBezTo>
                  <a:pt x="755" y="1085"/>
                  <a:pt x="755" y="1085"/>
                  <a:pt x="754" y="1085"/>
                </a:cubicBezTo>
                <a:cubicBezTo>
                  <a:pt x="753" y="1085"/>
                  <a:pt x="752" y="1085"/>
                  <a:pt x="752" y="1084"/>
                </a:cubicBezTo>
                <a:cubicBezTo>
                  <a:pt x="753" y="1084"/>
                  <a:pt x="753" y="1084"/>
                  <a:pt x="753" y="1084"/>
                </a:cubicBezTo>
                <a:cubicBezTo>
                  <a:pt x="754" y="1083"/>
                  <a:pt x="754" y="1083"/>
                  <a:pt x="754" y="1082"/>
                </a:cubicBezTo>
                <a:cubicBezTo>
                  <a:pt x="754" y="1082"/>
                  <a:pt x="754" y="1082"/>
                  <a:pt x="754" y="1082"/>
                </a:cubicBezTo>
                <a:cubicBezTo>
                  <a:pt x="755" y="1081"/>
                  <a:pt x="754" y="1081"/>
                  <a:pt x="755" y="1080"/>
                </a:cubicBezTo>
                <a:cubicBezTo>
                  <a:pt x="756" y="1079"/>
                  <a:pt x="755" y="1083"/>
                  <a:pt x="755" y="1083"/>
                </a:cubicBezTo>
                <a:cubicBezTo>
                  <a:pt x="755" y="1084"/>
                  <a:pt x="756" y="1084"/>
                  <a:pt x="756" y="1084"/>
                </a:cubicBezTo>
                <a:cubicBezTo>
                  <a:pt x="756" y="1085"/>
                  <a:pt x="756" y="1085"/>
                  <a:pt x="756" y="1085"/>
                </a:cubicBezTo>
                <a:cubicBezTo>
                  <a:pt x="756" y="1086"/>
                  <a:pt x="756" y="1086"/>
                  <a:pt x="757" y="1086"/>
                </a:cubicBezTo>
                <a:cubicBezTo>
                  <a:pt x="757" y="1086"/>
                  <a:pt x="757" y="1087"/>
                  <a:pt x="758" y="1087"/>
                </a:cubicBezTo>
                <a:cubicBezTo>
                  <a:pt x="758" y="1087"/>
                  <a:pt x="758" y="1088"/>
                  <a:pt x="758" y="1087"/>
                </a:cubicBezTo>
                <a:cubicBezTo>
                  <a:pt x="759" y="1087"/>
                  <a:pt x="758" y="1086"/>
                  <a:pt x="758" y="1086"/>
                </a:cubicBezTo>
                <a:cubicBezTo>
                  <a:pt x="759" y="1085"/>
                  <a:pt x="759" y="1084"/>
                  <a:pt x="759" y="1084"/>
                </a:cubicBezTo>
                <a:cubicBezTo>
                  <a:pt x="759" y="1083"/>
                  <a:pt x="759" y="1083"/>
                  <a:pt x="759" y="1082"/>
                </a:cubicBezTo>
                <a:cubicBezTo>
                  <a:pt x="759" y="1082"/>
                  <a:pt x="759" y="1082"/>
                  <a:pt x="759" y="1081"/>
                </a:cubicBezTo>
                <a:cubicBezTo>
                  <a:pt x="760" y="1080"/>
                  <a:pt x="761" y="1078"/>
                  <a:pt x="761" y="1077"/>
                </a:cubicBezTo>
                <a:cubicBezTo>
                  <a:pt x="761" y="1076"/>
                  <a:pt x="761" y="1075"/>
                  <a:pt x="762" y="1075"/>
                </a:cubicBezTo>
                <a:cubicBezTo>
                  <a:pt x="762" y="1075"/>
                  <a:pt x="763" y="1074"/>
                  <a:pt x="763" y="1074"/>
                </a:cubicBezTo>
                <a:cubicBezTo>
                  <a:pt x="763" y="1074"/>
                  <a:pt x="762" y="1074"/>
                  <a:pt x="762" y="1074"/>
                </a:cubicBezTo>
                <a:cubicBezTo>
                  <a:pt x="761" y="1074"/>
                  <a:pt x="761" y="1075"/>
                  <a:pt x="760" y="1075"/>
                </a:cubicBezTo>
                <a:cubicBezTo>
                  <a:pt x="760" y="1074"/>
                  <a:pt x="761" y="1074"/>
                  <a:pt x="761" y="1074"/>
                </a:cubicBezTo>
                <a:cubicBezTo>
                  <a:pt x="761" y="1073"/>
                  <a:pt x="761" y="1073"/>
                  <a:pt x="761" y="1073"/>
                </a:cubicBezTo>
                <a:cubicBezTo>
                  <a:pt x="761" y="1072"/>
                  <a:pt x="762" y="1072"/>
                  <a:pt x="762" y="1072"/>
                </a:cubicBezTo>
                <a:cubicBezTo>
                  <a:pt x="762" y="1072"/>
                  <a:pt x="763" y="1072"/>
                  <a:pt x="763" y="1072"/>
                </a:cubicBezTo>
                <a:cubicBezTo>
                  <a:pt x="763" y="1072"/>
                  <a:pt x="763" y="1071"/>
                  <a:pt x="763" y="1071"/>
                </a:cubicBezTo>
                <a:cubicBezTo>
                  <a:pt x="763" y="1071"/>
                  <a:pt x="762" y="1071"/>
                  <a:pt x="762" y="1071"/>
                </a:cubicBezTo>
                <a:cubicBezTo>
                  <a:pt x="762" y="1072"/>
                  <a:pt x="762" y="1072"/>
                  <a:pt x="761" y="1072"/>
                </a:cubicBezTo>
                <a:cubicBezTo>
                  <a:pt x="761" y="1072"/>
                  <a:pt x="761" y="1072"/>
                  <a:pt x="760" y="1071"/>
                </a:cubicBezTo>
                <a:cubicBezTo>
                  <a:pt x="760" y="1071"/>
                  <a:pt x="760" y="1071"/>
                  <a:pt x="760" y="1071"/>
                </a:cubicBezTo>
                <a:cubicBezTo>
                  <a:pt x="760" y="1071"/>
                  <a:pt x="760" y="1071"/>
                  <a:pt x="759" y="1071"/>
                </a:cubicBezTo>
                <a:cubicBezTo>
                  <a:pt x="759" y="1070"/>
                  <a:pt x="760" y="1069"/>
                  <a:pt x="760" y="1069"/>
                </a:cubicBezTo>
                <a:cubicBezTo>
                  <a:pt x="761" y="1068"/>
                  <a:pt x="762" y="1069"/>
                  <a:pt x="762" y="1068"/>
                </a:cubicBezTo>
                <a:cubicBezTo>
                  <a:pt x="763" y="1067"/>
                  <a:pt x="762" y="1066"/>
                  <a:pt x="762" y="1066"/>
                </a:cubicBezTo>
                <a:cubicBezTo>
                  <a:pt x="762" y="1065"/>
                  <a:pt x="763" y="1064"/>
                  <a:pt x="763" y="1064"/>
                </a:cubicBezTo>
                <a:cubicBezTo>
                  <a:pt x="763" y="1063"/>
                  <a:pt x="764" y="1062"/>
                  <a:pt x="764" y="1061"/>
                </a:cubicBezTo>
                <a:cubicBezTo>
                  <a:pt x="765" y="1061"/>
                  <a:pt x="766" y="1060"/>
                  <a:pt x="766" y="1060"/>
                </a:cubicBezTo>
                <a:cubicBezTo>
                  <a:pt x="767" y="1059"/>
                  <a:pt x="768" y="1058"/>
                  <a:pt x="768" y="1057"/>
                </a:cubicBezTo>
                <a:cubicBezTo>
                  <a:pt x="769" y="1056"/>
                  <a:pt x="770" y="1054"/>
                  <a:pt x="770" y="1053"/>
                </a:cubicBezTo>
                <a:cubicBezTo>
                  <a:pt x="770" y="1052"/>
                  <a:pt x="770" y="1051"/>
                  <a:pt x="770" y="1050"/>
                </a:cubicBezTo>
                <a:cubicBezTo>
                  <a:pt x="770" y="1050"/>
                  <a:pt x="770" y="1049"/>
                  <a:pt x="769" y="1048"/>
                </a:cubicBezTo>
                <a:cubicBezTo>
                  <a:pt x="768" y="1047"/>
                  <a:pt x="768" y="1047"/>
                  <a:pt x="767" y="1048"/>
                </a:cubicBezTo>
                <a:cubicBezTo>
                  <a:pt x="766" y="1048"/>
                  <a:pt x="766" y="1048"/>
                  <a:pt x="765" y="1047"/>
                </a:cubicBezTo>
                <a:cubicBezTo>
                  <a:pt x="765" y="1047"/>
                  <a:pt x="765" y="1047"/>
                  <a:pt x="764" y="1047"/>
                </a:cubicBezTo>
                <a:cubicBezTo>
                  <a:pt x="763" y="1047"/>
                  <a:pt x="763" y="1048"/>
                  <a:pt x="762" y="1048"/>
                </a:cubicBezTo>
                <a:cubicBezTo>
                  <a:pt x="762" y="1048"/>
                  <a:pt x="761" y="1048"/>
                  <a:pt x="760" y="1048"/>
                </a:cubicBezTo>
                <a:cubicBezTo>
                  <a:pt x="760" y="1047"/>
                  <a:pt x="759" y="1047"/>
                  <a:pt x="758" y="1047"/>
                </a:cubicBezTo>
                <a:cubicBezTo>
                  <a:pt x="757" y="1047"/>
                  <a:pt x="756" y="1047"/>
                  <a:pt x="755" y="1047"/>
                </a:cubicBezTo>
                <a:cubicBezTo>
                  <a:pt x="754" y="1047"/>
                  <a:pt x="752" y="1047"/>
                  <a:pt x="751" y="1047"/>
                </a:cubicBezTo>
                <a:cubicBezTo>
                  <a:pt x="749" y="1048"/>
                  <a:pt x="747" y="1049"/>
                  <a:pt x="745" y="1050"/>
                </a:cubicBezTo>
                <a:cubicBezTo>
                  <a:pt x="743" y="1050"/>
                  <a:pt x="741" y="1050"/>
                  <a:pt x="740" y="1050"/>
                </a:cubicBezTo>
                <a:cubicBezTo>
                  <a:pt x="738" y="1050"/>
                  <a:pt x="736" y="1050"/>
                  <a:pt x="735" y="1051"/>
                </a:cubicBezTo>
                <a:cubicBezTo>
                  <a:pt x="734" y="1051"/>
                  <a:pt x="734" y="1052"/>
                  <a:pt x="733" y="1052"/>
                </a:cubicBezTo>
                <a:cubicBezTo>
                  <a:pt x="732" y="1053"/>
                  <a:pt x="731" y="1053"/>
                  <a:pt x="731" y="1054"/>
                </a:cubicBezTo>
                <a:cubicBezTo>
                  <a:pt x="730" y="1054"/>
                  <a:pt x="730" y="1054"/>
                  <a:pt x="729" y="1055"/>
                </a:cubicBezTo>
                <a:cubicBezTo>
                  <a:pt x="729" y="1056"/>
                  <a:pt x="729" y="1057"/>
                  <a:pt x="729" y="1057"/>
                </a:cubicBezTo>
                <a:cubicBezTo>
                  <a:pt x="729" y="1059"/>
                  <a:pt x="728" y="1060"/>
                  <a:pt x="728" y="1061"/>
                </a:cubicBezTo>
                <a:cubicBezTo>
                  <a:pt x="728" y="1062"/>
                  <a:pt x="728" y="1063"/>
                  <a:pt x="728" y="1064"/>
                </a:cubicBezTo>
                <a:cubicBezTo>
                  <a:pt x="728" y="1065"/>
                  <a:pt x="728" y="1065"/>
                  <a:pt x="727" y="1066"/>
                </a:cubicBezTo>
                <a:cubicBezTo>
                  <a:pt x="727" y="1067"/>
                  <a:pt x="726" y="1067"/>
                  <a:pt x="726" y="1068"/>
                </a:cubicBezTo>
                <a:cubicBezTo>
                  <a:pt x="725" y="1070"/>
                  <a:pt x="726" y="1073"/>
                  <a:pt x="724" y="1074"/>
                </a:cubicBezTo>
                <a:cubicBezTo>
                  <a:pt x="723" y="1075"/>
                  <a:pt x="723" y="1075"/>
                  <a:pt x="722" y="1076"/>
                </a:cubicBezTo>
                <a:cubicBezTo>
                  <a:pt x="721" y="1076"/>
                  <a:pt x="721" y="1077"/>
                  <a:pt x="720" y="1077"/>
                </a:cubicBezTo>
                <a:cubicBezTo>
                  <a:pt x="719" y="1078"/>
                  <a:pt x="719" y="1078"/>
                  <a:pt x="718" y="1078"/>
                </a:cubicBezTo>
                <a:cubicBezTo>
                  <a:pt x="717" y="1078"/>
                  <a:pt x="717" y="1078"/>
                  <a:pt x="717" y="1079"/>
                </a:cubicBezTo>
                <a:cubicBezTo>
                  <a:pt x="718" y="1079"/>
                  <a:pt x="718" y="1079"/>
                  <a:pt x="718" y="1079"/>
                </a:cubicBezTo>
                <a:cubicBezTo>
                  <a:pt x="718" y="1080"/>
                  <a:pt x="718" y="1080"/>
                  <a:pt x="718" y="1080"/>
                </a:cubicBezTo>
                <a:cubicBezTo>
                  <a:pt x="718" y="1081"/>
                  <a:pt x="719" y="1081"/>
                  <a:pt x="719" y="1081"/>
                </a:cubicBezTo>
                <a:cubicBezTo>
                  <a:pt x="719" y="1082"/>
                  <a:pt x="718" y="1082"/>
                  <a:pt x="718" y="1083"/>
                </a:cubicBezTo>
                <a:cubicBezTo>
                  <a:pt x="717" y="1083"/>
                  <a:pt x="716" y="1083"/>
                  <a:pt x="716" y="1083"/>
                </a:cubicBezTo>
                <a:cubicBezTo>
                  <a:pt x="715" y="1084"/>
                  <a:pt x="715" y="1084"/>
                  <a:pt x="714" y="1084"/>
                </a:cubicBezTo>
                <a:cubicBezTo>
                  <a:pt x="713" y="1084"/>
                  <a:pt x="713" y="1085"/>
                  <a:pt x="712" y="1084"/>
                </a:cubicBezTo>
                <a:cubicBezTo>
                  <a:pt x="712" y="1084"/>
                  <a:pt x="712" y="1083"/>
                  <a:pt x="712" y="1083"/>
                </a:cubicBezTo>
                <a:cubicBezTo>
                  <a:pt x="712" y="1083"/>
                  <a:pt x="711" y="1083"/>
                  <a:pt x="711" y="1083"/>
                </a:cubicBezTo>
                <a:cubicBezTo>
                  <a:pt x="712" y="1082"/>
                  <a:pt x="712" y="1082"/>
                  <a:pt x="712" y="1082"/>
                </a:cubicBezTo>
                <a:cubicBezTo>
                  <a:pt x="712" y="1081"/>
                  <a:pt x="712" y="1081"/>
                  <a:pt x="712" y="1081"/>
                </a:cubicBezTo>
                <a:cubicBezTo>
                  <a:pt x="711" y="1081"/>
                  <a:pt x="710" y="1081"/>
                  <a:pt x="710" y="1081"/>
                </a:cubicBezTo>
                <a:cubicBezTo>
                  <a:pt x="709" y="1081"/>
                  <a:pt x="708" y="1081"/>
                  <a:pt x="708" y="1082"/>
                </a:cubicBezTo>
                <a:cubicBezTo>
                  <a:pt x="707" y="1082"/>
                  <a:pt x="706" y="1082"/>
                  <a:pt x="705" y="1082"/>
                </a:cubicBezTo>
                <a:cubicBezTo>
                  <a:pt x="705" y="1082"/>
                  <a:pt x="705" y="1083"/>
                  <a:pt x="704" y="1083"/>
                </a:cubicBezTo>
                <a:cubicBezTo>
                  <a:pt x="703" y="1083"/>
                  <a:pt x="702" y="1083"/>
                  <a:pt x="701" y="1083"/>
                </a:cubicBezTo>
                <a:cubicBezTo>
                  <a:pt x="700" y="1083"/>
                  <a:pt x="700" y="1083"/>
                  <a:pt x="699" y="1084"/>
                </a:cubicBezTo>
                <a:cubicBezTo>
                  <a:pt x="698" y="1084"/>
                  <a:pt x="698" y="1084"/>
                  <a:pt x="697" y="1084"/>
                </a:cubicBezTo>
                <a:cubicBezTo>
                  <a:pt x="695" y="1085"/>
                  <a:pt x="693" y="1085"/>
                  <a:pt x="691" y="1085"/>
                </a:cubicBezTo>
                <a:cubicBezTo>
                  <a:pt x="691" y="1086"/>
                  <a:pt x="690" y="1086"/>
                  <a:pt x="689" y="1087"/>
                </a:cubicBezTo>
                <a:cubicBezTo>
                  <a:pt x="688" y="1087"/>
                  <a:pt x="687" y="1087"/>
                  <a:pt x="687" y="1087"/>
                </a:cubicBezTo>
                <a:cubicBezTo>
                  <a:pt x="686" y="1087"/>
                  <a:pt x="685" y="1088"/>
                  <a:pt x="684" y="1088"/>
                </a:cubicBezTo>
                <a:cubicBezTo>
                  <a:pt x="683" y="1088"/>
                  <a:pt x="682" y="1087"/>
                  <a:pt x="681" y="1086"/>
                </a:cubicBezTo>
                <a:cubicBezTo>
                  <a:pt x="681" y="1086"/>
                  <a:pt x="680" y="1086"/>
                  <a:pt x="680" y="1085"/>
                </a:cubicBezTo>
                <a:cubicBezTo>
                  <a:pt x="680" y="1085"/>
                  <a:pt x="679" y="1084"/>
                  <a:pt x="679" y="1083"/>
                </a:cubicBezTo>
                <a:cubicBezTo>
                  <a:pt x="678" y="1083"/>
                  <a:pt x="677" y="1083"/>
                  <a:pt x="677" y="1083"/>
                </a:cubicBezTo>
                <a:cubicBezTo>
                  <a:pt x="676" y="1082"/>
                  <a:pt x="675" y="1082"/>
                  <a:pt x="675" y="1081"/>
                </a:cubicBezTo>
                <a:cubicBezTo>
                  <a:pt x="674" y="1081"/>
                  <a:pt x="673" y="1081"/>
                  <a:pt x="672" y="1081"/>
                </a:cubicBezTo>
                <a:cubicBezTo>
                  <a:pt x="672" y="1081"/>
                  <a:pt x="671" y="1081"/>
                  <a:pt x="670" y="1081"/>
                </a:cubicBezTo>
                <a:cubicBezTo>
                  <a:pt x="669" y="1081"/>
                  <a:pt x="669" y="1080"/>
                  <a:pt x="668" y="1081"/>
                </a:cubicBezTo>
                <a:cubicBezTo>
                  <a:pt x="667" y="1081"/>
                  <a:pt x="667" y="1081"/>
                  <a:pt x="667" y="1081"/>
                </a:cubicBezTo>
                <a:cubicBezTo>
                  <a:pt x="667" y="1081"/>
                  <a:pt x="667" y="1082"/>
                  <a:pt x="666" y="1082"/>
                </a:cubicBezTo>
                <a:cubicBezTo>
                  <a:pt x="666" y="1082"/>
                  <a:pt x="666" y="1083"/>
                  <a:pt x="666" y="1083"/>
                </a:cubicBezTo>
                <a:cubicBezTo>
                  <a:pt x="665" y="1083"/>
                  <a:pt x="666" y="1083"/>
                  <a:pt x="666" y="1082"/>
                </a:cubicBezTo>
                <a:cubicBezTo>
                  <a:pt x="666" y="1082"/>
                  <a:pt x="666" y="1082"/>
                  <a:pt x="666" y="1081"/>
                </a:cubicBezTo>
                <a:cubicBezTo>
                  <a:pt x="666" y="1081"/>
                  <a:pt x="666" y="1080"/>
                  <a:pt x="666" y="1080"/>
                </a:cubicBezTo>
                <a:cubicBezTo>
                  <a:pt x="666" y="1079"/>
                  <a:pt x="668" y="1080"/>
                  <a:pt x="667" y="1080"/>
                </a:cubicBezTo>
                <a:cubicBezTo>
                  <a:pt x="667" y="1079"/>
                  <a:pt x="667" y="1079"/>
                  <a:pt x="667" y="1079"/>
                </a:cubicBezTo>
                <a:cubicBezTo>
                  <a:pt x="666" y="1079"/>
                  <a:pt x="666" y="1078"/>
                  <a:pt x="666" y="1078"/>
                </a:cubicBezTo>
                <a:cubicBezTo>
                  <a:pt x="664" y="1077"/>
                  <a:pt x="663" y="1075"/>
                  <a:pt x="662" y="1074"/>
                </a:cubicBezTo>
                <a:cubicBezTo>
                  <a:pt x="661" y="1072"/>
                  <a:pt x="661" y="1071"/>
                  <a:pt x="661" y="1069"/>
                </a:cubicBezTo>
                <a:cubicBezTo>
                  <a:pt x="661" y="1067"/>
                  <a:pt x="659" y="1066"/>
                  <a:pt x="658" y="1065"/>
                </a:cubicBezTo>
                <a:cubicBezTo>
                  <a:pt x="657" y="1064"/>
                  <a:pt x="656" y="1063"/>
                  <a:pt x="655" y="1062"/>
                </a:cubicBezTo>
                <a:cubicBezTo>
                  <a:pt x="654" y="1061"/>
                  <a:pt x="653" y="1059"/>
                  <a:pt x="652" y="1058"/>
                </a:cubicBezTo>
                <a:cubicBezTo>
                  <a:pt x="652" y="1057"/>
                  <a:pt x="651" y="1057"/>
                  <a:pt x="651" y="1056"/>
                </a:cubicBezTo>
                <a:cubicBezTo>
                  <a:pt x="650" y="1055"/>
                  <a:pt x="650" y="1053"/>
                  <a:pt x="649" y="1052"/>
                </a:cubicBezTo>
                <a:cubicBezTo>
                  <a:pt x="649" y="1051"/>
                  <a:pt x="649" y="1051"/>
                  <a:pt x="649" y="1050"/>
                </a:cubicBezTo>
                <a:cubicBezTo>
                  <a:pt x="650" y="1049"/>
                  <a:pt x="650" y="1047"/>
                  <a:pt x="650" y="1046"/>
                </a:cubicBezTo>
                <a:cubicBezTo>
                  <a:pt x="649" y="1045"/>
                  <a:pt x="649" y="1045"/>
                  <a:pt x="648" y="1045"/>
                </a:cubicBezTo>
                <a:cubicBezTo>
                  <a:pt x="648" y="1044"/>
                  <a:pt x="647" y="1043"/>
                  <a:pt x="647" y="1043"/>
                </a:cubicBezTo>
                <a:cubicBezTo>
                  <a:pt x="646" y="1042"/>
                  <a:pt x="646" y="1042"/>
                  <a:pt x="645" y="1041"/>
                </a:cubicBezTo>
                <a:cubicBezTo>
                  <a:pt x="645" y="1041"/>
                  <a:pt x="645" y="1039"/>
                  <a:pt x="645" y="1039"/>
                </a:cubicBezTo>
                <a:cubicBezTo>
                  <a:pt x="644" y="1038"/>
                  <a:pt x="645" y="1037"/>
                  <a:pt x="645" y="1036"/>
                </a:cubicBezTo>
                <a:cubicBezTo>
                  <a:pt x="645" y="1035"/>
                  <a:pt x="644" y="1033"/>
                  <a:pt x="644" y="1032"/>
                </a:cubicBezTo>
                <a:cubicBezTo>
                  <a:pt x="644" y="1031"/>
                  <a:pt x="645" y="1030"/>
                  <a:pt x="645" y="1029"/>
                </a:cubicBezTo>
                <a:cubicBezTo>
                  <a:pt x="645" y="1028"/>
                  <a:pt x="645" y="1028"/>
                  <a:pt x="645" y="1027"/>
                </a:cubicBezTo>
                <a:cubicBezTo>
                  <a:pt x="645" y="1026"/>
                  <a:pt x="645" y="1025"/>
                  <a:pt x="645" y="1024"/>
                </a:cubicBezTo>
                <a:cubicBezTo>
                  <a:pt x="645" y="1024"/>
                  <a:pt x="645" y="1024"/>
                  <a:pt x="646" y="1023"/>
                </a:cubicBezTo>
                <a:cubicBezTo>
                  <a:pt x="646" y="1022"/>
                  <a:pt x="646" y="1021"/>
                  <a:pt x="646" y="1020"/>
                </a:cubicBezTo>
                <a:cubicBezTo>
                  <a:pt x="646" y="1020"/>
                  <a:pt x="646" y="1020"/>
                  <a:pt x="646" y="1019"/>
                </a:cubicBezTo>
                <a:cubicBezTo>
                  <a:pt x="646" y="1018"/>
                  <a:pt x="646" y="1018"/>
                  <a:pt x="646" y="1017"/>
                </a:cubicBezTo>
                <a:cubicBezTo>
                  <a:pt x="646" y="1015"/>
                  <a:pt x="646" y="1014"/>
                  <a:pt x="646" y="1012"/>
                </a:cubicBezTo>
                <a:cubicBezTo>
                  <a:pt x="647" y="1010"/>
                  <a:pt x="647" y="1009"/>
                  <a:pt x="647" y="1007"/>
                </a:cubicBezTo>
                <a:cubicBezTo>
                  <a:pt x="648" y="1006"/>
                  <a:pt x="648" y="1004"/>
                  <a:pt x="649" y="1003"/>
                </a:cubicBezTo>
                <a:cubicBezTo>
                  <a:pt x="649" y="1002"/>
                  <a:pt x="650" y="1002"/>
                  <a:pt x="650" y="1001"/>
                </a:cubicBezTo>
                <a:cubicBezTo>
                  <a:pt x="650" y="1000"/>
                  <a:pt x="650" y="999"/>
                  <a:pt x="651" y="998"/>
                </a:cubicBezTo>
                <a:cubicBezTo>
                  <a:pt x="651" y="997"/>
                  <a:pt x="651" y="997"/>
                  <a:pt x="651" y="996"/>
                </a:cubicBezTo>
                <a:cubicBezTo>
                  <a:pt x="652" y="996"/>
                  <a:pt x="652" y="995"/>
                  <a:pt x="652" y="994"/>
                </a:cubicBezTo>
                <a:cubicBezTo>
                  <a:pt x="652" y="994"/>
                  <a:pt x="652" y="994"/>
                  <a:pt x="652" y="993"/>
                </a:cubicBezTo>
                <a:cubicBezTo>
                  <a:pt x="652" y="993"/>
                  <a:pt x="652" y="992"/>
                  <a:pt x="652" y="992"/>
                </a:cubicBezTo>
                <a:cubicBezTo>
                  <a:pt x="652" y="991"/>
                  <a:pt x="652" y="989"/>
                  <a:pt x="651" y="988"/>
                </a:cubicBezTo>
                <a:cubicBezTo>
                  <a:pt x="650" y="986"/>
                  <a:pt x="650" y="985"/>
                  <a:pt x="650" y="983"/>
                </a:cubicBezTo>
                <a:cubicBezTo>
                  <a:pt x="650" y="982"/>
                  <a:pt x="650" y="980"/>
                  <a:pt x="650" y="978"/>
                </a:cubicBezTo>
                <a:cubicBezTo>
                  <a:pt x="650" y="978"/>
                  <a:pt x="651" y="977"/>
                  <a:pt x="651" y="976"/>
                </a:cubicBezTo>
                <a:cubicBezTo>
                  <a:pt x="651" y="975"/>
                  <a:pt x="652" y="974"/>
                  <a:pt x="652" y="973"/>
                </a:cubicBezTo>
                <a:cubicBezTo>
                  <a:pt x="652" y="973"/>
                  <a:pt x="653" y="973"/>
                  <a:pt x="653" y="972"/>
                </a:cubicBezTo>
                <a:cubicBezTo>
                  <a:pt x="653" y="972"/>
                  <a:pt x="653" y="971"/>
                  <a:pt x="653" y="971"/>
                </a:cubicBezTo>
                <a:cubicBezTo>
                  <a:pt x="654" y="970"/>
                  <a:pt x="654" y="970"/>
                  <a:pt x="654" y="969"/>
                </a:cubicBezTo>
                <a:cubicBezTo>
                  <a:pt x="655" y="969"/>
                  <a:pt x="656" y="968"/>
                  <a:pt x="657" y="967"/>
                </a:cubicBezTo>
                <a:cubicBezTo>
                  <a:pt x="659" y="967"/>
                  <a:pt x="660" y="965"/>
                  <a:pt x="661" y="964"/>
                </a:cubicBezTo>
                <a:cubicBezTo>
                  <a:pt x="661" y="964"/>
                  <a:pt x="662" y="964"/>
                  <a:pt x="662" y="963"/>
                </a:cubicBezTo>
                <a:cubicBezTo>
                  <a:pt x="663" y="963"/>
                  <a:pt x="664" y="963"/>
                  <a:pt x="665" y="963"/>
                </a:cubicBezTo>
                <a:cubicBezTo>
                  <a:pt x="666" y="962"/>
                  <a:pt x="667" y="961"/>
                  <a:pt x="668" y="960"/>
                </a:cubicBezTo>
                <a:cubicBezTo>
                  <a:pt x="669" y="960"/>
                  <a:pt x="670" y="960"/>
                  <a:pt x="670" y="959"/>
                </a:cubicBezTo>
                <a:cubicBezTo>
                  <a:pt x="671" y="959"/>
                  <a:pt x="673" y="958"/>
                  <a:pt x="673" y="957"/>
                </a:cubicBezTo>
                <a:cubicBezTo>
                  <a:pt x="673" y="957"/>
                  <a:pt x="673" y="956"/>
                  <a:pt x="674" y="956"/>
                </a:cubicBezTo>
                <a:cubicBezTo>
                  <a:pt x="674" y="956"/>
                  <a:pt x="674" y="956"/>
                  <a:pt x="674" y="955"/>
                </a:cubicBezTo>
                <a:cubicBezTo>
                  <a:pt x="675" y="955"/>
                  <a:pt x="675" y="955"/>
                  <a:pt x="675" y="954"/>
                </a:cubicBezTo>
                <a:cubicBezTo>
                  <a:pt x="676" y="954"/>
                  <a:pt x="675" y="956"/>
                  <a:pt x="676" y="955"/>
                </a:cubicBezTo>
                <a:cubicBezTo>
                  <a:pt x="676" y="955"/>
                  <a:pt x="676" y="955"/>
                  <a:pt x="677" y="955"/>
                </a:cubicBezTo>
                <a:cubicBezTo>
                  <a:pt x="677" y="955"/>
                  <a:pt x="677" y="954"/>
                  <a:pt x="677" y="954"/>
                </a:cubicBezTo>
                <a:cubicBezTo>
                  <a:pt x="677" y="954"/>
                  <a:pt x="678" y="954"/>
                  <a:pt x="678" y="954"/>
                </a:cubicBezTo>
                <a:cubicBezTo>
                  <a:pt x="678" y="954"/>
                  <a:pt x="678" y="953"/>
                  <a:pt x="678" y="953"/>
                </a:cubicBezTo>
                <a:cubicBezTo>
                  <a:pt x="678" y="953"/>
                  <a:pt x="678" y="953"/>
                  <a:pt x="678" y="952"/>
                </a:cubicBezTo>
                <a:cubicBezTo>
                  <a:pt x="678" y="952"/>
                  <a:pt x="678" y="952"/>
                  <a:pt x="678" y="952"/>
                </a:cubicBezTo>
                <a:cubicBezTo>
                  <a:pt x="678" y="951"/>
                  <a:pt x="678" y="951"/>
                  <a:pt x="678" y="951"/>
                </a:cubicBezTo>
                <a:cubicBezTo>
                  <a:pt x="677" y="950"/>
                  <a:pt x="677" y="950"/>
                  <a:pt x="677" y="950"/>
                </a:cubicBezTo>
                <a:cubicBezTo>
                  <a:pt x="677" y="950"/>
                  <a:pt x="677" y="949"/>
                  <a:pt x="677" y="949"/>
                </a:cubicBezTo>
                <a:cubicBezTo>
                  <a:pt x="677" y="949"/>
                  <a:pt x="676" y="948"/>
                  <a:pt x="677" y="948"/>
                </a:cubicBezTo>
                <a:cubicBezTo>
                  <a:pt x="677" y="948"/>
                  <a:pt x="677" y="949"/>
                  <a:pt x="677" y="949"/>
                </a:cubicBezTo>
                <a:cubicBezTo>
                  <a:pt x="678" y="949"/>
                  <a:pt x="678" y="949"/>
                  <a:pt x="678" y="948"/>
                </a:cubicBezTo>
                <a:cubicBezTo>
                  <a:pt x="678" y="948"/>
                  <a:pt x="679" y="948"/>
                  <a:pt x="679" y="948"/>
                </a:cubicBezTo>
                <a:cubicBezTo>
                  <a:pt x="679" y="947"/>
                  <a:pt x="679" y="947"/>
                  <a:pt x="679" y="947"/>
                </a:cubicBezTo>
                <a:cubicBezTo>
                  <a:pt x="680" y="946"/>
                  <a:pt x="680" y="948"/>
                  <a:pt x="680" y="948"/>
                </a:cubicBezTo>
                <a:cubicBezTo>
                  <a:pt x="680" y="949"/>
                  <a:pt x="679" y="949"/>
                  <a:pt x="679" y="949"/>
                </a:cubicBezTo>
                <a:cubicBezTo>
                  <a:pt x="679" y="949"/>
                  <a:pt x="678" y="949"/>
                  <a:pt x="679" y="950"/>
                </a:cubicBezTo>
                <a:cubicBezTo>
                  <a:pt x="679" y="950"/>
                  <a:pt x="679" y="950"/>
                  <a:pt x="679" y="950"/>
                </a:cubicBezTo>
                <a:cubicBezTo>
                  <a:pt x="680" y="950"/>
                  <a:pt x="680" y="950"/>
                  <a:pt x="680" y="950"/>
                </a:cubicBezTo>
                <a:cubicBezTo>
                  <a:pt x="680" y="950"/>
                  <a:pt x="681" y="950"/>
                  <a:pt x="681" y="950"/>
                </a:cubicBezTo>
                <a:cubicBezTo>
                  <a:pt x="681" y="951"/>
                  <a:pt x="680" y="951"/>
                  <a:pt x="680" y="951"/>
                </a:cubicBezTo>
                <a:cubicBezTo>
                  <a:pt x="680" y="951"/>
                  <a:pt x="679" y="951"/>
                  <a:pt x="679" y="951"/>
                </a:cubicBezTo>
                <a:cubicBezTo>
                  <a:pt x="679" y="952"/>
                  <a:pt x="679" y="952"/>
                  <a:pt x="679" y="952"/>
                </a:cubicBezTo>
                <a:cubicBezTo>
                  <a:pt x="679" y="953"/>
                  <a:pt x="678" y="953"/>
                  <a:pt x="679" y="953"/>
                </a:cubicBezTo>
                <a:cubicBezTo>
                  <a:pt x="679" y="953"/>
                  <a:pt x="679" y="952"/>
                  <a:pt x="680" y="952"/>
                </a:cubicBezTo>
                <a:cubicBezTo>
                  <a:pt x="680" y="951"/>
                  <a:pt x="681" y="951"/>
                  <a:pt x="682" y="951"/>
                </a:cubicBezTo>
                <a:cubicBezTo>
                  <a:pt x="683" y="950"/>
                  <a:pt x="684" y="950"/>
                  <a:pt x="684" y="950"/>
                </a:cubicBezTo>
                <a:cubicBezTo>
                  <a:pt x="685" y="949"/>
                  <a:pt x="686" y="949"/>
                  <a:pt x="686" y="949"/>
                </a:cubicBezTo>
                <a:cubicBezTo>
                  <a:pt x="687" y="948"/>
                  <a:pt x="688" y="948"/>
                  <a:pt x="689" y="948"/>
                </a:cubicBezTo>
                <a:cubicBezTo>
                  <a:pt x="689" y="948"/>
                  <a:pt x="689" y="948"/>
                  <a:pt x="690" y="948"/>
                </a:cubicBezTo>
                <a:cubicBezTo>
                  <a:pt x="690" y="948"/>
                  <a:pt x="689" y="947"/>
                  <a:pt x="689" y="947"/>
                </a:cubicBezTo>
                <a:cubicBezTo>
                  <a:pt x="690" y="947"/>
                  <a:pt x="690" y="947"/>
                  <a:pt x="690" y="947"/>
                </a:cubicBezTo>
                <a:cubicBezTo>
                  <a:pt x="690" y="948"/>
                  <a:pt x="690" y="948"/>
                  <a:pt x="691" y="948"/>
                </a:cubicBezTo>
                <a:cubicBezTo>
                  <a:pt x="691" y="948"/>
                  <a:pt x="692" y="947"/>
                  <a:pt x="692" y="947"/>
                </a:cubicBezTo>
                <a:cubicBezTo>
                  <a:pt x="693" y="947"/>
                  <a:pt x="694" y="947"/>
                  <a:pt x="694" y="947"/>
                </a:cubicBezTo>
                <a:cubicBezTo>
                  <a:pt x="695" y="947"/>
                  <a:pt x="695" y="947"/>
                  <a:pt x="695" y="947"/>
                </a:cubicBezTo>
                <a:cubicBezTo>
                  <a:pt x="696" y="947"/>
                  <a:pt x="695" y="947"/>
                  <a:pt x="695" y="947"/>
                </a:cubicBezTo>
                <a:cubicBezTo>
                  <a:pt x="694" y="946"/>
                  <a:pt x="695" y="946"/>
                  <a:pt x="695" y="946"/>
                </a:cubicBezTo>
                <a:cubicBezTo>
                  <a:pt x="696" y="945"/>
                  <a:pt x="695" y="944"/>
                  <a:pt x="695" y="943"/>
                </a:cubicBezTo>
                <a:cubicBezTo>
                  <a:pt x="696" y="944"/>
                  <a:pt x="696" y="945"/>
                  <a:pt x="697" y="945"/>
                </a:cubicBezTo>
                <a:cubicBezTo>
                  <a:pt x="697" y="946"/>
                  <a:pt x="698" y="946"/>
                  <a:pt x="698" y="946"/>
                </a:cubicBezTo>
                <a:cubicBezTo>
                  <a:pt x="698" y="946"/>
                  <a:pt x="698" y="946"/>
                  <a:pt x="699" y="947"/>
                </a:cubicBezTo>
                <a:cubicBezTo>
                  <a:pt x="699" y="947"/>
                  <a:pt x="700" y="947"/>
                  <a:pt x="700" y="947"/>
                </a:cubicBezTo>
                <a:cubicBezTo>
                  <a:pt x="700" y="947"/>
                  <a:pt x="700" y="947"/>
                  <a:pt x="701" y="947"/>
                </a:cubicBezTo>
                <a:cubicBezTo>
                  <a:pt x="702" y="948"/>
                  <a:pt x="702" y="948"/>
                  <a:pt x="703" y="948"/>
                </a:cubicBezTo>
                <a:cubicBezTo>
                  <a:pt x="703" y="949"/>
                  <a:pt x="704" y="949"/>
                  <a:pt x="705" y="949"/>
                </a:cubicBezTo>
                <a:cubicBezTo>
                  <a:pt x="706" y="950"/>
                  <a:pt x="707" y="950"/>
                  <a:pt x="708" y="950"/>
                </a:cubicBezTo>
                <a:cubicBezTo>
                  <a:pt x="709" y="950"/>
                  <a:pt x="709" y="950"/>
                  <a:pt x="710" y="949"/>
                </a:cubicBezTo>
                <a:cubicBezTo>
                  <a:pt x="710" y="949"/>
                  <a:pt x="710" y="948"/>
                  <a:pt x="709" y="948"/>
                </a:cubicBezTo>
                <a:cubicBezTo>
                  <a:pt x="709" y="948"/>
                  <a:pt x="709" y="948"/>
                  <a:pt x="709" y="948"/>
                </a:cubicBezTo>
                <a:cubicBezTo>
                  <a:pt x="709" y="948"/>
                  <a:pt x="709" y="947"/>
                  <a:pt x="710" y="947"/>
                </a:cubicBezTo>
                <a:cubicBezTo>
                  <a:pt x="710" y="947"/>
                  <a:pt x="710" y="947"/>
                  <a:pt x="711" y="947"/>
                </a:cubicBezTo>
                <a:cubicBezTo>
                  <a:pt x="711" y="947"/>
                  <a:pt x="712" y="946"/>
                  <a:pt x="712" y="946"/>
                </a:cubicBezTo>
                <a:cubicBezTo>
                  <a:pt x="713" y="946"/>
                  <a:pt x="713" y="947"/>
                  <a:pt x="713" y="947"/>
                </a:cubicBezTo>
                <a:cubicBezTo>
                  <a:pt x="714" y="947"/>
                  <a:pt x="715" y="947"/>
                  <a:pt x="715" y="948"/>
                </a:cubicBezTo>
                <a:cubicBezTo>
                  <a:pt x="715" y="948"/>
                  <a:pt x="715" y="949"/>
                  <a:pt x="715" y="949"/>
                </a:cubicBezTo>
                <a:cubicBezTo>
                  <a:pt x="716" y="949"/>
                  <a:pt x="716" y="949"/>
                  <a:pt x="716" y="949"/>
                </a:cubicBezTo>
                <a:cubicBezTo>
                  <a:pt x="717" y="949"/>
                  <a:pt x="717" y="950"/>
                  <a:pt x="717" y="950"/>
                </a:cubicBezTo>
                <a:cubicBezTo>
                  <a:pt x="717" y="950"/>
                  <a:pt x="718" y="950"/>
                  <a:pt x="719" y="951"/>
                </a:cubicBezTo>
                <a:cubicBezTo>
                  <a:pt x="719" y="951"/>
                  <a:pt x="719" y="951"/>
                  <a:pt x="720" y="952"/>
                </a:cubicBezTo>
                <a:cubicBezTo>
                  <a:pt x="720" y="952"/>
                  <a:pt x="721" y="952"/>
                  <a:pt x="721" y="953"/>
                </a:cubicBezTo>
                <a:cubicBezTo>
                  <a:pt x="722" y="953"/>
                  <a:pt x="722" y="953"/>
                  <a:pt x="722" y="954"/>
                </a:cubicBezTo>
                <a:cubicBezTo>
                  <a:pt x="722" y="954"/>
                  <a:pt x="722" y="954"/>
                  <a:pt x="723" y="954"/>
                </a:cubicBezTo>
                <a:cubicBezTo>
                  <a:pt x="723" y="954"/>
                  <a:pt x="723" y="955"/>
                  <a:pt x="723" y="955"/>
                </a:cubicBezTo>
                <a:cubicBezTo>
                  <a:pt x="724" y="955"/>
                  <a:pt x="724" y="955"/>
                  <a:pt x="724" y="955"/>
                </a:cubicBezTo>
                <a:cubicBezTo>
                  <a:pt x="725" y="955"/>
                  <a:pt x="725" y="956"/>
                  <a:pt x="725" y="955"/>
                </a:cubicBezTo>
                <a:cubicBezTo>
                  <a:pt x="726" y="955"/>
                  <a:pt x="726" y="955"/>
                  <a:pt x="726" y="955"/>
                </a:cubicBezTo>
                <a:cubicBezTo>
                  <a:pt x="726" y="955"/>
                  <a:pt x="726" y="954"/>
                  <a:pt x="727" y="954"/>
                </a:cubicBezTo>
                <a:cubicBezTo>
                  <a:pt x="727" y="953"/>
                  <a:pt x="728" y="953"/>
                  <a:pt x="728" y="953"/>
                </a:cubicBezTo>
                <a:cubicBezTo>
                  <a:pt x="729" y="953"/>
                  <a:pt x="729" y="953"/>
                  <a:pt x="730" y="953"/>
                </a:cubicBezTo>
                <a:cubicBezTo>
                  <a:pt x="730" y="953"/>
                  <a:pt x="730" y="953"/>
                  <a:pt x="730" y="953"/>
                </a:cubicBezTo>
                <a:cubicBezTo>
                  <a:pt x="730" y="954"/>
                  <a:pt x="730" y="954"/>
                  <a:pt x="731" y="954"/>
                </a:cubicBezTo>
                <a:cubicBezTo>
                  <a:pt x="731" y="954"/>
                  <a:pt x="731" y="954"/>
                  <a:pt x="731" y="955"/>
                </a:cubicBezTo>
                <a:cubicBezTo>
                  <a:pt x="731" y="955"/>
                  <a:pt x="731" y="956"/>
                  <a:pt x="731" y="956"/>
                </a:cubicBezTo>
                <a:cubicBezTo>
                  <a:pt x="731" y="956"/>
                  <a:pt x="731" y="955"/>
                  <a:pt x="732" y="955"/>
                </a:cubicBezTo>
                <a:cubicBezTo>
                  <a:pt x="732" y="955"/>
                  <a:pt x="732" y="955"/>
                  <a:pt x="732" y="955"/>
                </a:cubicBezTo>
                <a:cubicBezTo>
                  <a:pt x="732" y="955"/>
                  <a:pt x="732" y="955"/>
                  <a:pt x="733" y="954"/>
                </a:cubicBezTo>
                <a:cubicBezTo>
                  <a:pt x="733" y="953"/>
                  <a:pt x="733" y="953"/>
                  <a:pt x="733" y="952"/>
                </a:cubicBezTo>
                <a:cubicBezTo>
                  <a:pt x="733" y="952"/>
                  <a:pt x="733" y="952"/>
                  <a:pt x="733" y="952"/>
                </a:cubicBezTo>
                <a:cubicBezTo>
                  <a:pt x="733" y="951"/>
                  <a:pt x="733" y="951"/>
                  <a:pt x="733" y="951"/>
                </a:cubicBezTo>
                <a:cubicBezTo>
                  <a:pt x="733" y="951"/>
                  <a:pt x="732" y="951"/>
                  <a:pt x="732" y="951"/>
                </a:cubicBezTo>
                <a:cubicBezTo>
                  <a:pt x="732" y="950"/>
                  <a:pt x="733" y="950"/>
                  <a:pt x="734" y="950"/>
                </a:cubicBezTo>
                <a:cubicBezTo>
                  <a:pt x="734" y="950"/>
                  <a:pt x="734" y="950"/>
                  <a:pt x="735" y="950"/>
                </a:cubicBezTo>
                <a:cubicBezTo>
                  <a:pt x="735" y="951"/>
                  <a:pt x="735" y="951"/>
                  <a:pt x="735" y="951"/>
                </a:cubicBezTo>
                <a:cubicBezTo>
                  <a:pt x="736" y="952"/>
                  <a:pt x="737" y="952"/>
                  <a:pt x="737" y="952"/>
                </a:cubicBezTo>
                <a:cubicBezTo>
                  <a:pt x="737" y="953"/>
                  <a:pt x="737" y="953"/>
                  <a:pt x="738" y="953"/>
                </a:cubicBezTo>
                <a:cubicBezTo>
                  <a:pt x="738" y="953"/>
                  <a:pt x="738" y="953"/>
                  <a:pt x="739" y="953"/>
                </a:cubicBezTo>
                <a:cubicBezTo>
                  <a:pt x="739" y="953"/>
                  <a:pt x="739" y="953"/>
                  <a:pt x="739" y="954"/>
                </a:cubicBezTo>
                <a:cubicBezTo>
                  <a:pt x="739" y="954"/>
                  <a:pt x="739" y="954"/>
                  <a:pt x="740" y="954"/>
                </a:cubicBezTo>
                <a:cubicBezTo>
                  <a:pt x="740" y="954"/>
                  <a:pt x="740" y="954"/>
                  <a:pt x="740" y="955"/>
                </a:cubicBezTo>
                <a:cubicBezTo>
                  <a:pt x="740" y="956"/>
                  <a:pt x="741" y="955"/>
                  <a:pt x="742" y="955"/>
                </a:cubicBezTo>
                <a:cubicBezTo>
                  <a:pt x="742" y="956"/>
                  <a:pt x="742" y="956"/>
                  <a:pt x="741" y="956"/>
                </a:cubicBezTo>
                <a:cubicBezTo>
                  <a:pt x="741" y="956"/>
                  <a:pt x="741" y="957"/>
                  <a:pt x="741" y="957"/>
                </a:cubicBezTo>
                <a:cubicBezTo>
                  <a:pt x="741" y="957"/>
                  <a:pt x="740" y="957"/>
                  <a:pt x="740" y="957"/>
                </a:cubicBezTo>
                <a:cubicBezTo>
                  <a:pt x="740" y="958"/>
                  <a:pt x="741" y="958"/>
                  <a:pt x="741" y="958"/>
                </a:cubicBezTo>
                <a:cubicBezTo>
                  <a:pt x="741" y="958"/>
                  <a:pt x="741" y="957"/>
                  <a:pt x="742" y="957"/>
                </a:cubicBezTo>
                <a:cubicBezTo>
                  <a:pt x="742" y="957"/>
                  <a:pt x="743" y="957"/>
                  <a:pt x="743" y="957"/>
                </a:cubicBezTo>
                <a:cubicBezTo>
                  <a:pt x="744" y="957"/>
                  <a:pt x="743" y="956"/>
                  <a:pt x="744" y="955"/>
                </a:cubicBezTo>
                <a:cubicBezTo>
                  <a:pt x="744" y="955"/>
                  <a:pt x="745" y="955"/>
                  <a:pt x="745" y="955"/>
                </a:cubicBezTo>
                <a:cubicBezTo>
                  <a:pt x="745" y="954"/>
                  <a:pt x="744" y="954"/>
                  <a:pt x="744" y="954"/>
                </a:cubicBezTo>
                <a:cubicBezTo>
                  <a:pt x="743" y="954"/>
                  <a:pt x="743" y="953"/>
                  <a:pt x="743" y="953"/>
                </a:cubicBezTo>
                <a:cubicBezTo>
                  <a:pt x="742" y="953"/>
                  <a:pt x="742" y="953"/>
                  <a:pt x="742" y="952"/>
                </a:cubicBezTo>
                <a:cubicBezTo>
                  <a:pt x="741" y="952"/>
                  <a:pt x="740" y="952"/>
                  <a:pt x="739" y="952"/>
                </a:cubicBezTo>
                <a:cubicBezTo>
                  <a:pt x="739" y="952"/>
                  <a:pt x="739" y="951"/>
                  <a:pt x="739" y="951"/>
                </a:cubicBezTo>
                <a:cubicBezTo>
                  <a:pt x="739" y="951"/>
                  <a:pt x="738" y="951"/>
                  <a:pt x="738" y="950"/>
                </a:cubicBezTo>
                <a:cubicBezTo>
                  <a:pt x="737" y="950"/>
                  <a:pt x="738" y="950"/>
                  <a:pt x="738" y="950"/>
                </a:cubicBezTo>
                <a:cubicBezTo>
                  <a:pt x="738" y="949"/>
                  <a:pt x="738" y="949"/>
                  <a:pt x="738" y="949"/>
                </a:cubicBezTo>
                <a:cubicBezTo>
                  <a:pt x="738" y="949"/>
                  <a:pt x="739" y="949"/>
                  <a:pt x="739" y="949"/>
                </a:cubicBezTo>
                <a:cubicBezTo>
                  <a:pt x="740" y="949"/>
                  <a:pt x="739" y="949"/>
                  <a:pt x="739" y="948"/>
                </a:cubicBezTo>
                <a:cubicBezTo>
                  <a:pt x="739" y="948"/>
                  <a:pt x="738" y="948"/>
                  <a:pt x="738" y="948"/>
                </a:cubicBezTo>
                <a:cubicBezTo>
                  <a:pt x="738" y="948"/>
                  <a:pt x="739" y="948"/>
                  <a:pt x="739" y="948"/>
                </a:cubicBezTo>
                <a:cubicBezTo>
                  <a:pt x="739" y="948"/>
                  <a:pt x="739" y="947"/>
                  <a:pt x="739" y="947"/>
                </a:cubicBezTo>
                <a:cubicBezTo>
                  <a:pt x="740" y="947"/>
                  <a:pt x="740" y="947"/>
                  <a:pt x="740" y="947"/>
                </a:cubicBezTo>
                <a:cubicBezTo>
                  <a:pt x="741" y="947"/>
                  <a:pt x="741" y="947"/>
                  <a:pt x="741" y="947"/>
                </a:cubicBezTo>
                <a:cubicBezTo>
                  <a:pt x="741" y="946"/>
                  <a:pt x="741" y="946"/>
                  <a:pt x="741" y="946"/>
                </a:cubicBezTo>
                <a:cubicBezTo>
                  <a:pt x="741" y="946"/>
                  <a:pt x="741" y="946"/>
                  <a:pt x="741" y="946"/>
                </a:cubicBezTo>
                <a:cubicBezTo>
                  <a:pt x="741" y="945"/>
                  <a:pt x="741" y="945"/>
                  <a:pt x="740" y="945"/>
                </a:cubicBezTo>
                <a:cubicBezTo>
                  <a:pt x="740" y="944"/>
                  <a:pt x="740" y="944"/>
                  <a:pt x="740" y="944"/>
                </a:cubicBezTo>
                <a:cubicBezTo>
                  <a:pt x="740" y="943"/>
                  <a:pt x="740" y="943"/>
                  <a:pt x="739" y="943"/>
                </a:cubicBezTo>
                <a:cubicBezTo>
                  <a:pt x="739" y="944"/>
                  <a:pt x="739" y="944"/>
                  <a:pt x="739" y="944"/>
                </a:cubicBezTo>
                <a:cubicBezTo>
                  <a:pt x="739" y="944"/>
                  <a:pt x="739" y="944"/>
                  <a:pt x="738" y="944"/>
                </a:cubicBezTo>
                <a:cubicBezTo>
                  <a:pt x="738" y="945"/>
                  <a:pt x="738" y="945"/>
                  <a:pt x="738" y="945"/>
                </a:cubicBezTo>
                <a:cubicBezTo>
                  <a:pt x="738" y="945"/>
                  <a:pt x="738" y="946"/>
                  <a:pt x="737" y="946"/>
                </a:cubicBezTo>
                <a:cubicBezTo>
                  <a:pt x="737" y="946"/>
                  <a:pt x="737" y="946"/>
                  <a:pt x="737" y="945"/>
                </a:cubicBezTo>
                <a:cubicBezTo>
                  <a:pt x="737" y="945"/>
                  <a:pt x="737" y="945"/>
                  <a:pt x="737" y="945"/>
                </a:cubicBezTo>
                <a:cubicBezTo>
                  <a:pt x="736" y="945"/>
                  <a:pt x="735" y="944"/>
                  <a:pt x="736" y="944"/>
                </a:cubicBezTo>
                <a:cubicBezTo>
                  <a:pt x="737" y="944"/>
                  <a:pt x="737" y="944"/>
                  <a:pt x="737" y="943"/>
                </a:cubicBezTo>
                <a:cubicBezTo>
                  <a:pt x="737" y="943"/>
                  <a:pt x="737" y="943"/>
                  <a:pt x="736" y="943"/>
                </a:cubicBezTo>
                <a:cubicBezTo>
                  <a:pt x="736" y="943"/>
                  <a:pt x="735" y="943"/>
                  <a:pt x="735" y="943"/>
                </a:cubicBezTo>
                <a:cubicBezTo>
                  <a:pt x="735" y="943"/>
                  <a:pt x="734" y="943"/>
                  <a:pt x="734" y="943"/>
                </a:cubicBezTo>
                <a:cubicBezTo>
                  <a:pt x="733" y="943"/>
                  <a:pt x="732" y="944"/>
                  <a:pt x="731" y="943"/>
                </a:cubicBezTo>
                <a:cubicBezTo>
                  <a:pt x="731" y="943"/>
                  <a:pt x="731" y="943"/>
                  <a:pt x="730" y="943"/>
                </a:cubicBezTo>
                <a:cubicBezTo>
                  <a:pt x="730" y="943"/>
                  <a:pt x="730" y="943"/>
                  <a:pt x="729" y="943"/>
                </a:cubicBezTo>
                <a:cubicBezTo>
                  <a:pt x="729" y="943"/>
                  <a:pt x="729" y="943"/>
                  <a:pt x="729" y="942"/>
                </a:cubicBezTo>
                <a:cubicBezTo>
                  <a:pt x="729" y="942"/>
                  <a:pt x="729" y="942"/>
                  <a:pt x="730" y="942"/>
                </a:cubicBezTo>
                <a:cubicBezTo>
                  <a:pt x="730" y="942"/>
                  <a:pt x="730" y="942"/>
                  <a:pt x="731" y="941"/>
                </a:cubicBezTo>
                <a:cubicBezTo>
                  <a:pt x="731" y="941"/>
                  <a:pt x="731" y="941"/>
                  <a:pt x="732" y="941"/>
                </a:cubicBezTo>
                <a:cubicBezTo>
                  <a:pt x="733" y="941"/>
                  <a:pt x="733" y="941"/>
                  <a:pt x="734" y="941"/>
                </a:cubicBezTo>
                <a:cubicBezTo>
                  <a:pt x="735" y="941"/>
                  <a:pt x="735" y="941"/>
                  <a:pt x="736" y="941"/>
                </a:cubicBezTo>
                <a:cubicBezTo>
                  <a:pt x="737" y="942"/>
                  <a:pt x="737" y="942"/>
                  <a:pt x="738" y="942"/>
                </a:cubicBezTo>
                <a:cubicBezTo>
                  <a:pt x="738" y="942"/>
                  <a:pt x="739" y="942"/>
                  <a:pt x="739" y="942"/>
                </a:cubicBezTo>
                <a:cubicBezTo>
                  <a:pt x="739" y="942"/>
                  <a:pt x="740" y="941"/>
                  <a:pt x="740" y="941"/>
                </a:cubicBezTo>
                <a:cubicBezTo>
                  <a:pt x="740" y="941"/>
                  <a:pt x="741" y="940"/>
                  <a:pt x="741" y="940"/>
                </a:cubicBezTo>
                <a:cubicBezTo>
                  <a:pt x="742" y="940"/>
                  <a:pt x="742" y="939"/>
                  <a:pt x="743" y="939"/>
                </a:cubicBezTo>
                <a:cubicBezTo>
                  <a:pt x="744" y="939"/>
                  <a:pt x="744" y="939"/>
                  <a:pt x="745" y="939"/>
                </a:cubicBezTo>
                <a:cubicBezTo>
                  <a:pt x="746" y="939"/>
                  <a:pt x="747" y="939"/>
                  <a:pt x="748" y="939"/>
                </a:cubicBezTo>
                <a:cubicBezTo>
                  <a:pt x="748" y="939"/>
                  <a:pt x="749" y="939"/>
                  <a:pt x="750" y="940"/>
                </a:cubicBezTo>
                <a:cubicBezTo>
                  <a:pt x="751" y="940"/>
                  <a:pt x="752" y="940"/>
                  <a:pt x="752" y="940"/>
                </a:cubicBezTo>
                <a:cubicBezTo>
                  <a:pt x="753" y="940"/>
                  <a:pt x="755" y="941"/>
                  <a:pt x="755" y="940"/>
                </a:cubicBezTo>
                <a:cubicBezTo>
                  <a:pt x="755" y="940"/>
                  <a:pt x="755" y="939"/>
                  <a:pt x="755" y="939"/>
                </a:cubicBezTo>
                <a:cubicBezTo>
                  <a:pt x="755" y="939"/>
                  <a:pt x="755" y="938"/>
                  <a:pt x="756" y="938"/>
                </a:cubicBezTo>
                <a:cubicBezTo>
                  <a:pt x="756" y="937"/>
                  <a:pt x="756" y="937"/>
                  <a:pt x="756" y="936"/>
                </a:cubicBezTo>
                <a:cubicBezTo>
                  <a:pt x="756" y="936"/>
                  <a:pt x="756" y="935"/>
                  <a:pt x="756" y="936"/>
                </a:cubicBezTo>
                <a:cubicBezTo>
                  <a:pt x="757" y="936"/>
                  <a:pt x="757" y="936"/>
                  <a:pt x="757" y="936"/>
                </a:cubicBezTo>
                <a:cubicBezTo>
                  <a:pt x="757" y="937"/>
                  <a:pt x="757" y="937"/>
                  <a:pt x="757" y="938"/>
                </a:cubicBezTo>
                <a:cubicBezTo>
                  <a:pt x="757" y="938"/>
                  <a:pt x="757" y="938"/>
                  <a:pt x="757" y="939"/>
                </a:cubicBezTo>
                <a:cubicBezTo>
                  <a:pt x="758" y="939"/>
                  <a:pt x="758" y="939"/>
                  <a:pt x="758" y="940"/>
                </a:cubicBezTo>
                <a:cubicBezTo>
                  <a:pt x="758" y="940"/>
                  <a:pt x="758" y="940"/>
                  <a:pt x="759" y="940"/>
                </a:cubicBezTo>
                <a:cubicBezTo>
                  <a:pt x="759" y="941"/>
                  <a:pt x="759" y="941"/>
                  <a:pt x="759" y="941"/>
                </a:cubicBezTo>
                <a:cubicBezTo>
                  <a:pt x="760" y="942"/>
                  <a:pt x="761" y="941"/>
                  <a:pt x="761" y="941"/>
                </a:cubicBezTo>
                <a:cubicBezTo>
                  <a:pt x="762" y="941"/>
                  <a:pt x="762" y="941"/>
                  <a:pt x="762" y="941"/>
                </a:cubicBezTo>
                <a:cubicBezTo>
                  <a:pt x="763" y="941"/>
                  <a:pt x="763" y="941"/>
                  <a:pt x="763" y="940"/>
                </a:cubicBezTo>
                <a:cubicBezTo>
                  <a:pt x="763" y="940"/>
                  <a:pt x="764" y="941"/>
                  <a:pt x="764" y="940"/>
                </a:cubicBezTo>
                <a:cubicBezTo>
                  <a:pt x="765" y="940"/>
                  <a:pt x="765" y="940"/>
                  <a:pt x="765" y="939"/>
                </a:cubicBezTo>
                <a:cubicBezTo>
                  <a:pt x="765" y="939"/>
                  <a:pt x="766" y="939"/>
                  <a:pt x="766" y="939"/>
                </a:cubicBezTo>
                <a:cubicBezTo>
                  <a:pt x="766" y="938"/>
                  <a:pt x="766" y="938"/>
                  <a:pt x="766" y="938"/>
                </a:cubicBezTo>
                <a:cubicBezTo>
                  <a:pt x="766" y="938"/>
                  <a:pt x="766" y="937"/>
                  <a:pt x="766" y="938"/>
                </a:cubicBezTo>
                <a:cubicBezTo>
                  <a:pt x="767" y="938"/>
                  <a:pt x="766" y="938"/>
                  <a:pt x="766" y="938"/>
                </a:cubicBezTo>
                <a:cubicBezTo>
                  <a:pt x="767" y="939"/>
                  <a:pt x="767" y="938"/>
                  <a:pt x="767" y="938"/>
                </a:cubicBezTo>
                <a:cubicBezTo>
                  <a:pt x="767" y="937"/>
                  <a:pt x="768" y="937"/>
                  <a:pt x="768" y="937"/>
                </a:cubicBezTo>
                <a:cubicBezTo>
                  <a:pt x="768" y="937"/>
                  <a:pt x="768" y="938"/>
                  <a:pt x="769" y="938"/>
                </a:cubicBezTo>
                <a:cubicBezTo>
                  <a:pt x="769" y="939"/>
                  <a:pt x="767" y="939"/>
                  <a:pt x="767" y="939"/>
                </a:cubicBezTo>
                <a:cubicBezTo>
                  <a:pt x="766" y="939"/>
                  <a:pt x="766" y="940"/>
                  <a:pt x="766" y="940"/>
                </a:cubicBezTo>
                <a:cubicBezTo>
                  <a:pt x="766" y="940"/>
                  <a:pt x="765" y="940"/>
                  <a:pt x="765" y="940"/>
                </a:cubicBezTo>
                <a:cubicBezTo>
                  <a:pt x="766" y="941"/>
                  <a:pt x="766" y="940"/>
                  <a:pt x="767" y="940"/>
                </a:cubicBezTo>
                <a:cubicBezTo>
                  <a:pt x="767" y="940"/>
                  <a:pt x="768" y="940"/>
                  <a:pt x="769" y="940"/>
                </a:cubicBezTo>
                <a:cubicBezTo>
                  <a:pt x="770" y="939"/>
                  <a:pt x="770" y="939"/>
                  <a:pt x="771" y="939"/>
                </a:cubicBezTo>
                <a:cubicBezTo>
                  <a:pt x="772" y="939"/>
                  <a:pt x="772" y="939"/>
                  <a:pt x="773" y="939"/>
                </a:cubicBezTo>
                <a:cubicBezTo>
                  <a:pt x="773" y="939"/>
                  <a:pt x="773" y="939"/>
                  <a:pt x="773" y="939"/>
                </a:cubicBezTo>
                <a:cubicBezTo>
                  <a:pt x="774" y="938"/>
                  <a:pt x="774" y="939"/>
                  <a:pt x="775" y="939"/>
                </a:cubicBezTo>
                <a:cubicBezTo>
                  <a:pt x="775" y="939"/>
                  <a:pt x="776" y="938"/>
                  <a:pt x="776" y="939"/>
                </a:cubicBezTo>
                <a:cubicBezTo>
                  <a:pt x="776" y="939"/>
                  <a:pt x="777" y="939"/>
                  <a:pt x="777" y="939"/>
                </a:cubicBezTo>
                <a:cubicBezTo>
                  <a:pt x="777" y="939"/>
                  <a:pt x="777" y="939"/>
                  <a:pt x="778" y="939"/>
                </a:cubicBezTo>
                <a:cubicBezTo>
                  <a:pt x="777" y="939"/>
                  <a:pt x="777" y="939"/>
                  <a:pt x="776" y="939"/>
                </a:cubicBezTo>
                <a:cubicBezTo>
                  <a:pt x="775" y="939"/>
                  <a:pt x="776" y="940"/>
                  <a:pt x="776" y="940"/>
                </a:cubicBezTo>
                <a:cubicBezTo>
                  <a:pt x="777" y="940"/>
                  <a:pt x="777" y="940"/>
                  <a:pt x="778" y="941"/>
                </a:cubicBezTo>
                <a:cubicBezTo>
                  <a:pt x="778" y="941"/>
                  <a:pt x="778" y="941"/>
                  <a:pt x="778" y="941"/>
                </a:cubicBezTo>
                <a:cubicBezTo>
                  <a:pt x="778" y="941"/>
                  <a:pt x="779" y="941"/>
                  <a:pt x="779" y="941"/>
                </a:cubicBezTo>
                <a:cubicBezTo>
                  <a:pt x="779" y="941"/>
                  <a:pt x="779" y="942"/>
                  <a:pt x="780" y="942"/>
                </a:cubicBezTo>
                <a:cubicBezTo>
                  <a:pt x="780" y="942"/>
                  <a:pt x="780" y="942"/>
                  <a:pt x="781" y="942"/>
                </a:cubicBezTo>
                <a:cubicBezTo>
                  <a:pt x="781" y="943"/>
                  <a:pt x="781" y="942"/>
                  <a:pt x="782" y="943"/>
                </a:cubicBezTo>
                <a:cubicBezTo>
                  <a:pt x="782" y="943"/>
                  <a:pt x="783" y="943"/>
                  <a:pt x="783" y="942"/>
                </a:cubicBezTo>
                <a:cubicBezTo>
                  <a:pt x="783" y="942"/>
                  <a:pt x="782" y="942"/>
                  <a:pt x="782" y="942"/>
                </a:cubicBezTo>
                <a:cubicBezTo>
                  <a:pt x="782" y="941"/>
                  <a:pt x="781" y="941"/>
                  <a:pt x="781" y="941"/>
                </a:cubicBezTo>
                <a:cubicBezTo>
                  <a:pt x="781" y="941"/>
                  <a:pt x="782" y="941"/>
                  <a:pt x="782" y="941"/>
                </a:cubicBezTo>
                <a:cubicBezTo>
                  <a:pt x="783" y="941"/>
                  <a:pt x="783" y="941"/>
                  <a:pt x="783" y="941"/>
                </a:cubicBezTo>
                <a:cubicBezTo>
                  <a:pt x="784" y="941"/>
                  <a:pt x="783" y="941"/>
                  <a:pt x="783" y="942"/>
                </a:cubicBezTo>
                <a:cubicBezTo>
                  <a:pt x="783" y="942"/>
                  <a:pt x="784" y="942"/>
                  <a:pt x="784" y="942"/>
                </a:cubicBezTo>
                <a:cubicBezTo>
                  <a:pt x="785" y="943"/>
                  <a:pt x="783" y="943"/>
                  <a:pt x="783" y="943"/>
                </a:cubicBezTo>
                <a:cubicBezTo>
                  <a:pt x="783" y="943"/>
                  <a:pt x="783" y="944"/>
                  <a:pt x="784" y="944"/>
                </a:cubicBezTo>
                <a:cubicBezTo>
                  <a:pt x="784" y="944"/>
                  <a:pt x="784" y="944"/>
                  <a:pt x="784" y="945"/>
                </a:cubicBezTo>
                <a:cubicBezTo>
                  <a:pt x="784" y="945"/>
                  <a:pt x="785" y="945"/>
                  <a:pt x="785" y="945"/>
                </a:cubicBezTo>
                <a:cubicBezTo>
                  <a:pt x="785" y="945"/>
                  <a:pt x="786" y="945"/>
                  <a:pt x="786" y="946"/>
                </a:cubicBezTo>
                <a:cubicBezTo>
                  <a:pt x="786" y="946"/>
                  <a:pt x="787" y="946"/>
                  <a:pt x="787" y="947"/>
                </a:cubicBezTo>
                <a:cubicBezTo>
                  <a:pt x="788" y="947"/>
                  <a:pt x="788" y="948"/>
                  <a:pt x="788" y="948"/>
                </a:cubicBezTo>
                <a:cubicBezTo>
                  <a:pt x="789" y="948"/>
                  <a:pt x="789" y="948"/>
                  <a:pt x="790" y="948"/>
                </a:cubicBezTo>
                <a:cubicBezTo>
                  <a:pt x="790" y="947"/>
                  <a:pt x="791" y="947"/>
                  <a:pt x="792" y="947"/>
                </a:cubicBezTo>
                <a:cubicBezTo>
                  <a:pt x="793" y="947"/>
                  <a:pt x="793" y="946"/>
                  <a:pt x="794" y="946"/>
                </a:cubicBezTo>
                <a:cubicBezTo>
                  <a:pt x="796" y="945"/>
                  <a:pt x="797" y="945"/>
                  <a:pt x="798" y="944"/>
                </a:cubicBezTo>
                <a:cubicBezTo>
                  <a:pt x="800" y="943"/>
                  <a:pt x="801" y="943"/>
                  <a:pt x="803" y="944"/>
                </a:cubicBezTo>
                <a:cubicBezTo>
                  <a:pt x="804" y="944"/>
                  <a:pt x="805" y="945"/>
                  <a:pt x="806" y="946"/>
                </a:cubicBezTo>
                <a:cubicBezTo>
                  <a:pt x="807" y="947"/>
                  <a:pt x="807" y="947"/>
                  <a:pt x="808" y="948"/>
                </a:cubicBezTo>
                <a:cubicBezTo>
                  <a:pt x="808" y="948"/>
                  <a:pt x="808" y="949"/>
                  <a:pt x="809" y="950"/>
                </a:cubicBezTo>
                <a:cubicBezTo>
                  <a:pt x="809" y="950"/>
                  <a:pt x="809" y="951"/>
                  <a:pt x="810" y="951"/>
                </a:cubicBezTo>
                <a:cubicBezTo>
                  <a:pt x="811" y="952"/>
                  <a:pt x="811" y="952"/>
                  <a:pt x="812" y="952"/>
                </a:cubicBezTo>
                <a:cubicBezTo>
                  <a:pt x="813" y="953"/>
                  <a:pt x="813" y="953"/>
                  <a:pt x="814" y="954"/>
                </a:cubicBezTo>
                <a:cubicBezTo>
                  <a:pt x="814" y="954"/>
                  <a:pt x="815" y="954"/>
                  <a:pt x="816" y="955"/>
                </a:cubicBezTo>
                <a:cubicBezTo>
                  <a:pt x="816" y="955"/>
                  <a:pt x="816" y="956"/>
                  <a:pt x="817" y="957"/>
                </a:cubicBezTo>
                <a:cubicBezTo>
                  <a:pt x="817" y="957"/>
                  <a:pt x="817" y="957"/>
                  <a:pt x="817" y="958"/>
                </a:cubicBezTo>
                <a:cubicBezTo>
                  <a:pt x="817" y="958"/>
                  <a:pt x="817" y="958"/>
                  <a:pt x="817" y="959"/>
                </a:cubicBezTo>
                <a:cubicBezTo>
                  <a:pt x="817" y="959"/>
                  <a:pt x="817" y="959"/>
                  <a:pt x="817" y="960"/>
                </a:cubicBezTo>
                <a:cubicBezTo>
                  <a:pt x="818" y="961"/>
                  <a:pt x="817" y="962"/>
                  <a:pt x="817" y="962"/>
                </a:cubicBezTo>
                <a:cubicBezTo>
                  <a:pt x="817" y="963"/>
                  <a:pt x="817" y="964"/>
                  <a:pt x="817" y="965"/>
                </a:cubicBezTo>
                <a:cubicBezTo>
                  <a:pt x="816" y="966"/>
                  <a:pt x="816" y="966"/>
                  <a:pt x="816" y="967"/>
                </a:cubicBezTo>
                <a:cubicBezTo>
                  <a:pt x="816" y="968"/>
                  <a:pt x="816" y="969"/>
                  <a:pt x="815" y="969"/>
                </a:cubicBezTo>
                <a:cubicBezTo>
                  <a:pt x="815" y="970"/>
                  <a:pt x="815" y="971"/>
                  <a:pt x="815" y="972"/>
                </a:cubicBezTo>
                <a:cubicBezTo>
                  <a:pt x="816" y="972"/>
                  <a:pt x="816" y="972"/>
                  <a:pt x="816" y="972"/>
                </a:cubicBezTo>
                <a:cubicBezTo>
                  <a:pt x="816" y="973"/>
                  <a:pt x="816" y="973"/>
                  <a:pt x="816" y="973"/>
                </a:cubicBezTo>
                <a:cubicBezTo>
                  <a:pt x="816" y="974"/>
                  <a:pt x="817" y="973"/>
                  <a:pt x="817" y="973"/>
                </a:cubicBezTo>
                <a:cubicBezTo>
                  <a:pt x="817" y="973"/>
                  <a:pt x="817" y="973"/>
                  <a:pt x="818" y="972"/>
                </a:cubicBezTo>
                <a:cubicBezTo>
                  <a:pt x="818" y="972"/>
                  <a:pt x="818" y="971"/>
                  <a:pt x="818" y="971"/>
                </a:cubicBezTo>
                <a:cubicBezTo>
                  <a:pt x="818" y="971"/>
                  <a:pt x="819" y="971"/>
                  <a:pt x="819" y="971"/>
                </a:cubicBezTo>
                <a:cubicBezTo>
                  <a:pt x="820" y="971"/>
                  <a:pt x="820" y="971"/>
                  <a:pt x="820" y="971"/>
                </a:cubicBezTo>
                <a:cubicBezTo>
                  <a:pt x="820" y="970"/>
                  <a:pt x="820" y="970"/>
                  <a:pt x="820" y="970"/>
                </a:cubicBezTo>
                <a:cubicBezTo>
                  <a:pt x="821" y="970"/>
                  <a:pt x="821" y="971"/>
                  <a:pt x="821" y="971"/>
                </a:cubicBezTo>
                <a:cubicBezTo>
                  <a:pt x="821" y="971"/>
                  <a:pt x="820" y="971"/>
                  <a:pt x="820" y="972"/>
                </a:cubicBezTo>
                <a:cubicBezTo>
                  <a:pt x="820" y="972"/>
                  <a:pt x="819" y="973"/>
                  <a:pt x="819" y="973"/>
                </a:cubicBezTo>
                <a:cubicBezTo>
                  <a:pt x="819" y="974"/>
                  <a:pt x="819" y="974"/>
                  <a:pt x="819" y="975"/>
                </a:cubicBezTo>
                <a:cubicBezTo>
                  <a:pt x="818" y="975"/>
                  <a:pt x="818" y="975"/>
                  <a:pt x="818" y="975"/>
                </a:cubicBezTo>
                <a:cubicBezTo>
                  <a:pt x="817" y="975"/>
                  <a:pt x="818" y="976"/>
                  <a:pt x="818" y="977"/>
                </a:cubicBezTo>
                <a:cubicBezTo>
                  <a:pt x="818" y="977"/>
                  <a:pt x="818" y="977"/>
                  <a:pt x="819" y="978"/>
                </a:cubicBezTo>
                <a:cubicBezTo>
                  <a:pt x="819" y="978"/>
                  <a:pt x="819" y="978"/>
                  <a:pt x="819" y="979"/>
                </a:cubicBezTo>
                <a:cubicBezTo>
                  <a:pt x="819" y="979"/>
                  <a:pt x="820" y="980"/>
                  <a:pt x="820" y="981"/>
                </a:cubicBezTo>
                <a:cubicBezTo>
                  <a:pt x="820" y="982"/>
                  <a:pt x="822" y="982"/>
                  <a:pt x="822" y="983"/>
                </a:cubicBezTo>
                <a:cubicBezTo>
                  <a:pt x="822" y="984"/>
                  <a:pt x="822" y="984"/>
                  <a:pt x="823" y="984"/>
                </a:cubicBezTo>
                <a:cubicBezTo>
                  <a:pt x="823" y="984"/>
                  <a:pt x="823" y="984"/>
                  <a:pt x="823" y="984"/>
                </a:cubicBezTo>
                <a:cubicBezTo>
                  <a:pt x="823" y="984"/>
                  <a:pt x="823" y="983"/>
                  <a:pt x="823" y="983"/>
                </a:cubicBezTo>
                <a:cubicBezTo>
                  <a:pt x="823" y="983"/>
                  <a:pt x="823" y="982"/>
                  <a:pt x="824" y="982"/>
                </a:cubicBezTo>
                <a:cubicBezTo>
                  <a:pt x="825" y="982"/>
                  <a:pt x="824" y="984"/>
                  <a:pt x="824" y="984"/>
                </a:cubicBezTo>
                <a:cubicBezTo>
                  <a:pt x="824" y="984"/>
                  <a:pt x="824" y="985"/>
                  <a:pt x="824" y="985"/>
                </a:cubicBezTo>
                <a:cubicBezTo>
                  <a:pt x="824" y="986"/>
                  <a:pt x="824" y="986"/>
                  <a:pt x="824" y="986"/>
                </a:cubicBezTo>
                <a:cubicBezTo>
                  <a:pt x="824" y="987"/>
                  <a:pt x="824" y="987"/>
                  <a:pt x="825" y="987"/>
                </a:cubicBezTo>
                <a:cubicBezTo>
                  <a:pt x="825" y="987"/>
                  <a:pt x="825" y="988"/>
                  <a:pt x="825" y="988"/>
                </a:cubicBezTo>
                <a:cubicBezTo>
                  <a:pt x="826" y="988"/>
                  <a:pt x="826" y="988"/>
                  <a:pt x="826" y="988"/>
                </a:cubicBezTo>
                <a:cubicBezTo>
                  <a:pt x="827" y="989"/>
                  <a:pt x="827" y="989"/>
                  <a:pt x="827" y="990"/>
                </a:cubicBezTo>
                <a:cubicBezTo>
                  <a:pt x="827" y="991"/>
                  <a:pt x="827" y="991"/>
                  <a:pt x="827" y="992"/>
                </a:cubicBezTo>
                <a:cubicBezTo>
                  <a:pt x="828" y="993"/>
                  <a:pt x="828" y="993"/>
                  <a:pt x="828" y="994"/>
                </a:cubicBezTo>
                <a:cubicBezTo>
                  <a:pt x="828" y="995"/>
                  <a:pt x="828" y="995"/>
                  <a:pt x="829" y="995"/>
                </a:cubicBezTo>
                <a:cubicBezTo>
                  <a:pt x="830" y="995"/>
                  <a:pt x="830" y="996"/>
                  <a:pt x="831" y="996"/>
                </a:cubicBezTo>
                <a:cubicBezTo>
                  <a:pt x="831" y="997"/>
                  <a:pt x="832" y="998"/>
                  <a:pt x="832" y="998"/>
                </a:cubicBezTo>
                <a:cubicBezTo>
                  <a:pt x="833" y="998"/>
                  <a:pt x="833" y="999"/>
                  <a:pt x="834" y="999"/>
                </a:cubicBezTo>
                <a:cubicBezTo>
                  <a:pt x="834" y="1000"/>
                  <a:pt x="835" y="1000"/>
                  <a:pt x="835" y="1001"/>
                </a:cubicBezTo>
                <a:cubicBezTo>
                  <a:pt x="835" y="1001"/>
                  <a:pt x="835" y="1002"/>
                  <a:pt x="836" y="1002"/>
                </a:cubicBezTo>
                <a:cubicBezTo>
                  <a:pt x="837" y="1002"/>
                  <a:pt x="837" y="1002"/>
                  <a:pt x="837" y="1003"/>
                </a:cubicBezTo>
                <a:cubicBezTo>
                  <a:pt x="837" y="1003"/>
                  <a:pt x="836" y="1003"/>
                  <a:pt x="836" y="1003"/>
                </a:cubicBezTo>
                <a:cubicBezTo>
                  <a:pt x="836" y="1003"/>
                  <a:pt x="835" y="1001"/>
                  <a:pt x="835" y="1002"/>
                </a:cubicBezTo>
                <a:cubicBezTo>
                  <a:pt x="834" y="1003"/>
                  <a:pt x="835" y="1003"/>
                  <a:pt x="835" y="1004"/>
                </a:cubicBezTo>
                <a:cubicBezTo>
                  <a:pt x="835" y="1004"/>
                  <a:pt x="835" y="1004"/>
                  <a:pt x="835" y="1005"/>
                </a:cubicBezTo>
                <a:cubicBezTo>
                  <a:pt x="836" y="1005"/>
                  <a:pt x="837" y="1004"/>
                  <a:pt x="837" y="1004"/>
                </a:cubicBezTo>
                <a:cubicBezTo>
                  <a:pt x="838" y="1004"/>
                  <a:pt x="839" y="1004"/>
                  <a:pt x="840" y="1004"/>
                </a:cubicBezTo>
                <a:cubicBezTo>
                  <a:pt x="840" y="1004"/>
                  <a:pt x="841" y="1004"/>
                  <a:pt x="841" y="1004"/>
                </a:cubicBezTo>
                <a:cubicBezTo>
                  <a:pt x="842" y="1004"/>
                  <a:pt x="842" y="1004"/>
                  <a:pt x="842" y="1003"/>
                </a:cubicBezTo>
                <a:cubicBezTo>
                  <a:pt x="843" y="1003"/>
                  <a:pt x="843" y="1003"/>
                  <a:pt x="843" y="1002"/>
                </a:cubicBezTo>
                <a:cubicBezTo>
                  <a:pt x="843" y="1002"/>
                  <a:pt x="843" y="1002"/>
                  <a:pt x="844" y="1001"/>
                </a:cubicBezTo>
                <a:cubicBezTo>
                  <a:pt x="844" y="1001"/>
                  <a:pt x="844" y="1000"/>
                  <a:pt x="845" y="1000"/>
                </a:cubicBezTo>
                <a:cubicBezTo>
                  <a:pt x="846" y="997"/>
                  <a:pt x="846" y="995"/>
                  <a:pt x="847" y="993"/>
                </a:cubicBezTo>
                <a:cubicBezTo>
                  <a:pt x="847" y="992"/>
                  <a:pt x="847" y="991"/>
                  <a:pt x="847" y="991"/>
                </a:cubicBezTo>
                <a:cubicBezTo>
                  <a:pt x="847" y="990"/>
                  <a:pt x="847" y="990"/>
                  <a:pt x="847" y="989"/>
                </a:cubicBezTo>
                <a:cubicBezTo>
                  <a:pt x="847" y="989"/>
                  <a:pt x="847" y="988"/>
                  <a:pt x="847" y="988"/>
                </a:cubicBezTo>
                <a:cubicBezTo>
                  <a:pt x="847" y="987"/>
                  <a:pt x="847" y="985"/>
                  <a:pt x="847" y="984"/>
                </a:cubicBezTo>
                <a:cubicBezTo>
                  <a:pt x="847" y="983"/>
                  <a:pt x="847" y="982"/>
                  <a:pt x="846" y="981"/>
                </a:cubicBezTo>
                <a:cubicBezTo>
                  <a:pt x="846" y="980"/>
                  <a:pt x="846" y="980"/>
                  <a:pt x="845" y="979"/>
                </a:cubicBezTo>
                <a:cubicBezTo>
                  <a:pt x="845" y="978"/>
                  <a:pt x="845" y="978"/>
                  <a:pt x="844" y="977"/>
                </a:cubicBezTo>
                <a:cubicBezTo>
                  <a:pt x="844" y="977"/>
                  <a:pt x="844" y="976"/>
                  <a:pt x="844" y="975"/>
                </a:cubicBezTo>
                <a:cubicBezTo>
                  <a:pt x="843" y="974"/>
                  <a:pt x="844" y="974"/>
                  <a:pt x="843" y="973"/>
                </a:cubicBezTo>
                <a:cubicBezTo>
                  <a:pt x="843" y="973"/>
                  <a:pt x="843" y="972"/>
                  <a:pt x="843" y="972"/>
                </a:cubicBezTo>
                <a:cubicBezTo>
                  <a:pt x="842" y="972"/>
                  <a:pt x="842" y="971"/>
                  <a:pt x="842" y="971"/>
                </a:cubicBezTo>
                <a:cubicBezTo>
                  <a:pt x="842" y="970"/>
                  <a:pt x="842" y="969"/>
                  <a:pt x="841" y="969"/>
                </a:cubicBezTo>
                <a:cubicBezTo>
                  <a:pt x="841" y="968"/>
                  <a:pt x="841" y="968"/>
                  <a:pt x="841" y="967"/>
                </a:cubicBezTo>
                <a:cubicBezTo>
                  <a:pt x="841" y="966"/>
                  <a:pt x="840" y="966"/>
                  <a:pt x="839" y="965"/>
                </a:cubicBezTo>
                <a:cubicBezTo>
                  <a:pt x="839" y="965"/>
                  <a:pt x="839" y="964"/>
                  <a:pt x="839" y="964"/>
                </a:cubicBezTo>
                <a:cubicBezTo>
                  <a:pt x="839" y="963"/>
                  <a:pt x="839" y="963"/>
                  <a:pt x="839" y="963"/>
                </a:cubicBezTo>
                <a:cubicBezTo>
                  <a:pt x="839" y="962"/>
                  <a:pt x="839" y="962"/>
                  <a:pt x="839" y="962"/>
                </a:cubicBezTo>
                <a:cubicBezTo>
                  <a:pt x="839" y="961"/>
                  <a:pt x="840" y="962"/>
                  <a:pt x="840" y="962"/>
                </a:cubicBezTo>
                <a:cubicBezTo>
                  <a:pt x="840" y="962"/>
                  <a:pt x="840" y="963"/>
                  <a:pt x="840" y="964"/>
                </a:cubicBezTo>
                <a:cubicBezTo>
                  <a:pt x="840" y="964"/>
                  <a:pt x="841" y="965"/>
                  <a:pt x="841" y="965"/>
                </a:cubicBezTo>
                <a:cubicBezTo>
                  <a:pt x="841" y="965"/>
                  <a:pt x="841" y="966"/>
                  <a:pt x="841" y="966"/>
                </a:cubicBezTo>
                <a:cubicBezTo>
                  <a:pt x="841" y="966"/>
                  <a:pt x="841" y="964"/>
                  <a:pt x="841" y="964"/>
                </a:cubicBezTo>
                <a:cubicBezTo>
                  <a:pt x="841" y="963"/>
                  <a:pt x="841" y="962"/>
                  <a:pt x="841" y="962"/>
                </a:cubicBezTo>
                <a:cubicBezTo>
                  <a:pt x="840" y="960"/>
                  <a:pt x="839" y="959"/>
                  <a:pt x="838" y="958"/>
                </a:cubicBezTo>
                <a:cubicBezTo>
                  <a:pt x="837" y="956"/>
                  <a:pt x="837" y="955"/>
                  <a:pt x="836" y="953"/>
                </a:cubicBezTo>
                <a:cubicBezTo>
                  <a:pt x="835" y="952"/>
                  <a:pt x="835" y="950"/>
                  <a:pt x="834" y="949"/>
                </a:cubicBezTo>
                <a:cubicBezTo>
                  <a:pt x="834" y="948"/>
                  <a:pt x="834" y="947"/>
                  <a:pt x="834" y="947"/>
                </a:cubicBezTo>
                <a:cubicBezTo>
                  <a:pt x="833" y="945"/>
                  <a:pt x="832" y="943"/>
                  <a:pt x="831" y="941"/>
                </a:cubicBezTo>
                <a:cubicBezTo>
                  <a:pt x="831" y="940"/>
                  <a:pt x="830" y="938"/>
                  <a:pt x="830" y="936"/>
                </a:cubicBezTo>
                <a:cubicBezTo>
                  <a:pt x="830" y="934"/>
                  <a:pt x="830" y="931"/>
                  <a:pt x="831" y="929"/>
                </a:cubicBezTo>
                <a:cubicBezTo>
                  <a:pt x="832" y="929"/>
                  <a:pt x="832" y="929"/>
                  <a:pt x="832" y="929"/>
                </a:cubicBezTo>
                <a:cubicBezTo>
                  <a:pt x="833" y="929"/>
                  <a:pt x="833" y="929"/>
                  <a:pt x="833" y="928"/>
                </a:cubicBezTo>
                <a:cubicBezTo>
                  <a:pt x="832" y="928"/>
                  <a:pt x="832" y="928"/>
                  <a:pt x="832" y="927"/>
                </a:cubicBezTo>
                <a:cubicBezTo>
                  <a:pt x="832" y="927"/>
                  <a:pt x="832" y="927"/>
                  <a:pt x="833" y="926"/>
                </a:cubicBezTo>
                <a:cubicBezTo>
                  <a:pt x="833" y="926"/>
                  <a:pt x="834" y="925"/>
                  <a:pt x="834" y="925"/>
                </a:cubicBezTo>
                <a:cubicBezTo>
                  <a:pt x="834" y="925"/>
                  <a:pt x="833" y="925"/>
                  <a:pt x="833" y="925"/>
                </a:cubicBezTo>
                <a:cubicBezTo>
                  <a:pt x="833" y="924"/>
                  <a:pt x="833" y="924"/>
                  <a:pt x="833" y="924"/>
                </a:cubicBezTo>
                <a:cubicBezTo>
                  <a:pt x="833" y="924"/>
                  <a:pt x="833" y="923"/>
                  <a:pt x="833" y="923"/>
                </a:cubicBezTo>
                <a:cubicBezTo>
                  <a:pt x="834" y="922"/>
                  <a:pt x="835" y="923"/>
                  <a:pt x="836" y="922"/>
                </a:cubicBezTo>
                <a:cubicBezTo>
                  <a:pt x="836" y="922"/>
                  <a:pt x="836" y="921"/>
                  <a:pt x="836" y="921"/>
                </a:cubicBezTo>
                <a:cubicBezTo>
                  <a:pt x="836" y="921"/>
                  <a:pt x="836" y="920"/>
                  <a:pt x="837" y="920"/>
                </a:cubicBezTo>
                <a:cubicBezTo>
                  <a:pt x="837" y="920"/>
                  <a:pt x="837" y="919"/>
                  <a:pt x="837" y="919"/>
                </a:cubicBezTo>
                <a:cubicBezTo>
                  <a:pt x="838" y="919"/>
                  <a:pt x="838" y="919"/>
                  <a:pt x="838" y="918"/>
                </a:cubicBezTo>
                <a:cubicBezTo>
                  <a:pt x="839" y="918"/>
                  <a:pt x="839" y="918"/>
                  <a:pt x="839" y="917"/>
                </a:cubicBezTo>
                <a:cubicBezTo>
                  <a:pt x="840" y="917"/>
                  <a:pt x="840" y="917"/>
                  <a:pt x="840" y="916"/>
                </a:cubicBezTo>
                <a:cubicBezTo>
                  <a:pt x="840" y="916"/>
                  <a:pt x="840" y="916"/>
                  <a:pt x="840" y="916"/>
                </a:cubicBezTo>
                <a:cubicBezTo>
                  <a:pt x="839" y="915"/>
                  <a:pt x="839" y="915"/>
                  <a:pt x="839" y="915"/>
                </a:cubicBezTo>
                <a:cubicBezTo>
                  <a:pt x="839" y="914"/>
                  <a:pt x="838" y="914"/>
                  <a:pt x="838" y="914"/>
                </a:cubicBezTo>
                <a:cubicBezTo>
                  <a:pt x="838" y="914"/>
                  <a:pt x="838" y="913"/>
                  <a:pt x="838" y="913"/>
                </a:cubicBezTo>
                <a:cubicBezTo>
                  <a:pt x="838" y="914"/>
                  <a:pt x="839" y="914"/>
                  <a:pt x="839" y="914"/>
                </a:cubicBezTo>
                <a:cubicBezTo>
                  <a:pt x="839" y="914"/>
                  <a:pt x="839" y="914"/>
                  <a:pt x="839" y="914"/>
                </a:cubicBezTo>
                <a:cubicBezTo>
                  <a:pt x="840" y="914"/>
                  <a:pt x="840" y="914"/>
                  <a:pt x="840" y="914"/>
                </a:cubicBezTo>
                <a:cubicBezTo>
                  <a:pt x="840" y="915"/>
                  <a:pt x="840" y="915"/>
                  <a:pt x="841" y="915"/>
                </a:cubicBezTo>
                <a:cubicBezTo>
                  <a:pt x="841" y="915"/>
                  <a:pt x="842" y="915"/>
                  <a:pt x="842" y="915"/>
                </a:cubicBezTo>
                <a:cubicBezTo>
                  <a:pt x="843" y="915"/>
                  <a:pt x="842" y="914"/>
                  <a:pt x="842" y="914"/>
                </a:cubicBezTo>
                <a:cubicBezTo>
                  <a:pt x="842" y="914"/>
                  <a:pt x="842" y="913"/>
                  <a:pt x="842" y="913"/>
                </a:cubicBezTo>
                <a:cubicBezTo>
                  <a:pt x="841" y="913"/>
                  <a:pt x="842" y="913"/>
                  <a:pt x="843" y="913"/>
                </a:cubicBezTo>
                <a:cubicBezTo>
                  <a:pt x="844" y="913"/>
                  <a:pt x="844" y="912"/>
                  <a:pt x="844" y="912"/>
                </a:cubicBezTo>
                <a:cubicBezTo>
                  <a:pt x="845" y="911"/>
                  <a:pt x="846" y="912"/>
                  <a:pt x="847" y="911"/>
                </a:cubicBezTo>
                <a:cubicBezTo>
                  <a:pt x="847" y="911"/>
                  <a:pt x="847" y="911"/>
                  <a:pt x="848" y="911"/>
                </a:cubicBezTo>
                <a:cubicBezTo>
                  <a:pt x="848" y="911"/>
                  <a:pt x="848" y="910"/>
                  <a:pt x="848" y="910"/>
                </a:cubicBezTo>
                <a:cubicBezTo>
                  <a:pt x="848" y="909"/>
                  <a:pt x="848" y="909"/>
                  <a:pt x="849" y="909"/>
                </a:cubicBezTo>
                <a:cubicBezTo>
                  <a:pt x="849" y="909"/>
                  <a:pt x="849" y="910"/>
                  <a:pt x="850" y="910"/>
                </a:cubicBezTo>
                <a:cubicBezTo>
                  <a:pt x="850" y="910"/>
                  <a:pt x="851" y="909"/>
                  <a:pt x="851" y="909"/>
                </a:cubicBezTo>
                <a:cubicBezTo>
                  <a:pt x="852" y="908"/>
                  <a:pt x="853" y="907"/>
                  <a:pt x="854" y="907"/>
                </a:cubicBezTo>
                <a:cubicBezTo>
                  <a:pt x="854" y="906"/>
                  <a:pt x="855" y="906"/>
                  <a:pt x="855" y="906"/>
                </a:cubicBezTo>
                <a:cubicBezTo>
                  <a:pt x="855" y="906"/>
                  <a:pt x="856" y="906"/>
                  <a:pt x="857" y="905"/>
                </a:cubicBezTo>
                <a:cubicBezTo>
                  <a:pt x="857" y="905"/>
                  <a:pt x="856" y="904"/>
                  <a:pt x="856" y="903"/>
                </a:cubicBezTo>
                <a:cubicBezTo>
                  <a:pt x="856" y="903"/>
                  <a:pt x="856" y="902"/>
                  <a:pt x="857" y="903"/>
                </a:cubicBezTo>
                <a:cubicBezTo>
                  <a:pt x="857" y="903"/>
                  <a:pt x="857" y="903"/>
                  <a:pt x="857" y="903"/>
                </a:cubicBezTo>
                <a:cubicBezTo>
                  <a:pt x="857" y="903"/>
                  <a:pt x="857" y="903"/>
                  <a:pt x="857" y="902"/>
                </a:cubicBezTo>
                <a:cubicBezTo>
                  <a:pt x="857" y="902"/>
                  <a:pt x="858" y="901"/>
                  <a:pt x="858" y="901"/>
                </a:cubicBezTo>
                <a:cubicBezTo>
                  <a:pt x="858" y="900"/>
                  <a:pt x="859" y="900"/>
                  <a:pt x="859" y="899"/>
                </a:cubicBezTo>
                <a:cubicBezTo>
                  <a:pt x="860" y="898"/>
                  <a:pt x="860" y="898"/>
                  <a:pt x="861" y="897"/>
                </a:cubicBezTo>
                <a:cubicBezTo>
                  <a:pt x="861" y="897"/>
                  <a:pt x="862" y="897"/>
                  <a:pt x="862" y="897"/>
                </a:cubicBezTo>
                <a:cubicBezTo>
                  <a:pt x="862" y="897"/>
                  <a:pt x="863" y="897"/>
                  <a:pt x="863" y="896"/>
                </a:cubicBezTo>
                <a:cubicBezTo>
                  <a:pt x="864" y="895"/>
                  <a:pt x="865" y="895"/>
                  <a:pt x="867" y="895"/>
                </a:cubicBezTo>
                <a:cubicBezTo>
                  <a:pt x="867" y="895"/>
                  <a:pt x="868" y="895"/>
                  <a:pt x="869" y="895"/>
                </a:cubicBezTo>
                <a:cubicBezTo>
                  <a:pt x="869" y="895"/>
                  <a:pt x="870" y="895"/>
                  <a:pt x="871" y="895"/>
                </a:cubicBezTo>
                <a:cubicBezTo>
                  <a:pt x="871" y="895"/>
                  <a:pt x="871" y="894"/>
                  <a:pt x="872" y="893"/>
                </a:cubicBezTo>
                <a:cubicBezTo>
                  <a:pt x="872" y="893"/>
                  <a:pt x="872" y="892"/>
                  <a:pt x="873" y="891"/>
                </a:cubicBezTo>
                <a:cubicBezTo>
                  <a:pt x="873" y="891"/>
                  <a:pt x="874" y="890"/>
                  <a:pt x="875" y="890"/>
                </a:cubicBezTo>
                <a:cubicBezTo>
                  <a:pt x="875" y="889"/>
                  <a:pt x="875" y="888"/>
                  <a:pt x="876" y="888"/>
                </a:cubicBezTo>
                <a:cubicBezTo>
                  <a:pt x="877" y="887"/>
                  <a:pt x="877" y="886"/>
                  <a:pt x="877" y="885"/>
                </a:cubicBezTo>
                <a:cubicBezTo>
                  <a:pt x="878" y="885"/>
                  <a:pt x="878" y="885"/>
                  <a:pt x="878" y="884"/>
                </a:cubicBezTo>
                <a:cubicBezTo>
                  <a:pt x="879" y="884"/>
                  <a:pt x="879" y="884"/>
                  <a:pt x="879" y="884"/>
                </a:cubicBezTo>
                <a:cubicBezTo>
                  <a:pt x="881" y="884"/>
                  <a:pt x="880" y="885"/>
                  <a:pt x="881" y="885"/>
                </a:cubicBezTo>
                <a:cubicBezTo>
                  <a:pt x="882" y="886"/>
                  <a:pt x="883" y="885"/>
                  <a:pt x="883" y="885"/>
                </a:cubicBezTo>
                <a:cubicBezTo>
                  <a:pt x="884" y="885"/>
                  <a:pt x="885" y="886"/>
                  <a:pt x="885" y="885"/>
                </a:cubicBezTo>
                <a:cubicBezTo>
                  <a:pt x="885" y="884"/>
                  <a:pt x="884" y="885"/>
                  <a:pt x="884" y="884"/>
                </a:cubicBezTo>
                <a:cubicBezTo>
                  <a:pt x="883" y="884"/>
                  <a:pt x="884" y="884"/>
                  <a:pt x="884" y="884"/>
                </a:cubicBezTo>
                <a:cubicBezTo>
                  <a:pt x="885" y="884"/>
                  <a:pt x="885" y="883"/>
                  <a:pt x="886" y="883"/>
                </a:cubicBezTo>
                <a:cubicBezTo>
                  <a:pt x="887" y="883"/>
                  <a:pt x="887" y="883"/>
                  <a:pt x="887" y="883"/>
                </a:cubicBezTo>
                <a:cubicBezTo>
                  <a:pt x="888" y="883"/>
                  <a:pt x="888" y="883"/>
                  <a:pt x="888" y="883"/>
                </a:cubicBezTo>
                <a:cubicBezTo>
                  <a:pt x="889" y="883"/>
                  <a:pt x="889" y="882"/>
                  <a:pt x="889" y="882"/>
                </a:cubicBezTo>
                <a:cubicBezTo>
                  <a:pt x="889" y="882"/>
                  <a:pt x="890" y="882"/>
                  <a:pt x="890" y="882"/>
                </a:cubicBezTo>
                <a:cubicBezTo>
                  <a:pt x="890" y="881"/>
                  <a:pt x="890" y="881"/>
                  <a:pt x="890" y="881"/>
                </a:cubicBezTo>
                <a:cubicBezTo>
                  <a:pt x="889" y="881"/>
                  <a:pt x="889" y="881"/>
                  <a:pt x="889" y="881"/>
                </a:cubicBezTo>
                <a:cubicBezTo>
                  <a:pt x="888" y="881"/>
                  <a:pt x="888" y="881"/>
                  <a:pt x="888" y="881"/>
                </a:cubicBezTo>
                <a:cubicBezTo>
                  <a:pt x="888" y="881"/>
                  <a:pt x="888" y="882"/>
                  <a:pt x="887" y="881"/>
                </a:cubicBezTo>
                <a:cubicBezTo>
                  <a:pt x="886" y="881"/>
                  <a:pt x="886" y="881"/>
                  <a:pt x="886" y="881"/>
                </a:cubicBezTo>
                <a:cubicBezTo>
                  <a:pt x="886" y="881"/>
                  <a:pt x="885" y="882"/>
                  <a:pt x="885" y="882"/>
                </a:cubicBezTo>
                <a:cubicBezTo>
                  <a:pt x="884" y="882"/>
                  <a:pt x="884" y="882"/>
                  <a:pt x="883" y="881"/>
                </a:cubicBezTo>
                <a:cubicBezTo>
                  <a:pt x="883" y="881"/>
                  <a:pt x="883" y="881"/>
                  <a:pt x="882" y="881"/>
                </a:cubicBezTo>
                <a:cubicBezTo>
                  <a:pt x="882" y="880"/>
                  <a:pt x="882" y="880"/>
                  <a:pt x="882" y="880"/>
                </a:cubicBezTo>
                <a:cubicBezTo>
                  <a:pt x="883" y="880"/>
                  <a:pt x="883" y="880"/>
                  <a:pt x="884" y="880"/>
                </a:cubicBezTo>
                <a:cubicBezTo>
                  <a:pt x="884" y="880"/>
                  <a:pt x="884" y="880"/>
                  <a:pt x="885" y="880"/>
                </a:cubicBezTo>
                <a:cubicBezTo>
                  <a:pt x="885" y="880"/>
                  <a:pt x="885" y="880"/>
                  <a:pt x="886" y="880"/>
                </a:cubicBezTo>
                <a:cubicBezTo>
                  <a:pt x="886" y="879"/>
                  <a:pt x="886" y="879"/>
                  <a:pt x="887" y="879"/>
                </a:cubicBezTo>
                <a:cubicBezTo>
                  <a:pt x="887" y="878"/>
                  <a:pt x="887" y="878"/>
                  <a:pt x="888" y="878"/>
                </a:cubicBezTo>
                <a:cubicBezTo>
                  <a:pt x="888" y="877"/>
                  <a:pt x="887" y="877"/>
                  <a:pt x="887" y="877"/>
                </a:cubicBezTo>
                <a:cubicBezTo>
                  <a:pt x="887" y="877"/>
                  <a:pt x="887" y="877"/>
                  <a:pt x="886" y="876"/>
                </a:cubicBezTo>
                <a:cubicBezTo>
                  <a:pt x="886" y="876"/>
                  <a:pt x="886" y="876"/>
                  <a:pt x="886" y="876"/>
                </a:cubicBezTo>
                <a:cubicBezTo>
                  <a:pt x="886" y="876"/>
                  <a:pt x="886" y="876"/>
                  <a:pt x="885" y="876"/>
                </a:cubicBezTo>
                <a:cubicBezTo>
                  <a:pt x="885" y="876"/>
                  <a:pt x="885" y="876"/>
                  <a:pt x="884" y="876"/>
                </a:cubicBezTo>
                <a:cubicBezTo>
                  <a:pt x="884" y="876"/>
                  <a:pt x="884" y="875"/>
                  <a:pt x="884" y="875"/>
                </a:cubicBezTo>
                <a:cubicBezTo>
                  <a:pt x="884" y="875"/>
                  <a:pt x="884" y="875"/>
                  <a:pt x="885" y="875"/>
                </a:cubicBezTo>
                <a:cubicBezTo>
                  <a:pt x="885" y="875"/>
                  <a:pt x="885" y="876"/>
                  <a:pt x="886" y="876"/>
                </a:cubicBezTo>
                <a:cubicBezTo>
                  <a:pt x="886" y="876"/>
                  <a:pt x="886" y="875"/>
                  <a:pt x="886" y="875"/>
                </a:cubicBezTo>
                <a:cubicBezTo>
                  <a:pt x="887" y="875"/>
                  <a:pt x="887" y="875"/>
                  <a:pt x="887" y="876"/>
                </a:cubicBezTo>
                <a:cubicBezTo>
                  <a:pt x="887" y="876"/>
                  <a:pt x="888" y="875"/>
                  <a:pt x="888" y="875"/>
                </a:cubicBezTo>
                <a:cubicBezTo>
                  <a:pt x="888" y="875"/>
                  <a:pt x="888" y="876"/>
                  <a:pt x="889" y="876"/>
                </a:cubicBezTo>
                <a:cubicBezTo>
                  <a:pt x="889" y="876"/>
                  <a:pt x="890" y="876"/>
                  <a:pt x="890" y="876"/>
                </a:cubicBezTo>
                <a:cubicBezTo>
                  <a:pt x="890" y="875"/>
                  <a:pt x="891" y="876"/>
                  <a:pt x="891" y="875"/>
                </a:cubicBezTo>
                <a:cubicBezTo>
                  <a:pt x="892" y="875"/>
                  <a:pt x="892" y="875"/>
                  <a:pt x="892" y="875"/>
                </a:cubicBezTo>
                <a:cubicBezTo>
                  <a:pt x="893" y="874"/>
                  <a:pt x="894" y="874"/>
                  <a:pt x="894" y="874"/>
                </a:cubicBezTo>
                <a:cubicBezTo>
                  <a:pt x="895" y="874"/>
                  <a:pt x="896" y="873"/>
                  <a:pt x="896" y="873"/>
                </a:cubicBezTo>
                <a:cubicBezTo>
                  <a:pt x="897" y="872"/>
                  <a:pt x="896" y="871"/>
                  <a:pt x="896" y="871"/>
                </a:cubicBezTo>
                <a:cubicBezTo>
                  <a:pt x="896" y="870"/>
                  <a:pt x="896" y="870"/>
                  <a:pt x="896" y="870"/>
                </a:cubicBezTo>
                <a:cubicBezTo>
                  <a:pt x="896" y="870"/>
                  <a:pt x="896" y="869"/>
                  <a:pt x="896" y="869"/>
                </a:cubicBezTo>
                <a:cubicBezTo>
                  <a:pt x="895" y="869"/>
                  <a:pt x="895" y="869"/>
                  <a:pt x="894" y="869"/>
                </a:cubicBezTo>
                <a:cubicBezTo>
                  <a:pt x="894" y="869"/>
                  <a:pt x="894" y="869"/>
                  <a:pt x="893" y="869"/>
                </a:cubicBezTo>
                <a:cubicBezTo>
                  <a:pt x="893" y="870"/>
                  <a:pt x="893" y="870"/>
                  <a:pt x="893" y="870"/>
                </a:cubicBezTo>
                <a:cubicBezTo>
                  <a:pt x="893" y="871"/>
                  <a:pt x="893" y="871"/>
                  <a:pt x="893" y="870"/>
                </a:cubicBezTo>
                <a:cubicBezTo>
                  <a:pt x="893" y="870"/>
                  <a:pt x="893" y="870"/>
                  <a:pt x="893" y="869"/>
                </a:cubicBezTo>
                <a:cubicBezTo>
                  <a:pt x="893" y="869"/>
                  <a:pt x="893" y="869"/>
                  <a:pt x="893" y="868"/>
                </a:cubicBezTo>
                <a:cubicBezTo>
                  <a:pt x="893" y="868"/>
                  <a:pt x="892" y="868"/>
                  <a:pt x="892" y="868"/>
                </a:cubicBezTo>
                <a:cubicBezTo>
                  <a:pt x="892" y="868"/>
                  <a:pt x="892" y="868"/>
                  <a:pt x="892" y="868"/>
                </a:cubicBezTo>
                <a:cubicBezTo>
                  <a:pt x="892" y="867"/>
                  <a:pt x="892" y="868"/>
                  <a:pt x="892" y="868"/>
                </a:cubicBezTo>
                <a:cubicBezTo>
                  <a:pt x="891" y="868"/>
                  <a:pt x="891" y="868"/>
                  <a:pt x="891" y="868"/>
                </a:cubicBezTo>
                <a:cubicBezTo>
                  <a:pt x="890" y="868"/>
                  <a:pt x="891" y="869"/>
                  <a:pt x="890" y="869"/>
                </a:cubicBezTo>
                <a:cubicBezTo>
                  <a:pt x="890" y="870"/>
                  <a:pt x="890" y="869"/>
                  <a:pt x="890" y="869"/>
                </a:cubicBezTo>
                <a:cubicBezTo>
                  <a:pt x="889" y="869"/>
                  <a:pt x="888" y="868"/>
                  <a:pt x="888" y="868"/>
                </a:cubicBezTo>
                <a:cubicBezTo>
                  <a:pt x="887" y="868"/>
                  <a:pt x="886" y="869"/>
                  <a:pt x="886" y="868"/>
                </a:cubicBezTo>
                <a:cubicBezTo>
                  <a:pt x="885" y="868"/>
                  <a:pt x="886" y="867"/>
                  <a:pt x="885" y="866"/>
                </a:cubicBezTo>
                <a:cubicBezTo>
                  <a:pt x="885" y="866"/>
                  <a:pt x="885" y="866"/>
                  <a:pt x="885" y="866"/>
                </a:cubicBezTo>
                <a:cubicBezTo>
                  <a:pt x="885" y="866"/>
                  <a:pt x="885" y="867"/>
                  <a:pt x="886" y="867"/>
                </a:cubicBezTo>
                <a:cubicBezTo>
                  <a:pt x="886" y="868"/>
                  <a:pt x="887" y="867"/>
                  <a:pt x="888" y="867"/>
                </a:cubicBezTo>
                <a:cubicBezTo>
                  <a:pt x="888" y="867"/>
                  <a:pt x="889" y="867"/>
                  <a:pt x="889" y="867"/>
                </a:cubicBezTo>
                <a:cubicBezTo>
                  <a:pt x="890" y="866"/>
                  <a:pt x="890" y="866"/>
                  <a:pt x="890" y="867"/>
                </a:cubicBezTo>
                <a:cubicBezTo>
                  <a:pt x="891" y="867"/>
                  <a:pt x="891" y="866"/>
                  <a:pt x="891" y="866"/>
                </a:cubicBezTo>
                <a:cubicBezTo>
                  <a:pt x="891" y="866"/>
                  <a:pt x="892" y="866"/>
                  <a:pt x="892" y="866"/>
                </a:cubicBezTo>
                <a:cubicBezTo>
                  <a:pt x="892" y="866"/>
                  <a:pt x="892" y="866"/>
                  <a:pt x="892" y="866"/>
                </a:cubicBezTo>
                <a:cubicBezTo>
                  <a:pt x="893" y="865"/>
                  <a:pt x="893" y="866"/>
                  <a:pt x="894" y="866"/>
                </a:cubicBezTo>
                <a:cubicBezTo>
                  <a:pt x="894" y="866"/>
                  <a:pt x="895" y="866"/>
                  <a:pt x="895" y="866"/>
                </a:cubicBezTo>
                <a:cubicBezTo>
                  <a:pt x="895" y="866"/>
                  <a:pt x="895" y="867"/>
                  <a:pt x="895" y="867"/>
                </a:cubicBezTo>
                <a:cubicBezTo>
                  <a:pt x="896" y="867"/>
                  <a:pt x="896" y="866"/>
                  <a:pt x="895" y="866"/>
                </a:cubicBezTo>
                <a:cubicBezTo>
                  <a:pt x="895" y="866"/>
                  <a:pt x="895" y="865"/>
                  <a:pt x="895" y="865"/>
                </a:cubicBezTo>
                <a:cubicBezTo>
                  <a:pt x="894" y="864"/>
                  <a:pt x="894" y="864"/>
                  <a:pt x="894" y="863"/>
                </a:cubicBezTo>
                <a:cubicBezTo>
                  <a:pt x="894" y="862"/>
                  <a:pt x="893" y="861"/>
                  <a:pt x="893" y="861"/>
                </a:cubicBezTo>
                <a:cubicBezTo>
                  <a:pt x="893" y="860"/>
                  <a:pt x="894" y="860"/>
                  <a:pt x="894" y="860"/>
                </a:cubicBezTo>
                <a:cubicBezTo>
                  <a:pt x="895" y="860"/>
                  <a:pt x="894" y="860"/>
                  <a:pt x="894" y="859"/>
                </a:cubicBezTo>
                <a:cubicBezTo>
                  <a:pt x="895" y="859"/>
                  <a:pt x="894" y="858"/>
                  <a:pt x="894" y="858"/>
                </a:cubicBezTo>
                <a:cubicBezTo>
                  <a:pt x="894" y="857"/>
                  <a:pt x="894" y="857"/>
                  <a:pt x="893" y="856"/>
                </a:cubicBezTo>
                <a:cubicBezTo>
                  <a:pt x="893" y="856"/>
                  <a:pt x="892" y="856"/>
                  <a:pt x="891" y="856"/>
                </a:cubicBezTo>
                <a:cubicBezTo>
                  <a:pt x="891" y="856"/>
                  <a:pt x="891" y="856"/>
                  <a:pt x="890" y="856"/>
                </a:cubicBezTo>
                <a:cubicBezTo>
                  <a:pt x="890" y="856"/>
                  <a:pt x="890" y="856"/>
                  <a:pt x="889" y="856"/>
                </a:cubicBezTo>
                <a:cubicBezTo>
                  <a:pt x="889" y="856"/>
                  <a:pt x="889" y="856"/>
                  <a:pt x="888" y="856"/>
                </a:cubicBezTo>
                <a:cubicBezTo>
                  <a:pt x="888" y="856"/>
                  <a:pt x="888" y="856"/>
                  <a:pt x="888" y="855"/>
                </a:cubicBezTo>
                <a:cubicBezTo>
                  <a:pt x="888" y="855"/>
                  <a:pt x="887" y="855"/>
                  <a:pt x="887" y="855"/>
                </a:cubicBezTo>
                <a:cubicBezTo>
                  <a:pt x="888" y="854"/>
                  <a:pt x="888" y="855"/>
                  <a:pt x="888" y="855"/>
                </a:cubicBezTo>
                <a:cubicBezTo>
                  <a:pt x="888" y="855"/>
                  <a:pt x="888" y="855"/>
                  <a:pt x="889" y="855"/>
                </a:cubicBezTo>
                <a:cubicBezTo>
                  <a:pt x="889" y="855"/>
                  <a:pt x="888" y="856"/>
                  <a:pt x="889" y="856"/>
                </a:cubicBezTo>
                <a:cubicBezTo>
                  <a:pt x="889" y="855"/>
                  <a:pt x="889" y="855"/>
                  <a:pt x="889" y="854"/>
                </a:cubicBezTo>
                <a:cubicBezTo>
                  <a:pt x="889" y="854"/>
                  <a:pt x="890" y="853"/>
                  <a:pt x="889" y="852"/>
                </a:cubicBezTo>
                <a:cubicBezTo>
                  <a:pt x="889" y="852"/>
                  <a:pt x="888" y="852"/>
                  <a:pt x="889" y="851"/>
                </a:cubicBezTo>
                <a:cubicBezTo>
                  <a:pt x="889" y="851"/>
                  <a:pt x="889" y="851"/>
                  <a:pt x="890" y="851"/>
                </a:cubicBezTo>
                <a:cubicBezTo>
                  <a:pt x="890" y="851"/>
                  <a:pt x="891" y="850"/>
                  <a:pt x="890" y="849"/>
                </a:cubicBezTo>
                <a:cubicBezTo>
                  <a:pt x="890" y="849"/>
                  <a:pt x="890" y="848"/>
                  <a:pt x="890" y="848"/>
                </a:cubicBezTo>
                <a:cubicBezTo>
                  <a:pt x="890" y="848"/>
                  <a:pt x="890" y="847"/>
                  <a:pt x="889" y="847"/>
                </a:cubicBezTo>
                <a:cubicBezTo>
                  <a:pt x="889" y="847"/>
                  <a:pt x="888" y="847"/>
                  <a:pt x="888" y="847"/>
                </a:cubicBezTo>
                <a:cubicBezTo>
                  <a:pt x="888" y="846"/>
                  <a:pt x="889" y="846"/>
                  <a:pt x="889" y="846"/>
                </a:cubicBezTo>
                <a:cubicBezTo>
                  <a:pt x="889" y="846"/>
                  <a:pt x="890" y="846"/>
                  <a:pt x="890" y="845"/>
                </a:cubicBezTo>
                <a:cubicBezTo>
                  <a:pt x="890" y="845"/>
                  <a:pt x="890" y="844"/>
                  <a:pt x="890" y="844"/>
                </a:cubicBezTo>
                <a:cubicBezTo>
                  <a:pt x="890" y="844"/>
                  <a:pt x="890" y="843"/>
                  <a:pt x="890" y="843"/>
                </a:cubicBezTo>
                <a:cubicBezTo>
                  <a:pt x="890" y="842"/>
                  <a:pt x="889" y="842"/>
                  <a:pt x="889" y="842"/>
                </a:cubicBezTo>
                <a:cubicBezTo>
                  <a:pt x="889" y="841"/>
                  <a:pt x="888" y="841"/>
                  <a:pt x="887" y="841"/>
                </a:cubicBezTo>
                <a:cubicBezTo>
                  <a:pt x="886" y="840"/>
                  <a:pt x="886" y="840"/>
                  <a:pt x="885" y="840"/>
                </a:cubicBezTo>
                <a:cubicBezTo>
                  <a:pt x="884" y="840"/>
                  <a:pt x="883" y="839"/>
                  <a:pt x="883" y="839"/>
                </a:cubicBezTo>
                <a:cubicBezTo>
                  <a:pt x="883" y="839"/>
                  <a:pt x="882" y="838"/>
                  <a:pt x="882" y="838"/>
                </a:cubicBezTo>
                <a:cubicBezTo>
                  <a:pt x="882" y="838"/>
                  <a:pt x="882" y="838"/>
                  <a:pt x="881" y="837"/>
                </a:cubicBezTo>
                <a:cubicBezTo>
                  <a:pt x="881" y="837"/>
                  <a:pt x="881" y="837"/>
                  <a:pt x="881" y="836"/>
                </a:cubicBezTo>
                <a:cubicBezTo>
                  <a:pt x="881" y="836"/>
                  <a:pt x="880" y="836"/>
                  <a:pt x="880" y="836"/>
                </a:cubicBezTo>
                <a:cubicBezTo>
                  <a:pt x="881" y="836"/>
                  <a:pt x="882" y="836"/>
                  <a:pt x="882" y="837"/>
                </a:cubicBezTo>
                <a:cubicBezTo>
                  <a:pt x="882" y="837"/>
                  <a:pt x="883" y="838"/>
                  <a:pt x="883" y="838"/>
                </a:cubicBezTo>
                <a:cubicBezTo>
                  <a:pt x="883" y="838"/>
                  <a:pt x="883" y="837"/>
                  <a:pt x="884" y="837"/>
                </a:cubicBezTo>
                <a:cubicBezTo>
                  <a:pt x="884" y="837"/>
                  <a:pt x="885" y="837"/>
                  <a:pt x="885" y="838"/>
                </a:cubicBezTo>
                <a:cubicBezTo>
                  <a:pt x="885" y="838"/>
                  <a:pt x="886" y="838"/>
                  <a:pt x="887" y="839"/>
                </a:cubicBezTo>
                <a:cubicBezTo>
                  <a:pt x="887" y="839"/>
                  <a:pt x="887" y="839"/>
                  <a:pt x="887" y="840"/>
                </a:cubicBezTo>
                <a:cubicBezTo>
                  <a:pt x="888" y="840"/>
                  <a:pt x="888" y="840"/>
                  <a:pt x="888" y="840"/>
                </a:cubicBezTo>
                <a:cubicBezTo>
                  <a:pt x="889" y="840"/>
                  <a:pt x="889" y="840"/>
                  <a:pt x="889" y="841"/>
                </a:cubicBezTo>
                <a:cubicBezTo>
                  <a:pt x="889" y="841"/>
                  <a:pt x="889" y="841"/>
                  <a:pt x="890" y="841"/>
                </a:cubicBezTo>
                <a:cubicBezTo>
                  <a:pt x="890" y="841"/>
                  <a:pt x="890" y="841"/>
                  <a:pt x="890" y="841"/>
                </a:cubicBezTo>
                <a:cubicBezTo>
                  <a:pt x="889" y="840"/>
                  <a:pt x="889" y="840"/>
                  <a:pt x="889" y="840"/>
                </a:cubicBezTo>
                <a:cubicBezTo>
                  <a:pt x="889" y="839"/>
                  <a:pt x="889" y="839"/>
                  <a:pt x="889" y="838"/>
                </a:cubicBezTo>
                <a:cubicBezTo>
                  <a:pt x="889" y="838"/>
                  <a:pt x="889" y="838"/>
                  <a:pt x="888" y="838"/>
                </a:cubicBezTo>
                <a:cubicBezTo>
                  <a:pt x="888" y="838"/>
                  <a:pt x="888" y="837"/>
                  <a:pt x="888" y="837"/>
                </a:cubicBezTo>
                <a:cubicBezTo>
                  <a:pt x="887" y="837"/>
                  <a:pt x="887" y="837"/>
                  <a:pt x="887" y="836"/>
                </a:cubicBezTo>
                <a:cubicBezTo>
                  <a:pt x="886" y="836"/>
                  <a:pt x="887" y="836"/>
                  <a:pt x="887" y="836"/>
                </a:cubicBezTo>
                <a:cubicBezTo>
                  <a:pt x="888" y="836"/>
                  <a:pt x="888" y="836"/>
                  <a:pt x="888" y="836"/>
                </a:cubicBezTo>
                <a:cubicBezTo>
                  <a:pt x="889" y="837"/>
                  <a:pt x="889" y="837"/>
                  <a:pt x="889" y="837"/>
                </a:cubicBezTo>
                <a:cubicBezTo>
                  <a:pt x="889" y="836"/>
                  <a:pt x="888" y="836"/>
                  <a:pt x="888" y="835"/>
                </a:cubicBezTo>
                <a:cubicBezTo>
                  <a:pt x="887" y="834"/>
                  <a:pt x="887" y="833"/>
                  <a:pt x="888" y="832"/>
                </a:cubicBezTo>
                <a:cubicBezTo>
                  <a:pt x="888" y="832"/>
                  <a:pt x="888" y="831"/>
                  <a:pt x="888" y="831"/>
                </a:cubicBezTo>
                <a:cubicBezTo>
                  <a:pt x="888" y="831"/>
                  <a:pt x="888" y="831"/>
                  <a:pt x="888" y="830"/>
                </a:cubicBezTo>
                <a:cubicBezTo>
                  <a:pt x="888" y="830"/>
                  <a:pt x="888" y="829"/>
                  <a:pt x="888" y="829"/>
                </a:cubicBezTo>
                <a:cubicBezTo>
                  <a:pt x="888" y="829"/>
                  <a:pt x="889" y="829"/>
                  <a:pt x="888" y="828"/>
                </a:cubicBezTo>
                <a:cubicBezTo>
                  <a:pt x="888" y="828"/>
                  <a:pt x="888" y="828"/>
                  <a:pt x="888" y="827"/>
                </a:cubicBezTo>
                <a:cubicBezTo>
                  <a:pt x="888" y="827"/>
                  <a:pt x="888" y="827"/>
                  <a:pt x="887" y="826"/>
                </a:cubicBezTo>
                <a:cubicBezTo>
                  <a:pt x="887" y="826"/>
                  <a:pt x="886" y="826"/>
                  <a:pt x="887" y="825"/>
                </a:cubicBezTo>
                <a:cubicBezTo>
                  <a:pt x="887" y="825"/>
                  <a:pt x="887" y="825"/>
                  <a:pt x="888" y="825"/>
                </a:cubicBezTo>
                <a:cubicBezTo>
                  <a:pt x="888" y="825"/>
                  <a:pt x="888" y="824"/>
                  <a:pt x="888" y="824"/>
                </a:cubicBezTo>
                <a:cubicBezTo>
                  <a:pt x="889" y="824"/>
                  <a:pt x="889" y="824"/>
                  <a:pt x="889" y="823"/>
                </a:cubicBezTo>
                <a:cubicBezTo>
                  <a:pt x="890" y="823"/>
                  <a:pt x="890" y="823"/>
                  <a:pt x="890" y="823"/>
                </a:cubicBezTo>
                <a:cubicBezTo>
                  <a:pt x="890" y="822"/>
                  <a:pt x="891" y="823"/>
                  <a:pt x="891" y="823"/>
                </a:cubicBezTo>
                <a:cubicBezTo>
                  <a:pt x="892" y="822"/>
                  <a:pt x="892" y="821"/>
                  <a:pt x="893" y="821"/>
                </a:cubicBezTo>
                <a:cubicBezTo>
                  <a:pt x="893" y="821"/>
                  <a:pt x="894" y="821"/>
                  <a:pt x="894" y="821"/>
                </a:cubicBezTo>
                <a:cubicBezTo>
                  <a:pt x="894" y="821"/>
                  <a:pt x="894" y="820"/>
                  <a:pt x="895" y="820"/>
                </a:cubicBezTo>
                <a:cubicBezTo>
                  <a:pt x="895" y="820"/>
                  <a:pt x="895" y="821"/>
                  <a:pt x="895" y="821"/>
                </a:cubicBezTo>
                <a:cubicBezTo>
                  <a:pt x="894" y="822"/>
                  <a:pt x="894" y="822"/>
                  <a:pt x="894" y="822"/>
                </a:cubicBezTo>
                <a:cubicBezTo>
                  <a:pt x="894" y="822"/>
                  <a:pt x="894" y="823"/>
                  <a:pt x="893" y="823"/>
                </a:cubicBezTo>
                <a:cubicBezTo>
                  <a:pt x="893" y="823"/>
                  <a:pt x="893" y="823"/>
                  <a:pt x="893" y="823"/>
                </a:cubicBezTo>
                <a:cubicBezTo>
                  <a:pt x="892" y="824"/>
                  <a:pt x="892" y="824"/>
                  <a:pt x="892" y="824"/>
                </a:cubicBezTo>
                <a:cubicBezTo>
                  <a:pt x="892" y="824"/>
                  <a:pt x="891" y="824"/>
                  <a:pt x="891" y="825"/>
                </a:cubicBezTo>
                <a:cubicBezTo>
                  <a:pt x="891" y="825"/>
                  <a:pt x="891" y="825"/>
                  <a:pt x="891" y="826"/>
                </a:cubicBezTo>
                <a:cubicBezTo>
                  <a:pt x="890" y="826"/>
                  <a:pt x="890" y="826"/>
                  <a:pt x="890" y="827"/>
                </a:cubicBezTo>
                <a:cubicBezTo>
                  <a:pt x="891" y="827"/>
                  <a:pt x="892" y="826"/>
                  <a:pt x="892" y="826"/>
                </a:cubicBezTo>
                <a:cubicBezTo>
                  <a:pt x="892" y="826"/>
                  <a:pt x="892" y="826"/>
                  <a:pt x="892" y="827"/>
                </a:cubicBezTo>
                <a:cubicBezTo>
                  <a:pt x="892" y="827"/>
                  <a:pt x="892" y="827"/>
                  <a:pt x="892" y="827"/>
                </a:cubicBezTo>
                <a:cubicBezTo>
                  <a:pt x="892" y="827"/>
                  <a:pt x="892" y="827"/>
                  <a:pt x="892" y="828"/>
                </a:cubicBezTo>
                <a:cubicBezTo>
                  <a:pt x="891" y="828"/>
                  <a:pt x="891" y="828"/>
                  <a:pt x="891" y="828"/>
                </a:cubicBezTo>
                <a:cubicBezTo>
                  <a:pt x="890" y="828"/>
                  <a:pt x="890" y="828"/>
                  <a:pt x="890" y="828"/>
                </a:cubicBezTo>
                <a:cubicBezTo>
                  <a:pt x="889" y="828"/>
                  <a:pt x="889" y="828"/>
                  <a:pt x="889" y="829"/>
                </a:cubicBezTo>
                <a:cubicBezTo>
                  <a:pt x="889" y="829"/>
                  <a:pt x="889" y="829"/>
                  <a:pt x="889" y="830"/>
                </a:cubicBezTo>
                <a:cubicBezTo>
                  <a:pt x="889" y="830"/>
                  <a:pt x="889" y="831"/>
                  <a:pt x="890" y="830"/>
                </a:cubicBezTo>
                <a:cubicBezTo>
                  <a:pt x="890" y="830"/>
                  <a:pt x="889" y="829"/>
                  <a:pt x="890" y="829"/>
                </a:cubicBezTo>
                <a:cubicBezTo>
                  <a:pt x="891" y="829"/>
                  <a:pt x="892" y="831"/>
                  <a:pt x="892" y="831"/>
                </a:cubicBezTo>
                <a:cubicBezTo>
                  <a:pt x="891" y="832"/>
                  <a:pt x="891" y="832"/>
                  <a:pt x="891" y="832"/>
                </a:cubicBezTo>
                <a:cubicBezTo>
                  <a:pt x="890" y="832"/>
                  <a:pt x="890" y="832"/>
                  <a:pt x="890" y="832"/>
                </a:cubicBezTo>
                <a:cubicBezTo>
                  <a:pt x="890" y="832"/>
                  <a:pt x="891" y="832"/>
                  <a:pt x="891" y="832"/>
                </a:cubicBezTo>
                <a:cubicBezTo>
                  <a:pt x="891" y="833"/>
                  <a:pt x="891" y="833"/>
                  <a:pt x="891" y="833"/>
                </a:cubicBezTo>
                <a:cubicBezTo>
                  <a:pt x="891" y="833"/>
                  <a:pt x="891" y="833"/>
                  <a:pt x="892" y="833"/>
                </a:cubicBezTo>
                <a:cubicBezTo>
                  <a:pt x="892" y="833"/>
                  <a:pt x="893" y="835"/>
                  <a:pt x="893" y="834"/>
                </a:cubicBezTo>
                <a:cubicBezTo>
                  <a:pt x="892" y="835"/>
                  <a:pt x="892" y="834"/>
                  <a:pt x="892" y="834"/>
                </a:cubicBezTo>
                <a:cubicBezTo>
                  <a:pt x="891" y="833"/>
                  <a:pt x="891" y="834"/>
                  <a:pt x="891" y="834"/>
                </a:cubicBezTo>
                <a:cubicBezTo>
                  <a:pt x="891" y="834"/>
                  <a:pt x="890" y="833"/>
                  <a:pt x="890" y="833"/>
                </a:cubicBezTo>
                <a:cubicBezTo>
                  <a:pt x="889" y="833"/>
                  <a:pt x="890" y="834"/>
                  <a:pt x="890" y="835"/>
                </a:cubicBezTo>
                <a:cubicBezTo>
                  <a:pt x="890" y="835"/>
                  <a:pt x="890" y="835"/>
                  <a:pt x="890" y="835"/>
                </a:cubicBezTo>
                <a:cubicBezTo>
                  <a:pt x="890" y="836"/>
                  <a:pt x="890" y="836"/>
                  <a:pt x="890" y="836"/>
                </a:cubicBezTo>
                <a:cubicBezTo>
                  <a:pt x="890" y="837"/>
                  <a:pt x="890" y="837"/>
                  <a:pt x="890" y="837"/>
                </a:cubicBezTo>
                <a:cubicBezTo>
                  <a:pt x="891" y="837"/>
                  <a:pt x="891" y="837"/>
                  <a:pt x="891" y="837"/>
                </a:cubicBezTo>
                <a:cubicBezTo>
                  <a:pt x="892" y="837"/>
                  <a:pt x="891" y="837"/>
                  <a:pt x="892" y="838"/>
                </a:cubicBezTo>
                <a:cubicBezTo>
                  <a:pt x="892" y="838"/>
                  <a:pt x="892" y="838"/>
                  <a:pt x="892" y="838"/>
                </a:cubicBezTo>
                <a:cubicBezTo>
                  <a:pt x="893" y="838"/>
                  <a:pt x="893" y="838"/>
                  <a:pt x="893" y="838"/>
                </a:cubicBezTo>
                <a:cubicBezTo>
                  <a:pt x="893" y="838"/>
                  <a:pt x="893" y="839"/>
                  <a:pt x="893" y="839"/>
                </a:cubicBezTo>
                <a:cubicBezTo>
                  <a:pt x="894" y="839"/>
                  <a:pt x="894" y="838"/>
                  <a:pt x="894" y="838"/>
                </a:cubicBezTo>
                <a:cubicBezTo>
                  <a:pt x="894" y="838"/>
                  <a:pt x="894" y="838"/>
                  <a:pt x="894" y="837"/>
                </a:cubicBezTo>
                <a:cubicBezTo>
                  <a:pt x="894" y="837"/>
                  <a:pt x="894" y="837"/>
                  <a:pt x="895" y="837"/>
                </a:cubicBezTo>
                <a:cubicBezTo>
                  <a:pt x="895" y="837"/>
                  <a:pt x="894" y="837"/>
                  <a:pt x="895" y="837"/>
                </a:cubicBezTo>
                <a:cubicBezTo>
                  <a:pt x="895" y="837"/>
                  <a:pt x="895" y="838"/>
                  <a:pt x="895" y="839"/>
                </a:cubicBezTo>
                <a:cubicBezTo>
                  <a:pt x="895" y="839"/>
                  <a:pt x="895" y="839"/>
                  <a:pt x="895" y="839"/>
                </a:cubicBezTo>
                <a:cubicBezTo>
                  <a:pt x="894" y="839"/>
                  <a:pt x="895" y="839"/>
                  <a:pt x="895" y="839"/>
                </a:cubicBezTo>
                <a:cubicBezTo>
                  <a:pt x="894" y="840"/>
                  <a:pt x="894" y="840"/>
                  <a:pt x="894" y="840"/>
                </a:cubicBezTo>
                <a:cubicBezTo>
                  <a:pt x="894" y="841"/>
                  <a:pt x="895" y="840"/>
                  <a:pt x="896" y="841"/>
                </a:cubicBezTo>
                <a:cubicBezTo>
                  <a:pt x="896" y="841"/>
                  <a:pt x="895" y="842"/>
                  <a:pt x="895" y="842"/>
                </a:cubicBezTo>
                <a:cubicBezTo>
                  <a:pt x="894" y="843"/>
                  <a:pt x="895" y="842"/>
                  <a:pt x="896" y="842"/>
                </a:cubicBezTo>
                <a:cubicBezTo>
                  <a:pt x="897" y="842"/>
                  <a:pt x="896" y="843"/>
                  <a:pt x="896" y="844"/>
                </a:cubicBezTo>
                <a:cubicBezTo>
                  <a:pt x="896" y="845"/>
                  <a:pt x="896" y="845"/>
                  <a:pt x="895" y="846"/>
                </a:cubicBezTo>
                <a:cubicBezTo>
                  <a:pt x="894" y="847"/>
                  <a:pt x="894" y="847"/>
                  <a:pt x="894" y="848"/>
                </a:cubicBezTo>
                <a:cubicBezTo>
                  <a:pt x="894" y="849"/>
                  <a:pt x="893" y="850"/>
                  <a:pt x="893" y="850"/>
                </a:cubicBezTo>
                <a:cubicBezTo>
                  <a:pt x="893" y="851"/>
                  <a:pt x="893" y="852"/>
                  <a:pt x="894" y="853"/>
                </a:cubicBezTo>
                <a:cubicBezTo>
                  <a:pt x="894" y="853"/>
                  <a:pt x="894" y="853"/>
                  <a:pt x="894" y="853"/>
                </a:cubicBezTo>
                <a:cubicBezTo>
                  <a:pt x="895" y="853"/>
                  <a:pt x="895" y="852"/>
                  <a:pt x="895" y="852"/>
                </a:cubicBezTo>
                <a:cubicBezTo>
                  <a:pt x="895" y="851"/>
                  <a:pt x="895" y="851"/>
                  <a:pt x="895" y="850"/>
                </a:cubicBezTo>
                <a:cubicBezTo>
                  <a:pt x="895" y="849"/>
                  <a:pt x="896" y="849"/>
                  <a:pt x="897" y="848"/>
                </a:cubicBezTo>
                <a:cubicBezTo>
                  <a:pt x="898" y="848"/>
                  <a:pt x="898" y="846"/>
                  <a:pt x="899" y="845"/>
                </a:cubicBezTo>
                <a:cubicBezTo>
                  <a:pt x="899" y="844"/>
                  <a:pt x="899" y="844"/>
                  <a:pt x="900" y="843"/>
                </a:cubicBezTo>
                <a:cubicBezTo>
                  <a:pt x="900" y="842"/>
                  <a:pt x="901" y="840"/>
                  <a:pt x="902" y="839"/>
                </a:cubicBezTo>
                <a:cubicBezTo>
                  <a:pt x="902" y="838"/>
                  <a:pt x="902" y="837"/>
                  <a:pt x="903" y="837"/>
                </a:cubicBezTo>
                <a:cubicBezTo>
                  <a:pt x="903" y="836"/>
                  <a:pt x="904" y="835"/>
                  <a:pt x="904" y="834"/>
                </a:cubicBezTo>
                <a:cubicBezTo>
                  <a:pt x="904" y="833"/>
                  <a:pt x="903" y="835"/>
                  <a:pt x="903" y="834"/>
                </a:cubicBezTo>
                <a:cubicBezTo>
                  <a:pt x="903" y="834"/>
                  <a:pt x="903" y="834"/>
                  <a:pt x="903" y="833"/>
                </a:cubicBezTo>
                <a:cubicBezTo>
                  <a:pt x="903" y="833"/>
                  <a:pt x="903" y="833"/>
                  <a:pt x="903" y="833"/>
                </a:cubicBezTo>
                <a:cubicBezTo>
                  <a:pt x="903" y="832"/>
                  <a:pt x="903" y="832"/>
                  <a:pt x="904" y="832"/>
                </a:cubicBezTo>
                <a:cubicBezTo>
                  <a:pt x="904" y="831"/>
                  <a:pt x="903" y="831"/>
                  <a:pt x="903" y="830"/>
                </a:cubicBezTo>
                <a:cubicBezTo>
                  <a:pt x="901" y="829"/>
                  <a:pt x="901" y="828"/>
                  <a:pt x="900" y="827"/>
                </a:cubicBezTo>
                <a:cubicBezTo>
                  <a:pt x="900" y="826"/>
                  <a:pt x="899" y="826"/>
                  <a:pt x="899" y="825"/>
                </a:cubicBezTo>
                <a:cubicBezTo>
                  <a:pt x="899" y="824"/>
                  <a:pt x="899" y="824"/>
                  <a:pt x="899" y="824"/>
                </a:cubicBezTo>
                <a:cubicBezTo>
                  <a:pt x="899" y="823"/>
                  <a:pt x="899" y="823"/>
                  <a:pt x="899" y="823"/>
                </a:cubicBezTo>
                <a:cubicBezTo>
                  <a:pt x="898" y="822"/>
                  <a:pt x="899" y="822"/>
                  <a:pt x="898" y="822"/>
                </a:cubicBezTo>
                <a:cubicBezTo>
                  <a:pt x="898" y="821"/>
                  <a:pt x="898" y="821"/>
                  <a:pt x="898" y="821"/>
                </a:cubicBezTo>
                <a:cubicBezTo>
                  <a:pt x="898" y="820"/>
                  <a:pt x="898" y="819"/>
                  <a:pt x="898" y="819"/>
                </a:cubicBezTo>
                <a:cubicBezTo>
                  <a:pt x="899" y="819"/>
                  <a:pt x="899" y="820"/>
                  <a:pt x="899" y="820"/>
                </a:cubicBezTo>
                <a:cubicBezTo>
                  <a:pt x="899" y="820"/>
                  <a:pt x="898" y="820"/>
                  <a:pt x="898" y="821"/>
                </a:cubicBezTo>
                <a:cubicBezTo>
                  <a:pt x="898" y="821"/>
                  <a:pt x="899" y="821"/>
                  <a:pt x="899" y="821"/>
                </a:cubicBezTo>
                <a:cubicBezTo>
                  <a:pt x="899" y="822"/>
                  <a:pt x="899" y="822"/>
                  <a:pt x="899" y="822"/>
                </a:cubicBezTo>
                <a:cubicBezTo>
                  <a:pt x="900" y="823"/>
                  <a:pt x="900" y="823"/>
                  <a:pt x="900" y="824"/>
                </a:cubicBezTo>
                <a:cubicBezTo>
                  <a:pt x="900" y="824"/>
                  <a:pt x="900" y="823"/>
                  <a:pt x="901" y="824"/>
                </a:cubicBezTo>
                <a:cubicBezTo>
                  <a:pt x="901" y="824"/>
                  <a:pt x="901" y="824"/>
                  <a:pt x="901" y="824"/>
                </a:cubicBezTo>
                <a:cubicBezTo>
                  <a:pt x="901" y="825"/>
                  <a:pt x="902" y="825"/>
                  <a:pt x="902" y="825"/>
                </a:cubicBezTo>
                <a:cubicBezTo>
                  <a:pt x="903" y="826"/>
                  <a:pt x="904" y="826"/>
                  <a:pt x="905" y="826"/>
                </a:cubicBezTo>
                <a:cubicBezTo>
                  <a:pt x="906" y="826"/>
                  <a:pt x="906" y="827"/>
                  <a:pt x="906" y="828"/>
                </a:cubicBezTo>
                <a:cubicBezTo>
                  <a:pt x="905" y="828"/>
                  <a:pt x="905" y="829"/>
                  <a:pt x="905" y="829"/>
                </a:cubicBezTo>
                <a:cubicBezTo>
                  <a:pt x="905" y="830"/>
                  <a:pt x="906" y="829"/>
                  <a:pt x="906" y="829"/>
                </a:cubicBezTo>
                <a:cubicBezTo>
                  <a:pt x="906" y="829"/>
                  <a:pt x="907" y="829"/>
                  <a:pt x="907" y="829"/>
                </a:cubicBezTo>
                <a:cubicBezTo>
                  <a:pt x="907" y="829"/>
                  <a:pt x="907" y="828"/>
                  <a:pt x="908" y="828"/>
                </a:cubicBezTo>
                <a:cubicBezTo>
                  <a:pt x="908" y="827"/>
                  <a:pt x="908" y="826"/>
                  <a:pt x="909" y="826"/>
                </a:cubicBezTo>
                <a:cubicBezTo>
                  <a:pt x="909" y="825"/>
                  <a:pt x="909" y="824"/>
                  <a:pt x="910" y="824"/>
                </a:cubicBezTo>
                <a:cubicBezTo>
                  <a:pt x="911" y="824"/>
                  <a:pt x="911" y="824"/>
                  <a:pt x="911" y="823"/>
                </a:cubicBezTo>
                <a:cubicBezTo>
                  <a:pt x="912" y="823"/>
                  <a:pt x="912" y="822"/>
                  <a:pt x="913" y="822"/>
                </a:cubicBezTo>
                <a:cubicBezTo>
                  <a:pt x="913" y="822"/>
                  <a:pt x="913" y="821"/>
                  <a:pt x="913" y="821"/>
                </a:cubicBezTo>
                <a:cubicBezTo>
                  <a:pt x="913" y="821"/>
                  <a:pt x="913" y="820"/>
                  <a:pt x="914" y="820"/>
                </a:cubicBezTo>
                <a:cubicBezTo>
                  <a:pt x="914" y="820"/>
                  <a:pt x="915" y="820"/>
                  <a:pt x="915" y="819"/>
                </a:cubicBezTo>
                <a:cubicBezTo>
                  <a:pt x="915" y="818"/>
                  <a:pt x="914" y="818"/>
                  <a:pt x="914" y="818"/>
                </a:cubicBezTo>
                <a:cubicBezTo>
                  <a:pt x="915" y="818"/>
                  <a:pt x="915" y="819"/>
                  <a:pt x="915" y="818"/>
                </a:cubicBezTo>
                <a:cubicBezTo>
                  <a:pt x="915" y="818"/>
                  <a:pt x="915" y="817"/>
                  <a:pt x="915" y="817"/>
                </a:cubicBezTo>
                <a:cubicBezTo>
                  <a:pt x="915" y="816"/>
                  <a:pt x="915" y="816"/>
                  <a:pt x="915" y="816"/>
                </a:cubicBezTo>
                <a:cubicBezTo>
                  <a:pt x="915" y="815"/>
                  <a:pt x="915" y="815"/>
                  <a:pt x="915" y="815"/>
                </a:cubicBezTo>
                <a:cubicBezTo>
                  <a:pt x="916" y="814"/>
                  <a:pt x="916" y="814"/>
                  <a:pt x="916" y="814"/>
                </a:cubicBezTo>
                <a:cubicBezTo>
                  <a:pt x="916" y="812"/>
                  <a:pt x="916" y="812"/>
                  <a:pt x="916" y="811"/>
                </a:cubicBezTo>
                <a:cubicBezTo>
                  <a:pt x="916" y="810"/>
                  <a:pt x="916" y="809"/>
                  <a:pt x="916" y="809"/>
                </a:cubicBezTo>
                <a:cubicBezTo>
                  <a:pt x="915" y="809"/>
                  <a:pt x="914" y="810"/>
                  <a:pt x="913" y="809"/>
                </a:cubicBezTo>
                <a:cubicBezTo>
                  <a:pt x="913" y="808"/>
                  <a:pt x="914" y="808"/>
                  <a:pt x="914" y="807"/>
                </a:cubicBezTo>
                <a:cubicBezTo>
                  <a:pt x="915" y="807"/>
                  <a:pt x="915" y="806"/>
                  <a:pt x="915" y="805"/>
                </a:cubicBezTo>
                <a:cubicBezTo>
                  <a:pt x="916" y="805"/>
                  <a:pt x="917" y="805"/>
                  <a:pt x="917" y="804"/>
                </a:cubicBezTo>
                <a:cubicBezTo>
                  <a:pt x="919" y="803"/>
                  <a:pt x="919" y="802"/>
                  <a:pt x="921" y="801"/>
                </a:cubicBezTo>
                <a:cubicBezTo>
                  <a:pt x="922" y="800"/>
                  <a:pt x="923" y="800"/>
                  <a:pt x="925" y="799"/>
                </a:cubicBezTo>
                <a:cubicBezTo>
                  <a:pt x="925" y="799"/>
                  <a:pt x="926" y="799"/>
                  <a:pt x="927" y="798"/>
                </a:cubicBezTo>
                <a:cubicBezTo>
                  <a:pt x="928" y="798"/>
                  <a:pt x="928" y="798"/>
                  <a:pt x="929" y="798"/>
                </a:cubicBezTo>
                <a:cubicBezTo>
                  <a:pt x="931" y="798"/>
                  <a:pt x="932" y="797"/>
                  <a:pt x="934" y="797"/>
                </a:cubicBezTo>
                <a:cubicBezTo>
                  <a:pt x="935" y="797"/>
                  <a:pt x="935" y="797"/>
                  <a:pt x="936" y="797"/>
                </a:cubicBezTo>
                <a:cubicBezTo>
                  <a:pt x="937" y="797"/>
                  <a:pt x="938" y="797"/>
                  <a:pt x="939" y="797"/>
                </a:cubicBezTo>
                <a:cubicBezTo>
                  <a:pt x="939" y="797"/>
                  <a:pt x="940" y="797"/>
                  <a:pt x="941" y="797"/>
                </a:cubicBezTo>
                <a:cubicBezTo>
                  <a:pt x="941" y="797"/>
                  <a:pt x="942" y="797"/>
                  <a:pt x="942" y="797"/>
                </a:cubicBezTo>
                <a:cubicBezTo>
                  <a:pt x="943" y="797"/>
                  <a:pt x="943" y="797"/>
                  <a:pt x="944" y="797"/>
                </a:cubicBezTo>
                <a:cubicBezTo>
                  <a:pt x="944" y="797"/>
                  <a:pt x="945" y="797"/>
                  <a:pt x="945" y="796"/>
                </a:cubicBezTo>
                <a:cubicBezTo>
                  <a:pt x="945" y="796"/>
                  <a:pt x="945" y="796"/>
                  <a:pt x="946" y="795"/>
                </a:cubicBezTo>
                <a:cubicBezTo>
                  <a:pt x="946" y="795"/>
                  <a:pt x="946" y="794"/>
                  <a:pt x="946" y="794"/>
                </a:cubicBezTo>
                <a:cubicBezTo>
                  <a:pt x="946" y="793"/>
                  <a:pt x="946" y="793"/>
                  <a:pt x="946" y="793"/>
                </a:cubicBezTo>
                <a:cubicBezTo>
                  <a:pt x="946" y="792"/>
                  <a:pt x="945" y="792"/>
                  <a:pt x="945" y="792"/>
                </a:cubicBezTo>
                <a:cubicBezTo>
                  <a:pt x="945" y="791"/>
                  <a:pt x="946" y="791"/>
                  <a:pt x="946" y="791"/>
                </a:cubicBezTo>
                <a:cubicBezTo>
                  <a:pt x="947" y="792"/>
                  <a:pt x="947" y="791"/>
                  <a:pt x="947" y="791"/>
                </a:cubicBezTo>
                <a:cubicBezTo>
                  <a:pt x="948" y="791"/>
                  <a:pt x="948" y="792"/>
                  <a:pt x="948" y="793"/>
                </a:cubicBezTo>
                <a:cubicBezTo>
                  <a:pt x="948" y="793"/>
                  <a:pt x="948" y="793"/>
                  <a:pt x="949" y="794"/>
                </a:cubicBezTo>
                <a:cubicBezTo>
                  <a:pt x="949" y="794"/>
                  <a:pt x="949" y="795"/>
                  <a:pt x="949" y="795"/>
                </a:cubicBezTo>
                <a:cubicBezTo>
                  <a:pt x="949" y="795"/>
                  <a:pt x="949" y="794"/>
                  <a:pt x="949" y="794"/>
                </a:cubicBezTo>
                <a:cubicBezTo>
                  <a:pt x="950" y="794"/>
                  <a:pt x="950" y="794"/>
                  <a:pt x="950" y="793"/>
                </a:cubicBezTo>
                <a:cubicBezTo>
                  <a:pt x="951" y="793"/>
                  <a:pt x="951" y="793"/>
                  <a:pt x="951" y="793"/>
                </a:cubicBezTo>
                <a:cubicBezTo>
                  <a:pt x="952" y="793"/>
                  <a:pt x="952" y="792"/>
                  <a:pt x="952" y="792"/>
                </a:cubicBezTo>
                <a:cubicBezTo>
                  <a:pt x="953" y="792"/>
                  <a:pt x="953" y="791"/>
                  <a:pt x="953" y="791"/>
                </a:cubicBezTo>
                <a:cubicBezTo>
                  <a:pt x="954" y="791"/>
                  <a:pt x="954" y="792"/>
                  <a:pt x="954" y="792"/>
                </a:cubicBezTo>
                <a:cubicBezTo>
                  <a:pt x="954" y="792"/>
                  <a:pt x="955" y="792"/>
                  <a:pt x="955" y="792"/>
                </a:cubicBezTo>
                <a:cubicBezTo>
                  <a:pt x="955" y="793"/>
                  <a:pt x="956" y="793"/>
                  <a:pt x="956" y="793"/>
                </a:cubicBezTo>
                <a:cubicBezTo>
                  <a:pt x="956" y="793"/>
                  <a:pt x="957" y="793"/>
                  <a:pt x="957" y="793"/>
                </a:cubicBezTo>
                <a:cubicBezTo>
                  <a:pt x="958" y="793"/>
                  <a:pt x="958" y="793"/>
                  <a:pt x="959" y="793"/>
                </a:cubicBezTo>
                <a:cubicBezTo>
                  <a:pt x="959" y="793"/>
                  <a:pt x="960" y="793"/>
                  <a:pt x="960" y="793"/>
                </a:cubicBezTo>
                <a:cubicBezTo>
                  <a:pt x="961" y="793"/>
                  <a:pt x="961" y="792"/>
                  <a:pt x="962" y="792"/>
                </a:cubicBezTo>
                <a:cubicBezTo>
                  <a:pt x="962" y="792"/>
                  <a:pt x="962" y="792"/>
                  <a:pt x="962" y="792"/>
                </a:cubicBezTo>
                <a:cubicBezTo>
                  <a:pt x="963" y="791"/>
                  <a:pt x="963" y="791"/>
                  <a:pt x="963" y="791"/>
                </a:cubicBezTo>
                <a:cubicBezTo>
                  <a:pt x="963" y="790"/>
                  <a:pt x="962" y="790"/>
                  <a:pt x="962" y="790"/>
                </a:cubicBezTo>
                <a:cubicBezTo>
                  <a:pt x="962" y="789"/>
                  <a:pt x="962" y="789"/>
                  <a:pt x="962" y="788"/>
                </a:cubicBezTo>
                <a:cubicBezTo>
                  <a:pt x="962" y="788"/>
                  <a:pt x="961" y="788"/>
                  <a:pt x="961" y="788"/>
                </a:cubicBezTo>
                <a:cubicBezTo>
                  <a:pt x="961" y="787"/>
                  <a:pt x="961" y="787"/>
                  <a:pt x="961" y="787"/>
                </a:cubicBezTo>
                <a:cubicBezTo>
                  <a:pt x="960" y="787"/>
                  <a:pt x="959" y="787"/>
                  <a:pt x="959" y="787"/>
                </a:cubicBezTo>
                <a:cubicBezTo>
                  <a:pt x="960" y="787"/>
                  <a:pt x="960" y="787"/>
                  <a:pt x="961" y="788"/>
                </a:cubicBezTo>
                <a:cubicBezTo>
                  <a:pt x="961" y="788"/>
                  <a:pt x="961" y="788"/>
                  <a:pt x="961" y="788"/>
                </a:cubicBezTo>
                <a:cubicBezTo>
                  <a:pt x="961" y="789"/>
                  <a:pt x="961" y="789"/>
                  <a:pt x="961" y="789"/>
                </a:cubicBezTo>
                <a:cubicBezTo>
                  <a:pt x="961" y="790"/>
                  <a:pt x="962" y="790"/>
                  <a:pt x="961" y="791"/>
                </a:cubicBezTo>
                <a:cubicBezTo>
                  <a:pt x="961" y="791"/>
                  <a:pt x="961" y="791"/>
                  <a:pt x="960" y="791"/>
                </a:cubicBezTo>
                <a:cubicBezTo>
                  <a:pt x="959" y="792"/>
                  <a:pt x="959" y="792"/>
                  <a:pt x="958" y="791"/>
                </a:cubicBezTo>
                <a:cubicBezTo>
                  <a:pt x="957" y="791"/>
                  <a:pt x="957" y="791"/>
                  <a:pt x="957" y="791"/>
                </a:cubicBezTo>
                <a:cubicBezTo>
                  <a:pt x="956" y="791"/>
                  <a:pt x="956" y="791"/>
                  <a:pt x="956" y="791"/>
                </a:cubicBezTo>
                <a:cubicBezTo>
                  <a:pt x="956" y="790"/>
                  <a:pt x="956" y="790"/>
                  <a:pt x="956" y="790"/>
                </a:cubicBezTo>
                <a:cubicBezTo>
                  <a:pt x="955" y="789"/>
                  <a:pt x="955" y="789"/>
                  <a:pt x="955" y="789"/>
                </a:cubicBezTo>
                <a:cubicBezTo>
                  <a:pt x="955" y="788"/>
                  <a:pt x="955" y="787"/>
                  <a:pt x="954" y="787"/>
                </a:cubicBezTo>
                <a:cubicBezTo>
                  <a:pt x="954" y="786"/>
                  <a:pt x="953" y="786"/>
                  <a:pt x="953" y="785"/>
                </a:cubicBezTo>
                <a:cubicBezTo>
                  <a:pt x="953" y="784"/>
                  <a:pt x="952" y="784"/>
                  <a:pt x="951" y="784"/>
                </a:cubicBezTo>
                <a:cubicBezTo>
                  <a:pt x="951" y="784"/>
                  <a:pt x="950" y="784"/>
                  <a:pt x="950" y="784"/>
                </a:cubicBezTo>
                <a:cubicBezTo>
                  <a:pt x="950" y="783"/>
                  <a:pt x="950" y="783"/>
                  <a:pt x="950" y="783"/>
                </a:cubicBezTo>
                <a:cubicBezTo>
                  <a:pt x="950" y="783"/>
                  <a:pt x="950" y="783"/>
                  <a:pt x="950" y="783"/>
                </a:cubicBezTo>
                <a:cubicBezTo>
                  <a:pt x="951" y="783"/>
                  <a:pt x="951" y="782"/>
                  <a:pt x="951" y="782"/>
                </a:cubicBezTo>
                <a:cubicBezTo>
                  <a:pt x="951" y="781"/>
                  <a:pt x="952" y="780"/>
                  <a:pt x="953" y="780"/>
                </a:cubicBezTo>
                <a:cubicBezTo>
                  <a:pt x="954" y="780"/>
                  <a:pt x="955" y="780"/>
                  <a:pt x="955" y="779"/>
                </a:cubicBezTo>
                <a:cubicBezTo>
                  <a:pt x="955" y="778"/>
                  <a:pt x="954" y="780"/>
                  <a:pt x="953" y="779"/>
                </a:cubicBezTo>
                <a:cubicBezTo>
                  <a:pt x="953" y="778"/>
                  <a:pt x="953" y="778"/>
                  <a:pt x="953" y="778"/>
                </a:cubicBezTo>
                <a:cubicBezTo>
                  <a:pt x="953" y="777"/>
                  <a:pt x="953" y="777"/>
                  <a:pt x="952" y="777"/>
                </a:cubicBezTo>
                <a:cubicBezTo>
                  <a:pt x="952" y="775"/>
                  <a:pt x="953" y="774"/>
                  <a:pt x="954" y="773"/>
                </a:cubicBezTo>
                <a:cubicBezTo>
                  <a:pt x="954" y="772"/>
                  <a:pt x="955" y="772"/>
                  <a:pt x="955" y="771"/>
                </a:cubicBezTo>
                <a:cubicBezTo>
                  <a:pt x="956" y="771"/>
                  <a:pt x="956" y="770"/>
                  <a:pt x="957" y="769"/>
                </a:cubicBezTo>
                <a:cubicBezTo>
                  <a:pt x="957" y="769"/>
                  <a:pt x="958" y="768"/>
                  <a:pt x="958" y="767"/>
                </a:cubicBezTo>
                <a:cubicBezTo>
                  <a:pt x="959" y="767"/>
                  <a:pt x="959" y="766"/>
                  <a:pt x="959" y="766"/>
                </a:cubicBezTo>
                <a:cubicBezTo>
                  <a:pt x="960" y="765"/>
                  <a:pt x="960" y="764"/>
                  <a:pt x="960" y="764"/>
                </a:cubicBezTo>
                <a:cubicBezTo>
                  <a:pt x="960" y="763"/>
                  <a:pt x="961" y="763"/>
                  <a:pt x="962" y="762"/>
                </a:cubicBezTo>
                <a:cubicBezTo>
                  <a:pt x="962" y="762"/>
                  <a:pt x="962" y="762"/>
                  <a:pt x="963" y="762"/>
                </a:cubicBezTo>
                <a:cubicBezTo>
                  <a:pt x="963" y="762"/>
                  <a:pt x="963" y="763"/>
                  <a:pt x="964" y="763"/>
                </a:cubicBezTo>
                <a:cubicBezTo>
                  <a:pt x="964" y="763"/>
                  <a:pt x="964" y="763"/>
                  <a:pt x="964" y="763"/>
                </a:cubicBezTo>
                <a:cubicBezTo>
                  <a:pt x="964" y="763"/>
                  <a:pt x="964" y="763"/>
                  <a:pt x="964" y="763"/>
                </a:cubicBezTo>
                <a:cubicBezTo>
                  <a:pt x="965" y="764"/>
                  <a:pt x="965" y="763"/>
                  <a:pt x="965" y="763"/>
                </a:cubicBezTo>
                <a:cubicBezTo>
                  <a:pt x="965" y="763"/>
                  <a:pt x="965" y="762"/>
                  <a:pt x="965" y="762"/>
                </a:cubicBezTo>
                <a:cubicBezTo>
                  <a:pt x="965" y="761"/>
                  <a:pt x="966" y="762"/>
                  <a:pt x="966" y="762"/>
                </a:cubicBezTo>
                <a:cubicBezTo>
                  <a:pt x="966" y="762"/>
                  <a:pt x="966" y="763"/>
                  <a:pt x="967" y="762"/>
                </a:cubicBezTo>
                <a:cubicBezTo>
                  <a:pt x="967" y="762"/>
                  <a:pt x="967" y="762"/>
                  <a:pt x="967" y="761"/>
                </a:cubicBezTo>
                <a:cubicBezTo>
                  <a:pt x="968" y="760"/>
                  <a:pt x="968" y="760"/>
                  <a:pt x="969" y="760"/>
                </a:cubicBezTo>
                <a:cubicBezTo>
                  <a:pt x="970" y="760"/>
                  <a:pt x="971" y="760"/>
                  <a:pt x="971" y="760"/>
                </a:cubicBezTo>
                <a:cubicBezTo>
                  <a:pt x="973" y="759"/>
                  <a:pt x="972" y="758"/>
                  <a:pt x="973" y="757"/>
                </a:cubicBezTo>
                <a:cubicBezTo>
                  <a:pt x="973" y="757"/>
                  <a:pt x="973" y="756"/>
                  <a:pt x="974" y="756"/>
                </a:cubicBezTo>
                <a:cubicBezTo>
                  <a:pt x="974" y="755"/>
                  <a:pt x="974" y="755"/>
                  <a:pt x="974" y="755"/>
                </a:cubicBezTo>
                <a:cubicBezTo>
                  <a:pt x="975" y="755"/>
                  <a:pt x="974" y="754"/>
                  <a:pt x="975" y="754"/>
                </a:cubicBezTo>
                <a:cubicBezTo>
                  <a:pt x="975" y="754"/>
                  <a:pt x="975" y="754"/>
                  <a:pt x="975" y="753"/>
                </a:cubicBezTo>
                <a:cubicBezTo>
                  <a:pt x="976" y="753"/>
                  <a:pt x="975" y="753"/>
                  <a:pt x="976" y="753"/>
                </a:cubicBezTo>
                <a:cubicBezTo>
                  <a:pt x="976" y="753"/>
                  <a:pt x="976" y="753"/>
                  <a:pt x="976" y="754"/>
                </a:cubicBezTo>
                <a:cubicBezTo>
                  <a:pt x="975" y="754"/>
                  <a:pt x="976" y="754"/>
                  <a:pt x="976" y="755"/>
                </a:cubicBezTo>
                <a:cubicBezTo>
                  <a:pt x="975" y="755"/>
                  <a:pt x="975" y="755"/>
                  <a:pt x="975" y="755"/>
                </a:cubicBezTo>
                <a:cubicBezTo>
                  <a:pt x="975" y="756"/>
                  <a:pt x="975" y="756"/>
                  <a:pt x="976" y="756"/>
                </a:cubicBezTo>
                <a:cubicBezTo>
                  <a:pt x="976" y="755"/>
                  <a:pt x="976" y="756"/>
                  <a:pt x="977" y="756"/>
                </a:cubicBezTo>
                <a:cubicBezTo>
                  <a:pt x="977" y="756"/>
                  <a:pt x="977" y="756"/>
                  <a:pt x="978" y="756"/>
                </a:cubicBezTo>
                <a:cubicBezTo>
                  <a:pt x="978" y="756"/>
                  <a:pt x="978" y="757"/>
                  <a:pt x="978" y="757"/>
                </a:cubicBezTo>
                <a:cubicBezTo>
                  <a:pt x="979" y="757"/>
                  <a:pt x="978" y="755"/>
                  <a:pt x="979" y="755"/>
                </a:cubicBezTo>
                <a:cubicBezTo>
                  <a:pt x="979" y="754"/>
                  <a:pt x="979" y="754"/>
                  <a:pt x="979" y="754"/>
                </a:cubicBezTo>
                <a:cubicBezTo>
                  <a:pt x="980" y="754"/>
                  <a:pt x="980" y="753"/>
                  <a:pt x="980" y="753"/>
                </a:cubicBezTo>
                <a:cubicBezTo>
                  <a:pt x="980" y="753"/>
                  <a:pt x="982" y="753"/>
                  <a:pt x="982" y="753"/>
                </a:cubicBezTo>
                <a:cubicBezTo>
                  <a:pt x="982" y="753"/>
                  <a:pt x="982" y="753"/>
                  <a:pt x="982" y="753"/>
                </a:cubicBezTo>
                <a:cubicBezTo>
                  <a:pt x="983" y="753"/>
                  <a:pt x="983" y="753"/>
                  <a:pt x="983" y="753"/>
                </a:cubicBezTo>
                <a:cubicBezTo>
                  <a:pt x="983" y="754"/>
                  <a:pt x="983" y="754"/>
                  <a:pt x="983" y="754"/>
                </a:cubicBezTo>
                <a:cubicBezTo>
                  <a:pt x="983" y="754"/>
                  <a:pt x="983" y="755"/>
                  <a:pt x="984" y="755"/>
                </a:cubicBezTo>
                <a:cubicBezTo>
                  <a:pt x="984" y="755"/>
                  <a:pt x="984" y="755"/>
                  <a:pt x="984" y="754"/>
                </a:cubicBezTo>
                <a:cubicBezTo>
                  <a:pt x="985" y="754"/>
                  <a:pt x="985" y="754"/>
                  <a:pt x="985" y="754"/>
                </a:cubicBezTo>
                <a:cubicBezTo>
                  <a:pt x="985" y="754"/>
                  <a:pt x="985" y="754"/>
                  <a:pt x="986" y="754"/>
                </a:cubicBezTo>
                <a:cubicBezTo>
                  <a:pt x="986" y="754"/>
                  <a:pt x="986" y="753"/>
                  <a:pt x="986" y="753"/>
                </a:cubicBezTo>
                <a:cubicBezTo>
                  <a:pt x="987" y="751"/>
                  <a:pt x="989" y="752"/>
                  <a:pt x="990" y="751"/>
                </a:cubicBezTo>
                <a:cubicBezTo>
                  <a:pt x="990" y="750"/>
                  <a:pt x="991" y="750"/>
                  <a:pt x="992" y="750"/>
                </a:cubicBezTo>
                <a:cubicBezTo>
                  <a:pt x="992" y="751"/>
                  <a:pt x="992" y="751"/>
                  <a:pt x="993" y="751"/>
                </a:cubicBezTo>
                <a:cubicBezTo>
                  <a:pt x="993" y="751"/>
                  <a:pt x="994" y="751"/>
                  <a:pt x="994" y="750"/>
                </a:cubicBezTo>
                <a:cubicBezTo>
                  <a:pt x="994" y="750"/>
                  <a:pt x="995" y="750"/>
                  <a:pt x="995" y="750"/>
                </a:cubicBezTo>
                <a:cubicBezTo>
                  <a:pt x="995" y="750"/>
                  <a:pt x="995" y="750"/>
                  <a:pt x="995" y="749"/>
                </a:cubicBezTo>
                <a:cubicBezTo>
                  <a:pt x="996" y="749"/>
                  <a:pt x="997" y="750"/>
                  <a:pt x="997" y="749"/>
                </a:cubicBezTo>
                <a:cubicBezTo>
                  <a:pt x="996" y="748"/>
                  <a:pt x="996" y="748"/>
                  <a:pt x="996" y="748"/>
                </a:cubicBezTo>
                <a:cubicBezTo>
                  <a:pt x="996" y="748"/>
                  <a:pt x="996" y="748"/>
                  <a:pt x="995" y="748"/>
                </a:cubicBezTo>
                <a:cubicBezTo>
                  <a:pt x="995" y="748"/>
                  <a:pt x="995" y="748"/>
                  <a:pt x="994" y="748"/>
                </a:cubicBezTo>
                <a:cubicBezTo>
                  <a:pt x="994" y="748"/>
                  <a:pt x="994" y="747"/>
                  <a:pt x="994" y="747"/>
                </a:cubicBezTo>
                <a:cubicBezTo>
                  <a:pt x="994" y="747"/>
                  <a:pt x="995" y="747"/>
                  <a:pt x="995" y="747"/>
                </a:cubicBezTo>
                <a:cubicBezTo>
                  <a:pt x="996" y="747"/>
                  <a:pt x="995" y="746"/>
                  <a:pt x="994" y="746"/>
                </a:cubicBezTo>
                <a:cubicBezTo>
                  <a:pt x="994" y="746"/>
                  <a:pt x="994" y="745"/>
                  <a:pt x="994" y="745"/>
                </a:cubicBezTo>
                <a:cubicBezTo>
                  <a:pt x="994" y="745"/>
                  <a:pt x="994" y="745"/>
                  <a:pt x="995" y="745"/>
                </a:cubicBezTo>
                <a:cubicBezTo>
                  <a:pt x="995" y="746"/>
                  <a:pt x="995" y="746"/>
                  <a:pt x="995" y="746"/>
                </a:cubicBezTo>
                <a:cubicBezTo>
                  <a:pt x="996" y="745"/>
                  <a:pt x="996" y="745"/>
                  <a:pt x="996" y="745"/>
                </a:cubicBezTo>
                <a:cubicBezTo>
                  <a:pt x="997" y="745"/>
                  <a:pt x="997" y="745"/>
                  <a:pt x="998" y="745"/>
                </a:cubicBezTo>
                <a:cubicBezTo>
                  <a:pt x="999" y="745"/>
                  <a:pt x="1000" y="745"/>
                  <a:pt x="1000" y="745"/>
                </a:cubicBezTo>
                <a:cubicBezTo>
                  <a:pt x="1001" y="745"/>
                  <a:pt x="1001" y="745"/>
                  <a:pt x="1001" y="745"/>
                </a:cubicBezTo>
                <a:cubicBezTo>
                  <a:pt x="1002" y="745"/>
                  <a:pt x="1002" y="745"/>
                  <a:pt x="1002" y="745"/>
                </a:cubicBezTo>
                <a:cubicBezTo>
                  <a:pt x="1003" y="746"/>
                  <a:pt x="1003" y="745"/>
                  <a:pt x="1004" y="744"/>
                </a:cubicBezTo>
                <a:cubicBezTo>
                  <a:pt x="1004" y="744"/>
                  <a:pt x="1005" y="744"/>
                  <a:pt x="1005" y="743"/>
                </a:cubicBezTo>
                <a:cubicBezTo>
                  <a:pt x="1006" y="743"/>
                  <a:pt x="1006" y="742"/>
                  <a:pt x="1006" y="742"/>
                </a:cubicBezTo>
                <a:cubicBezTo>
                  <a:pt x="1006" y="742"/>
                  <a:pt x="1005" y="741"/>
                  <a:pt x="1006" y="741"/>
                </a:cubicBezTo>
                <a:cubicBezTo>
                  <a:pt x="1006" y="741"/>
                  <a:pt x="1006" y="742"/>
                  <a:pt x="1006" y="742"/>
                </a:cubicBezTo>
                <a:cubicBezTo>
                  <a:pt x="1007" y="743"/>
                  <a:pt x="1007" y="742"/>
                  <a:pt x="1007" y="743"/>
                </a:cubicBezTo>
                <a:cubicBezTo>
                  <a:pt x="1008" y="743"/>
                  <a:pt x="1008" y="743"/>
                  <a:pt x="1008" y="743"/>
                </a:cubicBezTo>
                <a:cubicBezTo>
                  <a:pt x="1008" y="743"/>
                  <a:pt x="1009" y="743"/>
                  <a:pt x="1009" y="743"/>
                </a:cubicBezTo>
                <a:cubicBezTo>
                  <a:pt x="1010" y="743"/>
                  <a:pt x="1011" y="743"/>
                  <a:pt x="1011" y="742"/>
                </a:cubicBezTo>
                <a:cubicBezTo>
                  <a:pt x="1012" y="742"/>
                  <a:pt x="1012" y="741"/>
                  <a:pt x="1013" y="741"/>
                </a:cubicBezTo>
                <a:cubicBezTo>
                  <a:pt x="1014" y="740"/>
                  <a:pt x="1014" y="740"/>
                  <a:pt x="1015" y="740"/>
                </a:cubicBezTo>
                <a:cubicBezTo>
                  <a:pt x="1016" y="739"/>
                  <a:pt x="1016" y="739"/>
                  <a:pt x="1017" y="738"/>
                </a:cubicBezTo>
                <a:cubicBezTo>
                  <a:pt x="1018" y="738"/>
                  <a:pt x="1018" y="737"/>
                  <a:pt x="1019" y="737"/>
                </a:cubicBezTo>
                <a:cubicBezTo>
                  <a:pt x="1020" y="737"/>
                  <a:pt x="1020" y="737"/>
                  <a:pt x="1021" y="736"/>
                </a:cubicBezTo>
                <a:cubicBezTo>
                  <a:pt x="1021" y="736"/>
                  <a:pt x="1022" y="735"/>
                  <a:pt x="1022" y="735"/>
                </a:cubicBezTo>
                <a:cubicBezTo>
                  <a:pt x="1022" y="735"/>
                  <a:pt x="1023" y="735"/>
                  <a:pt x="1023" y="735"/>
                </a:cubicBezTo>
                <a:cubicBezTo>
                  <a:pt x="1023" y="735"/>
                  <a:pt x="1023" y="735"/>
                  <a:pt x="1023" y="734"/>
                </a:cubicBezTo>
                <a:cubicBezTo>
                  <a:pt x="1023" y="734"/>
                  <a:pt x="1024" y="733"/>
                  <a:pt x="1023" y="733"/>
                </a:cubicBezTo>
                <a:cubicBezTo>
                  <a:pt x="1023" y="733"/>
                  <a:pt x="1023" y="733"/>
                  <a:pt x="1024" y="733"/>
                </a:cubicBezTo>
                <a:cubicBezTo>
                  <a:pt x="1024" y="733"/>
                  <a:pt x="1024" y="734"/>
                  <a:pt x="1024" y="734"/>
                </a:cubicBezTo>
                <a:cubicBezTo>
                  <a:pt x="1024" y="735"/>
                  <a:pt x="1024" y="735"/>
                  <a:pt x="1024" y="736"/>
                </a:cubicBezTo>
                <a:cubicBezTo>
                  <a:pt x="1024" y="736"/>
                  <a:pt x="1024" y="736"/>
                  <a:pt x="1025" y="736"/>
                </a:cubicBezTo>
                <a:cubicBezTo>
                  <a:pt x="1025" y="736"/>
                  <a:pt x="1025" y="736"/>
                  <a:pt x="1025" y="735"/>
                </a:cubicBezTo>
                <a:cubicBezTo>
                  <a:pt x="1025" y="735"/>
                  <a:pt x="1026" y="735"/>
                  <a:pt x="1026" y="735"/>
                </a:cubicBezTo>
                <a:cubicBezTo>
                  <a:pt x="1026" y="736"/>
                  <a:pt x="1025" y="737"/>
                  <a:pt x="1025" y="737"/>
                </a:cubicBezTo>
                <a:cubicBezTo>
                  <a:pt x="1025" y="737"/>
                  <a:pt x="1024" y="738"/>
                  <a:pt x="1024" y="739"/>
                </a:cubicBezTo>
                <a:cubicBezTo>
                  <a:pt x="1023" y="739"/>
                  <a:pt x="1023" y="739"/>
                  <a:pt x="1022" y="740"/>
                </a:cubicBezTo>
                <a:cubicBezTo>
                  <a:pt x="1022" y="740"/>
                  <a:pt x="1022" y="741"/>
                  <a:pt x="1022" y="741"/>
                </a:cubicBezTo>
                <a:cubicBezTo>
                  <a:pt x="1022" y="741"/>
                  <a:pt x="1021" y="742"/>
                  <a:pt x="1022" y="742"/>
                </a:cubicBezTo>
                <a:cubicBezTo>
                  <a:pt x="1022" y="742"/>
                  <a:pt x="1023" y="741"/>
                  <a:pt x="1023" y="741"/>
                </a:cubicBezTo>
                <a:cubicBezTo>
                  <a:pt x="1024" y="740"/>
                  <a:pt x="1025" y="741"/>
                  <a:pt x="1025" y="741"/>
                </a:cubicBezTo>
                <a:cubicBezTo>
                  <a:pt x="1026" y="741"/>
                  <a:pt x="1027" y="740"/>
                  <a:pt x="1028" y="740"/>
                </a:cubicBezTo>
                <a:cubicBezTo>
                  <a:pt x="1028" y="740"/>
                  <a:pt x="1029" y="740"/>
                  <a:pt x="1030" y="741"/>
                </a:cubicBezTo>
                <a:cubicBezTo>
                  <a:pt x="1031" y="741"/>
                  <a:pt x="1032" y="741"/>
                  <a:pt x="1032" y="741"/>
                </a:cubicBezTo>
                <a:cubicBezTo>
                  <a:pt x="1033" y="740"/>
                  <a:pt x="1033" y="740"/>
                  <a:pt x="1034" y="740"/>
                </a:cubicBezTo>
                <a:cubicBezTo>
                  <a:pt x="1034" y="740"/>
                  <a:pt x="1034" y="741"/>
                  <a:pt x="1035" y="741"/>
                </a:cubicBezTo>
                <a:cubicBezTo>
                  <a:pt x="1035" y="741"/>
                  <a:pt x="1036" y="741"/>
                  <a:pt x="1036" y="741"/>
                </a:cubicBezTo>
                <a:cubicBezTo>
                  <a:pt x="1037" y="741"/>
                  <a:pt x="1036" y="741"/>
                  <a:pt x="1036" y="742"/>
                </a:cubicBezTo>
                <a:cubicBezTo>
                  <a:pt x="1036" y="742"/>
                  <a:pt x="1035" y="742"/>
                  <a:pt x="1035" y="743"/>
                </a:cubicBezTo>
                <a:cubicBezTo>
                  <a:pt x="1035" y="743"/>
                  <a:pt x="1034" y="743"/>
                  <a:pt x="1034" y="743"/>
                </a:cubicBezTo>
                <a:cubicBezTo>
                  <a:pt x="1033" y="743"/>
                  <a:pt x="1033" y="744"/>
                  <a:pt x="1033" y="744"/>
                </a:cubicBezTo>
                <a:cubicBezTo>
                  <a:pt x="1033" y="744"/>
                  <a:pt x="1032" y="744"/>
                  <a:pt x="1032" y="744"/>
                </a:cubicBezTo>
                <a:cubicBezTo>
                  <a:pt x="1031" y="744"/>
                  <a:pt x="1031" y="744"/>
                  <a:pt x="1031" y="745"/>
                </a:cubicBezTo>
                <a:cubicBezTo>
                  <a:pt x="1030" y="745"/>
                  <a:pt x="1030" y="745"/>
                  <a:pt x="1030" y="746"/>
                </a:cubicBezTo>
                <a:cubicBezTo>
                  <a:pt x="1029" y="746"/>
                  <a:pt x="1029" y="746"/>
                  <a:pt x="1028" y="745"/>
                </a:cubicBezTo>
                <a:cubicBezTo>
                  <a:pt x="1028" y="745"/>
                  <a:pt x="1028" y="744"/>
                  <a:pt x="1027" y="744"/>
                </a:cubicBezTo>
                <a:cubicBezTo>
                  <a:pt x="1027" y="744"/>
                  <a:pt x="1027" y="744"/>
                  <a:pt x="1026" y="744"/>
                </a:cubicBezTo>
                <a:cubicBezTo>
                  <a:pt x="1025" y="744"/>
                  <a:pt x="1026" y="743"/>
                  <a:pt x="1026" y="743"/>
                </a:cubicBezTo>
                <a:cubicBezTo>
                  <a:pt x="1027" y="742"/>
                  <a:pt x="1026" y="742"/>
                  <a:pt x="1025" y="742"/>
                </a:cubicBezTo>
                <a:cubicBezTo>
                  <a:pt x="1023" y="742"/>
                  <a:pt x="1022" y="743"/>
                  <a:pt x="1021" y="744"/>
                </a:cubicBezTo>
                <a:cubicBezTo>
                  <a:pt x="1019" y="745"/>
                  <a:pt x="1018" y="746"/>
                  <a:pt x="1016" y="747"/>
                </a:cubicBezTo>
                <a:cubicBezTo>
                  <a:pt x="1015" y="748"/>
                  <a:pt x="1014" y="749"/>
                  <a:pt x="1012" y="750"/>
                </a:cubicBezTo>
                <a:cubicBezTo>
                  <a:pt x="1011" y="751"/>
                  <a:pt x="1009" y="751"/>
                  <a:pt x="1008" y="753"/>
                </a:cubicBezTo>
                <a:cubicBezTo>
                  <a:pt x="1007" y="753"/>
                  <a:pt x="1007" y="754"/>
                  <a:pt x="1006" y="755"/>
                </a:cubicBezTo>
                <a:cubicBezTo>
                  <a:pt x="1006" y="756"/>
                  <a:pt x="1006" y="757"/>
                  <a:pt x="1006" y="757"/>
                </a:cubicBezTo>
                <a:cubicBezTo>
                  <a:pt x="1005" y="758"/>
                  <a:pt x="1005" y="758"/>
                  <a:pt x="1005" y="759"/>
                </a:cubicBezTo>
                <a:cubicBezTo>
                  <a:pt x="1005" y="760"/>
                  <a:pt x="1005" y="760"/>
                  <a:pt x="1005" y="761"/>
                </a:cubicBezTo>
                <a:cubicBezTo>
                  <a:pt x="1005" y="761"/>
                  <a:pt x="1005" y="762"/>
                  <a:pt x="1006" y="762"/>
                </a:cubicBezTo>
                <a:cubicBezTo>
                  <a:pt x="1006" y="763"/>
                  <a:pt x="1006" y="763"/>
                  <a:pt x="1007" y="764"/>
                </a:cubicBezTo>
                <a:cubicBezTo>
                  <a:pt x="1007" y="764"/>
                  <a:pt x="1007" y="765"/>
                  <a:pt x="1007" y="764"/>
                </a:cubicBezTo>
                <a:cubicBezTo>
                  <a:pt x="1008" y="764"/>
                  <a:pt x="1008" y="764"/>
                  <a:pt x="1008" y="763"/>
                </a:cubicBezTo>
                <a:cubicBezTo>
                  <a:pt x="1008" y="763"/>
                  <a:pt x="1007" y="762"/>
                  <a:pt x="1008" y="762"/>
                </a:cubicBezTo>
                <a:cubicBezTo>
                  <a:pt x="1008" y="762"/>
                  <a:pt x="1008" y="763"/>
                  <a:pt x="1009" y="763"/>
                </a:cubicBezTo>
                <a:cubicBezTo>
                  <a:pt x="1009" y="764"/>
                  <a:pt x="1009" y="764"/>
                  <a:pt x="1009" y="764"/>
                </a:cubicBezTo>
                <a:cubicBezTo>
                  <a:pt x="1009" y="765"/>
                  <a:pt x="1009" y="765"/>
                  <a:pt x="1009" y="765"/>
                </a:cubicBezTo>
                <a:cubicBezTo>
                  <a:pt x="1010" y="766"/>
                  <a:pt x="1010" y="766"/>
                  <a:pt x="1010" y="767"/>
                </a:cubicBezTo>
                <a:cubicBezTo>
                  <a:pt x="1010" y="767"/>
                  <a:pt x="1011" y="767"/>
                  <a:pt x="1012" y="767"/>
                </a:cubicBezTo>
                <a:cubicBezTo>
                  <a:pt x="1012" y="767"/>
                  <a:pt x="1013" y="768"/>
                  <a:pt x="1014" y="767"/>
                </a:cubicBezTo>
                <a:cubicBezTo>
                  <a:pt x="1014" y="766"/>
                  <a:pt x="1014" y="766"/>
                  <a:pt x="1014" y="766"/>
                </a:cubicBezTo>
                <a:cubicBezTo>
                  <a:pt x="1015" y="765"/>
                  <a:pt x="1015" y="765"/>
                  <a:pt x="1015" y="765"/>
                </a:cubicBezTo>
                <a:cubicBezTo>
                  <a:pt x="1015" y="764"/>
                  <a:pt x="1016" y="763"/>
                  <a:pt x="1017" y="765"/>
                </a:cubicBezTo>
                <a:cubicBezTo>
                  <a:pt x="1017" y="766"/>
                  <a:pt x="1017" y="764"/>
                  <a:pt x="1018" y="764"/>
                </a:cubicBezTo>
                <a:cubicBezTo>
                  <a:pt x="1018" y="763"/>
                  <a:pt x="1019" y="763"/>
                  <a:pt x="1020" y="762"/>
                </a:cubicBezTo>
                <a:cubicBezTo>
                  <a:pt x="1021" y="761"/>
                  <a:pt x="1022" y="761"/>
                  <a:pt x="1022" y="760"/>
                </a:cubicBezTo>
                <a:cubicBezTo>
                  <a:pt x="1023" y="759"/>
                  <a:pt x="1023" y="759"/>
                  <a:pt x="1023" y="758"/>
                </a:cubicBezTo>
                <a:cubicBezTo>
                  <a:pt x="1024" y="758"/>
                  <a:pt x="1025" y="757"/>
                  <a:pt x="1025" y="757"/>
                </a:cubicBezTo>
                <a:cubicBezTo>
                  <a:pt x="1026" y="756"/>
                  <a:pt x="1027" y="756"/>
                  <a:pt x="1027" y="755"/>
                </a:cubicBezTo>
                <a:cubicBezTo>
                  <a:pt x="1027" y="754"/>
                  <a:pt x="1026" y="754"/>
                  <a:pt x="1026" y="753"/>
                </a:cubicBezTo>
                <a:cubicBezTo>
                  <a:pt x="1026" y="752"/>
                  <a:pt x="1028" y="752"/>
                  <a:pt x="1028" y="753"/>
                </a:cubicBezTo>
                <a:cubicBezTo>
                  <a:pt x="1028" y="753"/>
                  <a:pt x="1029" y="754"/>
                  <a:pt x="1029" y="754"/>
                </a:cubicBezTo>
                <a:cubicBezTo>
                  <a:pt x="1029" y="753"/>
                  <a:pt x="1029" y="753"/>
                  <a:pt x="1029" y="752"/>
                </a:cubicBezTo>
                <a:cubicBezTo>
                  <a:pt x="1029" y="752"/>
                  <a:pt x="1030" y="751"/>
                  <a:pt x="1031" y="751"/>
                </a:cubicBezTo>
                <a:cubicBezTo>
                  <a:pt x="1031" y="752"/>
                  <a:pt x="1031" y="753"/>
                  <a:pt x="1031" y="753"/>
                </a:cubicBezTo>
                <a:cubicBezTo>
                  <a:pt x="1032" y="754"/>
                  <a:pt x="1033" y="754"/>
                  <a:pt x="1033" y="754"/>
                </a:cubicBezTo>
                <a:cubicBezTo>
                  <a:pt x="1034" y="754"/>
                  <a:pt x="1035" y="755"/>
                  <a:pt x="1035" y="753"/>
                </a:cubicBezTo>
                <a:cubicBezTo>
                  <a:pt x="1035" y="753"/>
                  <a:pt x="1035" y="752"/>
                  <a:pt x="1036" y="752"/>
                </a:cubicBezTo>
                <a:cubicBezTo>
                  <a:pt x="1037" y="752"/>
                  <a:pt x="1037" y="752"/>
                  <a:pt x="1038" y="752"/>
                </a:cubicBezTo>
                <a:cubicBezTo>
                  <a:pt x="1039" y="751"/>
                  <a:pt x="1040" y="751"/>
                  <a:pt x="1041" y="751"/>
                </a:cubicBezTo>
                <a:cubicBezTo>
                  <a:pt x="1041" y="751"/>
                  <a:pt x="1042" y="751"/>
                  <a:pt x="1043" y="751"/>
                </a:cubicBezTo>
                <a:cubicBezTo>
                  <a:pt x="1045" y="750"/>
                  <a:pt x="1046" y="749"/>
                  <a:pt x="1048" y="748"/>
                </a:cubicBezTo>
                <a:cubicBezTo>
                  <a:pt x="1049" y="748"/>
                  <a:pt x="1050" y="748"/>
                  <a:pt x="1051" y="747"/>
                </a:cubicBezTo>
                <a:cubicBezTo>
                  <a:pt x="1052" y="747"/>
                  <a:pt x="1053" y="747"/>
                  <a:pt x="1054" y="746"/>
                </a:cubicBezTo>
                <a:cubicBezTo>
                  <a:pt x="1055" y="746"/>
                  <a:pt x="1055" y="745"/>
                  <a:pt x="1056" y="745"/>
                </a:cubicBezTo>
                <a:cubicBezTo>
                  <a:pt x="1058" y="745"/>
                  <a:pt x="1058" y="744"/>
                  <a:pt x="1060" y="744"/>
                </a:cubicBezTo>
                <a:cubicBezTo>
                  <a:pt x="1060" y="744"/>
                  <a:pt x="1060" y="743"/>
                  <a:pt x="1060" y="743"/>
                </a:cubicBezTo>
                <a:cubicBezTo>
                  <a:pt x="1061" y="743"/>
                  <a:pt x="1061" y="743"/>
                  <a:pt x="1061" y="743"/>
                </a:cubicBezTo>
                <a:cubicBezTo>
                  <a:pt x="1062" y="742"/>
                  <a:pt x="1063" y="742"/>
                  <a:pt x="1063" y="742"/>
                </a:cubicBezTo>
                <a:cubicBezTo>
                  <a:pt x="1064" y="742"/>
                  <a:pt x="1064" y="741"/>
                  <a:pt x="1063" y="741"/>
                </a:cubicBezTo>
                <a:cubicBezTo>
                  <a:pt x="1063" y="741"/>
                  <a:pt x="1063" y="741"/>
                  <a:pt x="1062" y="740"/>
                </a:cubicBezTo>
                <a:cubicBezTo>
                  <a:pt x="1062" y="740"/>
                  <a:pt x="1062" y="739"/>
                  <a:pt x="1062" y="739"/>
                </a:cubicBezTo>
                <a:cubicBezTo>
                  <a:pt x="1062" y="739"/>
                  <a:pt x="1061" y="739"/>
                  <a:pt x="1061" y="739"/>
                </a:cubicBezTo>
                <a:cubicBezTo>
                  <a:pt x="1061" y="738"/>
                  <a:pt x="1061" y="738"/>
                  <a:pt x="1062" y="738"/>
                </a:cubicBezTo>
                <a:cubicBezTo>
                  <a:pt x="1062" y="738"/>
                  <a:pt x="1062" y="739"/>
                  <a:pt x="1063" y="738"/>
                </a:cubicBezTo>
                <a:cubicBezTo>
                  <a:pt x="1063" y="738"/>
                  <a:pt x="1063" y="738"/>
                  <a:pt x="1064" y="738"/>
                </a:cubicBezTo>
                <a:cubicBezTo>
                  <a:pt x="1064" y="738"/>
                  <a:pt x="1064" y="738"/>
                  <a:pt x="1065" y="738"/>
                </a:cubicBezTo>
                <a:cubicBezTo>
                  <a:pt x="1065" y="738"/>
                  <a:pt x="1065" y="737"/>
                  <a:pt x="1065" y="737"/>
                </a:cubicBezTo>
                <a:cubicBezTo>
                  <a:pt x="1065" y="737"/>
                  <a:pt x="1065" y="737"/>
                  <a:pt x="1065" y="737"/>
                </a:cubicBezTo>
                <a:cubicBezTo>
                  <a:pt x="1064" y="737"/>
                  <a:pt x="1064" y="736"/>
                  <a:pt x="1064" y="736"/>
                </a:cubicBezTo>
                <a:cubicBezTo>
                  <a:pt x="1064" y="736"/>
                  <a:pt x="1063" y="736"/>
                  <a:pt x="1063" y="736"/>
                </a:cubicBezTo>
                <a:cubicBezTo>
                  <a:pt x="1063" y="735"/>
                  <a:pt x="1064" y="735"/>
                  <a:pt x="1064" y="735"/>
                </a:cubicBezTo>
                <a:cubicBezTo>
                  <a:pt x="1065" y="734"/>
                  <a:pt x="1063" y="734"/>
                  <a:pt x="1064" y="734"/>
                </a:cubicBezTo>
                <a:cubicBezTo>
                  <a:pt x="1065" y="733"/>
                  <a:pt x="1065" y="734"/>
                  <a:pt x="1066" y="734"/>
                </a:cubicBezTo>
                <a:cubicBezTo>
                  <a:pt x="1066" y="733"/>
                  <a:pt x="1066" y="733"/>
                  <a:pt x="1067" y="733"/>
                </a:cubicBezTo>
                <a:cubicBezTo>
                  <a:pt x="1067" y="733"/>
                  <a:pt x="1067" y="732"/>
                  <a:pt x="1067" y="732"/>
                </a:cubicBezTo>
                <a:cubicBezTo>
                  <a:pt x="1067" y="731"/>
                  <a:pt x="1067" y="731"/>
                  <a:pt x="1068" y="731"/>
                </a:cubicBezTo>
                <a:cubicBezTo>
                  <a:pt x="1068" y="731"/>
                  <a:pt x="1068" y="731"/>
                  <a:pt x="1068" y="731"/>
                </a:cubicBezTo>
                <a:cubicBezTo>
                  <a:pt x="1069" y="731"/>
                  <a:pt x="1068" y="732"/>
                  <a:pt x="1068" y="732"/>
                </a:cubicBezTo>
                <a:cubicBezTo>
                  <a:pt x="1068" y="732"/>
                  <a:pt x="1068" y="732"/>
                  <a:pt x="1067" y="732"/>
                </a:cubicBezTo>
                <a:cubicBezTo>
                  <a:pt x="1067" y="733"/>
                  <a:pt x="1067" y="733"/>
                  <a:pt x="1067" y="733"/>
                </a:cubicBezTo>
                <a:cubicBezTo>
                  <a:pt x="1067" y="733"/>
                  <a:pt x="1067" y="733"/>
                  <a:pt x="1067" y="734"/>
                </a:cubicBezTo>
                <a:cubicBezTo>
                  <a:pt x="1067" y="734"/>
                  <a:pt x="1067" y="734"/>
                  <a:pt x="1067" y="734"/>
                </a:cubicBezTo>
                <a:cubicBezTo>
                  <a:pt x="1067" y="734"/>
                  <a:pt x="1067" y="734"/>
                  <a:pt x="1067" y="734"/>
                </a:cubicBezTo>
                <a:cubicBezTo>
                  <a:pt x="1068" y="734"/>
                  <a:pt x="1068" y="734"/>
                  <a:pt x="1069" y="734"/>
                </a:cubicBezTo>
                <a:cubicBezTo>
                  <a:pt x="1069" y="734"/>
                  <a:pt x="1069" y="734"/>
                  <a:pt x="1069" y="734"/>
                </a:cubicBezTo>
                <a:cubicBezTo>
                  <a:pt x="1069" y="734"/>
                  <a:pt x="1068" y="734"/>
                  <a:pt x="1068" y="734"/>
                </a:cubicBezTo>
                <a:cubicBezTo>
                  <a:pt x="1068" y="735"/>
                  <a:pt x="1068" y="735"/>
                  <a:pt x="1068" y="735"/>
                </a:cubicBezTo>
                <a:cubicBezTo>
                  <a:pt x="1068" y="735"/>
                  <a:pt x="1067" y="735"/>
                  <a:pt x="1067" y="735"/>
                </a:cubicBezTo>
                <a:cubicBezTo>
                  <a:pt x="1067" y="735"/>
                  <a:pt x="1067" y="736"/>
                  <a:pt x="1066" y="736"/>
                </a:cubicBezTo>
                <a:cubicBezTo>
                  <a:pt x="1066" y="737"/>
                  <a:pt x="1066" y="737"/>
                  <a:pt x="1066" y="737"/>
                </a:cubicBezTo>
                <a:cubicBezTo>
                  <a:pt x="1065" y="737"/>
                  <a:pt x="1066" y="738"/>
                  <a:pt x="1067" y="738"/>
                </a:cubicBezTo>
                <a:cubicBezTo>
                  <a:pt x="1068" y="738"/>
                  <a:pt x="1069" y="738"/>
                  <a:pt x="1070" y="738"/>
                </a:cubicBezTo>
                <a:cubicBezTo>
                  <a:pt x="1071" y="738"/>
                  <a:pt x="1071" y="737"/>
                  <a:pt x="1072" y="737"/>
                </a:cubicBezTo>
                <a:cubicBezTo>
                  <a:pt x="1072" y="737"/>
                  <a:pt x="1073" y="736"/>
                  <a:pt x="1073" y="736"/>
                </a:cubicBezTo>
                <a:cubicBezTo>
                  <a:pt x="1074" y="735"/>
                  <a:pt x="1074" y="734"/>
                  <a:pt x="1074" y="734"/>
                </a:cubicBezTo>
                <a:cubicBezTo>
                  <a:pt x="1075" y="734"/>
                  <a:pt x="1076" y="734"/>
                  <a:pt x="1076" y="734"/>
                </a:cubicBezTo>
                <a:cubicBezTo>
                  <a:pt x="1077" y="734"/>
                  <a:pt x="1077" y="733"/>
                  <a:pt x="1077" y="733"/>
                </a:cubicBezTo>
                <a:cubicBezTo>
                  <a:pt x="1078" y="733"/>
                  <a:pt x="1078" y="732"/>
                  <a:pt x="1078" y="732"/>
                </a:cubicBezTo>
                <a:cubicBezTo>
                  <a:pt x="1078" y="731"/>
                  <a:pt x="1078" y="731"/>
                  <a:pt x="1078" y="730"/>
                </a:cubicBezTo>
                <a:cubicBezTo>
                  <a:pt x="1078" y="730"/>
                  <a:pt x="1077" y="730"/>
                  <a:pt x="1076" y="729"/>
                </a:cubicBezTo>
                <a:cubicBezTo>
                  <a:pt x="1075" y="729"/>
                  <a:pt x="1075" y="729"/>
                  <a:pt x="1074" y="728"/>
                </a:cubicBezTo>
                <a:cubicBezTo>
                  <a:pt x="1073" y="728"/>
                  <a:pt x="1073" y="727"/>
                  <a:pt x="1072" y="728"/>
                </a:cubicBezTo>
                <a:cubicBezTo>
                  <a:pt x="1072" y="728"/>
                  <a:pt x="1071" y="728"/>
                  <a:pt x="1071" y="728"/>
                </a:cubicBezTo>
                <a:cubicBezTo>
                  <a:pt x="1071" y="728"/>
                  <a:pt x="1071" y="728"/>
                  <a:pt x="1071" y="728"/>
                </a:cubicBezTo>
                <a:cubicBezTo>
                  <a:pt x="1070" y="728"/>
                  <a:pt x="1070" y="728"/>
                  <a:pt x="1070" y="728"/>
                </a:cubicBezTo>
                <a:cubicBezTo>
                  <a:pt x="1069" y="727"/>
                  <a:pt x="1070" y="727"/>
                  <a:pt x="1070" y="726"/>
                </a:cubicBezTo>
                <a:cubicBezTo>
                  <a:pt x="1071" y="726"/>
                  <a:pt x="1071" y="725"/>
                  <a:pt x="1071" y="724"/>
                </a:cubicBezTo>
                <a:cubicBezTo>
                  <a:pt x="1071" y="723"/>
                  <a:pt x="1072" y="722"/>
                  <a:pt x="1072" y="721"/>
                </a:cubicBezTo>
                <a:cubicBezTo>
                  <a:pt x="1072" y="721"/>
                  <a:pt x="1072" y="721"/>
                  <a:pt x="1072" y="720"/>
                </a:cubicBezTo>
                <a:cubicBezTo>
                  <a:pt x="1072" y="720"/>
                  <a:pt x="1072" y="720"/>
                  <a:pt x="1071" y="720"/>
                </a:cubicBezTo>
                <a:cubicBezTo>
                  <a:pt x="1071" y="720"/>
                  <a:pt x="1071" y="720"/>
                  <a:pt x="1071" y="719"/>
                </a:cubicBezTo>
                <a:cubicBezTo>
                  <a:pt x="1071" y="719"/>
                  <a:pt x="1071" y="719"/>
                  <a:pt x="1071" y="718"/>
                </a:cubicBezTo>
                <a:cubicBezTo>
                  <a:pt x="1071" y="718"/>
                  <a:pt x="1071" y="718"/>
                  <a:pt x="1071" y="718"/>
                </a:cubicBezTo>
                <a:cubicBezTo>
                  <a:pt x="1071" y="717"/>
                  <a:pt x="1071" y="718"/>
                  <a:pt x="1070" y="718"/>
                </a:cubicBezTo>
                <a:cubicBezTo>
                  <a:pt x="1070" y="718"/>
                  <a:pt x="1070" y="717"/>
                  <a:pt x="1069" y="717"/>
                </a:cubicBezTo>
                <a:cubicBezTo>
                  <a:pt x="1069" y="717"/>
                  <a:pt x="1068" y="718"/>
                  <a:pt x="1068" y="718"/>
                </a:cubicBezTo>
                <a:cubicBezTo>
                  <a:pt x="1068" y="719"/>
                  <a:pt x="1067" y="720"/>
                  <a:pt x="1067" y="720"/>
                </a:cubicBezTo>
                <a:cubicBezTo>
                  <a:pt x="1066" y="721"/>
                  <a:pt x="1065" y="721"/>
                  <a:pt x="1065" y="722"/>
                </a:cubicBezTo>
                <a:cubicBezTo>
                  <a:pt x="1065" y="723"/>
                  <a:pt x="1064" y="723"/>
                  <a:pt x="1064" y="723"/>
                </a:cubicBezTo>
                <a:cubicBezTo>
                  <a:pt x="1063" y="725"/>
                  <a:pt x="1063" y="726"/>
                  <a:pt x="1062" y="727"/>
                </a:cubicBezTo>
                <a:cubicBezTo>
                  <a:pt x="1062" y="728"/>
                  <a:pt x="1061" y="728"/>
                  <a:pt x="1061" y="728"/>
                </a:cubicBezTo>
                <a:cubicBezTo>
                  <a:pt x="1061" y="728"/>
                  <a:pt x="1061" y="729"/>
                  <a:pt x="1061" y="729"/>
                </a:cubicBezTo>
                <a:cubicBezTo>
                  <a:pt x="1060" y="729"/>
                  <a:pt x="1060" y="729"/>
                  <a:pt x="1060" y="729"/>
                </a:cubicBezTo>
                <a:cubicBezTo>
                  <a:pt x="1059" y="730"/>
                  <a:pt x="1059" y="731"/>
                  <a:pt x="1058" y="731"/>
                </a:cubicBezTo>
                <a:cubicBezTo>
                  <a:pt x="1058" y="732"/>
                  <a:pt x="1058" y="733"/>
                  <a:pt x="1058" y="733"/>
                </a:cubicBezTo>
                <a:cubicBezTo>
                  <a:pt x="1059" y="734"/>
                  <a:pt x="1058" y="734"/>
                  <a:pt x="1058" y="734"/>
                </a:cubicBezTo>
                <a:cubicBezTo>
                  <a:pt x="1059" y="735"/>
                  <a:pt x="1059" y="735"/>
                  <a:pt x="1059" y="735"/>
                </a:cubicBezTo>
                <a:cubicBezTo>
                  <a:pt x="1059" y="736"/>
                  <a:pt x="1059" y="736"/>
                  <a:pt x="1059" y="736"/>
                </a:cubicBezTo>
                <a:cubicBezTo>
                  <a:pt x="1059" y="737"/>
                  <a:pt x="1058" y="737"/>
                  <a:pt x="1058" y="737"/>
                </a:cubicBezTo>
                <a:cubicBezTo>
                  <a:pt x="1057" y="737"/>
                  <a:pt x="1056" y="736"/>
                  <a:pt x="1056" y="737"/>
                </a:cubicBezTo>
                <a:cubicBezTo>
                  <a:pt x="1055" y="737"/>
                  <a:pt x="1054" y="738"/>
                  <a:pt x="1054" y="737"/>
                </a:cubicBezTo>
                <a:cubicBezTo>
                  <a:pt x="1054" y="736"/>
                  <a:pt x="1054" y="735"/>
                  <a:pt x="1054" y="734"/>
                </a:cubicBezTo>
                <a:cubicBezTo>
                  <a:pt x="1054" y="733"/>
                  <a:pt x="1053" y="734"/>
                  <a:pt x="1052" y="735"/>
                </a:cubicBezTo>
                <a:cubicBezTo>
                  <a:pt x="1052" y="735"/>
                  <a:pt x="1051" y="736"/>
                  <a:pt x="1050" y="736"/>
                </a:cubicBezTo>
                <a:cubicBezTo>
                  <a:pt x="1050" y="736"/>
                  <a:pt x="1049" y="736"/>
                  <a:pt x="1048" y="737"/>
                </a:cubicBezTo>
                <a:cubicBezTo>
                  <a:pt x="1048" y="737"/>
                  <a:pt x="1047" y="738"/>
                  <a:pt x="1047" y="738"/>
                </a:cubicBezTo>
                <a:cubicBezTo>
                  <a:pt x="1047" y="738"/>
                  <a:pt x="1046" y="738"/>
                  <a:pt x="1046" y="738"/>
                </a:cubicBezTo>
                <a:cubicBezTo>
                  <a:pt x="1046" y="737"/>
                  <a:pt x="1045" y="738"/>
                  <a:pt x="1045" y="737"/>
                </a:cubicBezTo>
                <a:cubicBezTo>
                  <a:pt x="1044" y="737"/>
                  <a:pt x="1046" y="737"/>
                  <a:pt x="1045" y="736"/>
                </a:cubicBezTo>
                <a:cubicBezTo>
                  <a:pt x="1045" y="735"/>
                  <a:pt x="1044" y="736"/>
                  <a:pt x="1043" y="736"/>
                </a:cubicBezTo>
                <a:cubicBezTo>
                  <a:pt x="1043" y="736"/>
                  <a:pt x="1042" y="736"/>
                  <a:pt x="1041" y="735"/>
                </a:cubicBezTo>
                <a:cubicBezTo>
                  <a:pt x="1041" y="735"/>
                  <a:pt x="1040" y="735"/>
                  <a:pt x="1040" y="735"/>
                </a:cubicBezTo>
                <a:cubicBezTo>
                  <a:pt x="1040" y="735"/>
                  <a:pt x="1039" y="736"/>
                  <a:pt x="1039" y="736"/>
                </a:cubicBezTo>
                <a:cubicBezTo>
                  <a:pt x="1038" y="736"/>
                  <a:pt x="1038" y="735"/>
                  <a:pt x="1037" y="734"/>
                </a:cubicBezTo>
                <a:cubicBezTo>
                  <a:pt x="1037" y="734"/>
                  <a:pt x="1036" y="734"/>
                  <a:pt x="1035" y="734"/>
                </a:cubicBezTo>
                <a:cubicBezTo>
                  <a:pt x="1034" y="733"/>
                  <a:pt x="1033" y="733"/>
                  <a:pt x="1032" y="733"/>
                </a:cubicBezTo>
                <a:cubicBezTo>
                  <a:pt x="1032" y="732"/>
                  <a:pt x="1032" y="732"/>
                  <a:pt x="1032" y="732"/>
                </a:cubicBezTo>
                <a:cubicBezTo>
                  <a:pt x="1031" y="732"/>
                  <a:pt x="1031" y="732"/>
                  <a:pt x="1031" y="732"/>
                </a:cubicBezTo>
                <a:cubicBezTo>
                  <a:pt x="1030" y="732"/>
                  <a:pt x="1030" y="731"/>
                  <a:pt x="1030" y="731"/>
                </a:cubicBezTo>
                <a:cubicBezTo>
                  <a:pt x="1031" y="731"/>
                  <a:pt x="1032" y="731"/>
                  <a:pt x="1032" y="731"/>
                </a:cubicBezTo>
                <a:cubicBezTo>
                  <a:pt x="1032" y="731"/>
                  <a:pt x="1032" y="730"/>
                  <a:pt x="1032" y="730"/>
                </a:cubicBezTo>
                <a:cubicBezTo>
                  <a:pt x="1032" y="730"/>
                  <a:pt x="1030" y="730"/>
                  <a:pt x="1030" y="730"/>
                </a:cubicBezTo>
                <a:cubicBezTo>
                  <a:pt x="1029" y="730"/>
                  <a:pt x="1028" y="730"/>
                  <a:pt x="1027" y="729"/>
                </a:cubicBezTo>
                <a:cubicBezTo>
                  <a:pt x="1027" y="729"/>
                  <a:pt x="1026" y="729"/>
                  <a:pt x="1025" y="729"/>
                </a:cubicBezTo>
                <a:cubicBezTo>
                  <a:pt x="1024" y="729"/>
                  <a:pt x="1024" y="728"/>
                  <a:pt x="1023" y="727"/>
                </a:cubicBezTo>
                <a:cubicBezTo>
                  <a:pt x="1023" y="727"/>
                  <a:pt x="1023" y="727"/>
                  <a:pt x="1023" y="726"/>
                </a:cubicBezTo>
                <a:cubicBezTo>
                  <a:pt x="1023" y="726"/>
                  <a:pt x="1023" y="726"/>
                  <a:pt x="1022" y="725"/>
                </a:cubicBezTo>
                <a:cubicBezTo>
                  <a:pt x="1022" y="724"/>
                  <a:pt x="1022" y="724"/>
                  <a:pt x="1022" y="723"/>
                </a:cubicBezTo>
                <a:cubicBezTo>
                  <a:pt x="1022" y="722"/>
                  <a:pt x="1021" y="721"/>
                  <a:pt x="1020" y="721"/>
                </a:cubicBezTo>
                <a:cubicBezTo>
                  <a:pt x="1020" y="720"/>
                  <a:pt x="1019" y="719"/>
                  <a:pt x="1020" y="718"/>
                </a:cubicBezTo>
                <a:cubicBezTo>
                  <a:pt x="1020" y="718"/>
                  <a:pt x="1021" y="718"/>
                  <a:pt x="1021" y="718"/>
                </a:cubicBezTo>
                <a:cubicBezTo>
                  <a:pt x="1021" y="718"/>
                  <a:pt x="1021" y="717"/>
                  <a:pt x="1021" y="717"/>
                </a:cubicBezTo>
                <a:cubicBezTo>
                  <a:pt x="1021" y="716"/>
                  <a:pt x="1020" y="717"/>
                  <a:pt x="1019" y="717"/>
                </a:cubicBezTo>
                <a:cubicBezTo>
                  <a:pt x="1018" y="717"/>
                  <a:pt x="1018" y="716"/>
                  <a:pt x="1017" y="717"/>
                </a:cubicBezTo>
                <a:cubicBezTo>
                  <a:pt x="1016" y="717"/>
                  <a:pt x="1016" y="717"/>
                  <a:pt x="1016" y="716"/>
                </a:cubicBezTo>
                <a:cubicBezTo>
                  <a:pt x="1015" y="716"/>
                  <a:pt x="1016" y="716"/>
                  <a:pt x="1016" y="716"/>
                </a:cubicBezTo>
                <a:cubicBezTo>
                  <a:pt x="1017" y="715"/>
                  <a:pt x="1017" y="715"/>
                  <a:pt x="1018" y="714"/>
                </a:cubicBezTo>
                <a:cubicBezTo>
                  <a:pt x="1018" y="714"/>
                  <a:pt x="1019" y="714"/>
                  <a:pt x="1019" y="714"/>
                </a:cubicBezTo>
                <a:cubicBezTo>
                  <a:pt x="1019" y="713"/>
                  <a:pt x="1020" y="712"/>
                  <a:pt x="1020" y="711"/>
                </a:cubicBezTo>
                <a:cubicBezTo>
                  <a:pt x="1020" y="711"/>
                  <a:pt x="1021" y="710"/>
                  <a:pt x="1021" y="709"/>
                </a:cubicBezTo>
                <a:cubicBezTo>
                  <a:pt x="1021" y="709"/>
                  <a:pt x="1021" y="708"/>
                  <a:pt x="1021" y="708"/>
                </a:cubicBezTo>
                <a:cubicBezTo>
                  <a:pt x="1021" y="708"/>
                  <a:pt x="1022" y="708"/>
                  <a:pt x="1022" y="708"/>
                </a:cubicBezTo>
                <a:cubicBezTo>
                  <a:pt x="1022" y="708"/>
                  <a:pt x="1023" y="707"/>
                  <a:pt x="1022" y="707"/>
                </a:cubicBezTo>
                <a:cubicBezTo>
                  <a:pt x="1022" y="707"/>
                  <a:pt x="1021" y="707"/>
                  <a:pt x="1021" y="707"/>
                </a:cubicBezTo>
                <a:cubicBezTo>
                  <a:pt x="1020" y="707"/>
                  <a:pt x="1019" y="707"/>
                  <a:pt x="1019" y="707"/>
                </a:cubicBezTo>
                <a:cubicBezTo>
                  <a:pt x="1018" y="707"/>
                  <a:pt x="1017" y="707"/>
                  <a:pt x="1016" y="707"/>
                </a:cubicBezTo>
                <a:cubicBezTo>
                  <a:pt x="1015" y="707"/>
                  <a:pt x="1014" y="708"/>
                  <a:pt x="1014" y="708"/>
                </a:cubicBezTo>
                <a:cubicBezTo>
                  <a:pt x="1013" y="708"/>
                  <a:pt x="1013" y="708"/>
                  <a:pt x="1012" y="708"/>
                </a:cubicBezTo>
                <a:cubicBezTo>
                  <a:pt x="1012" y="708"/>
                  <a:pt x="1012" y="708"/>
                  <a:pt x="1012" y="708"/>
                </a:cubicBezTo>
                <a:cubicBezTo>
                  <a:pt x="1011" y="709"/>
                  <a:pt x="1011" y="708"/>
                  <a:pt x="1011" y="708"/>
                </a:cubicBezTo>
                <a:cubicBezTo>
                  <a:pt x="1011" y="707"/>
                  <a:pt x="1011" y="707"/>
                  <a:pt x="1011" y="706"/>
                </a:cubicBezTo>
                <a:cubicBezTo>
                  <a:pt x="1010" y="705"/>
                  <a:pt x="1010" y="704"/>
                  <a:pt x="1009" y="704"/>
                </a:cubicBezTo>
                <a:cubicBezTo>
                  <a:pt x="1008" y="703"/>
                  <a:pt x="1008" y="704"/>
                  <a:pt x="1007" y="703"/>
                </a:cubicBezTo>
                <a:cubicBezTo>
                  <a:pt x="1006" y="703"/>
                  <a:pt x="1006" y="703"/>
                  <a:pt x="1006" y="703"/>
                </a:cubicBezTo>
                <a:cubicBezTo>
                  <a:pt x="1005" y="703"/>
                  <a:pt x="1005" y="703"/>
                  <a:pt x="1005" y="703"/>
                </a:cubicBezTo>
                <a:cubicBezTo>
                  <a:pt x="1005" y="702"/>
                  <a:pt x="1006" y="702"/>
                  <a:pt x="1006" y="702"/>
                </a:cubicBezTo>
                <a:cubicBezTo>
                  <a:pt x="1007" y="702"/>
                  <a:pt x="1007" y="702"/>
                  <a:pt x="1007" y="702"/>
                </a:cubicBezTo>
                <a:cubicBezTo>
                  <a:pt x="1008" y="701"/>
                  <a:pt x="1009" y="701"/>
                  <a:pt x="1009" y="701"/>
                </a:cubicBezTo>
                <a:cubicBezTo>
                  <a:pt x="1010" y="702"/>
                  <a:pt x="1011" y="702"/>
                  <a:pt x="1012" y="702"/>
                </a:cubicBezTo>
                <a:cubicBezTo>
                  <a:pt x="1012" y="702"/>
                  <a:pt x="1012" y="702"/>
                  <a:pt x="1013" y="702"/>
                </a:cubicBezTo>
                <a:cubicBezTo>
                  <a:pt x="1013" y="703"/>
                  <a:pt x="1013" y="703"/>
                  <a:pt x="1014" y="703"/>
                </a:cubicBezTo>
                <a:cubicBezTo>
                  <a:pt x="1015" y="704"/>
                  <a:pt x="1016" y="703"/>
                  <a:pt x="1018" y="702"/>
                </a:cubicBezTo>
                <a:cubicBezTo>
                  <a:pt x="1018" y="701"/>
                  <a:pt x="1019" y="701"/>
                  <a:pt x="1020" y="700"/>
                </a:cubicBezTo>
                <a:cubicBezTo>
                  <a:pt x="1021" y="700"/>
                  <a:pt x="1021" y="700"/>
                  <a:pt x="1022" y="699"/>
                </a:cubicBezTo>
                <a:cubicBezTo>
                  <a:pt x="1022" y="699"/>
                  <a:pt x="1022" y="698"/>
                  <a:pt x="1023" y="698"/>
                </a:cubicBezTo>
                <a:cubicBezTo>
                  <a:pt x="1023" y="698"/>
                  <a:pt x="1024" y="698"/>
                  <a:pt x="1025" y="698"/>
                </a:cubicBezTo>
                <a:cubicBezTo>
                  <a:pt x="1025" y="697"/>
                  <a:pt x="1026" y="697"/>
                  <a:pt x="1027" y="697"/>
                </a:cubicBezTo>
                <a:cubicBezTo>
                  <a:pt x="1027" y="697"/>
                  <a:pt x="1028" y="696"/>
                  <a:pt x="1028" y="695"/>
                </a:cubicBezTo>
                <a:cubicBezTo>
                  <a:pt x="1027" y="695"/>
                  <a:pt x="1027" y="695"/>
                  <a:pt x="1027" y="695"/>
                </a:cubicBezTo>
                <a:cubicBezTo>
                  <a:pt x="1027" y="694"/>
                  <a:pt x="1027" y="694"/>
                  <a:pt x="1028" y="694"/>
                </a:cubicBezTo>
                <a:cubicBezTo>
                  <a:pt x="1028" y="694"/>
                  <a:pt x="1028" y="694"/>
                  <a:pt x="1028" y="693"/>
                </a:cubicBezTo>
                <a:cubicBezTo>
                  <a:pt x="1028" y="693"/>
                  <a:pt x="1027" y="693"/>
                  <a:pt x="1027" y="693"/>
                </a:cubicBezTo>
                <a:cubicBezTo>
                  <a:pt x="1026" y="693"/>
                  <a:pt x="1026" y="692"/>
                  <a:pt x="1026" y="692"/>
                </a:cubicBezTo>
                <a:cubicBezTo>
                  <a:pt x="1026" y="692"/>
                  <a:pt x="1026" y="692"/>
                  <a:pt x="1025" y="691"/>
                </a:cubicBezTo>
                <a:cubicBezTo>
                  <a:pt x="1025" y="691"/>
                  <a:pt x="1025" y="691"/>
                  <a:pt x="1025" y="691"/>
                </a:cubicBezTo>
                <a:cubicBezTo>
                  <a:pt x="1026" y="691"/>
                  <a:pt x="1026" y="691"/>
                  <a:pt x="1026" y="691"/>
                </a:cubicBezTo>
                <a:cubicBezTo>
                  <a:pt x="1027" y="691"/>
                  <a:pt x="1027" y="691"/>
                  <a:pt x="1027" y="692"/>
                </a:cubicBezTo>
                <a:cubicBezTo>
                  <a:pt x="1028" y="692"/>
                  <a:pt x="1028" y="692"/>
                  <a:pt x="1028" y="693"/>
                </a:cubicBezTo>
                <a:cubicBezTo>
                  <a:pt x="1028" y="693"/>
                  <a:pt x="1028" y="693"/>
                  <a:pt x="1028" y="692"/>
                </a:cubicBezTo>
                <a:cubicBezTo>
                  <a:pt x="1028" y="692"/>
                  <a:pt x="1027" y="690"/>
                  <a:pt x="1027" y="690"/>
                </a:cubicBezTo>
                <a:cubicBezTo>
                  <a:pt x="1026" y="689"/>
                  <a:pt x="1026" y="689"/>
                  <a:pt x="1026" y="689"/>
                </a:cubicBezTo>
                <a:cubicBezTo>
                  <a:pt x="1025" y="689"/>
                  <a:pt x="1025" y="688"/>
                  <a:pt x="1025" y="688"/>
                </a:cubicBezTo>
                <a:cubicBezTo>
                  <a:pt x="1024" y="688"/>
                  <a:pt x="1024" y="687"/>
                  <a:pt x="1023" y="687"/>
                </a:cubicBezTo>
                <a:cubicBezTo>
                  <a:pt x="1022" y="686"/>
                  <a:pt x="1020" y="686"/>
                  <a:pt x="1018" y="685"/>
                </a:cubicBezTo>
                <a:cubicBezTo>
                  <a:pt x="1017" y="685"/>
                  <a:pt x="1015" y="685"/>
                  <a:pt x="1013" y="685"/>
                </a:cubicBezTo>
                <a:cubicBezTo>
                  <a:pt x="1013" y="685"/>
                  <a:pt x="1012" y="685"/>
                  <a:pt x="1011" y="685"/>
                </a:cubicBezTo>
                <a:cubicBezTo>
                  <a:pt x="1010" y="685"/>
                  <a:pt x="1008" y="685"/>
                  <a:pt x="1007" y="685"/>
                </a:cubicBezTo>
                <a:cubicBezTo>
                  <a:pt x="1006" y="685"/>
                  <a:pt x="1006" y="686"/>
                  <a:pt x="1005" y="686"/>
                </a:cubicBezTo>
                <a:cubicBezTo>
                  <a:pt x="1004" y="686"/>
                  <a:pt x="1002" y="686"/>
                  <a:pt x="1001" y="686"/>
                </a:cubicBezTo>
                <a:cubicBezTo>
                  <a:pt x="1001" y="687"/>
                  <a:pt x="1000" y="687"/>
                  <a:pt x="999" y="687"/>
                </a:cubicBezTo>
                <a:cubicBezTo>
                  <a:pt x="998" y="688"/>
                  <a:pt x="997" y="688"/>
                  <a:pt x="996" y="689"/>
                </a:cubicBezTo>
                <a:cubicBezTo>
                  <a:pt x="994" y="689"/>
                  <a:pt x="993" y="690"/>
                  <a:pt x="991" y="690"/>
                </a:cubicBezTo>
                <a:cubicBezTo>
                  <a:pt x="989" y="690"/>
                  <a:pt x="988" y="692"/>
                  <a:pt x="986" y="693"/>
                </a:cubicBezTo>
                <a:cubicBezTo>
                  <a:pt x="985" y="693"/>
                  <a:pt x="985" y="693"/>
                  <a:pt x="984" y="693"/>
                </a:cubicBezTo>
                <a:cubicBezTo>
                  <a:pt x="982" y="693"/>
                  <a:pt x="982" y="694"/>
                  <a:pt x="981" y="695"/>
                </a:cubicBezTo>
                <a:cubicBezTo>
                  <a:pt x="980" y="695"/>
                  <a:pt x="979" y="696"/>
                  <a:pt x="978" y="696"/>
                </a:cubicBezTo>
                <a:cubicBezTo>
                  <a:pt x="977" y="697"/>
                  <a:pt x="976" y="697"/>
                  <a:pt x="975" y="698"/>
                </a:cubicBezTo>
                <a:cubicBezTo>
                  <a:pt x="975" y="698"/>
                  <a:pt x="974" y="699"/>
                  <a:pt x="974" y="699"/>
                </a:cubicBezTo>
                <a:cubicBezTo>
                  <a:pt x="973" y="700"/>
                  <a:pt x="972" y="701"/>
                  <a:pt x="972" y="701"/>
                </a:cubicBezTo>
                <a:cubicBezTo>
                  <a:pt x="971" y="702"/>
                  <a:pt x="971" y="702"/>
                  <a:pt x="970" y="702"/>
                </a:cubicBezTo>
                <a:cubicBezTo>
                  <a:pt x="970" y="703"/>
                  <a:pt x="969" y="704"/>
                  <a:pt x="968" y="704"/>
                </a:cubicBezTo>
                <a:cubicBezTo>
                  <a:pt x="968" y="705"/>
                  <a:pt x="968" y="706"/>
                  <a:pt x="967" y="706"/>
                </a:cubicBezTo>
                <a:cubicBezTo>
                  <a:pt x="966" y="707"/>
                  <a:pt x="965" y="707"/>
                  <a:pt x="965" y="708"/>
                </a:cubicBezTo>
                <a:cubicBezTo>
                  <a:pt x="964" y="709"/>
                  <a:pt x="964" y="709"/>
                  <a:pt x="963" y="710"/>
                </a:cubicBezTo>
                <a:cubicBezTo>
                  <a:pt x="963" y="710"/>
                  <a:pt x="962" y="710"/>
                  <a:pt x="962" y="711"/>
                </a:cubicBezTo>
                <a:cubicBezTo>
                  <a:pt x="962" y="711"/>
                  <a:pt x="961" y="711"/>
                  <a:pt x="961" y="712"/>
                </a:cubicBezTo>
                <a:cubicBezTo>
                  <a:pt x="961" y="712"/>
                  <a:pt x="960" y="713"/>
                  <a:pt x="960" y="713"/>
                </a:cubicBezTo>
                <a:cubicBezTo>
                  <a:pt x="958" y="714"/>
                  <a:pt x="958" y="716"/>
                  <a:pt x="956" y="717"/>
                </a:cubicBezTo>
                <a:cubicBezTo>
                  <a:pt x="956" y="717"/>
                  <a:pt x="955" y="718"/>
                  <a:pt x="954" y="718"/>
                </a:cubicBezTo>
                <a:cubicBezTo>
                  <a:pt x="953" y="718"/>
                  <a:pt x="953" y="719"/>
                  <a:pt x="952" y="719"/>
                </a:cubicBezTo>
                <a:cubicBezTo>
                  <a:pt x="951" y="720"/>
                  <a:pt x="950" y="720"/>
                  <a:pt x="950" y="720"/>
                </a:cubicBezTo>
                <a:cubicBezTo>
                  <a:pt x="949" y="720"/>
                  <a:pt x="948" y="721"/>
                  <a:pt x="948" y="721"/>
                </a:cubicBezTo>
                <a:cubicBezTo>
                  <a:pt x="948" y="721"/>
                  <a:pt x="948" y="721"/>
                  <a:pt x="948" y="721"/>
                </a:cubicBezTo>
                <a:cubicBezTo>
                  <a:pt x="948" y="720"/>
                  <a:pt x="949" y="720"/>
                  <a:pt x="949" y="719"/>
                </a:cubicBezTo>
                <a:cubicBezTo>
                  <a:pt x="950" y="719"/>
                  <a:pt x="950" y="719"/>
                  <a:pt x="950" y="718"/>
                </a:cubicBezTo>
                <a:cubicBezTo>
                  <a:pt x="951" y="718"/>
                  <a:pt x="951" y="718"/>
                  <a:pt x="951" y="717"/>
                </a:cubicBezTo>
                <a:cubicBezTo>
                  <a:pt x="952" y="717"/>
                  <a:pt x="953" y="717"/>
                  <a:pt x="953" y="716"/>
                </a:cubicBezTo>
                <a:cubicBezTo>
                  <a:pt x="954" y="716"/>
                  <a:pt x="954" y="715"/>
                  <a:pt x="954" y="715"/>
                </a:cubicBezTo>
                <a:cubicBezTo>
                  <a:pt x="955" y="714"/>
                  <a:pt x="955" y="714"/>
                  <a:pt x="955" y="713"/>
                </a:cubicBezTo>
                <a:cubicBezTo>
                  <a:pt x="956" y="712"/>
                  <a:pt x="956" y="711"/>
                  <a:pt x="957" y="711"/>
                </a:cubicBezTo>
                <a:cubicBezTo>
                  <a:pt x="957" y="711"/>
                  <a:pt x="958" y="711"/>
                  <a:pt x="959" y="710"/>
                </a:cubicBezTo>
                <a:cubicBezTo>
                  <a:pt x="959" y="710"/>
                  <a:pt x="959" y="709"/>
                  <a:pt x="960" y="709"/>
                </a:cubicBezTo>
                <a:cubicBezTo>
                  <a:pt x="960" y="708"/>
                  <a:pt x="961" y="708"/>
                  <a:pt x="962" y="707"/>
                </a:cubicBezTo>
                <a:cubicBezTo>
                  <a:pt x="962" y="707"/>
                  <a:pt x="962" y="706"/>
                  <a:pt x="963" y="705"/>
                </a:cubicBezTo>
                <a:cubicBezTo>
                  <a:pt x="963" y="704"/>
                  <a:pt x="964" y="704"/>
                  <a:pt x="964" y="703"/>
                </a:cubicBezTo>
                <a:cubicBezTo>
                  <a:pt x="964" y="702"/>
                  <a:pt x="964" y="701"/>
                  <a:pt x="965" y="701"/>
                </a:cubicBezTo>
                <a:cubicBezTo>
                  <a:pt x="966" y="701"/>
                  <a:pt x="967" y="700"/>
                  <a:pt x="967" y="699"/>
                </a:cubicBezTo>
                <a:cubicBezTo>
                  <a:pt x="968" y="699"/>
                  <a:pt x="968" y="699"/>
                  <a:pt x="968" y="698"/>
                </a:cubicBezTo>
                <a:cubicBezTo>
                  <a:pt x="968" y="698"/>
                  <a:pt x="969" y="698"/>
                  <a:pt x="969" y="698"/>
                </a:cubicBezTo>
                <a:cubicBezTo>
                  <a:pt x="970" y="697"/>
                  <a:pt x="970" y="696"/>
                  <a:pt x="970" y="695"/>
                </a:cubicBezTo>
                <a:cubicBezTo>
                  <a:pt x="970" y="695"/>
                  <a:pt x="971" y="695"/>
                  <a:pt x="972" y="694"/>
                </a:cubicBezTo>
                <a:cubicBezTo>
                  <a:pt x="972" y="693"/>
                  <a:pt x="972" y="692"/>
                  <a:pt x="973" y="692"/>
                </a:cubicBezTo>
                <a:cubicBezTo>
                  <a:pt x="973" y="692"/>
                  <a:pt x="974" y="692"/>
                  <a:pt x="974" y="691"/>
                </a:cubicBezTo>
                <a:cubicBezTo>
                  <a:pt x="975" y="691"/>
                  <a:pt x="975" y="691"/>
                  <a:pt x="975" y="690"/>
                </a:cubicBezTo>
                <a:cubicBezTo>
                  <a:pt x="976" y="690"/>
                  <a:pt x="977" y="690"/>
                  <a:pt x="977" y="689"/>
                </a:cubicBezTo>
                <a:cubicBezTo>
                  <a:pt x="977" y="688"/>
                  <a:pt x="978" y="688"/>
                  <a:pt x="979" y="687"/>
                </a:cubicBezTo>
                <a:cubicBezTo>
                  <a:pt x="979" y="687"/>
                  <a:pt x="979" y="688"/>
                  <a:pt x="980" y="688"/>
                </a:cubicBezTo>
                <a:cubicBezTo>
                  <a:pt x="980" y="688"/>
                  <a:pt x="980" y="687"/>
                  <a:pt x="980" y="687"/>
                </a:cubicBezTo>
                <a:cubicBezTo>
                  <a:pt x="981" y="686"/>
                  <a:pt x="981" y="686"/>
                  <a:pt x="982" y="685"/>
                </a:cubicBezTo>
                <a:cubicBezTo>
                  <a:pt x="983" y="685"/>
                  <a:pt x="984" y="684"/>
                  <a:pt x="986" y="684"/>
                </a:cubicBezTo>
                <a:cubicBezTo>
                  <a:pt x="987" y="684"/>
                  <a:pt x="987" y="683"/>
                  <a:pt x="988" y="683"/>
                </a:cubicBezTo>
                <a:cubicBezTo>
                  <a:pt x="989" y="683"/>
                  <a:pt x="989" y="683"/>
                  <a:pt x="990" y="682"/>
                </a:cubicBezTo>
                <a:cubicBezTo>
                  <a:pt x="990" y="682"/>
                  <a:pt x="991" y="682"/>
                  <a:pt x="991" y="682"/>
                </a:cubicBezTo>
                <a:cubicBezTo>
                  <a:pt x="991" y="682"/>
                  <a:pt x="991" y="682"/>
                  <a:pt x="992" y="682"/>
                </a:cubicBezTo>
                <a:cubicBezTo>
                  <a:pt x="993" y="682"/>
                  <a:pt x="993" y="682"/>
                  <a:pt x="993" y="681"/>
                </a:cubicBezTo>
                <a:cubicBezTo>
                  <a:pt x="994" y="680"/>
                  <a:pt x="993" y="678"/>
                  <a:pt x="994" y="677"/>
                </a:cubicBezTo>
                <a:cubicBezTo>
                  <a:pt x="994" y="677"/>
                  <a:pt x="994" y="677"/>
                  <a:pt x="995" y="676"/>
                </a:cubicBezTo>
                <a:cubicBezTo>
                  <a:pt x="995" y="676"/>
                  <a:pt x="996" y="676"/>
                  <a:pt x="996" y="676"/>
                </a:cubicBezTo>
                <a:cubicBezTo>
                  <a:pt x="996" y="675"/>
                  <a:pt x="996" y="674"/>
                  <a:pt x="997" y="674"/>
                </a:cubicBezTo>
                <a:cubicBezTo>
                  <a:pt x="998" y="673"/>
                  <a:pt x="999" y="673"/>
                  <a:pt x="999" y="672"/>
                </a:cubicBezTo>
                <a:cubicBezTo>
                  <a:pt x="1000" y="672"/>
                  <a:pt x="1000" y="671"/>
                  <a:pt x="1001" y="671"/>
                </a:cubicBezTo>
                <a:cubicBezTo>
                  <a:pt x="1002" y="670"/>
                  <a:pt x="1004" y="671"/>
                  <a:pt x="1005" y="671"/>
                </a:cubicBezTo>
                <a:cubicBezTo>
                  <a:pt x="1006" y="671"/>
                  <a:pt x="1007" y="671"/>
                  <a:pt x="1008" y="671"/>
                </a:cubicBezTo>
                <a:cubicBezTo>
                  <a:pt x="1008" y="671"/>
                  <a:pt x="1009" y="671"/>
                  <a:pt x="1009" y="671"/>
                </a:cubicBezTo>
                <a:cubicBezTo>
                  <a:pt x="1010" y="671"/>
                  <a:pt x="1011" y="670"/>
                  <a:pt x="1012" y="670"/>
                </a:cubicBezTo>
                <a:cubicBezTo>
                  <a:pt x="1013" y="670"/>
                  <a:pt x="1014" y="670"/>
                  <a:pt x="1015" y="670"/>
                </a:cubicBezTo>
                <a:cubicBezTo>
                  <a:pt x="1017" y="670"/>
                  <a:pt x="1018" y="669"/>
                  <a:pt x="1019" y="669"/>
                </a:cubicBezTo>
                <a:cubicBezTo>
                  <a:pt x="1021" y="669"/>
                  <a:pt x="1023" y="670"/>
                  <a:pt x="1025" y="670"/>
                </a:cubicBezTo>
                <a:cubicBezTo>
                  <a:pt x="1027" y="670"/>
                  <a:pt x="1029" y="669"/>
                  <a:pt x="1031" y="670"/>
                </a:cubicBezTo>
                <a:cubicBezTo>
                  <a:pt x="1031" y="670"/>
                  <a:pt x="1032" y="670"/>
                  <a:pt x="1033" y="670"/>
                </a:cubicBezTo>
                <a:cubicBezTo>
                  <a:pt x="1034" y="670"/>
                  <a:pt x="1034" y="670"/>
                  <a:pt x="1035" y="670"/>
                </a:cubicBezTo>
                <a:cubicBezTo>
                  <a:pt x="1035" y="670"/>
                  <a:pt x="1036" y="671"/>
                  <a:pt x="1037" y="671"/>
                </a:cubicBezTo>
                <a:cubicBezTo>
                  <a:pt x="1039" y="671"/>
                  <a:pt x="1041" y="670"/>
                  <a:pt x="1043" y="670"/>
                </a:cubicBezTo>
                <a:cubicBezTo>
                  <a:pt x="1043" y="670"/>
                  <a:pt x="1044" y="670"/>
                  <a:pt x="1045" y="670"/>
                </a:cubicBezTo>
                <a:cubicBezTo>
                  <a:pt x="1046" y="670"/>
                  <a:pt x="1047" y="670"/>
                  <a:pt x="1048" y="670"/>
                </a:cubicBezTo>
                <a:cubicBezTo>
                  <a:pt x="1048" y="670"/>
                  <a:pt x="1049" y="670"/>
                  <a:pt x="1050" y="670"/>
                </a:cubicBezTo>
                <a:cubicBezTo>
                  <a:pt x="1051" y="671"/>
                  <a:pt x="1052" y="671"/>
                  <a:pt x="1053" y="671"/>
                </a:cubicBezTo>
                <a:cubicBezTo>
                  <a:pt x="1053" y="671"/>
                  <a:pt x="1054" y="671"/>
                  <a:pt x="1055" y="671"/>
                </a:cubicBezTo>
                <a:cubicBezTo>
                  <a:pt x="1056" y="672"/>
                  <a:pt x="1055" y="673"/>
                  <a:pt x="1056" y="673"/>
                </a:cubicBezTo>
                <a:cubicBezTo>
                  <a:pt x="1057" y="673"/>
                  <a:pt x="1058" y="672"/>
                  <a:pt x="1059" y="672"/>
                </a:cubicBezTo>
                <a:cubicBezTo>
                  <a:pt x="1060" y="672"/>
                  <a:pt x="1060" y="672"/>
                  <a:pt x="1061" y="672"/>
                </a:cubicBezTo>
                <a:cubicBezTo>
                  <a:pt x="1063" y="671"/>
                  <a:pt x="1065" y="671"/>
                  <a:pt x="1066" y="671"/>
                </a:cubicBezTo>
                <a:cubicBezTo>
                  <a:pt x="1068" y="670"/>
                  <a:pt x="1070" y="671"/>
                  <a:pt x="1072" y="671"/>
                </a:cubicBezTo>
                <a:cubicBezTo>
                  <a:pt x="1072" y="671"/>
                  <a:pt x="1073" y="671"/>
                  <a:pt x="1074" y="671"/>
                </a:cubicBezTo>
                <a:cubicBezTo>
                  <a:pt x="1075" y="670"/>
                  <a:pt x="1075" y="670"/>
                  <a:pt x="1076" y="669"/>
                </a:cubicBezTo>
                <a:cubicBezTo>
                  <a:pt x="1076" y="669"/>
                  <a:pt x="1077" y="669"/>
                  <a:pt x="1077" y="668"/>
                </a:cubicBezTo>
                <a:cubicBezTo>
                  <a:pt x="1078" y="668"/>
                  <a:pt x="1078" y="667"/>
                  <a:pt x="1079" y="667"/>
                </a:cubicBezTo>
                <a:cubicBezTo>
                  <a:pt x="1080" y="666"/>
                  <a:pt x="1081" y="665"/>
                  <a:pt x="1082" y="664"/>
                </a:cubicBezTo>
                <a:cubicBezTo>
                  <a:pt x="1083" y="664"/>
                  <a:pt x="1083" y="664"/>
                  <a:pt x="1084" y="663"/>
                </a:cubicBezTo>
                <a:cubicBezTo>
                  <a:pt x="1084" y="663"/>
                  <a:pt x="1085" y="662"/>
                  <a:pt x="1085" y="662"/>
                </a:cubicBezTo>
                <a:cubicBezTo>
                  <a:pt x="1085" y="662"/>
                  <a:pt x="1085" y="661"/>
                  <a:pt x="1086" y="661"/>
                </a:cubicBezTo>
                <a:cubicBezTo>
                  <a:pt x="1086" y="662"/>
                  <a:pt x="1086" y="662"/>
                  <a:pt x="1086" y="663"/>
                </a:cubicBezTo>
                <a:cubicBezTo>
                  <a:pt x="1087" y="663"/>
                  <a:pt x="1087" y="663"/>
                  <a:pt x="1087" y="662"/>
                </a:cubicBezTo>
                <a:cubicBezTo>
                  <a:pt x="1087" y="662"/>
                  <a:pt x="1087" y="661"/>
                  <a:pt x="1087" y="661"/>
                </a:cubicBezTo>
                <a:cubicBezTo>
                  <a:pt x="1087" y="661"/>
                  <a:pt x="1088" y="660"/>
                  <a:pt x="1087" y="660"/>
                </a:cubicBezTo>
                <a:cubicBezTo>
                  <a:pt x="1087" y="659"/>
                  <a:pt x="1087" y="659"/>
                  <a:pt x="1087" y="659"/>
                </a:cubicBezTo>
                <a:cubicBezTo>
                  <a:pt x="1087" y="658"/>
                  <a:pt x="1088" y="658"/>
                  <a:pt x="1089" y="657"/>
                </a:cubicBezTo>
                <a:cubicBezTo>
                  <a:pt x="1090" y="657"/>
                  <a:pt x="1090" y="657"/>
                  <a:pt x="1091" y="657"/>
                </a:cubicBezTo>
                <a:cubicBezTo>
                  <a:pt x="1092" y="657"/>
                  <a:pt x="1092" y="656"/>
                  <a:pt x="1091" y="656"/>
                </a:cubicBezTo>
                <a:cubicBezTo>
                  <a:pt x="1091" y="655"/>
                  <a:pt x="1091" y="655"/>
                  <a:pt x="1091" y="655"/>
                </a:cubicBezTo>
                <a:cubicBezTo>
                  <a:pt x="1092" y="654"/>
                  <a:pt x="1093" y="654"/>
                  <a:pt x="1094" y="654"/>
                </a:cubicBezTo>
                <a:cubicBezTo>
                  <a:pt x="1095" y="654"/>
                  <a:pt x="1096" y="654"/>
                  <a:pt x="1096" y="653"/>
                </a:cubicBezTo>
                <a:cubicBezTo>
                  <a:pt x="1097" y="653"/>
                  <a:pt x="1098" y="653"/>
                  <a:pt x="1099" y="652"/>
                </a:cubicBezTo>
                <a:cubicBezTo>
                  <a:pt x="1100" y="652"/>
                  <a:pt x="1100" y="652"/>
                  <a:pt x="1101" y="652"/>
                </a:cubicBezTo>
                <a:cubicBezTo>
                  <a:pt x="1102" y="652"/>
                  <a:pt x="1103" y="652"/>
                  <a:pt x="1104" y="652"/>
                </a:cubicBezTo>
                <a:cubicBezTo>
                  <a:pt x="1105" y="652"/>
                  <a:pt x="1105" y="653"/>
                  <a:pt x="1106" y="653"/>
                </a:cubicBezTo>
                <a:cubicBezTo>
                  <a:pt x="1107" y="653"/>
                  <a:pt x="1108" y="653"/>
                  <a:pt x="1109" y="653"/>
                </a:cubicBezTo>
                <a:cubicBezTo>
                  <a:pt x="1109" y="653"/>
                  <a:pt x="1110" y="652"/>
                  <a:pt x="1111" y="652"/>
                </a:cubicBezTo>
                <a:cubicBezTo>
                  <a:pt x="1112" y="651"/>
                  <a:pt x="1113" y="650"/>
                  <a:pt x="1114" y="650"/>
                </a:cubicBezTo>
                <a:cubicBezTo>
                  <a:pt x="1114" y="649"/>
                  <a:pt x="1114" y="649"/>
                  <a:pt x="1115" y="649"/>
                </a:cubicBezTo>
                <a:cubicBezTo>
                  <a:pt x="1116" y="649"/>
                  <a:pt x="1116" y="648"/>
                  <a:pt x="1117" y="648"/>
                </a:cubicBezTo>
                <a:cubicBezTo>
                  <a:pt x="1118" y="647"/>
                  <a:pt x="1119" y="647"/>
                  <a:pt x="1119" y="647"/>
                </a:cubicBezTo>
                <a:cubicBezTo>
                  <a:pt x="1120" y="646"/>
                  <a:pt x="1121" y="645"/>
                  <a:pt x="1121" y="645"/>
                </a:cubicBezTo>
                <a:cubicBezTo>
                  <a:pt x="1122" y="645"/>
                  <a:pt x="1122" y="644"/>
                  <a:pt x="1122" y="644"/>
                </a:cubicBezTo>
                <a:cubicBezTo>
                  <a:pt x="1122" y="644"/>
                  <a:pt x="1123" y="643"/>
                  <a:pt x="1123" y="643"/>
                </a:cubicBezTo>
                <a:cubicBezTo>
                  <a:pt x="1123" y="642"/>
                  <a:pt x="1123" y="641"/>
                  <a:pt x="1124" y="641"/>
                </a:cubicBezTo>
                <a:cubicBezTo>
                  <a:pt x="1124" y="641"/>
                  <a:pt x="1125" y="641"/>
                  <a:pt x="1125" y="641"/>
                </a:cubicBezTo>
                <a:cubicBezTo>
                  <a:pt x="1125" y="640"/>
                  <a:pt x="1125" y="640"/>
                  <a:pt x="1124" y="640"/>
                </a:cubicBezTo>
                <a:cubicBezTo>
                  <a:pt x="1124" y="640"/>
                  <a:pt x="1124" y="640"/>
                  <a:pt x="1124" y="639"/>
                </a:cubicBezTo>
                <a:cubicBezTo>
                  <a:pt x="1123" y="639"/>
                  <a:pt x="1123" y="639"/>
                  <a:pt x="1123" y="639"/>
                </a:cubicBezTo>
                <a:cubicBezTo>
                  <a:pt x="1122" y="639"/>
                  <a:pt x="1122" y="638"/>
                  <a:pt x="1123" y="638"/>
                </a:cubicBezTo>
                <a:cubicBezTo>
                  <a:pt x="1123" y="638"/>
                  <a:pt x="1123" y="639"/>
                  <a:pt x="1123" y="639"/>
                </a:cubicBezTo>
                <a:cubicBezTo>
                  <a:pt x="1124" y="639"/>
                  <a:pt x="1124" y="638"/>
                  <a:pt x="1124" y="638"/>
                </a:cubicBezTo>
                <a:cubicBezTo>
                  <a:pt x="1124" y="638"/>
                  <a:pt x="1124" y="638"/>
                  <a:pt x="1124" y="638"/>
                </a:cubicBezTo>
                <a:cubicBezTo>
                  <a:pt x="1125" y="638"/>
                  <a:pt x="1125" y="636"/>
                  <a:pt x="1124" y="636"/>
                </a:cubicBezTo>
                <a:cubicBezTo>
                  <a:pt x="1123" y="636"/>
                  <a:pt x="1123" y="637"/>
                  <a:pt x="1122" y="636"/>
                </a:cubicBezTo>
                <a:cubicBezTo>
                  <a:pt x="1122" y="636"/>
                  <a:pt x="1122" y="636"/>
                  <a:pt x="1121" y="636"/>
                </a:cubicBezTo>
                <a:cubicBezTo>
                  <a:pt x="1121" y="636"/>
                  <a:pt x="1120" y="636"/>
                  <a:pt x="1120" y="635"/>
                </a:cubicBezTo>
                <a:cubicBezTo>
                  <a:pt x="1120" y="635"/>
                  <a:pt x="1121" y="635"/>
                  <a:pt x="1121" y="635"/>
                </a:cubicBezTo>
                <a:cubicBezTo>
                  <a:pt x="1121" y="634"/>
                  <a:pt x="1121" y="634"/>
                  <a:pt x="1122" y="634"/>
                </a:cubicBezTo>
                <a:cubicBezTo>
                  <a:pt x="1122" y="634"/>
                  <a:pt x="1122" y="634"/>
                  <a:pt x="1123" y="635"/>
                </a:cubicBezTo>
                <a:cubicBezTo>
                  <a:pt x="1124" y="635"/>
                  <a:pt x="1124" y="634"/>
                  <a:pt x="1123" y="634"/>
                </a:cubicBezTo>
                <a:cubicBezTo>
                  <a:pt x="1123" y="633"/>
                  <a:pt x="1122" y="634"/>
                  <a:pt x="1122" y="633"/>
                </a:cubicBezTo>
                <a:cubicBezTo>
                  <a:pt x="1122" y="633"/>
                  <a:pt x="1122" y="633"/>
                  <a:pt x="1122" y="633"/>
                </a:cubicBezTo>
                <a:cubicBezTo>
                  <a:pt x="1121" y="633"/>
                  <a:pt x="1121" y="633"/>
                  <a:pt x="1121" y="633"/>
                </a:cubicBezTo>
                <a:cubicBezTo>
                  <a:pt x="1121" y="632"/>
                  <a:pt x="1121" y="632"/>
                  <a:pt x="1121" y="632"/>
                </a:cubicBezTo>
                <a:cubicBezTo>
                  <a:pt x="1122" y="632"/>
                  <a:pt x="1122" y="632"/>
                  <a:pt x="1122" y="632"/>
                </a:cubicBezTo>
                <a:cubicBezTo>
                  <a:pt x="1122" y="631"/>
                  <a:pt x="1122" y="631"/>
                  <a:pt x="1123" y="631"/>
                </a:cubicBezTo>
                <a:cubicBezTo>
                  <a:pt x="1123" y="631"/>
                  <a:pt x="1124" y="631"/>
                  <a:pt x="1124" y="630"/>
                </a:cubicBezTo>
                <a:cubicBezTo>
                  <a:pt x="1123" y="630"/>
                  <a:pt x="1123" y="630"/>
                  <a:pt x="1123" y="630"/>
                </a:cubicBezTo>
                <a:cubicBezTo>
                  <a:pt x="1122" y="630"/>
                  <a:pt x="1122" y="629"/>
                  <a:pt x="1122" y="629"/>
                </a:cubicBezTo>
                <a:cubicBezTo>
                  <a:pt x="1122" y="629"/>
                  <a:pt x="1121" y="629"/>
                  <a:pt x="1121" y="629"/>
                </a:cubicBezTo>
                <a:cubicBezTo>
                  <a:pt x="1120" y="628"/>
                  <a:pt x="1121" y="628"/>
                  <a:pt x="1121" y="628"/>
                </a:cubicBezTo>
                <a:cubicBezTo>
                  <a:pt x="1121" y="628"/>
                  <a:pt x="1122" y="628"/>
                  <a:pt x="1122" y="628"/>
                </a:cubicBezTo>
                <a:cubicBezTo>
                  <a:pt x="1123" y="628"/>
                  <a:pt x="1123" y="628"/>
                  <a:pt x="1123" y="627"/>
                </a:cubicBezTo>
                <a:cubicBezTo>
                  <a:pt x="1123" y="627"/>
                  <a:pt x="1123" y="627"/>
                  <a:pt x="1124" y="627"/>
                </a:cubicBezTo>
                <a:cubicBezTo>
                  <a:pt x="1124" y="626"/>
                  <a:pt x="1124" y="625"/>
                  <a:pt x="1124" y="624"/>
                </a:cubicBezTo>
                <a:cubicBezTo>
                  <a:pt x="1124" y="624"/>
                  <a:pt x="1124" y="623"/>
                  <a:pt x="1123" y="623"/>
                </a:cubicBezTo>
                <a:cubicBezTo>
                  <a:pt x="1122" y="623"/>
                  <a:pt x="1121" y="623"/>
                  <a:pt x="1121" y="622"/>
                </a:cubicBezTo>
                <a:cubicBezTo>
                  <a:pt x="1120" y="622"/>
                  <a:pt x="1120" y="622"/>
                  <a:pt x="1120" y="621"/>
                </a:cubicBezTo>
                <a:cubicBezTo>
                  <a:pt x="1120" y="621"/>
                  <a:pt x="1120" y="621"/>
                  <a:pt x="1120" y="621"/>
                </a:cubicBezTo>
                <a:cubicBezTo>
                  <a:pt x="1119" y="621"/>
                  <a:pt x="1119" y="620"/>
                  <a:pt x="1120" y="620"/>
                </a:cubicBezTo>
                <a:cubicBezTo>
                  <a:pt x="1121" y="620"/>
                  <a:pt x="1120" y="621"/>
                  <a:pt x="1121" y="621"/>
                </a:cubicBezTo>
                <a:cubicBezTo>
                  <a:pt x="1121" y="621"/>
                  <a:pt x="1121" y="620"/>
                  <a:pt x="1121" y="620"/>
                </a:cubicBezTo>
                <a:cubicBezTo>
                  <a:pt x="1121" y="619"/>
                  <a:pt x="1120" y="619"/>
                  <a:pt x="1119" y="619"/>
                </a:cubicBezTo>
                <a:cubicBezTo>
                  <a:pt x="1119" y="619"/>
                  <a:pt x="1118" y="619"/>
                  <a:pt x="1117" y="619"/>
                </a:cubicBezTo>
                <a:cubicBezTo>
                  <a:pt x="1116" y="619"/>
                  <a:pt x="1116" y="619"/>
                  <a:pt x="1116" y="619"/>
                </a:cubicBezTo>
                <a:cubicBezTo>
                  <a:pt x="1115" y="619"/>
                  <a:pt x="1115" y="619"/>
                  <a:pt x="1115" y="618"/>
                </a:cubicBezTo>
                <a:cubicBezTo>
                  <a:pt x="1114" y="618"/>
                  <a:pt x="1116" y="618"/>
                  <a:pt x="1117" y="618"/>
                </a:cubicBezTo>
                <a:cubicBezTo>
                  <a:pt x="1117" y="616"/>
                  <a:pt x="1116" y="617"/>
                  <a:pt x="1115" y="617"/>
                </a:cubicBezTo>
                <a:cubicBezTo>
                  <a:pt x="1115" y="617"/>
                  <a:pt x="1115" y="616"/>
                  <a:pt x="1114" y="616"/>
                </a:cubicBezTo>
                <a:cubicBezTo>
                  <a:pt x="1114" y="617"/>
                  <a:pt x="1114" y="617"/>
                  <a:pt x="1114" y="617"/>
                </a:cubicBezTo>
                <a:cubicBezTo>
                  <a:pt x="1113" y="618"/>
                  <a:pt x="1111" y="616"/>
                  <a:pt x="1110" y="618"/>
                </a:cubicBezTo>
                <a:cubicBezTo>
                  <a:pt x="1109" y="618"/>
                  <a:pt x="1109" y="618"/>
                  <a:pt x="1109" y="619"/>
                </a:cubicBezTo>
                <a:cubicBezTo>
                  <a:pt x="1109" y="619"/>
                  <a:pt x="1109" y="619"/>
                  <a:pt x="1108" y="619"/>
                </a:cubicBezTo>
                <a:cubicBezTo>
                  <a:pt x="1108" y="619"/>
                  <a:pt x="1108" y="620"/>
                  <a:pt x="1107" y="620"/>
                </a:cubicBezTo>
                <a:cubicBezTo>
                  <a:pt x="1107" y="621"/>
                  <a:pt x="1107" y="622"/>
                  <a:pt x="1106" y="621"/>
                </a:cubicBezTo>
                <a:cubicBezTo>
                  <a:pt x="1106" y="621"/>
                  <a:pt x="1107" y="620"/>
                  <a:pt x="1106" y="619"/>
                </a:cubicBezTo>
                <a:cubicBezTo>
                  <a:pt x="1106" y="619"/>
                  <a:pt x="1104" y="619"/>
                  <a:pt x="1105" y="618"/>
                </a:cubicBezTo>
                <a:cubicBezTo>
                  <a:pt x="1106" y="618"/>
                  <a:pt x="1107" y="618"/>
                  <a:pt x="1107" y="617"/>
                </a:cubicBezTo>
                <a:cubicBezTo>
                  <a:pt x="1108" y="617"/>
                  <a:pt x="1108" y="617"/>
                  <a:pt x="1108" y="617"/>
                </a:cubicBezTo>
                <a:cubicBezTo>
                  <a:pt x="1108" y="616"/>
                  <a:pt x="1109" y="616"/>
                  <a:pt x="1109" y="616"/>
                </a:cubicBezTo>
                <a:cubicBezTo>
                  <a:pt x="1110" y="615"/>
                  <a:pt x="1108" y="615"/>
                  <a:pt x="1108" y="614"/>
                </a:cubicBezTo>
                <a:cubicBezTo>
                  <a:pt x="1108" y="613"/>
                  <a:pt x="1108" y="613"/>
                  <a:pt x="1107" y="612"/>
                </a:cubicBezTo>
                <a:cubicBezTo>
                  <a:pt x="1106" y="612"/>
                  <a:pt x="1106" y="612"/>
                  <a:pt x="1105" y="612"/>
                </a:cubicBezTo>
                <a:cubicBezTo>
                  <a:pt x="1105" y="611"/>
                  <a:pt x="1105" y="611"/>
                  <a:pt x="1104" y="611"/>
                </a:cubicBezTo>
                <a:cubicBezTo>
                  <a:pt x="1104" y="611"/>
                  <a:pt x="1104" y="610"/>
                  <a:pt x="1104" y="610"/>
                </a:cubicBezTo>
                <a:cubicBezTo>
                  <a:pt x="1103" y="610"/>
                  <a:pt x="1103" y="610"/>
                  <a:pt x="1102" y="610"/>
                </a:cubicBezTo>
                <a:cubicBezTo>
                  <a:pt x="1102" y="610"/>
                  <a:pt x="1101" y="610"/>
                  <a:pt x="1100" y="610"/>
                </a:cubicBezTo>
                <a:cubicBezTo>
                  <a:pt x="1099" y="610"/>
                  <a:pt x="1098" y="609"/>
                  <a:pt x="1098" y="609"/>
                </a:cubicBezTo>
                <a:cubicBezTo>
                  <a:pt x="1097" y="609"/>
                  <a:pt x="1096" y="609"/>
                  <a:pt x="1095" y="609"/>
                </a:cubicBezTo>
                <a:cubicBezTo>
                  <a:pt x="1095" y="608"/>
                  <a:pt x="1096" y="608"/>
                  <a:pt x="1096" y="608"/>
                </a:cubicBezTo>
                <a:cubicBezTo>
                  <a:pt x="1097" y="608"/>
                  <a:pt x="1097" y="608"/>
                  <a:pt x="1097" y="607"/>
                </a:cubicBezTo>
                <a:cubicBezTo>
                  <a:pt x="1098" y="607"/>
                  <a:pt x="1098" y="607"/>
                  <a:pt x="1099" y="607"/>
                </a:cubicBezTo>
                <a:cubicBezTo>
                  <a:pt x="1100" y="607"/>
                  <a:pt x="1101" y="607"/>
                  <a:pt x="1102" y="607"/>
                </a:cubicBezTo>
                <a:cubicBezTo>
                  <a:pt x="1102" y="607"/>
                  <a:pt x="1102" y="607"/>
                  <a:pt x="1103" y="606"/>
                </a:cubicBezTo>
                <a:cubicBezTo>
                  <a:pt x="1103" y="606"/>
                  <a:pt x="1104" y="606"/>
                  <a:pt x="1104" y="606"/>
                </a:cubicBezTo>
                <a:cubicBezTo>
                  <a:pt x="1104" y="606"/>
                  <a:pt x="1105" y="606"/>
                  <a:pt x="1104" y="605"/>
                </a:cubicBezTo>
                <a:cubicBezTo>
                  <a:pt x="1104" y="605"/>
                  <a:pt x="1103" y="605"/>
                  <a:pt x="1104" y="605"/>
                </a:cubicBezTo>
                <a:cubicBezTo>
                  <a:pt x="1104" y="605"/>
                  <a:pt x="1105" y="605"/>
                  <a:pt x="1105" y="605"/>
                </a:cubicBezTo>
                <a:cubicBezTo>
                  <a:pt x="1105" y="605"/>
                  <a:pt x="1106" y="604"/>
                  <a:pt x="1106" y="604"/>
                </a:cubicBezTo>
                <a:cubicBezTo>
                  <a:pt x="1106" y="604"/>
                  <a:pt x="1105" y="603"/>
                  <a:pt x="1105" y="603"/>
                </a:cubicBezTo>
                <a:cubicBezTo>
                  <a:pt x="1104" y="603"/>
                  <a:pt x="1103" y="603"/>
                  <a:pt x="1102" y="603"/>
                </a:cubicBezTo>
                <a:cubicBezTo>
                  <a:pt x="1101" y="603"/>
                  <a:pt x="1101" y="602"/>
                  <a:pt x="1100" y="601"/>
                </a:cubicBezTo>
                <a:cubicBezTo>
                  <a:pt x="1100" y="601"/>
                  <a:pt x="1099" y="601"/>
                  <a:pt x="1099" y="601"/>
                </a:cubicBezTo>
                <a:cubicBezTo>
                  <a:pt x="1099" y="600"/>
                  <a:pt x="1099" y="600"/>
                  <a:pt x="1099" y="600"/>
                </a:cubicBezTo>
                <a:cubicBezTo>
                  <a:pt x="1099" y="599"/>
                  <a:pt x="1100" y="599"/>
                  <a:pt x="1099" y="598"/>
                </a:cubicBezTo>
                <a:cubicBezTo>
                  <a:pt x="1099" y="598"/>
                  <a:pt x="1099" y="599"/>
                  <a:pt x="1098" y="599"/>
                </a:cubicBezTo>
                <a:cubicBezTo>
                  <a:pt x="1098" y="599"/>
                  <a:pt x="1097" y="599"/>
                  <a:pt x="1096" y="599"/>
                </a:cubicBezTo>
                <a:cubicBezTo>
                  <a:pt x="1096" y="599"/>
                  <a:pt x="1095" y="599"/>
                  <a:pt x="1096" y="600"/>
                </a:cubicBezTo>
                <a:cubicBezTo>
                  <a:pt x="1096" y="600"/>
                  <a:pt x="1097" y="600"/>
                  <a:pt x="1096" y="601"/>
                </a:cubicBezTo>
                <a:cubicBezTo>
                  <a:pt x="1096" y="601"/>
                  <a:pt x="1095" y="601"/>
                  <a:pt x="1095" y="600"/>
                </a:cubicBezTo>
                <a:cubicBezTo>
                  <a:pt x="1095" y="600"/>
                  <a:pt x="1095" y="600"/>
                  <a:pt x="1094" y="601"/>
                </a:cubicBezTo>
                <a:cubicBezTo>
                  <a:pt x="1094" y="601"/>
                  <a:pt x="1093" y="601"/>
                  <a:pt x="1092" y="601"/>
                </a:cubicBezTo>
                <a:cubicBezTo>
                  <a:pt x="1092" y="601"/>
                  <a:pt x="1092" y="600"/>
                  <a:pt x="1091" y="600"/>
                </a:cubicBezTo>
                <a:cubicBezTo>
                  <a:pt x="1090" y="600"/>
                  <a:pt x="1090" y="600"/>
                  <a:pt x="1089" y="600"/>
                </a:cubicBezTo>
                <a:cubicBezTo>
                  <a:pt x="1088" y="600"/>
                  <a:pt x="1088" y="600"/>
                  <a:pt x="1088" y="599"/>
                </a:cubicBezTo>
                <a:cubicBezTo>
                  <a:pt x="1088" y="599"/>
                  <a:pt x="1088" y="598"/>
                  <a:pt x="1088" y="598"/>
                </a:cubicBezTo>
                <a:cubicBezTo>
                  <a:pt x="1088" y="598"/>
                  <a:pt x="1087" y="597"/>
                  <a:pt x="1087" y="597"/>
                </a:cubicBezTo>
                <a:cubicBezTo>
                  <a:pt x="1087" y="596"/>
                  <a:pt x="1088" y="596"/>
                  <a:pt x="1088" y="596"/>
                </a:cubicBezTo>
                <a:cubicBezTo>
                  <a:pt x="1088" y="594"/>
                  <a:pt x="1087" y="596"/>
                  <a:pt x="1086" y="596"/>
                </a:cubicBezTo>
                <a:cubicBezTo>
                  <a:pt x="1086" y="595"/>
                  <a:pt x="1086" y="595"/>
                  <a:pt x="1085" y="596"/>
                </a:cubicBezTo>
                <a:cubicBezTo>
                  <a:pt x="1085" y="596"/>
                  <a:pt x="1085" y="597"/>
                  <a:pt x="1084" y="597"/>
                </a:cubicBezTo>
                <a:cubicBezTo>
                  <a:pt x="1084" y="596"/>
                  <a:pt x="1084" y="595"/>
                  <a:pt x="1085" y="595"/>
                </a:cubicBezTo>
                <a:cubicBezTo>
                  <a:pt x="1085" y="595"/>
                  <a:pt x="1086" y="595"/>
                  <a:pt x="1086" y="594"/>
                </a:cubicBezTo>
                <a:cubicBezTo>
                  <a:pt x="1086" y="593"/>
                  <a:pt x="1085" y="593"/>
                  <a:pt x="1085" y="594"/>
                </a:cubicBezTo>
                <a:cubicBezTo>
                  <a:pt x="1084" y="594"/>
                  <a:pt x="1083" y="594"/>
                  <a:pt x="1083" y="595"/>
                </a:cubicBezTo>
                <a:cubicBezTo>
                  <a:pt x="1083" y="595"/>
                  <a:pt x="1083" y="596"/>
                  <a:pt x="1083" y="596"/>
                </a:cubicBezTo>
                <a:cubicBezTo>
                  <a:pt x="1083" y="596"/>
                  <a:pt x="1082" y="596"/>
                  <a:pt x="1082" y="596"/>
                </a:cubicBezTo>
                <a:cubicBezTo>
                  <a:pt x="1081" y="596"/>
                  <a:pt x="1081" y="597"/>
                  <a:pt x="1081" y="597"/>
                </a:cubicBezTo>
                <a:cubicBezTo>
                  <a:pt x="1080" y="597"/>
                  <a:pt x="1080" y="597"/>
                  <a:pt x="1080" y="598"/>
                </a:cubicBezTo>
                <a:cubicBezTo>
                  <a:pt x="1079" y="598"/>
                  <a:pt x="1079" y="598"/>
                  <a:pt x="1079" y="599"/>
                </a:cubicBezTo>
                <a:cubicBezTo>
                  <a:pt x="1079" y="599"/>
                  <a:pt x="1078" y="599"/>
                  <a:pt x="1078" y="599"/>
                </a:cubicBezTo>
                <a:cubicBezTo>
                  <a:pt x="1078" y="600"/>
                  <a:pt x="1078" y="601"/>
                  <a:pt x="1077" y="601"/>
                </a:cubicBezTo>
                <a:cubicBezTo>
                  <a:pt x="1077" y="600"/>
                  <a:pt x="1077" y="600"/>
                  <a:pt x="1078" y="599"/>
                </a:cubicBezTo>
                <a:cubicBezTo>
                  <a:pt x="1078" y="599"/>
                  <a:pt x="1078" y="598"/>
                  <a:pt x="1079" y="597"/>
                </a:cubicBezTo>
                <a:cubicBezTo>
                  <a:pt x="1079" y="597"/>
                  <a:pt x="1080" y="597"/>
                  <a:pt x="1080" y="597"/>
                </a:cubicBezTo>
                <a:cubicBezTo>
                  <a:pt x="1080" y="597"/>
                  <a:pt x="1080" y="596"/>
                  <a:pt x="1081" y="596"/>
                </a:cubicBezTo>
                <a:cubicBezTo>
                  <a:pt x="1081" y="596"/>
                  <a:pt x="1082" y="596"/>
                  <a:pt x="1082" y="596"/>
                </a:cubicBezTo>
                <a:cubicBezTo>
                  <a:pt x="1083" y="595"/>
                  <a:pt x="1081" y="594"/>
                  <a:pt x="1081" y="595"/>
                </a:cubicBezTo>
                <a:cubicBezTo>
                  <a:pt x="1080" y="595"/>
                  <a:pt x="1080" y="595"/>
                  <a:pt x="1079" y="595"/>
                </a:cubicBezTo>
                <a:cubicBezTo>
                  <a:pt x="1079" y="595"/>
                  <a:pt x="1078" y="595"/>
                  <a:pt x="1078" y="595"/>
                </a:cubicBezTo>
                <a:cubicBezTo>
                  <a:pt x="1078" y="594"/>
                  <a:pt x="1079" y="594"/>
                  <a:pt x="1079" y="594"/>
                </a:cubicBezTo>
                <a:cubicBezTo>
                  <a:pt x="1080" y="593"/>
                  <a:pt x="1078" y="592"/>
                  <a:pt x="1077" y="592"/>
                </a:cubicBezTo>
                <a:cubicBezTo>
                  <a:pt x="1077" y="593"/>
                  <a:pt x="1077" y="593"/>
                  <a:pt x="1077" y="593"/>
                </a:cubicBezTo>
                <a:cubicBezTo>
                  <a:pt x="1076" y="594"/>
                  <a:pt x="1076" y="593"/>
                  <a:pt x="1076" y="593"/>
                </a:cubicBezTo>
                <a:cubicBezTo>
                  <a:pt x="1075" y="593"/>
                  <a:pt x="1075" y="593"/>
                  <a:pt x="1075" y="593"/>
                </a:cubicBezTo>
                <a:cubicBezTo>
                  <a:pt x="1075" y="593"/>
                  <a:pt x="1074" y="593"/>
                  <a:pt x="1074" y="594"/>
                </a:cubicBezTo>
                <a:cubicBezTo>
                  <a:pt x="1074" y="594"/>
                  <a:pt x="1075" y="594"/>
                  <a:pt x="1075" y="594"/>
                </a:cubicBezTo>
                <a:cubicBezTo>
                  <a:pt x="1075" y="595"/>
                  <a:pt x="1074" y="595"/>
                  <a:pt x="1074" y="595"/>
                </a:cubicBezTo>
                <a:cubicBezTo>
                  <a:pt x="1074" y="595"/>
                  <a:pt x="1074" y="595"/>
                  <a:pt x="1074" y="594"/>
                </a:cubicBezTo>
                <a:cubicBezTo>
                  <a:pt x="1074" y="594"/>
                  <a:pt x="1074" y="594"/>
                  <a:pt x="1074" y="594"/>
                </a:cubicBezTo>
                <a:cubicBezTo>
                  <a:pt x="1073" y="593"/>
                  <a:pt x="1073" y="593"/>
                  <a:pt x="1073" y="593"/>
                </a:cubicBezTo>
                <a:cubicBezTo>
                  <a:pt x="1072" y="594"/>
                  <a:pt x="1072" y="594"/>
                  <a:pt x="1071" y="594"/>
                </a:cubicBezTo>
                <a:cubicBezTo>
                  <a:pt x="1071" y="594"/>
                  <a:pt x="1071" y="594"/>
                  <a:pt x="1071" y="594"/>
                </a:cubicBezTo>
                <a:cubicBezTo>
                  <a:pt x="1071" y="593"/>
                  <a:pt x="1072" y="593"/>
                  <a:pt x="1071" y="593"/>
                </a:cubicBezTo>
                <a:cubicBezTo>
                  <a:pt x="1071" y="593"/>
                  <a:pt x="1070" y="593"/>
                  <a:pt x="1070" y="593"/>
                </a:cubicBezTo>
                <a:cubicBezTo>
                  <a:pt x="1070" y="592"/>
                  <a:pt x="1071" y="592"/>
                  <a:pt x="1071" y="592"/>
                </a:cubicBezTo>
                <a:cubicBezTo>
                  <a:pt x="1072" y="592"/>
                  <a:pt x="1071" y="591"/>
                  <a:pt x="1072" y="590"/>
                </a:cubicBezTo>
                <a:cubicBezTo>
                  <a:pt x="1073" y="590"/>
                  <a:pt x="1073" y="591"/>
                  <a:pt x="1073" y="590"/>
                </a:cubicBezTo>
                <a:cubicBezTo>
                  <a:pt x="1074" y="590"/>
                  <a:pt x="1074" y="589"/>
                  <a:pt x="1073" y="589"/>
                </a:cubicBezTo>
                <a:cubicBezTo>
                  <a:pt x="1073" y="589"/>
                  <a:pt x="1073" y="590"/>
                  <a:pt x="1072" y="590"/>
                </a:cubicBezTo>
                <a:cubicBezTo>
                  <a:pt x="1072" y="590"/>
                  <a:pt x="1071" y="590"/>
                  <a:pt x="1072" y="589"/>
                </a:cubicBezTo>
                <a:cubicBezTo>
                  <a:pt x="1072" y="589"/>
                  <a:pt x="1073" y="589"/>
                  <a:pt x="1073" y="588"/>
                </a:cubicBezTo>
                <a:cubicBezTo>
                  <a:pt x="1072" y="588"/>
                  <a:pt x="1072" y="588"/>
                  <a:pt x="1072" y="588"/>
                </a:cubicBezTo>
                <a:cubicBezTo>
                  <a:pt x="1071" y="589"/>
                  <a:pt x="1071" y="588"/>
                  <a:pt x="1071" y="588"/>
                </a:cubicBezTo>
                <a:cubicBezTo>
                  <a:pt x="1071" y="588"/>
                  <a:pt x="1070" y="588"/>
                  <a:pt x="1070" y="587"/>
                </a:cubicBezTo>
                <a:cubicBezTo>
                  <a:pt x="1070" y="586"/>
                  <a:pt x="1071" y="586"/>
                  <a:pt x="1072" y="586"/>
                </a:cubicBezTo>
                <a:cubicBezTo>
                  <a:pt x="1072" y="585"/>
                  <a:pt x="1072" y="584"/>
                  <a:pt x="1071" y="584"/>
                </a:cubicBezTo>
                <a:cubicBezTo>
                  <a:pt x="1070" y="585"/>
                  <a:pt x="1070" y="585"/>
                  <a:pt x="1070" y="585"/>
                </a:cubicBezTo>
                <a:cubicBezTo>
                  <a:pt x="1070" y="585"/>
                  <a:pt x="1069" y="586"/>
                  <a:pt x="1069" y="585"/>
                </a:cubicBezTo>
                <a:cubicBezTo>
                  <a:pt x="1069" y="585"/>
                  <a:pt x="1069" y="584"/>
                  <a:pt x="1069" y="584"/>
                </a:cubicBezTo>
                <a:cubicBezTo>
                  <a:pt x="1068" y="584"/>
                  <a:pt x="1068" y="585"/>
                  <a:pt x="1068" y="585"/>
                </a:cubicBezTo>
                <a:cubicBezTo>
                  <a:pt x="1068" y="585"/>
                  <a:pt x="1066" y="585"/>
                  <a:pt x="1066" y="585"/>
                </a:cubicBezTo>
                <a:cubicBezTo>
                  <a:pt x="1066" y="585"/>
                  <a:pt x="1066" y="585"/>
                  <a:pt x="1066" y="585"/>
                </a:cubicBezTo>
                <a:cubicBezTo>
                  <a:pt x="1066" y="585"/>
                  <a:pt x="1067" y="585"/>
                  <a:pt x="1067" y="584"/>
                </a:cubicBezTo>
                <a:cubicBezTo>
                  <a:pt x="1067" y="584"/>
                  <a:pt x="1067" y="584"/>
                  <a:pt x="1067" y="584"/>
                </a:cubicBezTo>
                <a:cubicBezTo>
                  <a:pt x="1066" y="583"/>
                  <a:pt x="1065" y="584"/>
                  <a:pt x="1064" y="584"/>
                </a:cubicBezTo>
                <a:cubicBezTo>
                  <a:pt x="1064" y="583"/>
                  <a:pt x="1064" y="583"/>
                  <a:pt x="1064" y="583"/>
                </a:cubicBezTo>
                <a:cubicBezTo>
                  <a:pt x="1063" y="583"/>
                  <a:pt x="1063" y="582"/>
                  <a:pt x="1063" y="582"/>
                </a:cubicBezTo>
                <a:cubicBezTo>
                  <a:pt x="1062" y="582"/>
                  <a:pt x="1062" y="582"/>
                  <a:pt x="1062" y="582"/>
                </a:cubicBezTo>
                <a:cubicBezTo>
                  <a:pt x="1061" y="582"/>
                  <a:pt x="1061" y="582"/>
                  <a:pt x="1061" y="582"/>
                </a:cubicBezTo>
                <a:cubicBezTo>
                  <a:pt x="1061" y="582"/>
                  <a:pt x="1060" y="582"/>
                  <a:pt x="1060" y="582"/>
                </a:cubicBezTo>
                <a:cubicBezTo>
                  <a:pt x="1060" y="582"/>
                  <a:pt x="1059" y="581"/>
                  <a:pt x="1060" y="581"/>
                </a:cubicBezTo>
                <a:cubicBezTo>
                  <a:pt x="1060" y="581"/>
                  <a:pt x="1061" y="581"/>
                  <a:pt x="1061" y="581"/>
                </a:cubicBezTo>
                <a:cubicBezTo>
                  <a:pt x="1062" y="581"/>
                  <a:pt x="1062" y="581"/>
                  <a:pt x="1061" y="580"/>
                </a:cubicBezTo>
                <a:cubicBezTo>
                  <a:pt x="1061" y="580"/>
                  <a:pt x="1060" y="580"/>
                  <a:pt x="1060" y="580"/>
                </a:cubicBezTo>
                <a:cubicBezTo>
                  <a:pt x="1060" y="579"/>
                  <a:pt x="1061" y="579"/>
                  <a:pt x="1061" y="579"/>
                </a:cubicBezTo>
                <a:cubicBezTo>
                  <a:pt x="1061" y="578"/>
                  <a:pt x="1059" y="578"/>
                  <a:pt x="1059" y="578"/>
                </a:cubicBezTo>
                <a:cubicBezTo>
                  <a:pt x="1058" y="578"/>
                  <a:pt x="1058" y="577"/>
                  <a:pt x="1057" y="577"/>
                </a:cubicBezTo>
                <a:cubicBezTo>
                  <a:pt x="1056" y="577"/>
                  <a:pt x="1055" y="578"/>
                  <a:pt x="1054" y="577"/>
                </a:cubicBezTo>
                <a:cubicBezTo>
                  <a:pt x="1054" y="577"/>
                  <a:pt x="1052" y="577"/>
                  <a:pt x="1053" y="577"/>
                </a:cubicBezTo>
                <a:cubicBezTo>
                  <a:pt x="1053" y="577"/>
                  <a:pt x="1053" y="576"/>
                  <a:pt x="1054" y="576"/>
                </a:cubicBezTo>
                <a:cubicBezTo>
                  <a:pt x="1054" y="576"/>
                  <a:pt x="1054" y="577"/>
                  <a:pt x="1055" y="577"/>
                </a:cubicBezTo>
                <a:cubicBezTo>
                  <a:pt x="1055" y="577"/>
                  <a:pt x="1056" y="576"/>
                  <a:pt x="1056" y="576"/>
                </a:cubicBezTo>
                <a:cubicBezTo>
                  <a:pt x="1057" y="576"/>
                  <a:pt x="1057" y="577"/>
                  <a:pt x="1057" y="577"/>
                </a:cubicBezTo>
                <a:cubicBezTo>
                  <a:pt x="1058" y="576"/>
                  <a:pt x="1057" y="576"/>
                  <a:pt x="1057" y="576"/>
                </a:cubicBezTo>
                <a:cubicBezTo>
                  <a:pt x="1057" y="576"/>
                  <a:pt x="1056" y="576"/>
                  <a:pt x="1056" y="576"/>
                </a:cubicBezTo>
                <a:cubicBezTo>
                  <a:pt x="1055" y="576"/>
                  <a:pt x="1055" y="575"/>
                  <a:pt x="1055" y="575"/>
                </a:cubicBezTo>
                <a:cubicBezTo>
                  <a:pt x="1055" y="575"/>
                  <a:pt x="1055" y="575"/>
                  <a:pt x="1054" y="574"/>
                </a:cubicBezTo>
                <a:cubicBezTo>
                  <a:pt x="1054" y="574"/>
                  <a:pt x="1053" y="574"/>
                  <a:pt x="1054" y="573"/>
                </a:cubicBezTo>
                <a:cubicBezTo>
                  <a:pt x="1054" y="573"/>
                  <a:pt x="1054" y="573"/>
                  <a:pt x="1055" y="573"/>
                </a:cubicBezTo>
                <a:cubicBezTo>
                  <a:pt x="1055" y="573"/>
                  <a:pt x="1055" y="573"/>
                  <a:pt x="1056" y="573"/>
                </a:cubicBezTo>
                <a:cubicBezTo>
                  <a:pt x="1056" y="573"/>
                  <a:pt x="1056" y="573"/>
                  <a:pt x="1057" y="573"/>
                </a:cubicBezTo>
                <a:cubicBezTo>
                  <a:pt x="1057" y="573"/>
                  <a:pt x="1056" y="572"/>
                  <a:pt x="1056" y="572"/>
                </a:cubicBezTo>
                <a:cubicBezTo>
                  <a:pt x="1055" y="572"/>
                  <a:pt x="1055" y="572"/>
                  <a:pt x="1055" y="572"/>
                </a:cubicBezTo>
                <a:cubicBezTo>
                  <a:pt x="1054" y="572"/>
                  <a:pt x="1054" y="572"/>
                  <a:pt x="1054" y="571"/>
                </a:cubicBezTo>
                <a:cubicBezTo>
                  <a:pt x="1054" y="571"/>
                  <a:pt x="1054" y="572"/>
                  <a:pt x="1053" y="572"/>
                </a:cubicBezTo>
                <a:cubicBezTo>
                  <a:pt x="1053" y="572"/>
                  <a:pt x="1052" y="572"/>
                  <a:pt x="1052" y="572"/>
                </a:cubicBezTo>
                <a:cubicBezTo>
                  <a:pt x="1052" y="571"/>
                  <a:pt x="1052" y="571"/>
                  <a:pt x="1052" y="571"/>
                </a:cubicBezTo>
                <a:cubicBezTo>
                  <a:pt x="1053" y="571"/>
                  <a:pt x="1053" y="571"/>
                  <a:pt x="1053" y="571"/>
                </a:cubicBezTo>
                <a:cubicBezTo>
                  <a:pt x="1053" y="571"/>
                  <a:pt x="1053" y="571"/>
                  <a:pt x="1053" y="571"/>
                </a:cubicBezTo>
                <a:cubicBezTo>
                  <a:pt x="1054" y="570"/>
                  <a:pt x="1053" y="570"/>
                  <a:pt x="1054" y="570"/>
                </a:cubicBezTo>
                <a:cubicBezTo>
                  <a:pt x="1054" y="570"/>
                  <a:pt x="1054" y="571"/>
                  <a:pt x="1055" y="571"/>
                </a:cubicBezTo>
                <a:cubicBezTo>
                  <a:pt x="1055" y="571"/>
                  <a:pt x="1055" y="571"/>
                  <a:pt x="1056" y="571"/>
                </a:cubicBezTo>
                <a:cubicBezTo>
                  <a:pt x="1056" y="571"/>
                  <a:pt x="1057" y="572"/>
                  <a:pt x="1057" y="571"/>
                </a:cubicBezTo>
                <a:cubicBezTo>
                  <a:pt x="1057" y="571"/>
                  <a:pt x="1056" y="571"/>
                  <a:pt x="1056" y="570"/>
                </a:cubicBezTo>
                <a:cubicBezTo>
                  <a:pt x="1056" y="570"/>
                  <a:pt x="1056" y="570"/>
                  <a:pt x="1056" y="570"/>
                </a:cubicBezTo>
                <a:cubicBezTo>
                  <a:pt x="1055" y="569"/>
                  <a:pt x="1055" y="570"/>
                  <a:pt x="1055" y="569"/>
                </a:cubicBezTo>
                <a:cubicBezTo>
                  <a:pt x="1055" y="568"/>
                  <a:pt x="1055" y="568"/>
                  <a:pt x="1056" y="568"/>
                </a:cubicBezTo>
                <a:cubicBezTo>
                  <a:pt x="1056" y="568"/>
                  <a:pt x="1056" y="568"/>
                  <a:pt x="1056" y="568"/>
                </a:cubicBezTo>
                <a:cubicBezTo>
                  <a:pt x="1057" y="568"/>
                  <a:pt x="1056" y="568"/>
                  <a:pt x="1057" y="568"/>
                </a:cubicBezTo>
                <a:cubicBezTo>
                  <a:pt x="1057" y="567"/>
                  <a:pt x="1057" y="568"/>
                  <a:pt x="1057" y="568"/>
                </a:cubicBezTo>
                <a:cubicBezTo>
                  <a:pt x="1057" y="568"/>
                  <a:pt x="1056" y="568"/>
                  <a:pt x="1056" y="569"/>
                </a:cubicBezTo>
                <a:cubicBezTo>
                  <a:pt x="1056" y="570"/>
                  <a:pt x="1058" y="569"/>
                  <a:pt x="1058" y="570"/>
                </a:cubicBezTo>
                <a:cubicBezTo>
                  <a:pt x="1058" y="570"/>
                  <a:pt x="1058" y="570"/>
                  <a:pt x="1058" y="571"/>
                </a:cubicBezTo>
                <a:cubicBezTo>
                  <a:pt x="1058" y="571"/>
                  <a:pt x="1058" y="571"/>
                  <a:pt x="1059" y="571"/>
                </a:cubicBezTo>
                <a:cubicBezTo>
                  <a:pt x="1059" y="571"/>
                  <a:pt x="1059" y="571"/>
                  <a:pt x="1059" y="571"/>
                </a:cubicBezTo>
                <a:cubicBezTo>
                  <a:pt x="1060" y="572"/>
                  <a:pt x="1060" y="569"/>
                  <a:pt x="1060" y="569"/>
                </a:cubicBezTo>
                <a:cubicBezTo>
                  <a:pt x="1059" y="569"/>
                  <a:pt x="1058" y="569"/>
                  <a:pt x="1058" y="568"/>
                </a:cubicBezTo>
                <a:cubicBezTo>
                  <a:pt x="1058" y="568"/>
                  <a:pt x="1058" y="567"/>
                  <a:pt x="1059" y="568"/>
                </a:cubicBezTo>
                <a:cubicBezTo>
                  <a:pt x="1059" y="568"/>
                  <a:pt x="1059" y="568"/>
                  <a:pt x="1059" y="568"/>
                </a:cubicBezTo>
                <a:cubicBezTo>
                  <a:pt x="1059" y="569"/>
                  <a:pt x="1059" y="568"/>
                  <a:pt x="1059" y="568"/>
                </a:cubicBezTo>
                <a:cubicBezTo>
                  <a:pt x="1060" y="567"/>
                  <a:pt x="1060" y="568"/>
                  <a:pt x="1060" y="567"/>
                </a:cubicBezTo>
                <a:cubicBezTo>
                  <a:pt x="1060" y="566"/>
                  <a:pt x="1059" y="567"/>
                  <a:pt x="1059" y="567"/>
                </a:cubicBezTo>
                <a:cubicBezTo>
                  <a:pt x="1059" y="567"/>
                  <a:pt x="1058" y="567"/>
                  <a:pt x="1058" y="566"/>
                </a:cubicBezTo>
                <a:cubicBezTo>
                  <a:pt x="1058" y="566"/>
                  <a:pt x="1058" y="566"/>
                  <a:pt x="1059" y="566"/>
                </a:cubicBezTo>
                <a:cubicBezTo>
                  <a:pt x="1059" y="566"/>
                  <a:pt x="1059" y="565"/>
                  <a:pt x="1059" y="565"/>
                </a:cubicBezTo>
                <a:cubicBezTo>
                  <a:pt x="1060" y="565"/>
                  <a:pt x="1060" y="566"/>
                  <a:pt x="1060" y="566"/>
                </a:cubicBezTo>
                <a:cubicBezTo>
                  <a:pt x="1060" y="566"/>
                  <a:pt x="1060" y="566"/>
                  <a:pt x="1060" y="565"/>
                </a:cubicBezTo>
                <a:cubicBezTo>
                  <a:pt x="1060" y="564"/>
                  <a:pt x="1060" y="564"/>
                  <a:pt x="1060" y="563"/>
                </a:cubicBezTo>
                <a:cubicBezTo>
                  <a:pt x="1059" y="563"/>
                  <a:pt x="1058" y="563"/>
                  <a:pt x="1058" y="563"/>
                </a:cubicBezTo>
                <a:cubicBezTo>
                  <a:pt x="1057" y="562"/>
                  <a:pt x="1057" y="561"/>
                  <a:pt x="1056" y="561"/>
                </a:cubicBezTo>
                <a:cubicBezTo>
                  <a:pt x="1056" y="562"/>
                  <a:pt x="1056" y="562"/>
                  <a:pt x="1056" y="562"/>
                </a:cubicBezTo>
                <a:cubicBezTo>
                  <a:pt x="1055" y="562"/>
                  <a:pt x="1054" y="562"/>
                  <a:pt x="1054" y="562"/>
                </a:cubicBezTo>
                <a:cubicBezTo>
                  <a:pt x="1053" y="561"/>
                  <a:pt x="1053" y="561"/>
                  <a:pt x="1053" y="561"/>
                </a:cubicBezTo>
                <a:cubicBezTo>
                  <a:pt x="1053" y="561"/>
                  <a:pt x="1054" y="561"/>
                  <a:pt x="1054" y="561"/>
                </a:cubicBezTo>
                <a:cubicBezTo>
                  <a:pt x="1054" y="560"/>
                  <a:pt x="1054" y="560"/>
                  <a:pt x="1054" y="560"/>
                </a:cubicBezTo>
                <a:cubicBezTo>
                  <a:pt x="1054" y="559"/>
                  <a:pt x="1055" y="559"/>
                  <a:pt x="1055" y="559"/>
                </a:cubicBezTo>
                <a:cubicBezTo>
                  <a:pt x="1055" y="558"/>
                  <a:pt x="1055" y="558"/>
                  <a:pt x="1054" y="558"/>
                </a:cubicBezTo>
                <a:cubicBezTo>
                  <a:pt x="1054" y="558"/>
                  <a:pt x="1053" y="558"/>
                  <a:pt x="1052" y="558"/>
                </a:cubicBezTo>
                <a:cubicBezTo>
                  <a:pt x="1052" y="557"/>
                  <a:pt x="1051" y="557"/>
                  <a:pt x="1051" y="557"/>
                </a:cubicBezTo>
                <a:cubicBezTo>
                  <a:pt x="1051" y="558"/>
                  <a:pt x="1050" y="558"/>
                  <a:pt x="1050" y="558"/>
                </a:cubicBezTo>
                <a:cubicBezTo>
                  <a:pt x="1049" y="557"/>
                  <a:pt x="1050" y="556"/>
                  <a:pt x="1051" y="556"/>
                </a:cubicBezTo>
                <a:cubicBezTo>
                  <a:pt x="1051" y="556"/>
                  <a:pt x="1051" y="556"/>
                  <a:pt x="1052" y="556"/>
                </a:cubicBezTo>
                <a:cubicBezTo>
                  <a:pt x="1052" y="556"/>
                  <a:pt x="1052" y="555"/>
                  <a:pt x="1053" y="555"/>
                </a:cubicBezTo>
                <a:cubicBezTo>
                  <a:pt x="1054" y="555"/>
                  <a:pt x="1054" y="555"/>
                  <a:pt x="1054" y="554"/>
                </a:cubicBezTo>
                <a:cubicBezTo>
                  <a:pt x="1054" y="553"/>
                  <a:pt x="1054" y="553"/>
                  <a:pt x="1053" y="553"/>
                </a:cubicBezTo>
                <a:cubicBezTo>
                  <a:pt x="1053" y="552"/>
                  <a:pt x="1053" y="552"/>
                  <a:pt x="1052" y="552"/>
                </a:cubicBezTo>
                <a:cubicBezTo>
                  <a:pt x="1052" y="552"/>
                  <a:pt x="1052" y="551"/>
                  <a:pt x="1051" y="551"/>
                </a:cubicBezTo>
                <a:cubicBezTo>
                  <a:pt x="1051" y="551"/>
                  <a:pt x="1051" y="551"/>
                  <a:pt x="1050" y="551"/>
                </a:cubicBezTo>
                <a:cubicBezTo>
                  <a:pt x="1050" y="551"/>
                  <a:pt x="1050" y="550"/>
                  <a:pt x="1050" y="550"/>
                </a:cubicBezTo>
                <a:cubicBezTo>
                  <a:pt x="1049" y="550"/>
                  <a:pt x="1049" y="550"/>
                  <a:pt x="1049" y="550"/>
                </a:cubicBezTo>
                <a:cubicBezTo>
                  <a:pt x="1048" y="551"/>
                  <a:pt x="1048" y="551"/>
                  <a:pt x="1048" y="550"/>
                </a:cubicBezTo>
                <a:cubicBezTo>
                  <a:pt x="1048" y="550"/>
                  <a:pt x="1048" y="550"/>
                  <a:pt x="1047" y="549"/>
                </a:cubicBezTo>
                <a:cubicBezTo>
                  <a:pt x="1047" y="549"/>
                  <a:pt x="1047" y="549"/>
                  <a:pt x="1047" y="548"/>
                </a:cubicBezTo>
                <a:cubicBezTo>
                  <a:pt x="1048" y="548"/>
                  <a:pt x="1048" y="548"/>
                  <a:pt x="1048" y="548"/>
                </a:cubicBezTo>
                <a:cubicBezTo>
                  <a:pt x="1049" y="549"/>
                  <a:pt x="1049" y="548"/>
                  <a:pt x="1049" y="548"/>
                </a:cubicBezTo>
                <a:cubicBezTo>
                  <a:pt x="1049" y="547"/>
                  <a:pt x="1047" y="548"/>
                  <a:pt x="1047" y="547"/>
                </a:cubicBezTo>
                <a:cubicBezTo>
                  <a:pt x="1047" y="547"/>
                  <a:pt x="1048" y="546"/>
                  <a:pt x="1048" y="546"/>
                </a:cubicBezTo>
                <a:cubicBezTo>
                  <a:pt x="1048" y="546"/>
                  <a:pt x="1048" y="545"/>
                  <a:pt x="1048" y="546"/>
                </a:cubicBezTo>
                <a:cubicBezTo>
                  <a:pt x="1048" y="546"/>
                  <a:pt x="1048" y="546"/>
                  <a:pt x="1047" y="546"/>
                </a:cubicBezTo>
                <a:cubicBezTo>
                  <a:pt x="1047" y="546"/>
                  <a:pt x="1047" y="546"/>
                  <a:pt x="1047" y="546"/>
                </a:cubicBezTo>
                <a:cubicBezTo>
                  <a:pt x="1046" y="546"/>
                  <a:pt x="1046" y="547"/>
                  <a:pt x="1046" y="547"/>
                </a:cubicBezTo>
                <a:cubicBezTo>
                  <a:pt x="1045" y="547"/>
                  <a:pt x="1045" y="546"/>
                  <a:pt x="1045" y="546"/>
                </a:cubicBezTo>
                <a:cubicBezTo>
                  <a:pt x="1045" y="546"/>
                  <a:pt x="1044" y="546"/>
                  <a:pt x="1044" y="546"/>
                </a:cubicBezTo>
                <a:cubicBezTo>
                  <a:pt x="1042" y="546"/>
                  <a:pt x="1041" y="547"/>
                  <a:pt x="1040" y="548"/>
                </a:cubicBezTo>
                <a:cubicBezTo>
                  <a:pt x="1040" y="547"/>
                  <a:pt x="1041" y="547"/>
                  <a:pt x="1042" y="546"/>
                </a:cubicBezTo>
                <a:cubicBezTo>
                  <a:pt x="1042" y="546"/>
                  <a:pt x="1042" y="546"/>
                  <a:pt x="1043" y="545"/>
                </a:cubicBezTo>
                <a:cubicBezTo>
                  <a:pt x="1043" y="545"/>
                  <a:pt x="1044" y="545"/>
                  <a:pt x="1044" y="545"/>
                </a:cubicBezTo>
                <a:cubicBezTo>
                  <a:pt x="1045" y="545"/>
                  <a:pt x="1045" y="546"/>
                  <a:pt x="1046" y="546"/>
                </a:cubicBezTo>
                <a:cubicBezTo>
                  <a:pt x="1046" y="545"/>
                  <a:pt x="1045" y="545"/>
                  <a:pt x="1045" y="544"/>
                </a:cubicBezTo>
                <a:cubicBezTo>
                  <a:pt x="1045" y="544"/>
                  <a:pt x="1046" y="544"/>
                  <a:pt x="1046" y="543"/>
                </a:cubicBezTo>
                <a:cubicBezTo>
                  <a:pt x="1046" y="543"/>
                  <a:pt x="1046" y="543"/>
                  <a:pt x="1046" y="543"/>
                </a:cubicBezTo>
                <a:cubicBezTo>
                  <a:pt x="1046" y="542"/>
                  <a:pt x="1047" y="542"/>
                  <a:pt x="1047" y="541"/>
                </a:cubicBezTo>
                <a:cubicBezTo>
                  <a:pt x="1047" y="540"/>
                  <a:pt x="1046" y="540"/>
                  <a:pt x="1045" y="540"/>
                </a:cubicBezTo>
                <a:cubicBezTo>
                  <a:pt x="1044" y="540"/>
                  <a:pt x="1044" y="542"/>
                  <a:pt x="1043" y="541"/>
                </a:cubicBezTo>
                <a:cubicBezTo>
                  <a:pt x="1042" y="540"/>
                  <a:pt x="1042" y="541"/>
                  <a:pt x="1041" y="541"/>
                </a:cubicBezTo>
                <a:cubicBezTo>
                  <a:pt x="1041" y="542"/>
                  <a:pt x="1041" y="542"/>
                  <a:pt x="1040" y="541"/>
                </a:cubicBezTo>
                <a:cubicBezTo>
                  <a:pt x="1040" y="541"/>
                  <a:pt x="1040" y="541"/>
                  <a:pt x="1040" y="541"/>
                </a:cubicBezTo>
                <a:cubicBezTo>
                  <a:pt x="1040" y="541"/>
                  <a:pt x="1039" y="541"/>
                  <a:pt x="1039" y="541"/>
                </a:cubicBezTo>
                <a:cubicBezTo>
                  <a:pt x="1039" y="541"/>
                  <a:pt x="1039" y="541"/>
                  <a:pt x="1038" y="541"/>
                </a:cubicBezTo>
                <a:cubicBezTo>
                  <a:pt x="1038" y="541"/>
                  <a:pt x="1038" y="542"/>
                  <a:pt x="1037" y="542"/>
                </a:cubicBezTo>
                <a:cubicBezTo>
                  <a:pt x="1037" y="541"/>
                  <a:pt x="1037" y="541"/>
                  <a:pt x="1037" y="541"/>
                </a:cubicBezTo>
                <a:cubicBezTo>
                  <a:pt x="1037" y="541"/>
                  <a:pt x="1036" y="541"/>
                  <a:pt x="1036" y="540"/>
                </a:cubicBezTo>
                <a:cubicBezTo>
                  <a:pt x="1037" y="540"/>
                  <a:pt x="1038" y="540"/>
                  <a:pt x="1038" y="540"/>
                </a:cubicBezTo>
                <a:cubicBezTo>
                  <a:pt x="1039" y="540"/>
                  <a:pt x="1039" y="540"/>
                  <a:pt x="1040" y="540"/>
                </a:cubicBezTo>
                <a:cubicBezTo>
                  <a:pt x="1040" y="539"/>
                  <a:pt x="1041" y="540"/>
                  <a:pt x="1041" y="539"/>
                </a:cubicBezTo>
                <a:cubicBezTo>
                  <a:pt x="1042" y="539"/>
                  <a:pt x="1042" y="538"/>
                  <a:pt x="1043" y="538"/>
                </a:cubicBezTo>
                <a:cubicBezTo>
                  <a:pt x="1043" y="538"/>
                  <a:pt x="1043" y="537"/>
                  <a:pt x="1042" y="537"/>
                </a:cubicBezTo>
                <a:cubicBezTo>
                  <a:pt x="1041" y="537"/>
                  <a:pt x="1042" y="537"/>
                  <a:pt x="1042" y="536"/>
                </a:cubicBezTo>
                <a:cubicBezTo>
                  <a:pt x="1042" y="535"/>
                  <a:pt x="1042" y="535"/>
                  <a:pt x="1041" y="535"/>
                </a:cubicBezTo>
                <a:cubicBezTo>
                  <a:pt x="1041" y="534"/>
                  <a:pt x="1040" y="534"/>
                  <a:pt x="1040" y="534"/>
                </a:cubicBezTo>
                <a:cubicBezTo>
                  <a:pt x="1040" y="534"/>
                  <a:pt x="1039" y="535"/>
                  <a:pt x="1039" y="534"/>
                </a:cubicBezTo>
                <a:cubicBezTo>
                  <a:pt x="1039" y="534"/>
                  <a:pt x="1039" y="534"/>
                  <a:pt x="1039" y="533"/>
                </a:cubicBezTo>
                <a:cubicBezTo>
                  <a:pt x="1040" y="533"/>
                  <a:pt x="1039" y="533"/>
                  <a:pt x="1039" y="532"/>
                </a:cubicBezTo>
                <a:cubicBezTo>
                  <a:pt x="1038" y="531"/>
                  <a:pt x="1041" y="532"/>
                  <a:pt x="1040" y="531"/>
                </a:cubicBezTo>
                <a:cubicBezTo>
                  <a:pt x="1040" y="531"/>
                  <a:pt x="1039" y="531"/>
                  <a:pt x="1039" y="531"/>
                </a:cubicBezTo>
                <a:cubicBezTo>
                  <a:pt x="1038" y="531"/>
                  <a:pt x="1038" y="530"/>
                  <a:pt x="1038" y="530"/>
                </a:cubicBezTo>
                <a:cubicBezTo>
                  <a:pt x="1038" y="530"/>
                  <a:pt x="1037" y="530"/>
                  <a:pt x="1037" y="531"/>
                </a:cubicBezTo>
                <a:cubicBezTo>
                  <a:pt x="1037" y="531"/>
                  <a:pt x="1036" y="531"/>
                  <a:pt x="1036" y="531"/>
                </a:cubicBezTo>
                <a:cubicBezTo>
                  <a:pt x="1036" y="531"/>
                  <a:pt x="1035" y="531"/>
                  <a:pt x="1035" y="531"/>
                </a:cubicBezTo>
                <a:cubicBezTo>
                  <a:pt x="1035" y="531"/>
                  <a:pt x="1034" y="531"/>
                  <a:pt x="1034" y="531"/>
                </a:cubicBezTo>
                <a:cubicBezTo>
                  <a:pt x="1033" y="531"/>
                  <a:pt x="1032" y="531"/>
                  <a:pt x="1032" y="531"/>
                </a:cubicBezTo>
                <a:cubicBezTo>
                  <a:pt x="1031" y="532"/>
                  <a:pt x="1031" y="533"/>
                  <a:pt x="1031" y="532"/>
                </a:cubicBezTo>
                <a:cubicBezTo>
                  <a:pt x="1031" y="532"/>
                  <a:pt x="1031" y="531"/>
                  <a:pt x="1031" y="531"/>
                </a:cubicBezTo>
                <a:cubicBezTo>
                  <a:pt x="1031" y="531"/>
                  <a:pt x="1030" y="531"/>
                  <a:pt x="1030" y="531"/>
                </a:cubicBezTo>
                <a:cubicBezTo>
                  <a:pt x="1030" y="531"/>
                  <a:pt x="1031" y="531"/>
                  <a:pt x="1031" y="531"/>
                </a:cubicBezTo>
                <a:cubicBezTo>
                  <a:pt x="1032" y="531"/>
                  <a:pt x="1032" y="531"/>
                  <a:pt x="1032" y="531"/>
                </a:cubicBezTo>
                <a:cubicBezTo>
                  <a:pt x="1033" y="531"/>
                  <a:pt x="1033" y="531"/>
                  <a:pt x="1033" y="531"/>
                </a:cubicBezTo>
                <a:cubicBezTo>
                  <a:pt x="1034" y="531"/>
                  <a:pt x="1035" y="531"/>
                  <a:pt x="1036" y="530"/>
                </a:cubicBezTo>
                <a:cubicBezTo>
                  <a:pt x="1036" y="530"/>
                  <a:pt x="1036" y="530"/>
                  <a:pt x="1036" y="530"/>
                </a:cubicBezTo>
                <a:cubicBezTo>
                  <a:pt x="1037" y="529"/>
                  <a:pt x="1037" y="530"/>
                  <a:pt x="1037" y="529"/>
                </a:cubicBezTo>
                <a:cubicBezTo>
                  <a:pt x="1038" y="528"/>
                  <a:pt x="1035" y="529"/>
                  <a:pt x="1035" y="528"/>
                </a:cubicBezTo>
                <a:cubicBezTo>
                  <a:pt x="1035" y="527"/>
                  <a:pt x="1035" y="527"/>
                  <a:pt x="1035" y="526"/>
                </a:cubicBezTo>
                <a:cubicBezTo>
                  <a:pt x="1035" y="526"/>
                  <a:pt x="1035" y="526"/>
                  <a:pt x="1034" y="526"/>
                </a:cubicBezTo>
                <a:cubicBezTo>
                  <a:pt x="1034" y="527"/>
                  <a:pt x="1034" y="527"/>
                  <a:pt x="1034" y="527"/>
                </a:cubicBezTo>
                <a:cubicBezTo>
                  <a:pt x="1033" y="527"/>
                  <a:pt x="1033" y="526"/>
                  <a:pt x="1033" y="526"/>
                </a:cubicBezTo>
                <a:cubicBezTo>
                  <a:pt x="1033" y="526"/>
                  <a:pt x="1033" y="526"/>
                  <a:pt x="1033" y="526"/>
                </a:cubicBezTo>
                <a:cubicBezTo>
                  <a:pt x="1032" y="526"/>
                  <a:pt x="1032" y="526"/>
                  <a:pt x="1032" y="526"/>
                </a:cubicBezTo>
                <a:cubicBezTo>
                  <a:pt x="1032" y="525"/>
                  <a:pt x="1031" y="525"/>
                  <a:pt x="1031" y="525"/>
                </a:cubicBezTo>
                <a:cubicBezTo>
                  <a:pt x="1030" y="525"/>
                  <a:pt x="1030" y="525"/>
                  <a:pt x="1031" y="524"/>
                </a:cubicBezTo>
                <a:cubicBezTo>
                  <a:pt x="1031" y="524"/>
                  <a:pt x="1032" y="525"/>
                  <a:pt x="1032" y="525"/>
                </a:cubicBezTo>
                <a:cubicBezTo>
                  <a:pt x="1033" y="525"/>
                  <a:pt x="1033" y="525"/>
                  <a:pt x="1033" y="524"/>
                </a:cubicBezTo>
                <a:cubicBezTo>
                  <a:pt x="1033" y="524"/>
                  <a:pt x="1033" y="523"/>
                  <a:pt x="1033" y="523"/>
                </a:cubicBezTo>
                <a:cubicBezTo>
                  <a:pt x="1032" y="523"/>
                  <a:pt x="1032" y="523"/>
                  <a:pt x="1032" y="523"/>
                </a:cubicBezTo>
                <a:cubicBezTo>
                  <a:pt x="1031" y="522"/>
                  <a:pt x="1031" y="522"/>
                  <a:pt x="1031" y="522"/>
                </a:cubicBezTo>
                <a:cubicBezTo>
                  <a:pt x="1031" y="521"/>
                  <a:pt x="1030" y="521"/>
                  <a:pt x="1029" y="521"/>
                </a:cubicBezTo>
                <a:cubicBezTo>
                  <a:pt x="1029" y="520"/>
                  <a:pt x="1028" y="520"/>
                  <a:pt x="1028" y="520"/>
                </a:cubicBezTo>
                <a:cubicBezTo>
                  <a:pt x="1028" y="520"/>
                  <a:pt x="1028" y="519"/>
                  <a:pt x="1028" y="518"/>
                </a:cubicBezTo>
                <a:cubicBezTo>
                  <a:pt x="1028" y="518"/>
                  <a:pt x="1028" y="518"/>
                  <a:pt x="1028" y="518"/>
                </a:cubicBezTo>
                <a:cubicBezTo>
                  <a:pt x="1029" y="517"/>
                  <a:pt x="1029" y="517"/>
                  <a:pt x="1028" y="517"/>
                </a:cubicBezTo>
                <a:cubicBezTo>
                  <a:pt x="1028" y="517"/>
                  <a:pt x="1028" y="517"/>
                  <a:pt x="1028" y="517"/>
                </a:cubicBezTo>
                <a:cubicBezTo>
                  <a:pt x="1028" y="516"/>
                  <a:pt x="1028" y="517"/>
                  <a:pt x="1028" y="516"/>
                </a:cubicBezTo>
                <a:cubicBezTo>
                  <a:pt x="1028" y="516"/>
                  <a:pt x="1028" y="515"/>
                  <a:pt x="1028" y="515"/>
                </a:cubicBezTo>
                <a:cubicBezTo>
                  <a:pt x="1027" y="514"/>
                  <a:pt x="1026" y="515"/>
                  <a:pt x="1026" y="515"/>
                </a:cubicBezTo>
                <a:cubicBezTo>
                  <a:pt x="1026" y="516"/>
                  <a:pt x="1025" y="516"/>
                  <a:pt x="1025" y="516"/>
                </a:cubicBezTo>
                <a:cubicBezTo>
                  <a:pt x="1025" y="516"/>
                  <a:pt x="1025" y="517"/>
                  <a:pt x="1025" y="517"/>
                </a:cubicBezTo>
                <a:cubicBezTo>
                  <a:pt x="1024" y="516"/>
                  <a:pt x="1024" y="516"/>
                  <a:pt x="1024" y="516"/>
                </a:cubicBezTo>
                <a:cubicBezTo>
                  <a:pt x="1024" y="516"/>
                  <a:pt x="1024" y="515"/>
                  <a:pt x="1024" y="515"/>
                </a:cubicBezTo>
                <a:cubicBezTo>
                  <a:pt x="1024" y="515"/>
                  <a:pt x="1025" y="515"/>
                  <a:pt x="1025" y="515"/>
                </a:cubicBezTo>
                <a:cubicBezTo>
                  <a:pt x="1025" y="516"/>
                  <a:pt x="1026" y="515"/>
                  <a:pt x="1025" y="514"/>
                </a:cubicBezTo>
                <a:cubicBezTo>
                  <a:pt x="1025" y="514"/>
                  <a:pt x="1024" y="514"/>
                  <a:pt x="1024" y="514"/>
                </a:cubicBezTo>
                <a:cubicBezTo>
                  <a:pt x="1024" y="514"/>
                  <a:pt x="1023" y="514"/>
                  <a:pt x="1023" y="514"/>
                </a:cubicBezTo>
                <a:cubicBezTo>
                  <a:pt x="1022" y="514"/>
                  <a:pt x="1022" y="515"/>
                  <a:pt x="1022" y="515"/>
                </a:cubicBezTo>
                <a:cubicBezTo>
                  <a:pt x="1021" y="515"/>
                  <a:pt x="1022" y="514"/>
                  <a:pt x="1022" y="513"/>
                </a:cubicBezTo>
                <a:cubicBezTo>
                  <a:pt x="1022" y="513"/>
                  <a:pt x="1022" y="513"/>
                  <a:pt x="1023" y="512"/>
                </a:cubicBezTo>
                <a:cubicBezTo>
                  <a:pt x="1023" y="512"/>
                  <a:pt x="1023" y="512"/>
                  <a:pt x="1023" y="511"/>
                </a:cubicBezTo>
                <a:cubicBezTo>
                  <a:pt x="1023" y="511"/>
                  <a:pt x="1023" y="511"/>
                  <a:pt x="1024" y="511"/>
                </a:cubicBezTo>
                <a:cubicBezTo>
                  <a:pt x="1024" y="510"/>
                  <a:pt x="1025" y="511"/>
                  <a:pt x="1025" y="511"/>
                </a:cubicBezTo>
                <a:cubicBezTo>
                  <a:pt x="1025" y="510"/>
                  <a:pt x="1025" y="510"/>
                  <a:pt x="1025" y="510"/>
                </a:cubicBezTo>
                <a:cubicBezTo>
                  <a:pt x="1024" y="510"/>
                  <a:pt x="1024" y="510"/>
                  <a:pt x="1024" y="509"/>
                </a:cubicBezTo>
                <a:cubicBezTo>
                  <a:pt x="1025" y="509"/>
                  <a:pt x="1025" y="509"/>
                  <a:pt x="1025" y="509"/>
                </a:cubicBezTo>
                <a:cubicBezTo>
                  <a:pt x="1025" y="508"/>
                  <a:pt x="1024" y="508"/>
                  <a:pt x="1024" y="508"/>
                </a:cubicBezTo>
                <a:cubicBezTo>
                  <a:pt x="1023" y="508"/>
                  <a:pt x="1023" y="508"/>
                  <a:pt x="1023" y="508"/>
                </a:cubicBezTo>
                <a:cubicBezTo>
                  <a:pt x="1022" y="507"/>
                  <a:pt x="1022" y="508"/>
                  <a:pt x="1022" y="508"/>
                </a:cubicBezTo>
                <a:cubicBezTo>
                  <a:pt x="1021" y="508"/>
                  <a:pt x="1021" y="507"/>
                  <a:pt x="1021" y="507"/>
                </a:cubicBezTo>
                <a:cubicBezTo>
                  <a:pt x="1020" y="507"/>
                  <a:pt x="1021" y="507"/>
                  <a:pt x="1020" y="507"/>
                </a:cubicBezTo>
                <a:cubicBezTo>
                  <a:pt x="1020" y="507"/>
                  <a:pt x="1020" y="507"/>
                  <a:pt x="1020" y="507"/>
                </a:cubicBezTo>
                <a:cubicBezTo>
                  <a:pt x="1020" y="508"/>
                  <a:pt x="1021" y="508"/>
                  <a:pt x="1021" y="508"/>
                </a:cubicBezTo>
                <a:cubicBezTo>
                  <a:pt x="1021" y="508"/>
                  <a:pt x="1021" y="509"/>
                  <a:pt x="1020" y="509"/>
                </a:cubicBezTo>
                <a:cubicBezTo>
                  <a:pt x="1020" y="510"/>
                  <a:pt x="1020" y="510"/>
                  <a:pt x="1020" y="511"/>
                </a:cubicBezTo>
                <a:cubicBezTo>
                  <a:pt x="1020" y="512"/>
                  <a:pt x="1019" y="512"/>
                  <a:pt x="1019" y="513"/>
                </a:cubicBezTo>
                <a:cubicBezTo>
                  <a:pt x="1018" y="514"/>
                  <a:pt x="1018" y="514"/>
                  <a:pt x="1018" y="515"/>
                </a:cubicBezTo>
                <a:cubicBezTo>
                  <a:pt x="1018" y="515"/>
                  <a:pt x="1018" y="516"/>
                  <a:pt x="1018" y="516"/>
                </a:cubicBezTo>
                <a:cubicBezTo>
                  <a:pt x="1017" y="516"/>
                  <a:pt x="1017" y="517"/>
                  <a:pt x="1017" y="517"/>
                </a:cubicBezTo>
                <a:cubicBezTo>
                  <a:pt x="1016" y="517"/>
                  <a:pt x="1017" y="518"/>
                  <a:pt x="1016" y="518"/>
                </a:cubicBezTo>
                <a:cubicBezTo>
                  <a:pt x="1016" y="518"/>
                  <a:pt x="1015" y="518"/>
                  <a:pt x="1015" y="518"/>
                </a:cubicBezTo>
                <a:cubicBezTo>
                  <a:pt x="1014" y="517"/>
                  <a:pt x="1014" y="518"/>
                  <a:pt x="1013" y="519"/>
                </a:cubicBezTo>
                <a:cubicBezTo>
                  <a:pt x="1013" y="519"/>
                  <a:pt x="1013" y="519"/>
                  <a:pt x="1013" y="520"/>
                </a:cubicBezTo>
                <a:cubicBezTo>
                  <a:pt x="1013" y="520"/>
                  <a:pt x="1013" y="521"/>
                  <a:pt x="1013" y="522"/>
                </a:cubicBezTo>
                <a:cubicBezTo>
                  <a:pt x="1013" y="522"/>
                  <a:pt x="1013" y="522"/>
                  <a:pt x="1013" y="522"/>
                </a:cubicBezTo>
                <a:cubicBezTo>
                  <a:pt x="1014" y="523"/>
                  <a:pt x="1013" y="523"/>
                  <a:pt x="1013" y="523"/>
                </a:cubicBezTo>
                <a:cubicBezTo>
                  <a:pt x="1014" y="523"/>
                  <a:pt x="1015" y="523"/>
                  <a:pt x="1014" y="524"/>
                </a:cubicBezTo>
                <a:cubicBezTo>
                  <a:pt x="1014" y="524"/>
                  <a:pt x="1014" y="524"/>
                  <a:pt x="1014" y="524"/>
                </a:cubicBezTo>
                <a:cubicBezTo>
                  <a:pt x="1013" y="524"/>
                  <a:pt x="1013" y="524"/>
                  <a:pt x="1013" y="524"/>
                </a:cubicBezTo>
                <a:cubicBezTo>
                  <a:pt x="1013" y="524"/>
                  <a:pt x="1013" y="523"/>
                  <a:pt x="1012" y="524"/>
                </a:cubicBezTo>
                <a:cubicBezTo>
                  <a:pt x="1012" y="524"/>
                  <a:pt x="1012" y="524"/>
                  <a:pt x="1012" y="524"/>
                </a:cubicBezTo>
                <a:cubicBezTo>
                  <a:pt x="1013" y="525"/>
                  <a:pt x="1013" y="525"/>
                  <a:pt x="1014" y="525"/>
                </a:cubicBezTo>
                <a:cubicBezTo>
                  <a:pt x="1014" y="525"/>
                  <a:pt x="1014" y="525"/>
                  <a:pt x="1014" y="525"/>
                </a:cubicBezTo>
                <a:cubicBezTo>
                  <a:pt x="1014" y="525"/>
                  <a:pt x="1014" y="526"/>
                  <a:pt x="1014" y="526"/>
                </a:cubicBezTo>
                <a:cubicBezTo>
                  <a:pt x="1014" y="526"/>
                  <a:pt x="1013" y="527"/>
                  <a:pt x="1013" y="526"/>
                </a:cubicBezTo>
                <a:cubicBezTo>
                  <a:pt x="1013" y="526"/>
                  <a:pt x="1013" y="525"/>
                  <a:pt x="1012" y="526"/>
                </a:cubicBezTo>
                <a:cubicBezTo>
                  <a:pt x="1012" y="526"/>
                  <a:pt x="1012" y="526"/>
                  <a:pt x="1012" y="527"/>
                </a:cubicBezTo>
                <a:cubicBezTo>
                  <a:pt x="1013" y="527"/>
                  <a:pt x="1013" y="527"/>
                  <a:pt x="1013" y="527"/>
                </a:cubicBezTo>
                <a:cubicBezTo>
                  <a:pt x="1013" y="527"/>
                  <a:pt x="1013" y="527"/>
                  <a:pt x="1013" y="528"/>
                </a:cubicBezTo>
                <a:cubicBezTo>
                  <a:pt x="1013" y="528"/>
                  <a:pt x="1013" y="528"/>
                  <a:pt x="1012" y="529"/>
                </a:cubicBezTo>
                <a:cubicBezTo>
                  <a:pt x="1012" y="529"/>
                  <a:pt x="1012" y="529"/>
                  <a:pt x="1012" y="528"/>
                </a:cubicBezTo>
                <a:cubicBezTo>
                  <a:pt x="1011" y="528"/>
                  <a:pt x="1011" y="528"/>
                  <a:pt x="1011" y="528"/>
                </a:cubicBezTo>
                <a:cubicBezTo>
                  <a:pt x="1011" y="527"/>
                  <a:pt x="1011" y="527"/>
                  <a:pt x="1010" y="527"/>
                </a:cubicBezTo>
                <a:cubicBezTo>
                  <a:pt x="1010" y="528"/>
                  <a:pt x="1010" y="528"/>
                  <a:pt x="1010" y="529"/>
                </a:cubicBezTo>
                <a:cubicBezTo>
                  <a:pt x="1010" y="529"/>
                  <a:pt x="1010" y="529"/>
                  <a:pt x="1010" y="530"/>
                </a:cubicBezTo>
                <a:cubicBezTo>
                  <a:pt x="1011" y="530"/>
                  <a:pt x="1011" y="529"/>
                  <a:pt x="1011" y="530"/>
                </a:cubicBezTo>
                <a:cubicBezTo>
                  <a:pt x="1011" y="530"/>
                  <a:pt x="1010" y="531"/>
                  <a:pt x="1011" y="531"/>
                </a:cubicBezTo>
                <a:cubicBezTo>
                  <a:pt x="1011" y="531"/>
                  <a:pt x="1012" y="531"/>
                  <a:pt x="1012" y="531"/>
                </a:cubicBezTo>
                <a:cubicBezTo>
                  <a:pt x="1012" y="531"/>
                  <a:pt x="1013" y="530"/>
                  <a:pt x="1013" y="531"/>
                </a:cubicBezTo>
                <a:cubicBezTo>
                  <a:pt x="1014" y="531"/>
                  <a:pt x="1014" y="531"/>
                  <a:pt x="1013" y="531"/>
                </a:cubicBezTo>
                <a:cubicBezTo>
                  <a:pt x="1013" y="532"/>
                  <a:pt x="1012" y="531"/>
                  <a:pt x="1011" y="531"/>
                </a:cubicBezTo>
                <a:cubicBezTo>
                  <a:pt x="1011" y="531"/>
                  <a:pt x="1009" y="531"/>
                  <a:pt x="1010" y="532"/>
                </a:cubicBezTo>
                <a:cubicBezTo>
                  <a:pt x="1010" y="532"/>
                  <a:pt x="1011" y="532"/>
                  <a:pt x="1011" y="533"/>
                </a:cubicBezTo>
                <a:cubicBezTo>
                  <a:pt x="1010" y="533"/>
                  <a:pt x="1010" y="533"/>
                  <a:pt x="1010" y="532"/>
                </a:cubicBezTo>
                <a:cubicBezTo>
                  <a:pt x="1009" y="532"/>
                  <a:pt x="1009" y="532"/>
                  <a:pt x="1009" y="532"/>
                </a:cubicBezTo>
                <a:cubicBezTo>
                  <a:pt x="1009" y="532"/>
                  <a:pt x="1009" y="531"/>
                  <a:pt x="1008" y="532"/>
                </a:cubicBezTo>
                <a:cubicBezTo>
                  <a:pt x="1008" y="532"/>
                  <a:pt x="1008" y="533"/>
                  <a:pt x="1008" y="533"/>
                </a:cubicBezTo>
                <a:cubicBezTo>
                  <a:pt x="1008" y="533"/>
                  <a:pt x="1008" y="534"/>
                  <a:pt x="1008" y="534"/>
                </a:cubicBezTo>
                <a:cubicBezTo>
                  <a:pt x="1008" y="534"/>
                  <a:pt x="1008" y="534"/>
                  <a:pt x="1009" y="535"/>
                </a:cubicBezTo>
                <a:cubicBezTo>
                  <a:pt x="1009" y="535"/>
                  <a:pt x="1009" y="535"/>
                  <a:pt x="1008" y="535"/>
                </a:cubicBezTo>
                <a:cubicBezTo>
                  <a:pt x="1008" y="535"/>
                  <a:pt x="1008" y="536"/>
                  <a:pt x="1007" y="536"/>
                </a:cubicBezTo>
                <a:cubicBezTo>
                  <a:pt x="1007" y="536"/>
                  <a:pt x="1007" y="536"/>
                  <a:pt x="1007" y="537"/>
                </a:cubicBezTo>
                <a:cubicBezTo>
                  <a:pt x="1007" y="537"/>
                  <a:pt x="1007" y="537"/>
                  <a:pt x="1007" y="537"/>
                </a:cubicBezTo>
                <a:cubicBezTo>
                  <a:pt x="1008" y="537"/>
                  <a:pt x="1007" y="537"/>
                  <a:pt x="1008" y="537"/>
                </a:cubicBezTo>
                <a:cubicBezTo>
                  <a:pt x="1008" y="538"/>
                  <a:pt x="1008" y="538"/>
                  <a:pt x="1008" y="538"/>
                </a:cubicBezTo>
                <a:cubicBezTo>
                  <a:pt x="1009" y="539"/>
                  <a:pt x="1008" y="539"/>
                  <a:pt x="1008" y="540"/>
                </a:cubicBezTo>
                <a:cubicBezTo>
                  <a:pt x="1008" y="540"/>
                  <a:pt x="1009" y="542"/>
                  <a:pt x="1008" y="542"/>
                </a:cubicBezTo>
                <a:cubicBezTo>
                  <a:pt x="1008" y="542"/>
                  <a:pt x="1008" y="542"/>
                  <a:pt x="1008" y="541"/>
                </a:cubicBezTo>
                <a:cubicBezTo>
                  <a:pt x="1008" y="541"/>
                  <a:pt x="1007" y="541"/>
                  <a:pt x="1007" y="540"/>
                </a:cubicBezTo>
                <a:cubicBezTo>
                  <a:pt x="1007" y="540"/>
                  <a:pt x="1007" y="540"/>
                  <a:pt x="1008" y="539"/>
                </a:cubicBezTo>
                <a:cubicBezTo>
                  <a:pt x="1008" y="539"/>
                  <a:pt x="1008" y="539"/>
                  <a:pt x="1008" y="538"/>
                </a:cubicBezTo>
                <a:cubicBezTo>
                  <a:pt x="1007" y="538"/>
                  <a:pt x="1007" y="538"/>
                  <a:pt x="1007" y="538"/>
                </a:cubicBezTo>
                <a:cubicBezTo>
                  <a:pt x="1006" y="537"/>
                  <a:pt x="1006" y="537"/>
                  <a:pt x="1006" y="536"/>
                </a:cubicBezTo>
                <a:cubicBezTo>
                  <a:pt x="1005" y="536"/>
                  <a:pt x="1005" y="536"/>
                  <a:pt x="1004" y="536"/>
                </a:cubicBezTo>
                <a:cubicBezTo>
                  <a:pt x="1004" y="535"/>
                  <a:pt x="1004" y="535"/>
                  <a:pt x="1003" y="535"/>
                </a:cubicBezTo>
                <a:cubicBezTo>
                  <a:pt x="1003" y="534"/>
                  <a:pt x="1003" y="535"/>
                  <a:pt x="1002" y="535"/>
                </a:cubicBezTo>
                <a:cubicBezTo>
                  <a:pt x="1002" y="536"/>
                  <a:pt x="1001" y="536"/>
                  <a:pt x="1001" y="537"/>
                </a:cubicBezTo>
                <a:cubicBezTo>
                  <a:pt x="1000" y="538"/>
                  <a:pt x="1000" y="539"/>
                  <a:pt x="1000" y="539"/>
                </a:cubicBezTo>
                <a:cubicBezTo>
                  <a:pt x="1000" y="540"/>
                  <a:pt x="999" y="541"/>
                  <a:pt x="998" y="541"/>
                </a:cubicBezTo>
                <a:cubicBezTo>
                  <a:pt x="997" y="541"/>
                  <a:pt x="997" y="542"/>
                  <a:pt x="996" y="542"/>
                </a:cubicBezTo>
                <a:cubicBezTo>
                  <a:pt x="996" y="542"/>
                  <a:pt x="995" y="542"/>
                  <a:pt x="995" y="543"/>
                </a:cubicBezTo>
                <a:cubicBezTo>
                  <a:pt x="994" y="543"/>
                  <a:pt x="993" y="543"/>
                  <a:pt x="992" y="543"/>
                </a:cubicBezTo>
                <a:cubicBezTo>
                  <a:pt x="991" y="544"/>
                  <a:pt x="991" y="544"/>
                  <a:pt x="990" y="544"/>
                </a:cubicBezTo>
                <a:cubicBezTo>
                  <a:pt x="990" y="545"/>
                  <a:pt x="989" y="545"/>
                  <a:pt x="989" y="545"/>
                </a:cubicBezTo>
                <a:cubicBezTo>
                  <a:pt x="989" y="546"/>
                  <a:pt x="989" y="547"/>
                  <a:pt x="988" y="547"/>
                </a:cubicBezTo>
                <a:cubicBezTo>
                  <a:pt x="988" y="547"/>
                  <a:pt x="988" y="546"/>
                  <a:pt x="988" y="546"/>
                </a:cubicBezTo>
                <a:cubicBezTo>
                  <a:pt x="988" y="545"/>
                  <a:pt x="988" y="545"/>
                  <a:pt x="988" y="545"/>
                </a:cubicBezTo>
                <a:cubicBezTo>
                  <a:pt x="989" y="544"/>
                  <a:pt x="988" y="544"/>
                  <a:pt x="988" y="544"/>
                </a:cubicBezTo>
                <a:cubicBezTo>
                  <a:pt x="988" y="544"/>
                  <a:pt x="988" y="543"/>
                  <a:pt x="988" y="543"/>
                </a:cubicBezTo>
                <a:cubicBezTo>
                  <a:pt x="988" y="542"/>
                  <a:pt x="988" y="542"/>
                  <a:pt x="988" y="542"/>
                </a:cubicBezTo>
                <a:cubicBezTo>
                  <a:pt x="988" y="541"/>
                  <a:pt x="987" y="541"/>
                  <a:pt x="987" y="541"/>
                </a:cubicBezTo>
                <a:cubicBezTo>
                  <a:pt x="987" y="542"/>
                  <a:pt x="987" y="542"/>
                  <a:pt x="987" y="542"/>
                </a:cubicBezTo>
                <a:cubicBezTo>
                  <a:pt x="987" y="543"/>
                  <a:pt x="987" y="543"/>
                  <a:pt x="986" y="543"/>
                </a:cubicBezTo>
                <a:cubicBezTo>
                  <a:pt x="986" y="544"/>
                  <a:pt x="986" y="543"/>
                  <a:pt x="986" y="543"/>
                </a:cubicBezTo>
                <a:cubicBezTo>
                  <a:pt x="985" y="542"/>
                  <a:pt x="985" y="542"/>
                  <a:pt x="985" y="542"/>
                </a:cubicBezTo>
                <a:cubicBezTo>
                  <a:pt x="985" y="541"/>
                  <a:pt x="985" y="541"/>
                  <a:pt x="986" y="541"/>
                </a:cubicBezTo>
                <a:cubicBezTo>
                  <a:pt x="986" y="540"/>
                  <a:pt x="986" y="540"/>
                  <a:pt x="986" y="540"/>
                </a:cubicBezTo>
                <a:cubicBezTo>
                  <a:pt x="985" y="539"/>
                  <a:pt x="985" y="539"/>
                  <a:pt x="985" y="539"/>
                </a:cubicBezTo>
                <a:cubicBezTo>
                  <a:pt x="984" y="539"/>
                  <a:pt x="984" y="539"/>
                  <a:pt x="983" y="540"/>
                </a:cubicBezTo>
                <a:cubicBezTo>
                  <a:pt x="983" y="540"/>
                  <a:pt x="983" y="540"/>
                  <a:pt x="983" y="541"/>
                </a:cubicBezTo>
                <a:cubicBezTo>
                  <a:pt x="982" y="541"/>
                  <a:pt x="982" y="541"/>
                  <a:pt x="982" y="540"/>
                </a:cubicBezTo>
                <a:cubicBezTo>
                  <a:pt x="982" y="539"/>
                  <a:pt x="982" y="539"/>
                  <a:pt x="982" y="538"/>
                </a:cubicBezTo>
                <a:cubicBezTo>
                  <a:pt x="982" y="538"/>
                  <a:pt x="981" y="537"/>
                  <a:pt x="981" y="537"/>
                </a:cubicBezTo>
                <a:cubicBezTo>
                  <a:pt x="980" y="536"/>
                  <a:pt x="981" y="536"/>
                  <a:pt x="980" y="535"/>
                </a:cubicBezTo>
                <a:cubicBezTo>
                  <a:pt x="980" y="535"/>
                  <a:pt x="980" y="535"/>
                  <a:pt x="980" y="535"/>
                </a:cubicBezTo>
                <a:cubicBezTo>
                  <a:pt x="979" y="534"/>
                  <a:pt x="978" y="535"/>
                  <a:pt x="978" y="534"/>
                </a:cubicBezTo>
                <a:cubicBezTo>
                  <a:pt x="977" y="534"/>
                  <a:pt x="977" y="534"/>
                  <a:pt x="976" y="534"/>
                </a:cubicBezTo>
                <a:cubicBezTo>
                  <a:pt x="976" y="534"/>
                  <a:pt x="975" y="534"/>
                  <a:pt x="974" y="534"/>
                </a:cubicBezTo>
                <a:cubicBezTo>
                  <a:pt x="973" y="534"/>
                  <a:pt x="972" y="533"/>
                  <a:pt x="972" y="533"/>
                </a:cubicBezTo>
                <a:cubicBezTo>
                  <a:pt x="971" y="533"/>
                  <a:pt x="970" y="533"/>
                  <a:pt x="969" y="534"/>
                </a:cubicBezTo>
                <a:cubicBezTo>
                  <a:pt x="969" y="534"/>
                  <a:pt x="969" y="534"/>
                  <a:pt x="968" y="535"/>
                </a:cubicBezTo>
                <a:cubicBezTo>
                  <a:pt x="968" y="535"/>
                  <a:pt x="967" y="535"/>
                  <a:pt x="966" y="536"/>
                </a:cubicBezTo>
                <a:cubicBezTo>
                  <a:pt x="966" y="536"/>
                  <a:pt x="966" y="536"/>
                  <a:pt x="965" y="537"/>
                </a:cubicBezTo>
                <a:cubicBezTo>
                  <a:pt x="965" y="537"/>
                  <a:pt x="965" y="537"/>
                  <a:pt x="965" y="537"/>
                </a:cubicBezTo>
                <a:cubicBezTo>
                  <a:pt x="964" y="538"/>
                  <a:pt x="964" y="540"/>
                  <a:pt x="963" y="539"/>
                </a:cubicBezTo>
                <a:cubicBezTo>
                  <a:pt x="963" y="538"/>
                  <a:pt x="963" y="538"/>
                  <a:pt x="963" y="538"/>
                </a:cubicBezTo>
                <a:cubicBezTo>
                  <a:pt x="962" y="537"/>
                  <a:pt x="962" y="537"/>
                  <a:pt x="962" y="536"/>
                </a:cubicBezTo>
                <a:cubicBezTo>
                  <a:pt x="962" y="536"/>
                  <a:pt x="960" y="535"/>
                  <a:pt x="961" y="535"/>
                </a:cubicBezTo>
                <a:cubicBezTo>
                  <a:pt x="962" y="535"/>
                  <a:pt x="962" y="535"/>
                  <a:pt x="962" y="535"/>
                </a:cubicBezTo>
                <a:cubicBezTo>
                  <a:pt x="963" y="535"/>
                  <a:pt x="963" y="534"/>
                  <a:pt x="963" y="535"/>
                </a:cubicBezTo>
                <a:cubicBezTo>
                  <a:pt x="963" y="535"/>
                  <a:pt x="963" y="535"/>
                  <a:pt x="964" y="535"/>
                </a:cubicBezTo>
                <a:cubicBezTo>
                  <a:pt x="964" y="536"/>
                  <a:pt x="964" y="535"/>
                  <a:pt x="964" y="535"/>
                </a:cubicBezTo>
                <a:cubicBezTo>
                  <a:pt x="964" y="534"/>
                  <a:pt x="964" y="534"/>
                  <a:pt x="964" y="533"/>
                </a:cubicBezTo>
                <a:cubicBezTo>
                  <a:pt x="964" y="533"/>
                  <a:pt x="964" y="532"/>
                  <a:pt x="964" y="532"/>
                </a:cubicBezTo>
                <a:cubicBezTo>
                  <a:pt x="965" y="532"/>
                  <a:pt x="965" y="532"/>
                  <a:pt x="965" y="533"/>
                </a:cubicBezTo>
                <a:cubicBezTo>
                  <a:pt x="965" y="533"/>
                  <a:pt x="965" y="533"/>
                  <a:pt x="966" y="534"/>
                </a:cubicBezTo>
                <a:cubicBezTo>
                  <a:pt x="966" y="534"/>
                  <a:pt x="966" y="534"/>
                  <a:pt x="966" y="535"/>
                </a:cubicBezTo>
                <a:cubicBezTo>
                  <a:pt x="966" y="535"/>
                  <a:pt x="966" y="535"/>
                  <a:pt x="967" y="535"/>
                </a:cubicBezTo>
                <a:cubicBezTo>
                  <a:pt x="967" y="535"/>
                  <a:pt x="967" y="534"/>
                  <a:pt x="967" y="534"/>
                </a:cubicBezTo>
                <a:cubicBezTo>
                  <a:pt x="968" y="534"/>
                  <a:pt x="967" y="533"/>
                  <a:pt x="967" y="533"/>
                </a:cubicBezTo>
                <a:cubicBezTo>
                  <a:pt x="967" y="533"/>
                  <a:pt x="967" y="532"/>
                  <a:pt x="968" y="532"/>
                </a:cubicBezTo>
                <a:cubicBezTo>
                  <a:pt x="968" y="531"/>
                  <a:pt x="968" y="531"/>
                  <a:pt x="969" y="531"/>
                </a:cubicBezTo>
                <a:cubicBezTo>
                  <a:pt x="969" y="531"/>
                  <a:pt x="969" y="530"/>
                  <a:pt x="969" y="529"/>
                </a:cubicBezTo>
                <a:cubicBezTo>
                  <a:pt x="969" y="529"/>
                  <a:pt x="969" y="528"/>
                  <a:pt x="969" y="528"/>
                </a:cubicBezTo>
                <a:cubicBezTo>
                  <a:pt x="970" y="528"/>
                  <a:pt x="970" y="529"/>
                  <a:pt x="970" y="528"/>
                </a:cubicBezTo>
                <a:cubicBezTo>
                  <a:pt x="970" y="528"/>
                  <a:pt x="970" y="527"/>
                  <a:pt x="970" y="527"/>
                </a:cubicBezTo>
                <a:cubicBezTo>
                  <a:pt x="970" y="526"/>
                  <a:pt x="970" y="526"/>
                  <a:pt x="969" y="526"/>
                </a:cubicBezTo>
                <a:cubicBezTo>
                  <a:pt x="969" y="526"/>
                  <a:pt x="968" y="526"/>
                  <a:pt x="967" y="526"/>
                </a:cubicBezTo>
                <a:cubicBezTo>
                  <a:pt x="967" y="526"/>
                  <a:pt x="967" y="527"/>
                  <a:pt x="966" y="526"/>
                </a:cubicBezTo>
                <a:cubicBezTo>
                  <a:pt x="965" y="526"/>
                  <a:pt x="966" y="525"/>
                  <a:pt x="966" y="524"/>
                </a:cubicBezTo>
                <a:cubicBezTo>
                  <a:pt x="966" y="524"/>
                  <a:pt x="965" y="524"/>
                  <a:pt x="965" y="523"/>
                </a:cubicBezTo>
                <a:cubicBezTo>
                  <a:pt x="965" y="523"/>
                  <a:pt x="965" y="523"/>
                  <a:pt x="965" y="522"/>
                </a:cubicBezTo>
                <a:cubicBezTo>
                  <a:pt x="966" y="522"/>
                  <a:pt x="967" y="522"/>
                  <a:pt x="967" y="521"/>
                </a:cubicBezTo>
                <a:cubicBezTo>
                  <a:pt x="967" y="520"/>
                  <a:pt x="967" y="521"/>
                  <a:pt x="967" y="520"/>
                </a:cubicBezTo>
                <a:cubicBezTo>
                  <a:pt x="966" y="520"/>
                  <a:pt x="966" y="519"/>
                  <a:pt x="966" y="519"/>
                </a:cubicBezTo>
                <a:cubicBezTo>
                  <a:pt x="966" y="518"/>
                  <a:pt x="967" y="518"/>
                  <a:pt x="966" y="517"/>
                </a:cubicBezTo>
                <a:cubicBezTo>
                  <a:pt x="966" y="517"/>
                  <a:pt x="966" y="517"/>
                  <a:pt x="965" y="516"/>
                </a:cubicBezTo>
                <a:cubicBezTo>
                  <a:pt x="965" y="516"/>
                  <a:pt x="965" y="516"/>
                  <a:pt x="965" y="516"/>
                </a:cubicBezTo>
                <a:cubicBezTo>
                  <a:pt x="964" y="515"/>
                  <a:pt x="964" y="515"/>
                  <a:pt x="964" y="515"/>
                </a:cubicBezTo>
                <a:cubicBezTo>
                  <a:pt x="964" y="515"/>
                  <a:pt x="964" y="514"/>
                  <a:pt x="964" y="514"/>
                </a:cubicBezTo>
                <a:cubicBezTo>
                  <a:pt x="964" y="513"/>
                  <a:pt x="965" y="514"/>
                  <a:pt x="965" y="514"/>
                </a:cubicBezTo>
                <a:cubicBezTo>
                  <a:pt x="965" y="514"/>
                  <a:pt x="965" y="515"/>
                  <a:pt x="966" y="514"/>
                </a:cubicBezTo>
                <a:cubicBezTo>
                  <a:pt x="966" y="514"/>
                  <a:pt x="966" y="513"/>
                  <a:pt x="966" y="512"/>
                </a:cubicBezTo>
                <a:cubicBezTo>
                  <a:pt x="966" y="511"/>
                  <a:pt x="966" y="511"/>
                  <a:pt x="966" y="511"/>
                </a:cubicBezTo>
                <a:cubicBezTo>
                  <a:pt x="965" y="510"/>
                  <a:pt x="965" y="510"/>
                  <a:pt x="965" y="510"/>
                </a:cubicBezTo>
                <a:cubicBezTo>
                  <a:pt x="965" y="509"/>
                  <a:pt x="965" y="509"/>
                  <a:pt x="965" y="509"/>
                </a:cubicBezTo>
                <a:cubicBezTo>
                  <a:pt x="965" y="508"/>
                  <a:pt x="965" y="508"/>
                  <a:pt x="965" y="507"/>
                </a:cubicBezTo>
                <a:cubicBezTo>
                  <a:pt x="965" y="507"/>
                  <a:pt x="964" y="507"/>
                  <a:pt x="964" y="507"/>
                </a:cubicBezTo>
                <a:cubicBezTo>
                  <a:pt x="964" y="506"/>
                  <a:pt x="964" y="506"/>
                  <a:pt x="964" y="506"/>
                </a:cubicBezTo>
                <a:cubicBezTo>
                  <a:pt x="965" y="506"/>
                  <a:pt x="965" y="506"/>
                  <a:pt x="965" y="506"/>
                </a:cubicBezTo>
                <a:cubicBezTo>
                  <a:pt x="966" y="506"/>
                  <a:pt x="966" y="505"/>
                  <a:pt x="965" y="504"/>
                </a:cubicBezTo>
                <a:cubicBezTo>
                  <a:pt x="965" y="503"/>
                  <a:pt x="966" y="503"/>
                  <a:pt x="966" y="502"/>
                </a:cubicBezTo>
                <a:cubicBezTo>
                  <a:pt x="967" y="502"/>
                  <a:pt x="968" y="502"/>
                  <a:pt x="968" y="502"/>
                </a:cubicBezTo>
                <a:cubicBezTo>
                  <a:pt x="969" y="502"/>
                  <a:pt x="969" y="501"/>
                  <a:pt x="969" y="500"/>
                </a:cubicBezTo>
                <a:cubicBezTo>
                  <a:pt x="969" y="499"/>
                  <a:pt x="968" y="499"/>
                  <a:pt x="968" y="498"/>
                </a:cubicBezTo>
                <a:cubicBezTo>
                  <a:pt x="967" y="498"/>
                  <a:pt x="968" y="496"/>
                  <a:pt x="967" y="496"/>
                </a:cubicBezTo>
                <a:cubicBezTo>
                  <a:pt x="966" y="497"/>
                  <a:pt x="965" y="497"/>
                  <a:pt x="965" y="498"/>
                </a:cubicBezTo>
                <a:cubicBezTo>
                  <a:pt x="965" y="498"/>
                  <a:pt x="966" y="499"/>
                  <a:pt x="966" y="499"/>
                </a:cubicBezTo>
                <a:cubicBezTo>
                  <a:pt x="966" y="499"/>
                  <a:pt x="965" y="500"/>
                  <a:pt x="965" y="500"/>
                </a:cubicBezTo>
                <a:cubicBezTo>
                  <a:pt x="965" y="500"/>
                  <a:pt x="964" y="500"/>
                  <a:pt x="964" y="500"/>
                </a:cubicBezTo>
                <a:cubicBezTo>
                  <a:pt x="964" y="500"/>
                  <a:pt x="963" y="500"/>
                  <a:pt x="963" y="500"/>
                </a:cubicBezTo>
                <a:cubicBezTo>
                  <a:pt x="963" y="500"/>
                  <a:pt x="963" y="501"/>
                  <a:pt x="962" y="501"/>
                </a:cubicBezTo>
                <a:cubicBezTo>
                  <a:pt x="962" y="501"/>
                  <a:pt x="962" y="500"/>
                  <a:pt x="962" y="500"/>
                </a:cubicBezTo>
                <a:cubicBezTo>
                  <a:pt x="961" y="500"/>
                  <a:pt x="961" y="499"/>
                  <a:pt x="961" y="499"/>
                </a:cubicBezTo>
                <a:cubicBezTo>
                  <a:pt x="961" y="499"/>
                  <a:pt x="961" y="498"/>
                  <a:pt x="961" y="498"/>
                </a:cubicBezTo>
                <a:cubicBezTo>
                  <a:pt x="960" y="497"/>
                  <a:pt x="961" y="496"/>
                  <a:pt x="959" y="497"/>
                </a:cubicBezTo>
                <a:cubicBezTo>
                  <a:pt x="959" y="497"/>
                  <a:pt x="959" y="497"/>
                  <a:pt x="958" y="497"/>
                </a:cubicBezTo>
                <a:cubicBezTo>
                  <a:pt x="957" y="497"/>
                  <a:pt x="956" y="498"/>
                  <a:pt x="955" y="498"/>
                </a:cubicBezTo>
                <a:cubicBezTo>
                  <a:pt x="954" y="498"/>
                  <a:pt x="952" y="497"/>
                  <a:pt x="951" y="497"/>
                </a:cubicBezTo>
                <a:cubicBezTo>
                  <a:pt x="949" y="496"/>
                  <a:pt x="948" y="496"/>
                  <a:pt x="946" y="495"/>
                </a:cubicBezTo>
                <a:cubicBezTo>
                  <a:pt x="946" y="495"/>
                  <a:pt x="945" y="494"/>
                  <a:pt x="944" y="494"/>
                </a:cubicBezTo>
                <a:cubicBezTo>
                  <a:pt x="944" y="494"/>
                  <a:pt x="943" y="494"/>
                  <a:pt x="943" y="493"/>
                </a:cubicBezTo>
                <a:cubicBezTo>
                  <a:pt x="943" y="493"/>
                  <a:pt x="942" y="493"/>
                  <a:pt x="942" y="492"/>
                </a:cubicBezTo>
                <a:cubicBezTo>
                  <a:pt x="942" y="492"/>
                  <a:pt x="942" y="492"/>
                  <a:pt x="942" y="492"/>
                </a:cubicBezTo>
                <a:cubicBezTo>
                  <a:pt x="943" y="491"/>
                  <a:pt x="943" y="491"/>
                  <a:pt x="943" y="491"/>
                </a:cubicBezTo>
                <a:cubicBezTo>
                  <a:pt x="944" y="491"/>
                  <a:pt x="943" y="491"/>
                  <a:pt x="943" y="490"/>
                </a:cubicBezTo>
                <a:cubicBezTo>
                  <a:pt x="942" y="490"/>
                  <a:pt x="941" y="490"/>
                  <a:pt x="941" y="489"/>
                </a:cubicBezTo>
                <a:cubicBezTo>
                  <a:pt x="941" y="488"/>
                  <a:pt x="942" y="488"/>
                  <a:pt x="943" y="488"/>
                </a:cubicBezTo>
                <a:cubicBezTo>
                  <a:pt x="943" y="488"/>
                  <a:pt x="944" y="488"/>
                  <a:pt x="944" y="488"/>
                </a:cubicBezTo>
                <a:cubicBezTo>
                  <a:pt x="944" y="487"/>
                  <a:pt x="944" y="487"/>
                  <a:pt x="943" y="487"/>
                </a:cubicBezTo>
                <a:cubicBezTo>
                  <a:pt x="943" y="486"/>
                  <a:pt x="942" y="486"/>
                  <a:pt x="941" y="486"/>
                </a:cubicBezTo>
                <a:cubicBezTo>
                  <a:pt x="941" y="486"/>
                  <a:pt x="941" y="486"/>
                  <a:pt x="940" y="486"/>
                </a:cubicBezTo>
                <a:cubicBezTo>
                  <a:pt x="940" y="487"/>
                  <a:pt x="940" y="487"/>
                  <a:pt x="939" y="487"/>
                </a:cubicBezTo>
                <a:cubicBezTo>
                  <a:pt x="939" y="487"/>
                  <a:pt x="938" y="489"/>
                  <a:pt x="938" y="488"/>
                </a:cubicBezTo>
                <a:cubicBezTo>
                  <a:pt x="938" y="487"/>
                  <a:pt x="938" y="487"/>
                  <a:pt x="938" y="487"/>
                </a:cubicBezTo>
                <a:cubicBezTo>
                  <a:pt x="938" y="486"/>
                  <a:pt x="939" y="486"/>
                  <a:pt x="939" y="486"/>
                </a:cubicBezTo>
                <a:cubicBezTo>
                  <a:pt x="940" y="485"/>
                  <a:pt x="938" y="485"/>
                  <a:pt x="937" y="485"/>
                </a:cubicBezTo>
                <a:cubicBezTo>
                  <a:pt x="937" y="485"/>
                  <a:pt x="937" y="484"/>
                  <a:pt x="937" y="484"/>
                </a:cubicBezTo>
                <a:cubicBezTo>
                  <a:pt x="937" y="484"/>
                  <a:pt x="937" y="483"/>
                  <a:pt x="936" y="483"/>
                </a:cubicBezTo>
                <a:cubicBezTo>
                  <a:pt x="936" y="482"/>
                  <a:pt x="934" y="482"/>
                  <a:pt x="933" y="482"/>
                </a:cubicBezTo>
                <a:cubicBezTo>
                  <a:pt x="933" y="482"/>
                  <a:pt x="932" y="482"/>
                  <a:pt x="932" y="482"/>
                </a:cubicBezTo>
                <a:cubicBezTo>
                  <a:pt x="932" y="482"/>
                  <a:pt x="932" y="483"/>
                  <a:pt x="932" y="483"/>
                </a:cubicBezTo>
                <a:cubicBezTo>
                  <a:pt x="932" y="484"/>
                  <a:pt x="931" y="483"/>
                  <a:pt x="931" y="483"/>
                </a:cubicBezTo>
                <a:cubicBezTo>
                  <a:pt x="931" y="482"/>
                  <a:pt x="931" y="482"/>
                  <a:pt x="931" y="482"/>
                </a:cubicBezTo>
                <a:cubicBezTo>
                  <a:pt x="931" y="481"/>
                  <a:pt x="931" y="481"/>
                  <a:pt x="932" y="481"/>
                </a:cubicBezTo>
                <a:cubicBezTo>
                  <a:pt x="932" y="481"/>
                  <a:pt x="932" y="480"/>
                  <a:pt x="932" y="480"/>
                </a:cubicBezTo>
                <a:cubicBezTo>
                  <a:pt x="932" y="479"/>
                  <a:pt x="932" y="479"/>
                  <a:pt x="931" y="478"/>
                </a:cubicBezTo>
                <a:cubicBezTo>
                  <a:pt x="930" y="477"/>
                  <a:pt x="928" y="477"/>
                  <a:pt x="927" y="477"/>
                </a:cubicBezTo>
                <a:cubicBezTo>
                  <a:pt x="926" y="476"/>
                  <a:pt x="926" y="476"/>
                  <a:pt x="925" y="475"/>
                </a:cubicBezTo>
                <a:cubicBezTo>
                  <a:pt x="925" y="475"/>
                  <a:pt x="924" y="475"/>
                  <a:pt x="924" y="474"/>
                </a:cubicBezTo>
                <a:cubicBezTo>
                  <a:pt x="923" y="474"/>
                  <a:pt x="923" y="474"/>
                  <a:pt x="923" y="473"/>
                </a:cubicBezTo>
                <a:cubicBezTo>
                  <a:pt x="922" y="473"/>
                  <a:pt x="921" y="472"/>
                  <a:pt x="921" y="472"/>
                </a:cubicBezTo>
                <a:cubicBezTo>
                  <a:pt x="920" y="472"/>
                  <a:pt x="919" y="472"/>
                  <a:pt x="918" y="472"/>
                </a:cubicBezTo>
                <a:cubicBezTo>
                  <a:pt x="918" y="473"/>
                  <a:pt x="917" y="474"/>
                  <a:pt x="917" y="474"/>
                </a:cubicBezTo>
                <a:cubicBezTo>
                  <a:pt x="916" y="474"/>
                  <a:pt x="915" y="474"/>
                  <a:pt x="914" y="474"/>
                </a:cubicBezTo>
                <a:cubicBezTo>
                  <a:pt x="913" y="475"/>
                  <a:pt x="913" y="475"/>
                  <a:pt x="912" y="475"/>
                </a:cubicBezTo>
                <a:cubicBezTo>
                  <a:pt x="911" y="476"/>
                  <a:pt x="911" y="476"/>
                  <a:pt x="910" y="476"/>
                </a:cubicBezTo>
                <a:cubicBezTo>
                  <a:pt x="909" y="476"/>
                  <a:pt x="909" y="476"/>
                  <a:pt x="908" y="476"/>
                </a:cubicBezTo>
                <a:cubicBezTo>
                  <a:pt x="908" y="477"/>
                  <a:pt x="908" y="477"/>
                  <a:pt x="907" y="477"/>
                </a:cubicBezTo>
                <a:cubicBezTo>
                  <a:pt x="906" y="477"/>
                  <a:pt x="906" y="477"/>
                  <a:pt x="906" y="477"/>
                </a:cubicBezTo>
                <a:cubicBezTo>
                  <a:pt x="905" y="476"/>
                  <a:pt x="905" y="476"/>
                  <a:pt x="904" y="476"/>
                </a:cubicBezTo>
                <a:cubicBezTo>
                  <a:pt x="903" y="475"/>
                  <a:pt x="902" y="475"/>
                  <a:pt x="902" y="475"/>
                </a:cubicBezTo>
                <a:cubicBezTo>
                  <a:pt x="901" y="475"/>
                  <a:pt x="900" y="475"/>
                  <a:pt x="899" y="476"/>
                </a:cubicBezTo>
                <a:cubicBezTo>
                  <a:pt x="899" y="476"/>
                  <a:pt x="898" y="476"/>
                  <a:pt x="897" y="476"/>
                </a:cubicBezTo>
                <a:cubicBezTo>
                  <a:pt x="897" y="475"/>
                  <a:pt x="897" y="475"/>
                  <a:pt x="897" y="475"/>
                </a:cubicBezTo>
                <a:cubicBezTo>
                  <a:pt x="896" y="475"/>
                  <a:pt x="896" y="475"/>
                  <a:pt x="896" y="475"/>
                </a:cubicBezTo>
                <a:cubicBezTo>
                  <a:pt x="894" y="474"/>
                  <a:pt x="892" y="474"/>
                  <a:pt x="890" y="473"/>
                </a:cubicBezTo>
                <a:cubicBezTo>
                  <a:pt x="889" y="473"/>
                  <a:pt x="887" y="472"/>
                  <a:pt x="886" y="472"/>
                </a:cubicBezTo>
                <a:cubicBezTo>
                  <a:pt x="884" y="471"/>
                  <a:pt x="883" y="471"/>
                  <a:pt x="881" y="471"/>
                </a:cubicBezTo>
                <a:cubicBezTo>
                  <a:pt x="880" y="470"/>
                  <a:pt x="880" y="470"/>
                  <a:pt x="879" y="470"/>
                </a:cubicBezTo>
                <a:cubicBezTo>
                  <a:pt x="878" y="470"/>
                  <a:pt x="878" y="470"/>
                  <a:pt x="877" y="470"/>
                </a:cubicBezTo>
                <a:cubicBezTo>
                  <a:pt x="877" y="470"/>
                  <a:pt x="876" y="470"/>
                  <a:pt x="875" y="471"/>
                </a:cubicBezTo>
                <a:cubicBezTo>
                  <a:pt x="875" y="471"/>
                  <a:pt x="874" y="471"/>
                  <a:pt x="874" y="472"/>
                </a:cubicBezTo>
                <a:cubicBezTo>
                  <a:pt x="874" y="472"/>
                  <a:pt x="873" y="472"/>
                  <a:pt x="873" y="472"/>
                </a:cubicBezTo>
                <a:cubicBezTo>
                  <a:pt x="872" y="472"/>
                  <a:pt x="872" y="473"/>
                  <a:pt x="872" y="473"/>
                </a:cubicBezTo>
                <a:cubicBezTo>
                  <a:pt x="872" y="474"/>
                  <a:pt x="871" y="474"/>
                  <a:pt x="871" y="474"/>
                </a:cubicBezTo>
                <a:cubicBezTo>
                  <a:pt x="870" y="474"/>
                  <a:pt x="869" y="474"/>
                  <a:pt x="869" y="475"/>
                </a:cubicBezTo>
                <a:cubicBezTo>
                  <a:pt x="869" y="476"/>
                  <a:pt x="869" y="476"/>
                  <a:pt x="869" y="476"/>
                </a:cubicBezTo>
                <a:cubicBezTo>
                  <a:pt x="869" y="477"/>
                  <a:pt x="869" y="477"/>
                  <a:pt x="869" y="477"/>
                </a:cubicBezTo>
                <a:cubicBezTo>
                  <a:pt x="869" y="478"/>
                  <a:pt x="869" y="478"/>
                  <a:pt x="870" y="478"/>
                </a:cubicBezTo>
                <a:cubicBezTo>
                  <a:pt x="870" y="479"/>
                  <a:pt x="870" y="479"/>
                  <a:pt x="870" y="480"/>
                </a:cubicBezTo>
                <a:cubicBezTo>
                  <a:pt x="870" y="480"/>
                  <a:pt x="870" y="480"/>
                  <a:pt x="870" y="481"/>
                </a:cubicBezTo>
                <a:cubicBezTo>
                  <a:pt x="871" y="481"/>
                  <a:pt x="871" y="481"/>
                  <a:pt x="871" y="482"/>
                </a:cubicBezTo>
                <a:cubicBezTo>
                  <a:pt x="871" y="482"/>
                  <a:pt x="871" y="483"/>
                  <a:pt x="871" y="483"/>
                </a:cubicBezTo>
                <a:cubicBezTo>
                  <a:pt x="871" y="483"/>
                  <a:pt x="872" y="484"/>
                  <a:pt x="872" y="484"/>
                </a:cubicBezTo>
                <a:cubicBezTo>
                  <a:pt x="872" y="485"/>
                  <a:pt x="872" y="485"/>
                  <a:pt x="873" y="485"/>
                </a:cubicBezTo>
                <a:cubicBezTo>
                  <a:pt x="873" y="486"/>
                  <a:pt x="873" y="487"/>
                  <a:pt x="873" y="487"/>
                </a:cubicBezTo>
                <a:cubicBezTo>
                  <a:pt x="874" y="487"/>
                  <a:pt x="874" y="487"/>
                  <a:pt x="875" y="487"/>
                </a:cubicBezTo>
                <a:cubicBezTo>
                  <a:pt x="875" y="488"/>
                  <a:pt x="874" y="488"/>
                  <a:pt x="874" y="489"/>
                </a:cubicBezTo>
                <a:cubicBezTo>
                  <a:pt x="874" y="489"/>
                  <a:pt x="875" y="489"/>
                  <a:pt x="875" y="490"/>
                </a:cubicBezTo>
                <a:cubicBezTo>
                  <a:pt x="874" y="491"/>
                  <a:pt x="873" y="489"/>
                  <a:pt x="873" y="490"/>
                </a:cubicBezTo>
                <a:cubicBezTo>
                  <a:pt x="873" y="490"/>
                  <a:pt x="873" y="491"/>
                  <a:pt x="873" y="491"/>
                </a:cubicBezTo>
                <a:cubicBezTo>
                  <a:pt x="873" y="491"/>
                  <a:pt x="873" y="492"/>
                  <a:pt x="873" y="492"/>
                </a:cubicBezTo>
                <a:cubicBezTo>
                  <a:pt x="873" y="493"/>
                  <a:pt x="873" y="494"/>
                  <a:pt x="873" y="495"/>
                </a:cubicBezTo>
                <a:cubicBezTo>
                  <a:pt x="873" y="496"/>
                  <a:pt x="872" y="497"/>
                  <a:pt x="871" y="497"/>
                </a:cubicBezTo>
                <a:cubicBezTo>
                  <a:pt x="871" y="498"/>
                  <a:pt x="870" y="498"/>
                  <a:pt x="870" y="498"/>
                </a:cubicBezTo>
                <a:cubicBezTo>
                  <a:pt x="869" y="499"/>
                  <a:pt x="869" y="499"/>
                  <a:pt x="869" y="500"/>
                </a:cubicBezTo>
                <a:cubicBezTo>
                  <a:pt x="869" y="500"/>
                  <a:pt x="868" y="501"/>
                  <a:pt x="868" y="501"/>
                </a:cubicBezTo>
                <a:cubicBezTo>
                  <a:pt x="868" y="501"/>
                  <a:pt x="869" y="501"/>
                  <a:pt x="869" y="501"/>
                </a:cubicBezTo>
                <a:cubicBezTo>
                  <a:pt x="870" y="501"/>
                  <a:pt x="870" y="501"/>
                  <a:pt x="870" y="501"/>
                </a:cubicBezTo>
                <a:cubicBezTo>
                  <a:pt x="871" y="501"/>
                  <a:pt x="871" y="501"/>
                  <a:pt x="871" y="501"/>
                </a:cubicBezTo>
                <a:cubicBezTo>
                  <a:pt x="871" y="501"/>
                  <a:pt x="871" y="501"/>
                  <a:pt x="872" y="501"/>
                </a:cubicBezTo>
                <a:cubicBezTo>
                  <a:pt x="872" y="501"/>
                  <a:pt x="872" y="501"/>
                  <a:pt x="872" y="501"/>
                </a:cubicBezTo>
                <a:cubicBezTo>
                  <a:pt x="873" y="502"/>
                  <a:pt x="873" y="502"/>
                  <a:pt x="873" y="502"/>
                </a:cubicBezTo>
                <a:cubicBezTo>
                  <a:pt x="873" y="502"/>
                  <a:pt x="874" y="502"/>
                  <a:pt x="874" y="502"/>
                </a:cubicBezTo>
                <a:cubicBezTo>
                  <a:pt x="874" y="503"/>
                  <a:pt x="873" y="503"/>
                  <a:pt x="873" y="503"/>
                </a:cubicBezTo>
                <a:cubicBezTo>
                  <a:pt x="873" y="503"/>
                  <a:pt x="873" y="503"/>
                  <a:pt x="873" y="504"/>
                </a:cubicBezTo>
                <a:cubicBezTo>
                  <a:pt x="873" y="504"/>
                  <a:pt x="873" y="504"/>
                  <a:pt x="873" y="504"/>
                </a:cubicBezTo>
                <a:cubicBezTo>
                  <a:pt x="871" y="505"/>
                  <a:pt x="873" y="504"/>
                  <a:pt x="874" y="505"/>
                </a:cubicBezTo>
                <a:cubicBezTo>
                  <a:pt x="874" y="505"/>
                  <a:pt x="874" y="505"/>
                  <a:pt x="875" y="505"/>
                </a:cubicBezTo>
                <a:cubicBezTo>
                  <a:pt x="875" y="505"/>
                  <a:pt x="876" y="505"/>
                  <a:pt x="876" y="505"/>
                </a:cubicBezTo>
                <a:cubicBezTo>
                  <a:pt x="876" y="506"/>
                  <a:pt x="875" y="506"/>
                  <a:pt x="875" y="506"/>
                </a:cubicBezTo>
                <a:cubicBezTo>
                  <a:pt x="874" y="506"/>
                  <a:pt x="873" y="507"/>
                  <a:pt x="873" y="508"/>
                </a:cubicBezTo>
                <a:cubicBezTo>
                  <a:pt x="873" y="509"/>
                  <a:pt x="874" y="509"/>
                  <a:pt x="874" y="510"/>
                </a:cubicBezTo>
                <a:cubicBezTo>
                  <a:pt x="874" y="510"/>
                  <a:pt x="874" y="511"/>
                  <a:pt x="874" y="511"/>
                </a:cubicBezTo>
                <a:cubicBezTo>
                  <a:pt x="874" y="511"/>
                  <a:pt x="875" y="511"/>
                  <a:pt x="875" y="511"/>
                </a:cubicBezTo>
                <a:cubicBezTo>
                  <a:pt x="875" y="512"/>
                  <a:pt x="875" y="513"/>
                  <a:pt x="875" y="514"/>
                </a:cubicBezTo>
                <a:cubicBezTo>
                  <a:pt x="875" y="514"/>
                  <a:pt x="875" y="514"/>
                  <a:pt x="876" y="514"/>
                </a:cubicBezTo>
                <a:cubicBezTo>
                  <a:pt x="876" y="514"/>
                  <a:pt x="876" y="515"/>
                  <a:pt x="876" y="515"/>
                </a:cubicBezTo>
                <a:cubicBezTo>
                  <a:pt x="877" y="515"/>
                  <a:pt x="879" y="514"/>
                  <a:pt x="878" y="515"/>
                </a:cubicBezTo>
                <a:cubicBezTo>
                  <a:pt x="878" y="515"/>
                  <a:pt x="878" y="515"/>
                  <a:pt x="878" y="515"/>
                </a:cubicBezTo>
                <a:cubicBezTo>
                  <a:pt x="878" y="515"/>
                  <a:pt x="878" y="516"/>
                  <a:pt x="877" y="516"/>
                </a:cubicBezTo>
                <a:cubicBezTo>
                  <a:pt x="877" y="516"/>
                  <a:pt x="877" y="516"/>
                  <a:pt x="877" y="517"/>
                </a:cubicBezTo>
                <a:cubicBezTo>
                  <a:pt x="877" y="517"/>
                  <a:pt x="879" y="518"/>
                  <a:pt x="878" y="518"/>
                </a:cubicBezTo>
                <a:cubicBezTo>
                  <a:pt x="878" y="519"/>
                  <a:pt x="877" y="518"/>
                  <a:pt x="877" y="519"/>
                </a:cubicBezTo>
                <a:cubicBezTo>
                  <a:pt x="877" y="519"/>
                  <a:pt x="877" y="519"/>
                  <a:pt x="877" y="519"/>
                </a:cubicBezTo>
                <a:cubicBezTo>
                  <a:pt x="876" y="519"/>
                  <a:pt x="876" y="519"/>
                  <a:pt x="876" y="520"/>
                </a:cubicBezTo>
                <a:cubicBezTo>
                  <a:pt x="876" y="520"/>
                  <a:pt x="876" y="520"/>
                  <a:pt x="876" y="521"/>
                </a:cubicBezTo>
                <a:cubicBezTo>
                  <a:pt x="876" y="521"/>
                  <a:pt x="876" y="521"/>
                  <a:pt x="876" y="521"/>
                </a:cubicBezTo>
                <a:cubicBezTo>
                  <a:pt x="875" y="521"/>
                  <a:pt x="875" y="521"/>
                  <a:pt x="875" y="521"/>
                </a:cubicBezTo>
                <a:cubicBezTo>
                  <a:pt x="875" y="520"/>
                  <a:pt x="875" y="520"/>
                  <a:pt x="874" y="520"/>
                </a:cubicBezTo>
                <a:cubicBezTo>
                  <a:pt x="874" y="520"/>
                  <a:pt x="874" y="520"/>
                  <a:pt x="874" y="520"/>
                </a:cubicBezTo>
                <a:cubicBezTo>
                  <a:pt x="873" y="520"/>
                  <a:pt x="873" y="519"/>
                  <a:pt x="873" y="520"/>
                </a:cubicBezTo>
                <a:cubicBezTo>
                  <a:pt x="872" y="520"/>
                  <a:pt x="873" y="521"/>
                  <a:pt x="873" y="521"/>
                </a:cubicBezTo>
                <a:cubicBezTo>
                  <a:pt x="874" y="522"/>
                  <a:pt x="874" y="522"/>
                  <a:pt x="873" y="523"/>
                </a:cubicBezTo>
                <a:cubicBezTo>
                  <a:pt x="873" y="523"/>
                  <a:pt x="873" y="523"/>
                  <a:pt x="872" y="523"/>
                </a:cubicBezTo>
                <a:cubicBezTo>
                  <a:pt x="872" y="523"/>
                  <a:pt x="872" y="523"/>
                  <a:pt x="872" y="524"/>
                </a:cubicBezTo>
                <a:cubicBezTo>
                  <a:pt x="871" y="524"/>
                  <a:pt x="871" y="524"/>
                  <a:pt x="871" y="524"/>
                </a:cubicBezTo>
                <a:cubicBezTo>
                  <a:pt x="872" y="525"/>
                  <a:pt x="873" y="524"/>
                  <a:pt x="873" y="526"/>
                </a:cubicBezTo>
                <a:cubicBezTo>
                  <a:pt x="873" y="526"/>
                  <a:pt x="872" y="526"/>
                  <a:pt x="871" y="527"/>
                </a:cubicBezTo>
                <a:cubicBezTo>
                  <a:pt x="871" y="527"/>
                  <a:pt x="871" y="528"/>
                  <a:pt x="871" y="528"/>
                </a:cubicBezTo>
                <a:cubicBezTo>
                  <a:pt x="870" y="528"/>
                  <a:pt x="870" y="528"/>
                  <a:pt x="869" y="528"/>
                </a:cubicBezTo>
                <a:cubicBezTo>
                  <a:pt x="869" y="528"/>
                  <a:pt x="869" y="529"/>
                  <a:pt x="869" y="529"/>
                </a:cubicBezTo>
                <a:cubicBezTo>
                  <a:pt x="869" y="530"/>
                  <a:pt x="868" y="530"/>
                  <a:pt x="868" y="530"/>
                </a:cubicBezTo>
                <a:cubicBezTo>
                  <a:pt x="868" y="530"/>
                  <a:pt x="867" y="530"/>
                  <a:pt x="867" y="531"/>
                </a:cubicBezTo>
                <a:cubicBezTo>
                  <a:pt x="867" y="531"/>
                  <a:pt x="867" y="532"/>
                  <a:pt x="867" y="532"/>
                </a:cubicBezTo>
                <a:cubicBezTo>
                  <a:pt x="867" y="532"/>
                  <a:pt x="866" y="532"/>
                  <a:pt x="866" y="532"/>
                </a:cubicBezTo>
                <a:cubicBezTo>
                  <a:pt x="866" y="533"/>
                  <a:pt x="865" y="533"/>
                  <a:pt x="865" y="533"/>
                </a:cubicBezTo>
                <a:cubicBezTo>
                  <a:pt x="865" y="533"/>
                  <a:pt x="865" y="532"/>
                  <a:pt x="864" y="532"/>
                </a:cubicBezTo>
                <a:cubicBezTo>
                  <a:pt x="864" y="532"/>
                  <a:pt x="864" y="533"/>
                  <a:pt x="864" y="533"/>
                </a:cubicBezTo>
                <a:cubicBezTo>
                  <a:pt x="864" y="534"/>
                  <a:pt x="864" y="535"/>
                  <a:pt x="864" y="536"/>
                </a:cubicBezTo>
                <a:cubicBezTo>
                  <a:pt x="865" y="536"/>
                  <a:pt x="865" y="536"/>
                  <a:pt x="865" y="537"/>
                </a:cubicBezTo>
                <a:cubicBezTo>
                  <a:pt x="865" y="537"/>
                  <a:pt x="865" y="537"/>
                  <a:pt x="865" y="538"/>
                </a:cubicBezTo>
                <a:cubicBezTo>
                  <a:pt x="865" y="538"/>
                  <a:pt x="865" y="539"/>
                  <a:pt x="865" y="539"/>
                </a:cubicBezTo>
                <a:cubicBezTo>
                  <a:pt x="865" y="540"/>
                  <a:pt x="866" y="540"/>
                  <a:pt x="866" y="540"/>
                </a:cubicBezTo>
                <a:cubicBezTo>
                  <a:pt x="867" y="540"/>
                  <a:pt x="867" y="540"/>
                  <a:pt x="867" y="540"/>
                </a:cubicBezTo>
                <a:cubicBezTo>
                  <a:pt x="868" y="540"/>
                  <a:pt x="868" y="540"/>
                  <a:pt x="869" y="541"/>
                </a:cubicBezTo>
                <a:cubicBezTo>
                  <a:pt x="869" y="541"/>
                  <a:pt x="869" y="541"/>
                  <a:pt x="870" y="542"/>
                </a:cubicBezTo>
                <a:cubicBezTo>
                  <a:pt x="870" y="542"/>
                  <a:pt x="870" y="543"/>
                  <a:pt x="871" y="543"/>
                </a:cubicBezTo>
                <a:cubicBezTo>
                  <a:pt x="872" y="543"/>
                  <a:pt x="872" y="543"/>
                  <a:pt x="873" y="543"/>
                </a:cubicBezTo>
                <a:cubicBezTo>
                  <a:pt x="874" y="543"/>
                  <a:pt x="875" y="544"/>
                  <a:pt x="875" y="544"/>
                </a:cubicBezTo>
                <a:cubicBezTo>
                  <a:pt x="876" y="545"/>
                  <a:pt x="876" y="545"/>
                  <a:pt x="877" y="546"/>
                </a:cubicBezTo>
                <a:cubicBezTo>
                  <a:pt x="878" y="547"/>
                  <a:pt x="878" y="547"/>
                  <a:pt x="879" y="547"/>
                </a:cubicBezTo>
                <a:cubicBezTo>
                  <a:pt x="879" y="548"/>
                  <a:pt x="880" y="548"/>
                  <a:pt x="881" y="549"/>
                </a:cubicBezTo>
                <a:cubicBezTo>
                  <a:pt x="881" y="549"/>
                  <a:pt x="881" y="549"/>
                  <a:pt x="881" y="550"/>
                </a:cubicBezTo>
                <a:cubicBezTo>
                  <a:pt x="882" y="550"/>
                  <a:pt x="882" y="550"/>
                  <a:pt x="882" y="550"/>
                </a:cubicBezTo>
                <a:cubicBezTo>
                  <a:pt x="882" y="551"/>
                  <a:pt x="882" y="551"/>
                  <a:pt x="882" y="551"/>
                </a:cubicBezTo>
                <a:cubicBezTo>
                  <a:pt x="883" y="552"/>
                  <a:pt x="883" y="553"/>
                  <a:pt x="883" y="553"/>
                </a:cubicBezTo>
                <a:cubicBezTo>
                  <a:pt x="883" y="554"/>
                  <a:pt x="884" y="554"/>
                  <a:pt x="884" y="554"/>
                </a:cubicBezTo>
                <a:cubicBezTo>
                  <a:pt x="884" y="555"/>
                  <a:pt x="885" y="556"/>
                  <a:pt x="885" y="557"/>
                </a:cubicBezTo>
                <a:cubicBezTo>
                  <a:pt x="885" y="558"/>
                  <a:pt x="886" y="559"/>
                  <a:pt x="886" y="560"/>
                </a:cubicBezTo>
                <a:cubicBezTo>
                  <a:pt x="886" y="562"/>
                  <a:pt x="887" y="563"/>
                  <a:pt x="887" y="565"/>
                </a:cubicBezTo>
                <a:cubicBezTo>
                  <a:pt x="887" y="567"/>
                  <a:pt x="887" y="569"/>
                  <a:pt x="888" y="571"/>
                </a:cubicBezTo>
                <a:cubicBezTo>
                  <a:pt x="888" y="572"/>
                  <a:pt x="887" y="572"/>
                  <a:pt x="887" y="573"/>
                </a:cubicBezTo>
                <a:cubicBezTo>
                  <a:pt x="887" y="574"/>
                  <a:pt x="887" y="574"/>
                  <a:pt x="887" y="575"/>
                </a:cubicBezTo>
                <a:cubicBezTo>
                  <a:pt x="887" y="576"/>
                  <a:pt x="887" y="577"/>
                  <a:pt x="886" y="578"/>
                </a:cubicBezTo>
                <a:cubicBezTo>
                  <a:pt x="886" y="578"/>
                  <a:pt x="886" y="579"/>
                  <a:pt x="885" y="580"/>
                </a:cubicBezTo>
                <a:cubicBezTo>
                  <a:pt x="885" y="581"/>
                  <a:pt x="885" y="581"/>
                  <a:pt x="884" y="582"/>
                </a:cubicBezTo>
                <a:cubicBezTo>
                  <a:pt x="883" y="583"/>
                  <a:pt x="882" y="583"/>
                  <a:pt x="882" y="584"/>
                </a:cubicBezTo>
                <a:cubicBezTo>
                  <a:pt x="881" y="585"/>
                  <a:pt x="880" y="586"/>
                  <a:pt x="880" y="586"/>
                </a:cubicBezTo>
                <a:cubicBezTo>
                  <a:pt x="879" y="588"/>
                  <a:pt x="877" y="589"/>
                  <a:pt x="876" y="590"/>
                </a:cubicBezTo>
                <a:cubicBezTo>
                  <a:pt x="875" y="591"/>
                  <a:pt x="873" y="592"/>
                  <a:pt x="872" y="593"/>
                </a:cubicBezTo>
                <a:cubicBezTo>
                  <a:pt x="871" y="593"/>
                  <a:pt x="870" y="594"/>
                  <a:pt x="869" y="594"/>
                </a:cubicBezTo>
                <a:cubicBezTo>
                  <a:pt x="869" y="594"/>
                  <a:pt x="868" y="595"/>
                  <a:pt x="868" y="595"/>
                </a:cubicBezTo>
                <a:cubicBezTo>
                  <a:pt x="867" y="595"/>
                  <a:pt x="867" y="595"/>
                  <a:pt x="867" y="595"/>
                </a:cubicBezTo>
                <a:cubicBezTo>
                  <a:pt x="866" y="596"/>
                  <a:pt x="865" y="596"/>
                  <a:pt x="864" y="596"/>
                </a:cubicBezTo>
                <a:cubicBezTo>
                  <a:pt x="864" y="596"/>
                  <a:pt x="863" y="597"/>
                  <a:pt x="863" y="597"/>
                </a:cubicBezTo>
                <a:cubicBezTo>
                  <a:pt x="862" y="597"/>
                  <a:pt x="861" y="598"/>
                  <a:pt x="860" y="598"/>
                </a:cubicBezTo>
                <a:cubicBezTo>
                  <a:pt x="860" y="598"/>
                  <a:pt x="860" y="598"/>
                  <a:pt x="859" y="599"/>
                </a:cubicBezTo>
                <a:cubicBezTo>
                  <a:pt x="858" y="599"/>
                  <a:pt x="857" y="599"/>
                  <a:pt x="856" y="600"/>
                </a:cubicBezTo>
                <a:cubicBezTo>
                  <a:pt x="855" y="600"/>
                  <a:pt x="854" y="601"/>
                  <a:pt x="853" y="601"/>
                </a:cubicBezTo>
                <a:cubicBezTo>
                  <a:pt x="852" y="601"/>
                  <a:pt x="852" y="602"/>
                  <a:pt x="851" y="602"/>
                </a:cubicBezTo>
                <a:cubicBezTo>
                  <a:pt x="851" y="602"/>
                  <a:pt x="850" y="602"/>
                  <a:pt x="851" y="603"/>
                </a:cubicBezTo>
                <a:cubicBezTo>
                  <a:pt x="851" y="603"/>
                  <a:pt x="852" y="603"/>
                  <a:pt x="853" y="603"/>
                </a:cubicBezTo>
                <a:cubicBezTo>
                  <a:pt x="853" y="604"/>
                  <a:pt x="853" y="604"/>
                  <a:pt x="853" y="605"/>
                </a:cubicBezTo>
                <a:cubicBezTo>
                  <a:pt x="853" y="605"/>
                  <a:pt x="853" y="605"/>
                  <a:pt x="853" y="606"/>
                </a:cubicBezTo>
                <a:cubicBezTo>
                  <a:pt x="853" y="606"/>
                  <a:pt x="854" y="606"/>
                  <a:pt x="854" y="607"/>
                </a:cubicBezTo>
                <a:cubicBezTo>
                  <a:pt x="854" y="608"/>
                  <a:pt x="854" y="609"/>
                  <a:pt x="855" y="609"/>
                </a:cubicBezTo>
                <a:cubicBezTo>
                  <a:pt x="855" y="609"/>
                  <a:pt x="856" y="609"/>
                  <a:pt x="856" y="609"/>
                </a:cubicBezTo>
                <a:cubicBezTo>
                  <a:pt x="856" y="610"/>
                  <a:pt x="856" y="611"/>
                  <a:pt x="857" y="610"/>
                </a:cubicBezTo>
                <a:cubicBezTo>
                  <a:pt x="857" y="610"/>
                  <a:pt x="857" y="610"/>
                  <a:pt x="857" y="610"/>
                </a:cubicBezTo>
                <a:cubicBezTo>
                  <a:pt x="858" y="610"/>
                  <a:pt x="858" y="610"/>
                  <a:pt x="857" y="611"/>
                </a:cubicBezTo>
                <a:cubicBezTo>
                  <a:pt x="857" y="611"/>
                  <a:pt x="856" y="611"/>
                  <a:pt x="856" y="611"/>
                </a:cubicBezTo>
                <a:cubicBezTo>
                  <a:pt x="856" y="612"/>
                  <a:pt x="856" y="611"/>
                  <a:pt x="857" y="612"/>
                </a:cubicBezTo>
                <a:cubicBezTo>
                  <a:pt x="857" y="612"/>
                  <a:pt x="857" y="612"/>
                  <a:pt x="857" y="612"/>
                </a:cubicBezTo>
                <a:cubicBezTo>
                  <a:pt x="858" y="612"/>
                  <a:pt x="858" y="612"/>
                  <a:pt x="858" y="612"/>
                </a:cubicBezTo>
                <a:cubicBezTo>
                  <a:pt x="858" y="613"/>
                  <a:pt x="858" y="613"/>
                  <a:pt x="858" y="613"/>
                </a:cubicBezTo>
                <a:cubicBezTo>
                  <a:pt x="858" y="613"/>
                  <a:pt x="858" y="613"/>
                  <a:pt x="858" y="613"/>
                </a:cubicBezTo>
                <a:cubicBezTo>
                  <a:pt x="858" y="614"/>
                  <a:pt x="858" y="614"/>
                  <a:pt x="858" y="614"/>
                </a:cubicBezTo>
                <a:cubicBezTo>
                  <a:pt x="858" y="614"/>
                  <a:pt x="859" y="614"/>
                  <a:pt x="859" y="615"/>
                </a:cubicBezTo>
                <a:cubicBezTo>
                  <a:pt x="859" y="615"/>
                  <a:pt x="858" y="615"/>
                  <a:pt x="858" y="616"/>
                </a:cubicBezTo>
                <a:cubicBezTo>
                  <a:pt x="858" y="616"/>
                  <a:pt x="858" y="616"/>
                  <a:pt x="858" y="617"/>
                </a:cubicBezTo>
                <a:cubicBezTo>
                  <a:pt x="858" y="617"/>
                  <a:pt x="857" y="617"/>
                  <a:pt x="858" y="618"/>
                </a:cubicBezTo>
                <a:cubicBezTo>
                  <a:pt x="858" y="618"/>
                  <a:pt x="858" y="618"/>
                  <a:pt x="859" y="618"/>
                </a:cubicBezTo>
                <a:cubicBezTo>
                  <a:pt x="859" y="619"/>
                  <a:pt x="859" y="619"/>
                  <a:pt x="859" y="619"/>
                </a:cubicBezTo>
                <a:cubicBezTo>
                  <a:pt x="860" y="619"/>
                  <a:pt x="860" y="619"/>
                  <a:pt x="860" y="620"/>
                </a:cubicBezTo>
                <a:cubicBezTo>
                  <a:pt x="859" y="620"/>
                  <a:pt x="858" y="620"/>
                  <a:pt x="858" y="620"/>
                </a:cubicBezTo>
                <a:cubicBezTo>
                  <a:pt x="858" y="621"/>
                  <a:pt x="859" y="622"/>
                  <a:pt x="859" y="622"/>
                </a:cubicBezTo>
                <a:cubicBezTo>
                  <a:pt x="860" y="623"/>
                  <a:pt x="860" y="623"/>
                  <a:pt x="860" y="623"/>
                </a:cubicBezTo>
                <a:cubicBezTo>
                  <a:pt x="860" y="624"/>
                  <a:pt x="860" y="624"/>
                  <a:pt x="860" y="624"/>
                </a:cubicBezTo>
                <a:cubicBezTo>
                  <a:pt x="861" y="625"/>
                  <a:pt x="860" y="626"/>
                  <a:pt x="860" y="627"/>
                </a:cubicBezTo>
                <a:cubicBezTo>
                  <a:pt x="860" y="628"/>
                  <a:pt x="860" y="628"/>
                  <a:pt x="860" y="628"/>
                </a:cubicBezTo>
                <a:cubicBezTo>
                  <a:pt x="860" y="628"/>
                  <a:pt x="860" y="628"/>
                  <a:pt x="860" y="628"/>
                </a:cubicBezTo>
                <a:cubicBezTo>
                  <a:pt x="861" y="629"/>
                  <a:pt x="861" y="629"/>
                  <a:pt x="861" y="629"/>
                </a:cubicBezTo>
                <a:cubicBezTo>
                  <a:pt x="861" y="630"/>
                  <a:pt x="861" y="630"/>
                  <a:pt x="862" y="630"/>
                </a:cubicBezTo>
                <a:cubicBezTo>
                  <a:pt x="862" y="630"/>
                  <a:pt x="862" y="630"/>
                  <a:pt x="862" y="630"/>
                </a:cubicBezTo>
                <a:cubicBezTo>
                  <a:pt x="863" y="631"/>
                  <a:pt x="862" y="632"/>
                  <a:pt x="862" y="633"/>
                </a:cubicBezTo>
                <a:cubicBezTo>
                  <a:pt x="862" y="633"/>
                  <a:pt x="862" y="634"/>
                  <a:pt x="862" y="635"/>
                </a:cubicBezTo>
                <a:cubicBezTo>
                  <a:pt x="862" y="636"/>
                  <a:pt x="863" y="636"/>
                  <a:pt x="864" y="636"/>
                </a:cubicBezTo>
                <a:cubicBezTo>
                  <a:pt x="865" y="637"/>
                  <a:pt x="864" y="639"/>
                  <a:pt x="865" y="640"/>
                </a:cubicBezTo>
                <a:cubicBezTo>
                  <a:pt x="865" y="640"/>
                  <a:pt x="865" y="640"/>
                  <a:pt x="866" y="640"/>
                </a:cubicBezTo>
                <a:cubicBezTo>
                  <a:pt x="866" y="641"/>
                  <a:pt x="865" y="641"/>
                  <a:pt x="864" y="642"/>
                </a:cubicBezTo>
                <a:cubicBezTo>
                  <a:pt x="864" y="642"/>
                  <a:pt x="863" y="643"/>
                  <a:pt x="863" y="643"/>
                </a:cubicBezTo>
                <a:cubicBezTo>
                  <a:pt x="863" y="644"/>
                  <a:pt x="862" y="644"/>
                  <a:pt x="862" y="644"/>
                </a:cubicBezTo>
                <a:cubicBezTo>
                  <a:pt x="862" y="645"/>
                  <a:pt x="861" y="645"/>
                  <a:pt x="861" y="646"/>
                </a:cubicBezTo>
                <a:cubicBezTo>
                  <a:pt x="861" y="646"/>
                  <a:pt x="860" y="647"/>
                  <a:pt x="860" y="647"/>
                </a:cubicBezTo>
                <a:cubicBezTo>
                  <a:pt x="860" y="647"/>
                  <a:pt x="859" y="648"/>
                  <a:pt x="859" y="648"/>
                </a:cubicBezTo>
                <a:cubicBezTo>
                  <a:pt x="859" y="649"/>
                  <a:pt x="860" y="649"/>
                  <a:pt x="860" y="649"/>
                </a:cubicBezTo>
                <a:cubicBezTo>
                  <a:pt x="860" y="649"/>
                  <a:pt x="861" y="649"/>
                  <a:pt x="861" y="650"/>
                </a:cubicBezTo>
                <a:cubicBezTo>
                  <a:pt x="861" y="650"/>
                  <a:pt x="861" y="650"/>
                  <a:pt x="861" y="651"/>
                </a:cubicBezTo>
                <a:cubicBezTo>
                  <a:pt x="861" y="652"/>
                  <a:pt x="863" y="651"/>
                  <a:pt x="862" y="652"/>
                </a:cubicBezTo>
                <a:cubicBezTo>
                  <a:pt x="862" y="652"/>
                  <a:pt x="861" y="652"/>
                  <a:pt x="861" y="652"/>
                </a:cubicBezTo>
                <a:cubicBezTo>
                  <a:pt x="860" y="653"/>
                  <a:pt x="861" y="653"/>
                  <a:pt x="861" y="653"/>
                </a:cubicBezTo>
                <a:cubicBezTo>
                  <a:pt x="861" y="654"/>
                  <a:pt x="861" y="654"/>
                  <a:pt x="860" y="654"/>
                </a:cubicBezTo>
                <a:cubicBezTo>
                  <a:pt x="860" y="655"/>
                  <a:pt x="859" y="654"/>
                  <a:pt x="859" y="653"/>
                </a:cubicBezTo>
                <a:cubicBezTo>
                  <a:pt x="859" y="653"/>
                  <a:pt x="859" y="653"/>
                  <a:pt x="859" y="652"/>
                </a:cubicBezTo>
                <a:cubicBezTo>
                  <a:pt x="859" y="651"/>
                  <a:pt x="858" y="651"/>
                  <a:pt x="857" y="651"/>
                </a:cubicBezTo>
                <a:cubicBezTo>
                  <a:pt x="857" y="651"/>
                  <a:pt x="857" y="650"/>
                  <a:pt x="856" y="649"/>
                </a:cubicBezTo>
                <a:cubicBezTo>
                  <a:pt x="855" y="649"/>
                  <a:pt x="855" y="650"/>
                  <a:pt x="855" y="651"/>
                </a:cubicBezTo>
                <a:cubicBezTo>
                  <a:pt x="854" y="651"/>
                  <a:pt x="854" y="651"/>
                  <a:pt x="854" y="651"/>
                </a:cubicBezTo>
                <a:cubicBezTo>
                  <a:pt x="853" y="651"/>
                  <a:pt x="853" y="652"/>
                  <a:pt x="853" y="652"/>
                </a:cubicBezTo>
                <a:cubicBezTo>
                  <a:pt x="852" y="652"/>
                  <a:pt x="851" y="652"/>
                  <a:pt x="851" y="653"/>
                </a:cubicBezTo>
                <a:cubicBezTo>
                  <a:pt x="851" y="654"/>
                  <a:pt x="851" y="654"/>
                  <a:pt x="851" y="655"/>
                </a:cubicBezTo>
                <a:cubicBezTo>
                  <a:pt x="851" y="655"/>
                  <a:pt x="851" y="655"/>
                  <a:pt x="851" y="656"/>
                </a:cubicBezTo>
                <a:cubicBezTo>
                  <a:pt x="850" y="656"/>
                  <a:pt x="851" y="656"/>
                  <a:pt x="851" y="657"/>
                </a:cubicBezTo>
                <a:cubicBezTo>
                  <a:pt x="851" y="657"/>
                  <a:pt x="851" y="657"/>
                  <a:pt x="851" y="657"/>
                </a:cubicBezTo>
                <a:cubicBezTo>
                  <a:pt x="852" y="658"/>
                  <a:pt x="851" y="658"/>
                  <a:pt x="851" y="658"/>
                </a:cubicBezTo>
                <a:cubicBezTo>
                  <a:pt x="851" y="657"/>
                  <a:pt x="851" y="657"/>
                  <a:pt x="850" y="657"/>
                </a:cubicBezTo>
                <a:cubicBezTo>
                  <a:pt x="850" y="656"/>
                  <a:pt x="849" y="656"/>
                  <a:pt x="849" y="655"/>
                </a:cubicBezTo>
                <a:cubicBezTo>
                  <a:pt x="848" y="655"/>
                  <a:pt x="847" y="654"/>
                  <a:pt x="847" y="654"/>
                </a:cubicBezTo>
                <a:cubicBezTo>
                  <a:pt x="846" y="654"/>
                  <a:pt x="845" y="654"/>
                  <a:pt x="845" y="654"/>
                </a:cubicBezTo>
                <a:cubicBezTo>
                  <a:pt x="844" y="654"/>
                  <a:pt x="844" y="653"/>
                  <a:pt x="843" y="654"/>
                </a:cubicBezTo>
                <a:cubicBezTo>
                  <a:pt x="843" y="654"/>
                  <a:pt x="842" y="654"/>
                  <a:pt x="842" y="654"/>
                </a:cubicBezTo>
                <a:cubicBezTo>
                  <a:pt x="842" y="654"/>
                  <a:pt x="841" y="654"/>
                  <a:pt x="841" y="654"/>
                </a:cubicBezTo>
                <a:cubicBezTo>
                  <a:pt x="841" y="655"/>
                  <a:pt x="840" y="656"/>
                  <a:pt x="840" y="656"/>
                </a:cubicBezTo>
                <a:cubicBezTo>
                  <a:pt x="840" y="657"/>
                  <a:pt x="839" y="657"/>
                  <a:pt x="838" y="657"/>
                </a:cubicBezTo>
                <a:cubicBezTo>
                  <a:pt x="838" y="656"/>
                  <a:pt x="840" y="656"/>
                  <a:pt x="840" y="655"/>
                </a:cubicBezTo>
                <a:cubicBezTo>
                  <a:pt x="840" y="655"/>
                  <a:pt x="840" y="654"/>
                  <a:pt x="841" y="654"/>
                </a:cubicBezTo>
                <a:cubicBezTo>
                  <a:pt x="841" y="654"/>
                  <a:pt x="842" y="654"/>
                  <a:pt x="843" y="654"/>
                </a:cubicBezTo>
                <a:cubicBezTo>
                  <a:pt x="843" y="653"/>
                  <a:pt x="843" y="653"/>
                  <a:pt x="842" y="652"/>
                </a:cubicBezTo>
                <a:cubicBezTo>
                  <a:pt x="842" y="651"/>
                  <a:pt x="842" y="651"/>
                  <a:pt x="842" y="650"/>
                </a:cubicBezTo>
                <a:cubicBezTo>
                  <a:pt x="841" y="649"/>
                  <a:pt x="841" y="649"/>
                  <a:pt x="841" y="648"/>
                </a:cubicBezTo>
                <a:cubicBezTo>
                  <a:pt x="840" y="647"/>
                  <a:pt x="840" y="646"/>
                  <a:pt x="839" y="646"/>
                </a:cubicBezTo>
                <a:cubicBezTo>
                  <a:pt x="838" y="645"/>
                  <a:pt x="837" y="645"/>
                  <a:pt x="837" y="645"/>
                </a:cubicBezTo>
                <a:cubicBezTo>
                  <a:pt x="837" y="644"/>
                  <a:pt x="837" y="644"/>
                  <a:pt x="836" y="643"/>
                </a:cubicBezTo>
                <a:cubicBezTo>
                  <a:pt x="836" y="643"/>
                  <a:pt x="835" y="643"/>
                  <a:pt x="835" y="643"/>
                </a:cubicBezTo>
                <a:cubicBezTo>
                  <a:pt x="834" y="643"/>
                  <a:pt x="834" y="643"/>
                  <a:pt x="834" y="643"/>
                </a:cubicBezTo>
                <a:cubicBezTo>
                  <a:pt x="833" y="642"/>
                  <a:pt x="832" y="643"/>
                  <a:pt x="832" y="642"/>
                </a:cubicBezTo>
                <a:cubicBezTo>
                  <a:pt x="831" y="641"/>
                  <a:pt x="831" y="640"/>
                  <a:pt x="831" y="640"/>
                </a:cubicBezTo>
                <a:cubicBezTo>
                  <a:pt x="830" y="640"/>
                  <a:pt x="829" y="640"/>
                  <a:pt x="828" y="640"/>
                </a:cubicBezTo>
                <a:cubicBezTo>
                  <a:pt x="827" y="639"/>
                  <a:pt x="829" y="639"/>
                  <a:pt x="829" y="639"/>
                </a:cubicBezTo>
                <a:cubicBezTo>
                  <a:pt x="830" y="639"/>
                  <a:pt x="830" y="639"/>
                  <a:pt x="831" y="639"/>
                </a:cubicBezTo>
                <a:cubicBezTo>
                  <a:pt x="831" y="639"/>
                  <a:pt x="830" y="638"/>
                  <a:pt x="830" y="638"/>
                </a:cubicBezTo>
                <a:cubicBezTo>
                  <a:pt x="830" y="638"/>
                  <a:pt x="829" y="637"/>
                  <a:pt x="829" y="636"/>
                </a:cubicBezTo>
                <a:cubicBezTo>
                  <a:pt x="828" y="636"/>
                  <a:pt x="828" y="635"/>
                  <a:pt x="827" y="635"/>
                </a:cubicBezTo>
                <a:cubicBezTo>
                  <a:pt x="826" y="634"/>
                  <a:pt x="826" y="633"/>
                  <a:pt x="825" y="631"/>
                </a:cubicBezTo>
                <a:cubicBezTo>
                  <a:pt x="824" y="631"/>
                  <a:pt x="824" y="630"/>
                  <a:pt x="823" y="630"/>
                </a:cubicBezTo>
                <a:cubicBezTo>
                  <a:pt x="821" y="629"/>
                  <a:pt x="822" y="627"/>
                  <a:pt x="823" y="625"/>
                </a:cubicBezTo>
                <a:cubicBezTo>
                  <a:pt x="823" y="625"/>
                  <a:pt x="823" y="624"/>
                  <a:pt x="823" y="623"/>
                </a:cubicBezTo>
                <a:cubicBezTo>
                  <a:pt x="823" y="622"/>
                  <a:pt x="823" y="622"/>
                  <a:pt x="823" y="622"/>
                </a:cubicBezTo>
                <a:cubicBezTo>
                  <a:pt x="823" y="621"/>
                  <a:pt x="823" y="621"/>
                  <a:pt x="823" y="620"/>
                </a:cubicBezTo>
                <a:cubicBezTo>
                  <a:pt x="823" y="620"/>
                  <a:pt x="822" y="619"/>
                  <a:pt x="822" y="618"/>
                </a:cubicBezTo>
                <a:cubicBezTo>
                  <a:pt x="822" y="617"/>
                  <a:pt x="822" y="616"/>
                  <a:pt x="822" y="615"/>
                </a:cubicBezTo>
                <a:cubicBezTo>
                  <a:pt x="822" y="615"/>
                  <a:pt x="822" y="614"/>
                  <a:pt x="822" y="613"/>
                </a:cubicBezTo>
                <a:cubicBezTo>
                  <a:pt x="822" y="612"/>
                  <a:pt x="821" y="612"/>
                  <a:pt x="821" y="612"/>
                </a:cubicBezTo>
                <a:cubicBezTo>
                  <a:pt x="821" y="611"/>
                  <a:pt x="820" y="610"/>
                  <a:pt x="820" y="610"/>
                </a:cubicBezTo>
                <a:cubicBezTo>
                  <a:pt x="820" y="609"/>
                  <a:pt x="820" y="608"/>
                  <a:pt x="821" y="608"/>
                </a:cubicBezTo>
                <a:cubicBezTo>
                  <a:pt x="821" y="607"/>
                  <a:pt x="821" y="606"/>
                  <a:pt x="821" y="605"/>
                </a:cubicBezTo>
                <a:cubicBezTo>
                  <a:pt x="821" y="604"/>
                  <a:pt x="821" y="603"/>
                  <a:pt x="821" y="603"/>
                </a:cubicBezTo>
                <a:cubicBezTo>
                  <a:pt x="822" y="602"/>
                  <a:pt x="822" y="601"/>
                  <a:pt x="822" y="600"/>
                </a:cubicBezTo>
                <a:cubicBezTo>
                  <a:pt x="822" y="599"/>
                  <a:pt x="822" y="599"/>
                  <a:pt x="822" y="598"/>
                </a:cubicBezTo>
                <a:cubicBezTo>
                  <a:pt x="822" y="597"/>
                  <a:pt x="822" y="596"/>
                  <a:pt x="822" y="595"/>
                </a:cubicBezTo>
                <a:cubicBezTo>
                  <a:pt x="822" y="595"/>
                  <a:pt x="821" y="595"/>
                  <a:pt x="820" y="595"/>
                </a:cubicBezTo>
                <a:cubicBezTo>
                  <a:pt x="819" y="595"/>
                  <a:pt x="818" y="595"/>
                  <a:pt x="817" y="595"/>
                </a:cubicBezTo>
                <a:cubicBezTo>
                  <a:pt x="817" y="595"/>
                  <a:pt x="817" y="595"/>
                  <a:pt x="816" y="595"/>
                </a:cubicBezTo>
                <a:cubicBezTo>
                  <a:pt x="816" y="595"/>
                  <a:pt x="815" y="595"/>
                  <a:pt x="815" y="595"/>
                </a:cubicBezTo>
                <a:cubicBezTo>
                  <a:pt x="814" y="594"/>
                  <a:pt x="814" y="594"/>
                  <a:pt x="814" y="593"/>
                </a:cubicBezTo>
                <a:cubicBezTo>
                  <a:pt x="813" y="593"/>
                  <a:pt x="812" y="593"/>
                  <a:pt x="811" y="593"/>
                </a:cubicBezTo>
                <a:cubicBezTo>
                  <a:pt x="810" y="593"/>
                  <a:pt x="810" y="593"/>
                  <a:pt x="809" y="593"/>
                </a:cubicBezTo>
                <a:cubicBezTo>
                  <a:pt x="808" y="593"/>
                  <a:pt x="807" y="593"/>
                  <a:pt x="807" y="593"/>
                </a:cubicBezTo>
                <a:cubicBezTo>
                  <a:pt x="806" y="593"/>
                  <a:pt x="806" y="593"/>
                  <a:pt x="806" y="593"/>
                </a:cubicBezTo>
                <a:cubicBezTo>
                  <a:pt x="805" y="592"/>
                  <a:pt x="805" y="593"/>
                  <a:pt x="806" y="593"/>
                </a:cubicBezTo>
                <a:cubicBezTo>
                  <a:pt x="806" y="593"/>
                  <a:pt x="806" y="593"/>
                  <a:pt x="807" y="593"/>
                </a:cubicBezTo>
                <a:cubicBezTo>
                  <a:pt x="807" y="594"/>
                  <a:pt x="807" y="594"/>
                  <a:pt x="807" y="594"/>
                </a:cubicBezTo>
                <a:cubicBezTo>
                  <a:pt x="806" y="595"/>
                  <a:pt x="805" y="594"/>
                  <a:pt x="805" y="594"/>
                </a:cubicBezTo>
                <a:cubicBezTo>
                  <a:pt x="804" y="594"/>
                  <a:pt x="803" y="593"/>
                  <a:pt x="802" y="593"/>
                </a:cubicBezTo>
                <a:cubicBezTo>
                  <a:pt x="802" y="593"/>
                  <a:pt x="801" y="593"/>
                  <a:pt x="800" y="593"/>
                </a:cubicBezTo>
                <a:cubicBezTo>
                  <a:pt x="799" y="592"/>
                  <a:pt x="798" y="592"/>
                  <a:pt x="797" y="593"/>
                </a:cubicBezTo>
                <a:cubicBezTo>
                  <a:pt x="796" y="593"/>
                  <a:pt x="795" y="593"/>
                  <a:pt x="793" y="593"/>
                </a:cubicBezTo>
                <a:cubicBezTo>
                  <a:pt x="793" y="593"/>
                  <a:pt x="792" y="593"/>
                  <a:pt x="792" y="593"/>
                </a:cubicBezTo>
                <a:cubicBezTo>
                  <a:pt x="791" y="593"/>
                  <a:pt x="791" y="593"/>
                  <a:pt x="791" y="593"/>
                </a:cubicBezTo>
                <a:cubicBezTo>
                  <a:pt x="790" y="592"/>
                  <a:pt x="789" y="592"/>
                  <a:pt x="789" y="591"/>
                </a:cubicBezTo>
                <a:cubicBezTo>
                  <a:pt x="788" y="591"/>
                  <a:pt x="787" y="591"/>
                  <a:pt x="787" y="590"/>
                </a:cubicBezTo>
                <a:cubicBezTo>
                  <a:pt x="785" y="589"/>
                  <a:pt x="784" y="589"/>
                  <a:pt x="782" y="589"/>
                </a:cubicBezTo>
                <a:cubicBezTo>
                  <a:pt x="780" y="588"/>
                  <a:pt x="779" y="587"/>
                  <a:pt x="777" y="586"/>
                </a:cubicBezTo>
                <a:cubicBezTo>
                  <a:pt x="776" y="585"/>
                  <a:pt x="774" y="585"/>
                  <a:pt x="773" y="584"/>
                </a:cubicBezTo>
                <a:cubicBezTo>
                  <a:pt x="772" y="583"/>
                  <a:pt x="770" y="583"/>
                  <a:pt x="769" y="582"/>
                </a:cubicBezTo>
                <a:cubicBezTo>
                  <a:pt x="766" y="582"/>
                  <a:pt x="764" y="582"/>
                  <a:pt x="762" y="581"/>
                </a:cubicBezTo>
                <a:cubicBezTo>
                  <a:pt x="761" y="581"/>
                  <a:pt x="761" y="581"/>
                  <a:pt x="760" y="580"/>
                </a:cubicBezTo>
                <a:cubicBezTo>
                  <a:pt x="760" y="579"/>
                  <a:pt x="760" y="579"/>
                  <a:pt x="760" y="578"/>
                </a:cubicBezTo>
                <a:cubicBezTo>
                  <a:pt x="759" y="577"/>
                  <a:pt x="759" y="576"/>
                  <a:pt x="758" y="576"/>
                </a:cubicBezTo>
                <a:cubicBezTo>
                  <a:pt x="758" y="575"/>
                  <a:pt x="757" y="575"/>
                  <a:pt x="757" y="575"/>
                </a:cubicBezTo>
                <a:cubicBezTo>
                  <a:pt x="756" y="574"/>
                  <a:pt x="756" y="573"/>
                  <a:pt x="755" y="573"/>
                </a:cubicBezTo>
                <a:cubicBezTo>
                  <a:pt x="755" y="573"/>
                  <a:pt x="754" y="573"/>
                  <a:pt x="753" y="572"/>
                </a:cubicBezTo>
                <a:cubicBezTo>
                  <a:pt x="752" y="572"/>
                  <a:pt x="752" y="571"/>
                  <a:pt x="751" y="571"/>
                </a:cubicBezTo>
                <a:cubicBezTo>
                  <a:pt x="750" y="570"/>
                  <a:pt x="749" y="569"/>
                  <a:pt x="748" y="569"/>
                </a:cubicBezTo>
                <a:cubicBezTo>
                  <a:pt x="746" y="568"/>
                  <a:pt x="745" y="567"/>
                  <a:pt x="743" y="567"/>
                </a:cubicBezTo>
                <a:cubicBezTo>
                  <a:pt x="741" y="566"/>
                  <a:pt x="739" y="566"/>
                  <a:pt x="738" y="566"/>
                </a:cubicBezTo>
                <a:cubicBezTo>
                  <a:pt x="736" y="565"/>
                  <a:pt x="735" y="565"/>
                  <a:pt x="733" y="564"/>
                </a:cubicBezTo>
                <a:cubicBezTo>
                  <a:pt x="732" y="564"/>
                  <a:pt x="732" y="564"/>
                  <a:pt x="731" y="563"/>
                </a:cubicBezTo>
                <a:cubicBezTo>
                  <a:pt x="730" y="563"/>
                  <a:pt x="729" y="563"/>
                  <a:pt x="728" y="562"/>
                </a:cubicBezTo>
                <a:cubicBezTo>
                  <a:pt x="727" y="562"/>
                  <a:pt x="726" y="561"/>
                  <a:pt x="725" y="561"/>
                </a:cubicBezTo>
                <a:cubicBezTo>
                  <a:pt x="724" y="561"/>
                  <a:pt x="723" y="561"/>
                  <a:pt x="722" y="561"/>
                </a:cubicBezTo>
                <a:cubicBezTo>
                  <a:pt x="720" y="561"/>
                  <a:pt x="719" y="561"/>
                  <a:pt x="717" y="562"/>
                </a:cubicBezTo>
                <a:cubicBezTo>
                  <a:pt x="716" y="562"/>
                  <a:pt x="715" y="563"/>
                  <a:pt x="715" y="563"/>
                </a:cubicBezTo>
                <a:cubicBezTo>
                  <a:pt x="714" y="563"/>
                  <a:pt x="712" y="564"/>
                  <a:pt x="711" y="564"/>
                </a:cubicBezTo>
                <a:cubicBezTo>
                  <a:pt x="711" y="564"/>
                  <a:pt x="711" y="564"/>
                  <a:pt x="711" y="564"/>
                </a:cubicBezTo>
                <a:cubicBezTo>
                  <a:pt x="710" y="565"/>
                  <a:pt x="710" y="565"/>
                  <a:pt x="709" y="565"/>
                </a:cubicBezTo>
                <a:cubicBezTo>
                  <a:pt x="709" y="565"/>
                  <a:pt x="708" y="565"/>
                  <a:pt x="708" y="565"/>
                </a:cubicBezTo>
                <a:cubicBezTo>
                  <a:pt x="707" y="565"/>
                  <a:pt x="707" y="566"/>
                  <a:pt x="706" y="565"/>
                </a:cubicBezTo>
                <a:cubicBezTo>
                  <a:pt x="706" y="565"/>
                  <a:pt x="707" y="565"/>
                  <a:pt x="707" y="564"/>
                </a:cubicBezTo>
                <a:cubicBezTo>
                  <a:pt x="708" y="564"/>
                  <a:pt x="707" y="564"/>
                  <a:pt x="706" y="564"/>
                </a:cubicBezTo>
                <a:cubicBezTo>
                  <a:pt x="706" y="564"/>
                  <a:pt x="706" y="564"/>
                  <a:pt x="706" y="564"/>
                </a:cubicBezTo>
                <a:cubicBezTo>
                  <a:pt x="705" y="565"/>
                  <a:pt x="705" y="564"/>
                  <a:pt x="705" y="565"/>
                </a:cubicBezTo>
                <a:cubicBezTo>
                  <a:pt x="704" y="565"/>
                  <a:pt x="704" y="565"/>
                  <a:pt x="704" y="565"/>
                </a:cubicBezTo>
                <a:cubicBezTo>
                  <a:pt x="704" y="565"/>
                  <a:pt x="704" y="564"/>
                  <a:pt x="704" y="564"/>
                </a:cubicBezTo>
                <a:cubicBezTo>
                  <a:pt x="705" y="563"/>
                  <a:pt x="705" y="563"/>
                  <a:pt x="706" y="562"/>
                </a:cubicBezTo>
                <a:cubicBezTo>
                  <a:pt x="706" y="561"/>
                  <a:pt x="706" y="558"/>
                  <a:pt x="705" y="557"/>
                </a:cubicBezTo>
                <a:cubicBezTo>
                  <a:pt x="705" y="556"/>
                  <a:pt x="705" y="556"/>
                  <a:pt x="704" y="555"/>
                </a:cubicBezTo>
                <a:cubicBezTo>
                  <a:pt x="704" y="555"/>
                  <a:pt x="704" y="554"/>
                  <a:pt x="704" y="553"/>
                </a:cubicBezTo>
                <a:cubicBezTo>
                  <a:pt x="703" y="553"/>
                  <a:pt x="703" y="553"/>
                  <a:pt x="702" y="552"/>
                </a:cubicBezTo>
                <a:cubicBezTo>
                  <a:pt x="702" y="552"/>
                  <a:pt x="702" y="551"/>
                  <a:pt x="702" y="550"/>
                </a:cubicBezTo>
                <a:cubicBezTo>
                  <a:pt x="703" y="549"/>
                  <a:pt x="702" y="547"/>
                  <a:pt x="701" y="546"/>
                </a:cubicBezTo>
                <a:cubicBezTo>
                  <a:pt x="700" y="544"/>
                  <a:pt x="699" y="543"/>
                  <a:pt x="698" y="542"/>
                </a:cubicBezTo>
                <a:cubicBezTo>
                  <a:pt x="698" y="540"/>
                  <a:pt x="698" y="539"/>
                  <a:pt x="698" y="538"/>
                </a:cubicBezTo>
                <a:cubicBezTo>
                  <a:pt x="697" y="537"/>
                  <a:pt x="697" y="536"/>
                  <a:pt x="696" y="536"/>
                </a:cubicBezTo>
                <a:cubicBezTo>
                  <a:pt x="696" y="536"/>
                  <a:pt x="696" y="536"/>
                  <a:pt x="695" y="536"/>
                </a:cubicBezTo>
                <a:cubicBezTo>
                  <a:pt x="695" y="536"/>
                  <a:pt x="694" y="536"/>
                  <a:pt x="693" y="535"/>
                </a:cubicBezTo>
                <a:cubicBezTo>
                  <a:pt x="692" y="535"/>
                  <a:pt x="691" y="535"/>
                  <a:pt x="691" y="536"/>
                </a:cubicBezTo>
                <a:cubicBezTo>
                  <a:pt x="690" y="536"/>
                  <a:pt x="689" y="535"/>
                  <a:pt x="688" y="536"/>
                </a:cubicBezTo>
                <a:cubicBezTo>
                  <a:pt x="687" y="536"/>
                  <a:pt x="687" y="536"/>
                  <a:pt x="686" y="536"/>
                </a:cubicBezTo>
                <a:cubicBezTo>
                  <a:pt x="686" y="536"/>
                  <a:pt x="686" y="536"/>
                  <a:pt x="686" y="537"/>
                </a:cubicBezTo>
                <a:cubicBezTo>
                  <a:pt x="686" y="537"/>
                  <a:pt x="686" y="537"/>
                  <a:pt x="686" y="537"/>
                </a:cubicBezTo>
                <a:cubicBezTo>
                  <a:pt x="685" y="538"/>
                  <a:pt x="686" y="539"/>
                  <a:pt x="686" y="539"/>
                </a:cubicBezTo>
                <a:cubicBezTo>
                  <a:pt x="686" y="540"/>
                  <a:pt x="685" y="540"/>
                  <a:pt x="685" y="541"/>
                </a:cubicBezTo>
                <a:cubicBezTo>
                  <a:pt x="685" y="542"/>
                  <a:pt x="685" y="542"/>
                  <a:pt x="685" y="543"/>
                </a:cubicBezTo>
                <a:cubicBezTo>
                  <a:pt x="684" y="542"/>
                  <a:pt x="685" y="540"/>
                  <a:pt x="685" y="539"/>
                </a:cubicBezTo>
                <a:cubicBezTo>
                  <a:pt x="685" y="539"/>
                  <a:pt x="685" y="538"/>
                  <a:pt x="685" y="538"/>
                </a:cubicBezTo>
                <a:cubicBezTo>
                  <a:pt x="685" y="537"/>
                  <a:pt x="686" y="537"/>
                  <a:pt x="686" y="536"/>
                </a:cubicBezTo>
                <a:cubicBezTo>
                  <a:pt x="685" y="536"/>
                  <a:pt x="685" y="536"/>
                  <a:pt x="685" y="536"/>
                </a:cubicBezTo>
                <a:cubicBezTo>
                  <a:pt x="684" y="536"/>
                  <a:pt x="684" y="536"/>
                  <a:pt x="684" y="535"/>
                </a:cubicBezTo>
                <a:cubicBezTo>
                  <a:pt x="683" y="535"/>
                  <a:pt x="682" y="535"/>
                  <a:pt x="681" y="535"/>
                </a:cubicBezTo>
                <a:cubicBezTo>
                  <a:pt x="681" y="535"/>
                  <a:pt x="681" y="535"/>
                  <a:pt x="681" y="534"/>
                </a:cubicBezTo>
                <a:cubicBezTo>
                  <a:pt x="680" y="534"/>
                  <a:pt x="680" y="534"/>
                  <a:pt x="679" y="534"/>
                </a:cubicBezTo>
                <a:cubicBezTo>
                  <a:pt x="678" y="534"/>
                  <a:pt x="678" y="532"/>
                  <a:pt x="678" y="532"/>
                </a:cubicBezTo>
                <a:cubicBezTo>
                  <a:pt x="677" y="532"/>
                  <a:pt x="677" y="532"/>
                  <a:pt x="677" y="531"/>
                </a:cubicBezTo>
                <a:cubicBezTo>
                  <a:pt x="677" y="530"/>
                  <a:pt x="679" y="531"/>
                  <a:pt x="679" y="530"/>
                </a:cubicBezTo>
                <a:cubicBezTo>
                  <a:pt x="679" y="529"/>
                  <a:pt x="679" y="529"/>
                  <a:pt x="679" y="528"/>
                </a:cubicBezTo>
                <a:cubicBezTo>
                  <a:pt x="679" y="527"/>
                  <a:pt x="680" y="526"/>
                  <a:pt x="680" y="526"/>
                </a:cubicBezTo>
                <a:cubicBezTo>
                  <a:pt x="680" y="524"/>
                  <a:pt x="679" y="522"/>
                  <a:pt x="679" y="520"/>
                </a:cubicBezTo>
                <a:cubicBezTo>
                  <a:pt x="679" y="518"/>
                  <a:pt x="679" y="517"/>
                  <a:pt x="679" y="516"/>
                </a:cubicBezTo>
                <a:cubicBezTo>
                  <a:pt x="679" y="515"/>
                  <a:pt x="679" y="514"/>
                  <a:pt x="680" y="513"/>
                </a:cubicBezTo>
                <a:cubicBezTo>
                  <a:pt x="680" y="512"/>
                  <a:pt x="680" y="512"/>
                  <a:pt x="680" y="511"/>
                </a:cubicBezTo>
                <a:cubicBezTo>
                  <a:pt x="680" y="510"/>
                  <a:pt x="680" y="510"/>
                  <a:pt x="681" y="509"/>
                </a:cubicBezTo>
                <a:cubicBezTo>
                  <a:pt x="681" y="508"/>
                  <a:pt x="681" y="507"/>
                  <a:pt x="680" y="507"/>
                </a:cubicBezTo>
                <a:cubicBezTo>
                  <a:pt x="680" y="507"/>
                  <a:pt x="679" y="506"/>
                  <a:pt x="680" y="506"/>
                </a:cubicBezTo>
                <a:cubicBezTo>
                  <a:pt x="680" y="506"/>
                  <a:pt x="681" y="506"/>
                  <a:pt x="681" y="505"/>
                </a:cubicBezTo>
                <a:cubicBezTo>
                  <a:pt x="682" y="505"/>
                  <a:pt x="682" y="505"/>
                  <a:pt x="682" y="504"/>
                </a:cubicBezTo>
                <a:cubicBezTo>
                  <a:pt x="683" y="503"/>
                  <a:pt x="683" y="503"/>
                  <a:pt x="683" y="502"/>
                </a:cubicBezTo>
                <a:cubicBezTo>
                  <a:pt x="684" y="501"/>
                  <a:pt x="684" y="501"/>
                  <a:pt x="685" y="500"/>
                </a:cubicBezTo>
                <a:cubicBezTo>
                  <a:pt x="685" y="500"/>
                  <a:pt x="685" y="499"/>
                  <a:pt x="686" y="498"/>
                </a:cubicBezTo>
                <a:cubicBezTo>
                  <a:pt x="686" y="498"/>
                  <a:pt x="686" y="497"/>
                  <a:pt x="687" y="497"/>
                </a:cubicBezTo>
                <a:cubicBezTo>
                  <a:pt x="687" y="497"/>
                  <a:pt x="688" y="497"/>
                  <a:pt x="688" y="496"/>
                </a:cubicBezTo>
                <a:cubicBezTo>
                  <a:pt x="688" y="496"/>
                  <a:pt x="687" y="496"/>
                  <a:pt x="687" y="495"/>
                </a:cubicBezTo>
                <a:cubicBezTo>
                  <a:pt x="687" y="495"/>
                  <a:pt x="688" y="495"/>
                  <a:pt x="688" y="494"/>
                </a:cubicBezTo>
                <a:cubicBezTo>
                  <a:pt x="688" y="494"/>
                  <a:pt x="688" y="494"/>
                  <a:pt x="687" y="493"/>
                </a:cubicBezTo>
                <a:cubicBezTo>
                  <a:pt x="687" y="493"/>
                  <a:pt x="688" y="493"/>
                  <a:pt x="688" y="492"/>
                </a:cubicBezTo>
                <a:cubicBezTo>
                  <a:pt x="689" y="492"/>
                  <a:pt x="689" y="492"/>
                  <a:pt x="689" y="492"/>
                </a:cubicBezTo>
                <a:cubicBezTo>
                  <a:pt x="690" y="492"/>
                  <a:pt x="690" y="491"/>
                  <a:pt x="690" y="491"/>
                </a:cubicBezTo>
                <a:cubicBezTo>
                  <a:pt x="689" y="490"/>
                  <a:pt x="688" y="490"/>
                  <a:pt x="689" y="489"/>
                </a:cubicBezTo>
                <a:cubicBezTo>
                  <a:pt x="689" y="489"/>
                  <a:pt x="689" y="489"/>
                  <a:pt x="690" y="488"/>
                </a:cubicBezTo>
                <a:cubicBezTo>
                  <a:pt x="690" y="488"/>
                  <a:pt x="690" y="489"/>
                  <a:pt x="691" y="488"/>
                </a:cubicBezTo>
                <a:cubicBezTo>
                  <a:pt x="691" y="488"/>
                  <a:pt x="691" y="488"/>
                  <a:pt x="692" y="487"/>
                </a:cubicBezTo>
                <a:cubicBezTo>
                  <a:pt x="692" y="487"/>
                  <a:pt x="692" y="487"/>
                  <a:pt x="693" y="487"/>
                </a:cubicBezTo>
                <a:cubicBezTo>
                  <a:pt x="693" y="486"/>
                  <a:pt x="694" y="486"/>
                  <a:pt x="694" y="486"/>
                </a:cubicBezTo>
                <a:cubicBezTo>
                  <a:pt x="694" y="486"/>
                  <a:pt x="695" y="486"/>
                  <a:pt x="695" y="485"/>
                </a:cubicBezTo>
                <a:cubicBezTo>
                  <a:pt x="695" y="485"/>
                  <a:pt x="696" y="485"/>
                  <a:pt x="697" y="485"/>
                </a:cubicBezTo>
                <a:cubicBezTo>
                  <a:pt x="697" y="484"/>
                  <a:pt x="695" y="484"/>
                  <a:pt x="695" y="483"/>
                </a:cubicBezTo>
                <a:cubicBezTo>
                  <a:pt x="694" y="483"/>
                  <a:pt x="694" y="483"/>
                  <a:pt x="694" y="482"/>
                </a:cubicBezTo>
                <a:cubicBezTo>
                  <a:pt x="693" y="482"/>
                  <a:pt x="693" y="482"/>
                  <a:pt x="693" y="481"/>
                </a:cubicBezTo>
                <a:cubicBezTo>
                  <a:pt x="693" y="481"/>
                  <a:pt x="693" y="481"/>
                  <a:pt x="694" y="482"/>
                </a:cubicBezTo>
                <a:cubicBezTo>
                  <a:pt x="694" y="482"/>
                  <a:pt x="694" y="482"/>
                  <a:pt x="694" y="482"/>
                </a:cubicBezTo>
                <a:cubicBezTo>
                  <a:pt x="695" y="482"/>
                  <a:pt x="695" y="482"/>
                  <a:pt x="695" y="482"/>
                </a:cubicBezTo>
                <a:cubicBezTo>
                  <a:pt x="696" y="482"/>
                  <a:pt x="695" y="482"/>
                  <a:pt x="696" y="481"/>
                </a:cubicBezTo>
                <a:cubicBezTo>
                  <a:pt x="696" y="481"/>
                  <a:pt x="697" y="481"/>
                  <a:pt x="696" y="481"/>
                </a:cubicBezTo>
                <a:cubicBezTo>
                  <a:pt x="696" y="481"/>
                  <a:pt x="696" y="481"/>
                  <a:pt x="696" y="480"/>
                </a:cubicBezTo>
                <a:cubicBezTo>
                  <a:pt x="696" y="480"/>
                  <a:pt x="696" y="480"/>
                  <a:pt x="696" y="480"/>
                </a:cubicBezTo>
                <a:cubicBezTo>
                  <a:pt x="695" y="480"/>
                  <a:pt x="695" y="480"/>
                  <a:pt x="695" y="480"/>
                </a:cubicBezTo>
                <a:cubicBezTo>
                  <a:pt x="695" y="479"/>
                  <a:pt x="695" y="479"/>
                  <a:pt x="696" y="479"/>
                </a:cubicBezTo>
                <a:cubicBezTo>
                  <a:pt x="696" y="479"/>
                  <a:pt x="696" y="480"/>
                  <a:pt x="696" y="480"/>
                </a:cubicBezTo>
                <a:cubicBezTo>
                  <a:pt x="696" y="480"/>
                  <a:pt x="696" y="480"/>
                  <a:pt x="696" y="480"/>
                </a:cubicBezTo>
                <a:cubicBezTo>
                  <a:pt x="697" y="480"/>
                  <a:pt x="697" y="481"/>
                  <a:pt x="697" y="480"/>
                </a:cubicBezTo>
                <a:cubicBezTo>
                  <a:pt x="697" y="480"/>
                  <a:pt x="697" y="480"/>
                  <a:pt x="698" y="479"/>
                </a:cubicBezTo>
                <a:cubicBezTo>
                  <a:pt x="698" y="479"/>
                  <a:pt x="699" y="479"/>
                  <a:pt x="699" y="479"/>
                </a:cubicBezTo>
                <a:cubicBezTo>
                  <a:pt x="700" y="479"/>
                  <a:pt x="700" y="479"/>
                  <a:pt x="700" y="479"/>
                </a:cubicBezTo>
                <a:cubicBezTo>
                  <a:pt x="700" y="478"/>
                  <a:pt x="700" y="478"/>
                  <a:pt x="699" y="478"/>
                </a:cubicBezTo>
                <a:cubicBezTo>
                  <a:pt x="699" y="478"/>
                  <a:pt x="699" y="478"/>
                  <a:pt x="699" y="477"/>
                </a:cubicBezTo>
                <a:cubicBezTo>
                  <a:pt x="699" y="477"/>
                  <a:pt x="699" y="477"/>
                  <a:pt x="699" y="477"/>
                </a:cubicBezTo>
                <a:cubicBezTo>
                  <a:pt x="700" y="476"/>
                  <a:pt x="700" y="476"/>
                  <a:pt x="700" y="476"/>
                </a:cubicBezTo>
                <a:cubicBezTo>
                  <a:pt x="701" y="476"/>
                  <a:pt x="701" y="477"/>
                  <a:pt x="701" y="477"/>
                </a:cubicBezTo>
                <a:cubicBezTo>
                  <a:pt x="702" y="477"/>
                  <a:pt x="702" y="477"/>
                  <a:pt x="702" y="476"/>
                </a:cubicBezTo>
                <a:cubicBezTo>
                  <a:pt x="702" y="476"/>
                  <a:pt x="701" y="476"/>
                  <a:pt x="701" y="476"/>
                </a:cubicBezTo>
                <a:cubicBezTo>
                  <a:pt x="701" y="475"/>
                  <a:pt x="700" y="475"/>
                  <a:pt x="700" y="475"/>
                </a:cubicBezTo>
                <a:cubicBezTo>
                  <a:pt x="700" y="475"/>
                  <a:pt x="700" y="474"/>
                  <a:pt x="700" y="475"/>
                </a:cubicBezTo>
                <a:cubicBezTo>
                  <a:pt x="701" y="475"/>
                  <a:pt x="701" y="475"/>
                  <a:pt x="701" y="475"/>
                </a:cubicBezTo>
                <a:cubicBezTo>
                  <a:pt x="702" y="475"/>
                  <a:pt x="702" y="475"/>
                  <a:pt x="703" y="475"/>
                </a:cubicBezTo>
                <a:cubicBezTo>
                  <a:pt x="703" y="476"/>
                  <a:pt x="703" y="476"/>
                  <a:pt x="703" y="476"/>
                </a:cubicBezTo>
                <a:cubicBezTo>
                  <a:pt x="703" y="477"/>
                  <a:pt x="704" y="477"/>
                  <a:pt x="704" y="477"/>
                </a:cubicBezTo>
                <a:cubicBezTo>
                  <a:pt x="704" y="477"/>
                  <a:pt x="704" y="478"/>
                  <a:pt x="705" y="478"/>
                </a:cubicBezTo>
                <a:cubicBezTo>
                  <a:pt x="705" y="478"/>
                  <a:pt x="705" y="477"/>
                  <a:pt x="704" y="477"/>
                </a:cubicBezTo>
                <a:cubicBezTo>
                  <a:pt x="704" y="476"/>
                  <a:pt x="704" y="476"/>
                  <a:pt x="704" y="475"/>
                </a:cubicBezTo>
                <a:cubicBezTo>
                  <a:pt x="704" y="475"/>
                  <a:pt x="703" y="475"/>
                  <a:pt x="703" y="474"/>
                </a:cubicBezTo>
                <a:cubicBezTo>
                  <a:pt x="703" y="474"/>
                  <a:pt x="703" y="474"/>
                  <a:pt x="702" y="474"/>
                </a:cubicBezTo>
                <a:cubicBezTo>
                  <a:pt x="702" y="473"/>
                  <a:pt x="703" y="472"/>
                  <a:pt x="703" y="472"/>
                </a:cubicBezTo>
                <a:cubicBezTo>
                  <a:pt x="704" y="472"/>
                  <a:pt x="704" y="472"/>
                  <a:pt x="704" y="472"/>
                </a:cubicBezTo>
                <a:cubicBezTo>
                  <a:pt x="704" y="473"/>
                  <a:pt x="705" y="472"/>
                  <a:pt x="705" y="472"/>
                </a:cubicBezTo>
                <a:cubicBezTo>
                  <a:pt x="705" y="472"/>
                  <a:pt x="705" y="471"/>
                  <a:pt x="704" y="471"/>
                </a:cubicBezTo>
                <a:cubicBezTo>
                  <a:pt x="704" y="471"/>
                  <a:pt x="704" y="470"/>
                  <a:pt x="704" y="470"/>
                </a:cubicBezTo>
                <a:cubicBezTo>
                  <a:pt x="704" y="469"/>
                  <a:pt x="705" y="470"/>
                  <a:pt x="705" y="470"/>
                </a:cubicBezTo>
                <a:cubicBezTo>
                  <a:pt x="705" y="470"/>
                  <a:pt x="705" y="471"/>
                  <a:pt x="706" y="471"/>
                </a:cubicBezTo>
                <a:cubicBezTo>
                  <a:pt x="706" y="471"/>
                  <a:pt x="707" y="470"/>
                  <a:pt x="708" y="470"/>
                </a:cubicBezTo>
                <a:cubicBezTo>
                  <a:pt x="708" y="469"/>
                  <a:pt x="708" y="469"/>
                  <a:pt x="709" y="470"/>
                </a:cubicBezTo>
                <a:cubicBezTo>
                  <a:pt x="709" y="470"/>
                  <a:pt x="709" y="470"/>
                  <a:pt x="709" y="471"/>
                </a:cubicBezTo>
                <a:cubicBezTo>
                  <a:pt x="709" y="472"/>
                  <a:pt x="710" y="471"/>
                  <a:pt x="710" y="470"/>
                </a:cubicBezTo>
                <a:cubicBezTo>
                  <a:pt x="711" y="470"/>
                  <a:pt x="712" y="470"/>
                  <a:pt x="712" y="470"/>
                </a:cubicBezTo>
                <a:cubicBezTo>
                  <a:pt x="712" y="469"/>
                  <a:pt x="711" y="469"/>
                  <a:pt x="710" y="469"/>
                </a:cubicBezTo>
                <a:cubicBezTo>
                  <a:pt x="709" y="469"/>
                  <a:pt x="709" y="468"/>
                  <a:pt x="708" y="468"/>
                </a:cubicBezTo>
                <a:cubicBezTo>
                  <a:pt x="708" y="468"/>
                  <a:pt x="708" y="467"/>
                  <a:pt x="707" y="467"/>
                </a:cubicBezTo>
                <a:cubicBezTo>
                  <a:pt x="707" y="467"/>
                  <a:pt x="706" y="467"/>
                  <a:pt x="706" y="466"/>
                </a:cubicBezTo>
                <a:cubicBezTo>
                  <a:pt x="706" y="466"/>
                  <a:pt x="707" y="466"/>
                  <a:pt x="708" y="465"/>
                </a:cubicBezTo>
                <a:cubicBezTo>
                  <a:pt x="708" y="465"/>
                  <a:pt x="709" y="465"/>
                  <a:pt x="710" y="465"/>
                </a:cubicBezTo>
                <a:cubicBezTo>
                  <a:pt x="712" y="465"/>
                  <a:pt x="713" y="466"/>
                  <a:pt x="714" y="466"/>
                </a:cubicBezTo>
                <a:cubicBezTo>
                  <a:pt x="715" y="466"/>
                  <a:pt x="716" y="466"/>
                  <a:pt x="717" y="466"/>
                </a:cubicBezTo>
                <a:cubicBezTo>
                  <a:pt x="717" y="466"/>
                  <a:pt x="718" y="466"/>
                  <a:pt x="718" y="466"/>
                </a:cubicBezTo>
                <a:cubicBezTo>
                  <a:pt x="719" y="465"/>
                  <a:pt x="720" y="464"/>
                  <a:pt x="721" y="464"/>
                </a:cubicBezTo>
                <a:cubicBezTo>
                  <a:pt x="722" y="464"/>
                  <a:pt x="723" y="463"/>
                  <a:pt x="724" y="463"/>
                </a:cubicBezTo>
                <a:cubicBezTo>
                  <a:pt x="724" y="463"/>
                  <a:pt x="725" y="463"/>
                  <a:pt x="725" y="462"/>
                </a:cubicBezTo>
                <a:cubicBezTo>
                  <a:pt x="726" y="461"/>
                  <a:pt x="726" y="461"/>
                  <a:pt x="726" y="460"/>
                </a:cubicBezTo>
                <a:cubicBezTo>
                  <a:pt x="726" y="459"/>
                  <a:pt x="726" y="458"/>
                  <a:pt x="726" y="457"/>
                </a:cubicBezTo>
                <a:cubicBezTo>
                  <a:pt x="726" y="456"/>
                  <a:pt x="725" y="456"/>
                  <a:pt x="724" y="455"/>
                </a:cubicBezTo>
                <a:cubicBezTo>
                  <a:pt x="724" y="455"/>
                  <a:pt x="724" y="455"/>
                  <a:pt x="723" y="455"/>
                </a:cubicBezTo>
                <a:cubicBezTo>
                  <a:pt x="722" y="454"/>
                  <a:pt x="722" y="454"/>
                  <a:pt x="721" y="454"/>
                </a:cubicBezTo>
                <a:cubicBezTo>
                  <a:pt x="720" y="453"/>
                  <a:pt x="720" y="453"/>
                  <a:pt x="719" y="453"/>
                </a:cubicBezTo>
                <a:cubicBezTo>
                  <a:pt x="719" y="454"/>
                  <a:pt x="718" y="454"/>
                  <a:pt x="718" y="454"/>
                </a:cubicBezTo>
                <a:cubicBezTo>
                  <a:pt x="717" y="453"/>
                  <a:pt x="717" y="453"/>
                  <a:pt x="717" y="453"/>
                </a:cubicBezTo>
                <a:cubicBezTo>
                  <a:pt x="717" y="452"/>
                  <a:pt x="716" y="452"/>
                  <a:pt x="716" y="452"/>
                </a:cubicBezTo>
                <a:cubicBezTo>
                  <a:pt x="715" y="452"/>
                  <a:pt x="716" y="451"/>
                  <a:pt x="715" y="451"/>
                </a:cubicBezTo>
                <a:cubicBezTo>
                  <a:pt x="715" y="451"/>
                  <a:pt x="715" y="451"/>
                  <a:pt x="715" y="451"/>
                </a:cubicBezTo>
                <a:cubicBezTo>
                  <a:pt x="714" y="450"/>
                  <a:pt x="715" y="450"/>
                  <a:pt x="714" y="450"/>
                </a:cubicBezTo>
                <a:cubicBezTo>
                  <a:pt x="714" y="450"/>
                  <a:pt x="714" y="450"/>
                  <a:pt x="714" y="450"/>
                </a:cubicBezTo>
                <a:cubicBezTo>
                  <a:pt x="714" y="450"/>
                  <a:pt x="713" y="450"/>
                  <a:pt x="713" y="450"/>
                </a:cubicBezTo>
                <a:cubicBezTo>
                  <a:pt x="713" y="450"/>
                  <a:pt x="712" y="450"/>
                  <a:pt x="712" y="450"/>
                </a:cubicBezTo>
                <a:cubicBezTo>
                  <a:pt x="712" y="450"/>
                  <a:pt x="712" y="450"/>
                  <a:pt x="711" y="450"/>
                </a:cubicBezTo>
                <a:cubicBezTo>
                  <a:pt x="711" y="450"/>
                  <a:pt x="711" y="450"/>
                  <a:pt x="711" y="451"/>
                </a:cubicBezTo>
                <a:cubicBezTo>
                  <a:pt x="710" y="451"/>
                  <a:pt x="710" y="451"/>
                  <a:pt x="710" y="451"/>
                </a:cubicBezTo>
                <a:cubicBezTo>
                  <a:pt x="709" y="451"/>
                  <a:pt x="709" y="451"/>
                  <a:pt x="709" y="452"/>
                </a:cubicBezTo>
                <a:cubicBezTo>
                  <a:pt x="708" y="452"/>
                  <a:pt x="708" y="452"/>
                  <a:pt x="708" y="453"/>
                </a:cubicBezTo>
                <a:cubicBezTo>
                  <a:pt x="708" y="453"/>
                  <a:pt x="707" y="453"/>
                  <a:pt x="707" y="453"/>
                </a:cubicBezTo>
                <a:cubicBezTo>
                  <a:pt x="707" y="453"/>
                  <a:pt x="706" y="453"/>
                  <a:pt x="706" y="453"/>
                </a:cubicBezTo>
                <a:cubicBezTo>
                  <a:pt x="705" y="453"/>
                  <a:pt x="706" y="453"/>
                  <a:pt x="706" y="452"/>
                </a:cubicBezTo>
                <a:cubicBezTo>
                  <a:pt x="706" y="452"/>
                  <a:pt x="707" y="452"/>
                  <a:pt x="707" y="451"/>
                </a:cubicBezTo>
                <a:cubicBezTo>
                  <a:pt x="707" y="451"/>
                  <a:pt x="708" y="451"/>
                  <a:pt x="709" y="451"/>
                </a:cubicBezTo>
                <a:cubicBezTo>
                  <a:pt x="709" y="451"/>
                  <a:pt x="710" y="451"/>
                  <a:pt x="709" y="450"/>
                </a:cubicBezTo>
                <a:cubicBezTo>
                  <a:pt x="709" y="450"/>
                  <a:pt x="709" y="450"/>
                  <a:pt x="708" y="450"/>
                </a:cubicBezTo>
                <a:cubicBezTo>
                  <a:pt x="708" y="449"/>
                  <a:pt x="708" y="449"/>
                  <a:pt x="707" y="449"/>
                </a:cubicBezTo>
                <a:cubicBezTo>
                  <a:pt x="707" y="449"/>
                  <a:pt x="707" y="449"/>
                  <a:pt x="706" y="449"/>
                </a:cubicBezTo>
                <a:cubicBezTo>
                  <a:pt x="706" y="449"/>
                  <a:pt x="705" y="448"/>
                  <a:pt x="704" y="448"/>
                </a:cubicBezTo>
                <a:cubicBezTo>
                  <a:pt x="704" y="448"/>
                  <a:pt x="704" y="448"/>
                  <a:pt x="703" y="448"/>
                </a:cubicBezTo>
                <a:cubicBezTo>
                  <a:pt x="703" y="448"/>
                  <a:pt x="702" y="448"/>
                  <a:pt x="701" y="448"/>
                </a:cubicBezTo>
                <a:cubicBezTo>
                  <a:pt x="701" y="448"/>
                  <a:pt x="701" y="448"/>
                  <a:pt x="700" y="447"/>
                </a:cubicBezTo>
                <a:cubicBezTo>
                  <a:pt x="700" y="447"/>
                  <a:pt x="700" y="447"/>
                  <a:pt x="699" y="447"/>
                </a:cubicBezTo>
                <a:cubicBezTo>
                  <a:pt x="699" y="446"/>
                  <a:pt x="698" y="446"/>
                  <a:pt x="697" y="446"/>
                </a:cubicBezTo>
                <a:cubicBezTo>
                  <a:pt x="697" y="446"/>
                  <a:pt x="696" y="446"/>
                  <a:pt x="695" y="446"/>
                </a:cubicBezTo>
                <a:cubicBezTo>
                  <a:pt x="695" y="446"/>
                  <a:pt x="694" y="445"/>
                  <a:pt x="694" y="446"/>
                </a:cubicBezTo>
                <a:cubicBezTo>
                  <a:pt x="694" y="446"/>
                  <a:pt x="695" y="446"/>
                  <a:pt x="695" y="446"/>
                </a:cubicBezTo>
                <a:cubicBezTo>
                  <a:pt x="695" y="447"/>
                  <a:pt x="695" y="447"/>
                  <a:pt x="696" y="447"/>
                </a:cubicBezTo>
                <a:cubicBezTo>
                  <a:pt x="696" y="447"/>
                  <a:pt x="696" y="447"/>
                  <a:pt x="697" y="447"/>
                </a:cubicBezTo>
                <a:cubicBezTo>
                  <a:pt x="697" y="447"/>
                  <a:pt x="697" y="448"/>
                  <a:pt x="697" y="448"/>
                </a:cubicBezTo>
                <a:cubicBezTo>
                  <a:pt x="697" y="448"/>
                  <a:pt x="696" y="448"/>
                  <a:pt x="696" y="448"/>
                </a:cubicBezTo>
                <a:cubicBezTo>
                  <a:pt x="696" y="448"/>
                  <a:pt x="696" y="448"/>
                  <a:pt x="695" y="448"/>
                </a:cubicBezTo>
                <a:cubicBezTo>
                  <a:pt x="695" y="448"/>
                  <a:pt x="694" y="448"/>
                  <a:pt x="694" y="447"/>
                </a:cubicBezTo>
                <a:cubicBezTo>
                  <a:pt x="693" y="447"/>
                  <a:pt x="693" y="446"/>
                  <a:pt x="692" y="446"/>
                </a:cubicBezTo>
                <a:cubicBezTo>
                  <a:pt x="692" y="446"/>
                  <a:pt x="691" y="446"/>
                  <a:pt x="691" y="445"/>
                </a:cubicBezTo>
                <a:cubicBezTo>
                  <a:pt x="691" y="445"/>
                  <a:pt x="691" y="445"/>
                  <a:pt x="692" y="445"/>
                </a:cubicBezTo>
                <a:cubicBezTo>
                  <a:pt x="693" y="445"/>
                  <a:pt x="693" y="445"/>
                  <a:pt x="693" y="444"/>
                </a:cubicBezTo>
                <a:cubicBezTo>
                  <a:pt x="693" y="443"/>
                  <a:pt x="692" y="443"/>
                  <a:pt x="692" y="443"/>
                </a:cubicBezTo>
                <a:cubicBezTo>
                  <a:pt x="692" y="443"/>
                  <a:pt x="692" y="442"/>
                  <a:pt x="692" y="442"/>
                </a:cubicBezTo>
                <a:cubicBezTo>
                  <a:pt x="692" y="442"/>
                  <a:pt x="693" y="443"/>
                  <a:pt x="693" y="443"/>
                </a:cubicBezTo>
                <a:cubicBezTo>
                  <a:pt x="693" y="443"/>
                  <a:pt x="693" y="444"/>
                  <a:pt x="694" y="444"/>
                </a:cubicBezTo>
                <a:cubicBezTo>
                  <a:pt x="694" y="444"/>
                  <a:pt x="694" y="444"/>
                  <a:pt x="694" y="444"/>
                </a:cubicBezTo>
                <a:cubicBezTo>
                  <a:pt x="695" y="444"/>
                  <a:pt x="695" y="445"/>
                  <a:pt x="696" y="445"/>
                </a:cubicBezTo>
                <a:cubicBezTo>
                  <a:pt x="696" y="445"/>
                  <a:pt x="697" y="445"/>
                  <a:pt x="697" y="445"/>
                </a:cubicBezTo>
                <a:cubicBezTo>
                  <a:pt x="697" y="445"/>
                  <a:pt x="698" y="445"/>
                  <a:pt x="698" y="445"/>
                </a:cubicBezTo>
                <a:cubicBezTo>
                  <a:pt x="699" y="445"/>
                  <a:pt x="699" y="446"/>
                  <a:pt x="700" y="446"/>
                </a:cubicBezTo>
                <a:cubicBezTo>
                  <a:pt x="701" y="446"/>
                  <a:pt x="701" y="447"/>
                  <a:pt x="702" y="447"/>
                </a:cubicBezTo>
                <a:cubicBezTo>
                  <a:pt x="703" y="447"/>
                  <a:pt x="704" y="447"/>
                  <a:pt x="705" y="448"/>
                </a:cubicBezTo>
                <a:cubicBezTo>
                  <a:pt x="705" y="448"/>
                  <a:pt x="705" y="448"/>
                  <a:pt x="706" y="449"/>
                </a:cubicBezTo>
                <a:cubicBezTo>
                  <a:pt x="706" y="449"/>
                  <a:pt x="707" y="449"/>
                  <a:pt x="707" y="449"/>
                </a:cubicBezTo>
                <a:cubicBezTo>
                  <a:pt x="708" y="449"/>
                  <a:pt x="708" y="449"/>
                  <a:pt x="709" y="449"/>
                </a:cubicBezTo>
                <a:cubicBezTo>
                  <a:pt x="709" y="449"/>
                  <a:pt x="710" y="449"/>
                  <a:pt x="710" y="449"/>
                </a:cubicBezTo>
                <a:cubicBezTo>
                  <a:pt x="710" y="449"/>
                  <a:pt x="710" y="448"/>
                  <a:pt x="710" y="448"/>
                </a:cubicBezTo>
                <a:cubicBezTo>
                  <a:pt x="711" y="448"/>
                  <a:pt x="711" y="449"/>
                  <a:pt x="711" y="449"/>
                </a:cubicBezTo>
                <a:cubicBezTo>
                  <a:pt x="712" y="449"/>
                  <a:pt x="713" y="449"/>
                  <a:pt x="713" y="449"/>
                </a:cubicBezTo>
                <a:cubicBezTo>
                  <a:pt x="714" y="449"/>
                  <a:pt x="714" y="450"/>
                  <a:pt x="714" y="450"/>
                </a:cubicBezTo>
                <a:cubicBezTo>
                  <a:pt x="715" y="450"/>
                  <a:pt x="715" y="450"/>
                  <a:pt x="716" y="450"/>
                </a:cubicBezTo>
                <a:cubicBezTo>
                  <a:pt x="716" y="450"/>
                  <a:pt x="717" y="450"/>
                  <a:pt x="718" y="450"/>
                </a:cubicBezTo>
                <a:cubicBezTo>
                  <a:pt x="718" y="451"/>
                  <a:pt x="719" y="451"/>
                  <a:pt x="720" y="451"/>
                </a:cubicBezTo>
                <a:cubicBezTo>
                  <a:pt x="721" y="451"/>
                  <a:pt x="721" y="452"/>
                  <a:pt x="722" y="452"/>
                </a:cubicBezTo>
                <a:cubicBezTo>
                  <a:pt x="723" y="452"/>
                  <a:pt x="724" y="452"/>
                  <a:pt x="725" y="452"/>
                </a:cubicBezTo>
                <a:cubicBezTo>
                  <a:pt x="725" y="452"/>
                  <a:pt x="727" y="452"/>
                  <a:pt x="727" y="452"/>
                </a:cubicBezTo>
                <a:cubicBezTo>
                  <a:pt x="728" y="451"/>
                  <a:pt x="726" y="450"/>
                  <a:pt x="726" y="450"/>
                </a:cubicBezTo>
                <a:cubicBezTo>
                  <a:pt x="726" y="449"/>
                  <a:pt x="727" y="450"/>
                  <a:pt x="727" y="450"/>
                </a:cubicBezTo>
                <a:cubicBezTo>
                  <a:pt x="727" y="451"/>
                  <a:pt x="727" y="451"/>
                  <a:pt x="728" y="451"/>
                </a:cubicBezTo>
                <a:cubicBezTo>
                  <a:pt x="728" y="451"/>
                  <a:pt x="728" y="451"/>
                  <a:pt x="728" y="452"/>
                </a:cubicBezTo>
                <a:cubicBezTo>
                  <a:pt x="729" y="452"/>
                  <a:pt x="729" y="451"/>
                  <a:pt x="729" y="451"/>
                </a:cubicBezTo>
                <a:cubicBezTo>
                  <a:pt x="730" y="451"/>
                  <a:pt x="731" y="450"/>
                  <a:pt x="732" y="450"/>
                </a:cubicBezTo>
                <a:cubicBezTo>
                  <a:pt x="732" y="450"/>
                  <a:pt x="734" y="449"/>
                  <a:pt x="734" y="449"/>
                </a:cubicBezTo>
                <a:cubicBezTo>
                  <a:pt x="734" y="447"/>
                  <a:pt x="733" y="447"/>
                  <a:pt x="733" y="446"/>
                </a:cubicBezTo>
                <a:cubicBezTo>
                  <a:pt x="733" y="446"/>
                  <a:pt x="733" y="446"/>
                  <a:pt x="732" y="445"/>
                </a:cubicBezTo>
                <a:cubicBezTo>
                  <a:pt x="732" y="445"/>
                  <a:pt x="732" y="445"/>
                  <a:pt x="732" y="445"/>
                </a:cubicBezTo>
                <a:cubicBezTo>
                  <a:pt x="733" y="444"/>
                  <a:pt x="734" y="445"/>
                  <a:pt x="734" y="445"/>
                </a:cubicBezTo>
                <a:cubicBezTo>
                  <a:pt x="734" y="446"/>
                  <a:pt x="734" y="446"/>
                  <a:pt x="735" y="446"/>
                </a:cubicBezTo>
                <a:cubicBezTo>
                  <a:pt x="735" y="447"/>
                  <a:pt x="736" y="446"/>
                  <a:pt x="736" y="446"/>
                </a:cubicBezTo>
                <a:cubicBezTo>
                  <a:pt x="736" y="445"/>
                  <a:pt x="735" y="445"/>
                  <a:pt x="735" y="445"/>
                </a:cubicBezTo>
                <a:cubicBezTo>
                  <a:pt x="735" y="444"/>
                  <a:pt x="735" y="444"/>
                  <a:pt x="735" y="444"/>
                </a:cubicBezTo>
                <a:cubicBezTo>
                  <a:pt x="734" y="443"/>
                  <a:pt x="733" y="442"/>
                  <a:pt x="734" y="442"/>
                </a:cubicBezTo>
                <a:cubicBezTo>
                  <a:pt x="735" y="441"/>
                  <a:pt x="735" y="440"/>
                  <a:pt x="736" y="441"/>
                </a:cubicBezTo>
                <a:cubicBezTo>
                  <a:pt x="737" y="441"/>
                  <a:pt x="737" y="442"/>
                  <a:pt x="737" y="443"/>
                </a:cubicBezTo>
                <a:cubicBezTo>
                  <a:pt x="737" y="443"/>
                  <a:pt x="737" y="443"/>
                  <a:pt x="738" y="444"/>
                </a:cubicBezTo>
                <a:cubicBezTo>
                  <a:pt x="738" y="444"/>
                  <a:pt x="738" y="444"/>
                  <a:pt x="738" y="444"/>
                </a:cubicBezTo>
                <a:cubicBezTo>
                  <a:pt x="738" y="444"/>
                  <a:pt x="738" y="444"/>
                  <a:pt x="738" y="444"/>
                </a:cubicBezTo>
                <a:cubicBezTo>
                  <a:pt x="738" y="444"/>
                  <a:pt x="738" y="445"/>
                  <a:pt x="738" y="445"/>
                </a:cubicBezTo>
                <a:cubicBezTo>
                  <a:pt x="739" y="445"/>
                  <a:pt x="739" y="445"/>
                  <a:pt x="739" y="445"/>
                </a:cubicBezTo>
                <a:cubicBezTo>
                  <a:pt x="740" y="445"/>
                  <a:pt x="740" y="445"/>
                  <a:pt x="740" y="445"/>
                </a:cubicBezTo>
                <a:cubicBezTo>
                  <a:pt x="741" y="445"/>
                  <a:pt x="742" y="445"/>
                  <a:pt x="743" y="445"/>
                </a:cubicBezTo>
                <a:cubicBezTo>
                  <a:pt x="744" y="445"/>
                  <a:pt x="745" y="445"/>
                  <a:pt x="746" y="445"/>
                </a:cubicBezTo>
                <a:cubicBezTo>
                  <a:pt x="748" y="445"/>
                  <a:pt x="749" y="445"/>
                  <a:pt x="750" y="444"/>
                </a:cubicBezTo>
                <a:cubicBezTo>
                  <a:pt x="751" y="444"/>
                  <a:pt x="752" y="444"/>
                  <a:pt x="752" y="443"/>
                </a:cubicBezTo>
                <a:cubicBezTo>
                  <a:pt x="753" y="443"/>
                  <a:pt x="754" y="442"/>
                  <a:pt x="754" y="442"/>
                </a:cubicBezTo>
                <a:cubicBezTo>
                  <a:pt x="755" y="442"/>
                  <a:pt x="756" y="442"/>
                  <a:pt x="756" y="441"/>
                </a:cubicBezTo>
                <a:cubicBezTo>
                  <a:pt x="756" y="441"/>
                  <a:pt x="756" y="440"/>
                  <a:pt x="756" y="440"/>
                </a:cubicBezTo>
                <a:cubicBezTo>
                  <a:pt x="757" y="439"/>
                  <a:pt x="757" y="439"/>
                  <a:pt x="758" y="438"/>
                </a:cubicBezTo>
                <a:cubicBezTo>
                  <a:pt x="759" y="437"/>
                  <a:pt x="759" y="437"/>
                  <a:pt x="759" y="436"/>
                </a:cubicBezTo>
                <a:cubicBezTo>
                  <a:pt x="760" y="435"/>
                  <a:pt x="761" y="435"/>
                  <a:pt x="762" y="434"/>
                </a:cubicBezTo>
                <a:cubicBezTo>
                  <a:pt x="762" y="433"/>
                  <a:pt x="763" y="432"/>
                  <a:pt x="764" y="432"/>
                </a:cubicBezTo>
                <a:cubicBezTo>
                  <a:pt x="764" y="431"/>
                  <a:pt x="764" y="431"/>
                  <a:pt x="765" y="430"/>
                </a:cubicBezTo>
                <a:cubicBezTo>
                  <a:pt x="765" y="430"/>
                  <a:pt x="765" y="430"/>
                  <a:pt x="765" y="429"/>
                </a:cubicBezTo>
                <a:cubicBezTo>
                  <a:pt x="765" y="428"/>
                  <a:pt x="766" y="428"/>
                  <a:pt x="766" y="427"/>
                </a:cubicBezTo>
                <a:cubicBezTo>
                  <a:pt x="767" y="426"/>
                  <a:pt x="768" y="426"/>
                  <a:pt x="768" y="425"/>
                </a:cubicBezTo>
                <a:cubicBezTo>
                  <a:pt x="768" y="424"/>
                  <a:pt x="768" y="423"/>
                  <a:pt x="768" y="423"/>
                </a:cubicBezTo>
                <a:cubicBezTo>
                  <a:pt x="767" y="422"/>
                  <a:pt x="767" y="422"/>
                  <a:pt x="766" y="422"/>
                </a:cubicBezTo>
                <a:cubicBezTo>
                  <a:pt x="765" y="421"/>
                  <a:pt x="765" y="421"/>
                  <a:pt x="764" y="421"/>
                </a:cubicBezTo>
                <a:cubicBezTo>
                  <a:pt x="761" y="421"/>
                  <a:pt x="757" y="421"/>
                  <a:pt x="754" y="421"/>
                </a:cubicBezTo>
                <a:cubicBezTo>
                  <a:pt x="752" y="421"/>
                  <a:pt x="750" y="421"/>
                  <a:pt x="748" y="421"/>
                </a:cubicBezTo>
                <a:cubicBezTo>
                  <a:pt x="747" y="421"/>
                  <a:pt x="746" y="420"/>
                  <a:pt x="745" y="420"/>
                </a:cubicBezTo>
                <a:cubicBezTo>
                  <a:pt x="744" y="420"/>
                  <a:pt x="744" y="418"/>
                  <a:pt x="742" y="417"/>
                </a:cubicBezTo>
                <a:cubicBezTo>
                  <a:pt x="741" y="417"/>
                  <a:pt x="741" y="417"/>
                  <a:pt x="740" y="416"/>
                </a:cubicBezTo>
                <a:cubicBezTo>
                  <a:pt x="740" y="416"/>
                  <a:pt x="740" y="415"/>
                  <a:pt x="739" y="414"/>
                </a:cubicBezTo>
                <a:cubicBezTo>
                  <a:pt x="739" y="414"/>
                  <a:pt x="738" y="414"/>
                  <a:pt x="738" y="414"/>
                </a:cubicBezTo>
                <a:cubicBezTo>
                  <a:pt x="738" y="414"/>
                  <a:pt x="737" y="413"/>
                  <a:pt x="737" y="413"/>
                </a:cubicBezTo>
                <a:cubicBezTo>
                  <a:pt x="737" y="413"/>
                  <a:pt x="736" y="412"/>
                  <a:pt x="736" y="412"/>
                </a:cubicBezTo>
                <a:cubicBezTo>
                  <a:pt x="735" y="412"/>
                  <a:pt x="734" y="411"/>
                  <a:pt x="733" y="411"/>
                </a:cubicBezTo>
                <a:cubicBezTo>
                  <a:pt x="731" y="410"/>
                  <a:pt x="729" y="411"/>
                  <a:pt x="728" y="410"/>
                </a:cubicBezTo>
                <a:cubicBezTo>
                  <a:pt x="727" y="410"/>
                  <a:pt x="726" y="410"/>
                  <a:pt x="725" y="410"/>
                </a:cubicBezTo>
                <a:cubicBezTo>
                  <a:pt x="724" y="410"/>
                  <a:pt x="724" y="409"/>
                  <a:pt x="723" y="409"/>
                </a:cubicBezTo>
                <a:cubicBezTo>
                  <a:pt x="724" y="409"/>
                  <a:pt x="725" y="410"/>
                  <a:pt x="726" y="410"/>
                </a:cubicBezTo>
                <a:cubicBezTo>
                  <a:pt x="727" y="410"/>
                  <a:pt x="729" y="410"/>
                  <a:pt x="731" y="410"/>
                </a:cubicBezTo>
                <a:cubicBezTo>
                  <a:pt x="732" y="410"/>
                  <a:pt x="733" y="410"/>
                  <a:pt x="733" y="410"/>
                </a:cubicBezTo>
                <a:cubicBezTo>
                  <a:pt x="734" y="410"/>
                  <a:pt x="735" y="409"/>
                  <a:pt x="736" y="409"/>
                </a:cubicBezTo>
                <a:cubicBezTo>
                  <a:pt x="737" y="409"/>
                  <a:pt x="738" y="409"/>
                  <a:pt x="739" y="409"/>
                </a:cubicBezTo>
                <a:cubicBezTo>
                  <a:pt x="739" y="410"/>
                  <a:pt x="740" y="410"/>
                  <a:pt x="741" y="410"/>
                </a:cubicBezTo>
                <a:cubicBezTo>
                  <a:pt x="742" y="411"/>
                  <a:pt x="742" y="411"/>
                  <a:pt x="743" y="411"/>
                </a:cubicBezTo>
                <a:cubicBezTo>
                  <a:pt x="744" y="411"/>
                  <a:pt x="745" y="412"/>
                  <a:pt x="745" y="412"/>
                </a:cubicBezTo>
                <a:cubicBezTo>
                  <a:pt x="746" y="412"/>
                  <a:pt x="747" y="412"/>
                  <a:pt x="748" y="413"/>
                </a:cubicBezTo>
                <a:cubicBezTo>
                  <a:pt x="748" y="413"/>
                  <a:pt x="749" y="414"/>
                  <a:pt x="750" y="414"/>
                </a:cubicBezTo>
                <a:cubicBezTo>
                  <a:pt x="750" y="414"/>
                  <a:pt x="750" y="414"/>
                  <a:pt x="751" y="414"/>
                </a:cubicBezTo>
                <a:cubicBezTo>
                  <a:pt x="751" y="414"/>
                  <a:pt x="751" y="415"/>
                  <a:pt x="751" y="415"/>
                </a:cubicBezTo>
                <a:cubicBezTo>
                  <a:pt x="750" y="415"/>
                  <a:pt x="749" y="414"/>
                  <a:pt x="748" y="414"/>
                </a:cubicBezTo>
                <a:cubicBezTo>
                  <a:pt x="748" y="415"/>
                  <a:pt x="750" y="415"/>
                  <a:pt x="750" y="415"/>
                </a:cubicBezTo>
                <a:cubicBezTo>
                  <a:pt x="751" y="416"/>
                  <a:pt x="751" y="416"/>
                  <a:pt x="752" y="417"/>
                </a:cubicBezTo>
                <a:cubicBezTo>
                  <a:pt x="752" y="417"/>
                  <a:pt x="753" y="418"/>
                  <a:pt x="754" y="418"/>
                </a:cubicBezTo>
                <a:cubicBezTo>
                  <a:pt x="754" y="418"/>
                  <a:pt x="755" y="419"/>
                  <a:pt x="756" y="419"/>
                </a:cubicBezTo>
                <a:cubicBezTo>
                  <a:pt x="757" y="420"/>
                  <a:pt x="759" y="420"/>
                  <a:pt x="761" y="421"/>
                </a:cubicBezTo>
                <a:cubicBezTo>
                  <a:pt x="762" y="421"/>
                  <a:pt x="763" y="420"/>
                  <a:pt x="764" y="420"/>
                </a:cubicBezTo>
                <a:cubicBezTo>
                  <a:pt x="764" y="420"/>
                  <a:pt x="766" y="420"/>
                  <a:pt x="766" y="419"/>
                </a:cubicBezTo>
                <a:cubicBezTo>
                  <a:pt x="766" y="419"/>
                  <a:pt x="766" y="418"/>
                  <a:pt x="767" y="418"/>
                </a:cubicBezTo>
                <a:cubicBezTo>
                  <a:pt x="767" y="417"/>
                  <a:pt x="767" y="417"/>
                  <a:pt x="768" y="417"/>
                </a:cubicBezTo>
                <a:cubicBezTo>
                  <a:pt x="769" y="416"/>
                  <a:pt x="770" y="415"/>
                  <a:pt x="771" y="414"/>
                </a:cubicBezTo>
                <a:cubicBezTo>
                  <a:pt x="772" y="414"/>
                  <a:pt x="773" y="414"/>
                  <a:pt x="774" y="413"/>
                </a:cubicBezTo>
                <a:cubicBezTo>
                  <a:pt x="774" y="413"/>
                  <a:pt x="774" y="411"/>
                  <a:pt x="774" y="411"/>
                </a:cubicBezTo>
                <a:cubicBezTo>
                  <a:pt x="774" y="410"/>
                  <a:pt x="775" y="409"/>
                  <a:pt x="776" y="409"/>
                </a:cubicBezTo>
                <a:cubicBezTo>
                  <a:pt x="777" y="408"/>
                  <a:pt x="778" y="408"/>
                  <a:pt x="779" y="407"/>
                </a:cubicBezTo>
                <a:cubicBezTo>
                  <a:pt x="779" y="407"/>
                  <a:pt x="779" y="407"/>
                  <a:pt x="779" y="406"/>
                </a:cubicBezTo>
                <a:cubicBezTo>
                  <a:pt x="779" y="406"/>
                  <a:pt x="779" y="405"/>
                  <a:pt x="779" y="405"/>
                </a:cubicBezTo>
                <a:cubicBezTo>
                  <a:pt x="780" y="405"/>
                  <a:pt x="780" y="405"/>
                  <a:pt x="780" y="404"/>
                </a:cubicBezTo>
                <a:cubicBezTo>
                  <a:pt x="781" y="404"/>
                  <a:pt x="779" y="403"/>
                  <a:pt x="779" y="403"/>
                </a:cubicBezTo>
                <a:cubicBezTo>
                  <a:pt x="778" y="403"/>
                  <a:pt x="777" y="403"/>
                  <a:pt x="776" y="402"/>
                </a:cubicBezTo>
                <a:cubicBezTo>
                  <a:pt x="775" y="402"/>
                  <a:pt x="775" y="402"/>
                  <a:pt x="774" y="401"/>
                </a:cubicBezTo>
                <a:cubicBezTo>
                  <a:pt x="773" y="401"/>
                  <a:pt x="772" y="401"/>
                  <a:pt x="771" y="401"/>
                </a:cubicBezTo>
                <a:cubicBezTo>
                  <a:pt x="770" y="401"/>
                  <a:pt x="771" y="400"/>
                  <a:pt x="772" y="399"/>
                </a:cubicBezTo>
                <a:cubicBezTo>
                  <a:pt x="772" y="399"/>
                  <a:pt x="772" y="398"/>
                  <a:pt x="773" y="397"/>
                </a:cubicBezTo>
                <a:cubicBezTo>
                  <a:pt x="774" y="397"/>
                  <a:pt x="775" y="397"/>
                  <a:pt x="776" y="397"/>
                </a:cubicBezTo>
                <a:cubicBezTo>
                  <a:pt x="778" y="397"/>
                  <a:pt x="779" y="397"/>
                  <a:pt x="781" y="397"/>
                </a:cubicBezTo>
                <a:cubicBezTo>
                  <a:pt x="782" y="397"/>
                  <a:pt x="783" y="397"/>
                  <a:pt x="784" y="397"/>
                </a:cubicBezTo>
                <a:cubicBezTo>
                  <a:pt x="784" y="397"/>
                  <a:pt x="784" y="397"/>
                  <a:pt x="785" y="397"/>
                </a:cubicBezTo>
                <a:cubicBezTo>
                  <a:pt x="786" y="397"/>
                  <a:pt x="787" y="398"/>
                  <a:pt x="787" y="399"/>
                </a:cubicBezTo>
                <a:cubicBezTo>
                  <a:pt x="787" y="400"/>
                  <a:pt x="787" y="401"/>
                  <a:pt x="787" y="401"/>
                </a:cubicBezTo>
                <a:cubicBezTo>
                  <a:pt x="788" y="402"/>
                  <a:pt x="789" y="401"/>
                  <a:pt x="789" y="402"/>
                </a:cubicBezTo>
                <a:cubicBezTo>
                  <a:pt x="790" y="402"/>
                  <a:pt x="790" y="402"/>
                  <a:pt x="790" y="402"/>
                </a:cubicBezTo>
                <a:cubicBezTo>
                  <a:pt x="791" y="403"/>
                  <a:pt x="792" y="402"/>
                  <a:pt x="792" y="402"/>
                </a:cubicBezTo>
                <a:cubicBezTo>
                  <a:pt x="793" y="403"/>
                  <a:pt x="794" y="403"/>
                  <a:pt x="794" y="403"/>
                </a:cubicBezTo>
                <a:cubicBezTo>
                  <a:pt x="795" y="403"/>
                  <a:pt x="797" y="405"/>
                  <a:pt x="797" y="404"/>
                </a:cubicBezTo>
                <a:cubicBezTo>
                  <a:pt x="798" y="404"/>
                  <a:pt x="797" y="403"/>
                  <a:pt x="796" y="402"/>
                </a:cubicBezTo>
                <a:cubicBezTo>
                  <a:pt x="796" y="402"/>
                  <a:pt x="796" y="402"/>
                  <a:pt x="796" y="401"/>
                </a:cubicBezTo>
                <a:cubicBezTo>
                  <a:pt x="796" y="401"/>
                  <a:pt x="796" y="400"/>
                  <a:pt x="796" y="400"/>
                </a:cubicBezTo>
                <a:cubicBezTo>
                  <a:pt x="797" y="400"/>
                  <a:pt x="797" y="401"/>
                  <a:pt x="797" y="401"/>
                </a:cubicBezTo>
                <a:cubicBezTo>
                  <a:pt x="797" y="402"/>
                  <a:pt x="798" y="401"/>
                  <a:pt x="798" y="401"/>
                </a:cubicBezTo>
                <a:cubicBezTo>
                  <a:pt x="799" y="401"/>
                  <a:pt x="800" y="402"/>
                  <a:pt x="800" y="402"/>
                </a:cubicBezTo>
                <a:cubicBezTo>
                  <a:pt x="800" y="403"/>
                  <a:pt x="801" y="403"/>
                  <a:pt x="802" y="403"/>
                </a:cubicBezTo>
                <a:cubicBezTo>
                  <a:pt x="802" y="403"/>
                  <a:pt x="802" y="404"/>
                  <a:pt x="803" y="404"/>
                </a:cubicBezTo>
                <a:cubicBezTo>
                  <a:pt x="803" y="404"/>
                  <a:pt x="804" y="405"/>
                  <a:pt x="805" y="404"/>
                </a:cubicBezTo>
                <a:cubicBezTo>
                  <a:pt x="806" y="404"/>
                  <a:pt x="805" y="402"/>
                  <a:pt x="804" y="402"/>
                </a:cubicBezTo>
                <a:cubicBezTo>
                  <a:pt x="804" y="401"/>
                  <a:pt x="803" y="401"/>
                  <a:pt x="803" y="400"/>
                </a:cubicBezTo>
                <a:cubicBezTo>
                  <a:pt x="803" y="399"/>
                  <a:pt x="803" y="399"/>
                  <a:pt x="802" y="398"/>
                </a:cubicBezTo>
                <a:cubicBezTo>
                  <a:pt x="802" y="398"/>
                  <a:pt x="801" y="398"/>
                  <a:pt x="801" y="398"/>
                </a:cubicBezTo>
                <a:cubicBezTo>
                  <a:pt x="801" y="397"/>
                  <a:pt x="800" y="397"/>
                  <a:pt x="800" y="396"/>
                </a:cubicBezTo>
                <a:cubicBezTo>
                  <a:pt x="800" y="396"/>
                  <a:pt x="801" y="395"/>
                  <a:pt x="800" y="395"/>
                </a:cubicBezTo>
                <a:cubicBezTo>
                  <a:pt x="800" y="395"/>
                  <a:pt x="800" y="395"/>
                  <a:pt x="800" y="394"/>
                </a:cubicBezTo>
                <a:cubicBezTo>
                  <a:pt x="799" y="394"/>
                  <a:pt x="800" y="394"/>
                  <a:pt x="799" y="394"/>
                </a:cubicBezTo>
                <a:cubicBezTo>
                  <a:pt x="799" y="394"/>
                  <a:pt x="799" y="395"/>
                  <a:pt x="798" y="395"/>
                </a:cubicBezTo>
                <a:cubicBezTo>
                  <a:pt x="798" y="395"/>
                  <a:pt x="798" y="394"/>
                  <a:pt x="798" y="394"/>
                </a:cubicBezTo>
                <a:cubicBezTo>
                  <a:pt x="798" y="393"/>
                  <a:pt x="797" y="392"/>
                  <a:pt x="796" y="392"/>
                </a:cubicBezTo>
                <a:cubicBezTo>
                  <a:pt x="796" y="392"/>
                  <a:pt x="796" y="392"/>
                  <a:pt x="795" y="391"/>
                </a:cubicBezTo>
                <a:cubicBezTo>
                  <a:pt x="795" y="391"/>
                  <a:pt x="796" y="390"/>
                  <a:pt x="795" y="390"/>
                </a:cubicBezTo>
                <a:cubicBezTo>
                  <a:pt x="795" y="389"/>
                  <a:pt x="794" y="390"/>
                  <a:pt x="794" y="390"/>
                </a:cubicBezTo>
                <a:cubicBezTo>
                  <a:pt x="794" y="390"/>
                  <a:pt x="793" y="390"/>
                  <a:pt x="793" y="391"/>
                </a:cubicBezTo>
                <a:cubicBezTo>
                  <a:pt x="792" y="391"/>
                  <a:pt x="792" y="391"/>
                  <a:pt x="791" y="391"/>
                </a:cubicBezTo>
                <a:cubicBezTo>
                  <a:pt x="791" y="391"/>
                  <a:pt x="791" y="392"/>
                  <a:pt x="790" y="392"/>
                </a:cubicBezTo>
                <a:cubicBezTo>
                  <a:pt x="791" y="391"/>
                  <a:pt x="791" y="391"/>
                  <a:pt x="791" y="390"/>
                </a:cubicBezTo>
                <a:cubicBezTo>
                  <a:pt x="792" y="390"/>
                  <a:pt x="792" y="390"/>
                  <a:pt x="793" y="390"/>
                </a:cubicBezTo>
                <a:cubicBezTo>
                  <a:pt x="793" y="390"/>
                  <a:pt x="793" y="389"/>
                  <a:pt x="794" y="389"/>
                </a:cubicBezTo>
                <a:cubicBezTo>
                  <a:pt x="794" y="388"/>
                  <a:pt x="795" y="389"/>
                  <a:pt x="795" y="389"/>
                </a:cubicBezTo>
                <a:cubicBezTo>
                  <a:pt x="796" y="389"/>
                  <a:pt x="796" y="390"/>
                  <a:pt x="797" y="390"/>
                </a:cubicBezTo>
                <a:cubicBezTo>
                  <a:pt x="798" y="390"/>
                  <a:pt x="798" y="390"/>
                  <a:pt x="797" y="391"/>
                </a:cubicBezTo>
                <a:cubicBezTo>
                  <a:pt x="797" y="392"/>
                  <a:pt x="797" y="392"/>
                  <a:pt x="798" y="392"/>
                </a:cubicBezTo>
                <a:cubicBezTo>
                  <a:pt x="798" y="393"/>
                  <a:pt x="798" y="393"/>
                  <a:pt x="798" y="393"/>
                </a:cubicBezTo>
                <a:cubicBezTo>
                  <a:pt x="799" y="393"/>
                  <a:pt x="799" y="393"/>
                  <a:pt x="800" y="393"/>
                </a:cubicBezTo>
                <a:cubicBezTo>
                  <a:pt x="800" y="393"/>
                  <a:pt x="800" y="394"/>
                  <a:pt x="800" y="394"/>
                </a:cubicBezTo>
                <a:cubicBezTo>
                  <a:pt x="801" y="394"/>
                  <a:pt x="801" y="394"/>
                  <a:pt x="801" y="393"/>
                </a:cubicBezTo>
                <a:cubicBezTo>
                  <a:pt x="801" y="393"/>
                  <a:pt x="802" y="393"/>
                  <a:pt x="802" y="392"/>
                </a:cubicBezTo>
                <a:cubicBezTo>
                  <a:pt x="803" y="392"/>
                  <a:pt x="803" y="392"/>
                  <a:pt x="803" y="391"/>
                </a:cubicBezTo>
                <a:cubicBezTo>
                  <a:pt x="803" y="391"/>
                  <a:pt x="803" y="390"/>
                  <a:pt x="803" y="391"/>
                </a:cubicBezTo>
                <a:cubicBezTo>
                  <a:pt x="803" y="391"/>
                  <a:pt x="803" y="392"/>
                  <a:pt x="803" y="392"/>
                </a:cubicBezTo>
                <a:cubicBezTo>
                  <a:pt x="803" y="392"/>
                  <a:pt x="803" y="393"/>
                  <a:pt x="803" y="393"/>
                </a:cubicBezTo>
                <a:cubicBezTo>
                  <a:pt x="802" y="393"/>
                  <a:pt x="802" y="394"/>
                  <a:pt x="802" y="394"/>
                </a:cubicBezTo>
                <a:cubicBezTo>
                  <a:pt x="802" y="394"/>
                  <a:pt x="802" y="394"/>
                  <a:pt x="802" y="395"/>
                </a:cubicBezTo>
                <a:cubicBezTo>
                  <a:pt x="802" y="395"/>
                  <a:pt x="802" y="395"/>
                  <a:pt x="803" y="396"/>
                </a:cubicBezTo>
                <a:cubicBezTo>
                  <a:pt x="803" y="396"/>
                  <a:pt x="803" y="396"/>
                  <a:pt x="803" y="397"/>
                </a:cubicBezTo>
                <a:cubicBezTo>
                  <a:pt x="804" y="397"/>
                  <a:pt x="805" y="397"/>
                  <a:pt x="806" y="398"/>
                </a:cubicBezTo>
                <a:cubicBezTo>
                  <a:pt x="806" y="398"/>
                  <a:pt x="806" y="399"/>
                  <a:pt x="806" y="399"/>
                </a:cubicBezTo>
                <a:cubicBezTo>
                  <a:pt x="808" y="402"/>
                  <a:pt x="811" y="400"/>
                  <a:pt x="812" y="399"/>
                </a:cubicBezTo>
                <a:cubicBezTo>
                  <a:pt x="813" y="398"/>
                  <a:pt x="814" y="398"/>
                  <a:pt x="815" y="398"/>
                </a:cubicBezTo>
                <a:cubicBezTo>
                  <a:pt x="815" y="397"/>
                  <a:pt x="816" y="397"/>
                  <a:pt x="817" y="397"/>
                </a:cubicBezTo>
                <a:cubicBezTo>
                  <a:pt x="818" y="397"/>
                  <a:pt x="818" y="396"/>
                  <a:pt x="819" y="396"/>
                </a:cubicBezTo>
                <a:cubicBezTo>
                  <a:pt x="819" y="395"/>
                  <a:pt x="820" y="395"/>
                  <a:pt x="821" y="395"/>
                </a:cubicBezTo>
                <a:cubicBezTo>
                  <a:pt x="822" y="395"/>
                  <a:pt x="823" y="394"/>
                  <a:pt x="823" y="393"/>
                </a:cubicBezTo>
                <a:cubicBezTo>
                  <a:pt x="823" y="392"/>
                  <a:pt x="824" y="392"/>
                  <a:pt x="825" y="391"/>
                </a:cubicBezTo>
                <a:cubicBezTo>
                  <a:pt x="825" y="390"/>
                  <a:pt x="826" y="390"/>
                  <a:pt x="827" y="390"/>
                </a:cubicBezTo>
                <a:cubicBezTo>
                  <a:pt x="828" y="390"/>
                  <a:pt x="829" y="389"/>
                  <a:pt x="830" y="389"/>
                </a:cubicBezTo>
                <a:cubicBezTo>
                  <a:pt x="831" y="388"/>
                  <a:pt x="832" y="386"/>
                  <a:pt x="832" y="384"/>
                </a:cubicBezTo>
                <a:cubicBezTo>
                  <a:pt x="833" y="382"/>
                  <a:pt x="833" y="381"/>
                  <a:pt x="833" y="379"/>
                </a:cubicBezTo>
                <a:cubicBezTo>
                  <a:pt x="833" y="378"/>
                  <a:pt x="832" y="378"/>
                  <a:pt x="831" y="377"/>
                </a:cubicBezTo>
                <a:cubicBezTo>
                  <a:pt x="831" y="376"/>
                  <a:pt x="830" y="375"/>
                  <a:pt x="830" y="375"/>
                </a:cubicBezTo>
                <a:cubicBezTo>
                  <a:pt x="828" y="374"/>
                  <a:pt x="827" y="374"/>
                  <a:pt x="826" y="372"/>
                </a:cubicBezTo>
                <a:cubicBezTo>
                  <a:pt x="825" y="372"/>
                  <a:pt x="825" y="372"/>
                  <a:pt x="825" y="372"/>
                </a:cubicBezTo>
                <a:cubicBezTo>
                  <a:pt x="825" y="371"/>
                  <a:pt x="824" y="371"/>
                  <a:pt x="824" y="371"/>
                </a:cubicBezTo>
                <a:cubicBezTo>
                  <a:pt x="824" y="371"/>
                  <a:pt x="823" y="370"/>
                  <a:pt x="823" y="370"/>
                </a:cubicBezTo>
                <a:cubicBezTo>
                  <a:pt x="823" y="369"/>
                  <a:pt x="824" y="369"/>
                  <a:pt x="824" y="368"/>
                </a:cubicBezTo>
                <a:cubicBezTo>
                  <a:pt x="824" y="368"/>
                  <a:pt x="824" y="367"/>
                  <a:pt x="824" y="367"/>
                </a:cubicBezTo>
                <a:cubicBezTo>
                  <a:pt x="825" y="367"/>
                  <a:pt x="825" y="367"/>
                  <a:pt x="825" y="366"/>
                </a:cubicBezTo>
                <a:cubicBezTo>
                  <a:pt x="825" y="366"/>
                  <a:pt x="825" y="366"/>
                  <a:pt x="824" y="366"/>
                </a:cubicBezTo>
                <a:cubicBezTo>
                  <a:pt x="824" y="366"/>
                  <a:pt x="824" y="366"/>
                  <a:pt x="823" y="366"/>
                </a:cubicBezTo>
                <a:cubicBezTo>
                  <a:pt x="823" y="366"/>
                  <a:pt x="822" y="366"/>
                  <a:pt x="822" y="366"/>
                </a:cubicBezTo>
                <a:cubicBezTo>
                  <a:pt x="821" y="366"/>
                  <a:pt x="821" y="366"/>
                  <a:pt x="821" y="365"/>
                </a:cubicBezTo>
                <a:cubicBezTo>
                  <a:pt x="821" y="364"/>
                  <a:pt x="822" y="364"/>
                  <a:pt x="822" y="364"/>
                </a:cubicBezTo>
                <a:cubicBezTo>
                  <a:pt x="821" y="363"/>
                  <a:pt x="821" y="364"/>
                  <a:pt x="821" y="364"/>
                </a:cubicBezTo>
                <a:cubicBezTo>
                  <a:pt x="819" y="364"/>
                  <a:pt x="821" y="363"/>
                  <a:pt x="821" y="362"/>
                </a:cubicBezTo>
                <a:cubicBezTo>
                  <a:pt x="821" y="362"/>
                  <a:pt x="820" y="362"/>
                  <a:pt x="820" y="362"/>
                </a:cubicBezTo>
                <a:cubicBezTo>
                  <a:pt x="820" y="361"/>
                  <a:pt x="820" y="361"/>
                  <a:pt x="819" y="361"/>
                </a:cubicBezTo>
                <a:cubicBezTo>
                  <a:pt x="819" y="361"/>
                  <a:pt x="819" y="361"/>
                  <a:pt x="819" y="361"/>
                </a:cubicBezTo>
                <a:cubicBezTo>
                  <a:pt x="818" y="361"/>
                  <a:pt x="818" y="361"/>
                  <a:pt x="818" y="360"/>
                </a:cubicBezTo>
                <a:cubicBezTo>
                  <a:pt x="818" y="360"/>
                  <a:pt x="818" y="360"/>
                  <a:pt x="818" y="359"/>
                </a:cubicBezTo>
                <a:cubicBezTo>
                  <a:pt x="818" y="359"/>
                  <a:pt x="819" y="359"/>
                  <a:pt x="820" y="359"/>
                </a:cubicBezTo>
                <a:cubicBezTo>
                  <a:pt x="821" y="359"/>
                  <a:pt x="821" y="358"/>
                  <a:pt x="822" y="358"/>
                </a:cubicBezTo>
                <a:cubicBezTo>
                  <a:pt x="823" y="359"/>
                  <a:pt x="823" y="359"/>
                  <a:pt x="824" y="359"/>
                </a:cubicBezTo>
                <a:cubicBezTo>
                  <a:pt x="825" y="360"/>
                  <a:pt x="826" y="359"/>
                  <a:pt x="827" y="359"/>
                </a:cubicBezTo>
                <a:cubicBezTo>
                  <a:pt x="827" y="359"/>
                  <a:pt x="828" y="359"/>
                  <a:pt x="828" y="359"/>
                </a:cubicBezTo>
                <a:cubicBezTo>
                  <a:pt x="829" y="359"/>
                  <a:pt x="829" y="359"/>
                  <a:pt x="830" y="358"/>
                </a:cubicBezTo>
                <a:cubicBezTo>
                  <a:pt x="831" y="358"/>
                  <a:pt x="834" y="356"/>
                  <a:pt x="833" y="355"/>
                </a:cubicBezTo>
                <a:cubicBezTo>
                  <a:pt x="833" y="354"/>
                  <a:pt x="833" y="354"/>
                  <a:pt x="833" y="353"/>
                </a:cubicBezTo>
                <a:cubicBezTo>
                  <a:pt x="832" y="352"/>
                  <a:pt x="832" y="351"/>
                  <a:pt x="831" y="352"/>
                </a:cubicBezTo>
                <a:cubicBezTo>
                  <a:pt x="831" y="352"/>
                  <a:pt x="830" y="353"/>
                  <a:pt x="830" y="352"/>
                </a:cubicBezTo>
                <a:cubicBezTo>
                  <a:pt x="830" y="351"/>
                  <a:pt x="831" y="351"/>
                  <a:pt x="831" y="350"/>
                </a:cubicBezTo>
                <a:cubicBezTo>
                  <a:pt x="831" y="350"/>
                  <a:pt x="832" y="349"/>
                  <a:pt x="832" y="349"/>
                </a:cubicBezTo>
                <a:cubicBezTo>
                  <a:pt x="833" y="348"/>
                  <a:pt x="833" y="346"/>
                  <a:pt x="831" y="345"/>
                </a:cubicBezTo>
                <a:cubicBezTo>
                  <a:pt x="831" y="345"/>
                  <a:pt x="830" y="345"/>
                  <a:pt x="829" y="344"/>
                </a:cubicBezTo>
                <a:cubicBezTo>
                  <a:pt x="829" y="344"/>
                  <a:pt x="829" y="344"/>
                  <a:pt x="828" y="344"/>
                </a:cubicBezTo>
                <a:cubicBezTo>
                  <a:pt x="828" y="344"/>
                  <a:pt x="827" y="344"/>
                  <a:pt x="827" y="344"/>
                </a:cubicBezTo>
                <a:cubicBezTo>
                  <a:pt x="826" y="344"/>
                  <a:pt x="825" y="344"/>
                  <a:pt x="824" y="344"/>
                </a:cubicBezTo>
                <a:cubicBezTo>
                  <a:pt x="823" y="345"/>
                  <a:pt x="823" y="344"/>
                  <a:pt x="823" y="343"/>
                </a:cubicBezTo>
                <a:cubicBezTo>
                  <a:pt x="823" y="342"/>
                  <a:pt x="822" y="341"/>
                  <a:pt x="821" y="341"/>
                </a:cubicBezTo>
                <a:cubicBezTo>
                  <a:pt x="820" y="341"/>
                  <a:pt x="820" y="340"/>
                  <a:pt x="819" y="340"/>
                </a:cubicBezTo>
                <a:cubicBezTo>
                  <a:pt x="818" y="340"/>
                  <a:pt x="817" y="340"/>
                  <a:pt x="817" y="340"/>
                </a:cubicBezTo>
                <a:cubicBezTo>
                  <a:pt x="816" y="339"/>
                  <a:pt x="812" y="339"/>
                  <a:pt x="812" y="338"/>
                </a:cubicBezTo>
                <a:cubicBezTo>
                  <a:pt x="813" y="338"/>
                  <a:pt x="813" y="339"/>
                  <a:pt x="814" y="339"/>
                </a:cubicBezTo>
                <a:cubicBezTo>
                  <a:pt x="814" y="339"/>
                  <a:pt x="815" y="339"/>
                  <a:pt x="815" y="339"/>
                </a:cubicBezTo>
                <a:cubicBezTo>
                  <a:pt x="816" y="339"/>
                  <a:pt x="817" y="340"/>
                  <a:pt x="818" y="339"/>
                </a:cubicBezTo>
                <a:cubicBezTo>
                  <a:pt x="819" y="339"/>
                  <a:pt x="819" y="339"/>
                  <a:pt x="819" y="338"/>
                </a:cubicBezTo>
                <a:cubicBezTo>
                  <a:pt x="819" y="338"/>
                  <a:pt x="818" y="338"/>
                  <a:pt x="818" y="338"/>
                </a:cubicBezTo>
                <a:cubicBezTo>
                  <a:pt x="817" y="337"/>
                  <a:pt x="818" y="336"/>
                  <a:pt x="819" y="336"/>
                </a:cubicBezTo>
                <a:cubicBezTo>
                  <a:pt x="819" y="336"/>
                  <a:pt x="820" y="336"/>
                  <a:pt x="820" y="336"/>
                </a:cubicBezTo>
                <a:cubicBezTo>
                  <a:pt x="820" y="336"/>
                  <a:pt x="819" y="336"/>
                  <a:pt x="819" y="336"/>
                </a:cubicBezTo>
                <a:cubicBezTo>
                  <a:pt x="818" y="336"/>
                  <a:pt x="818" y="336"/>
                  <a:pt x="817" y="335"/>
                </a:cubicBezTo>
                <a:cubicBezTo>
                  <a:pt x="817" y="335"/>
                  <a:pt x="816" y="335"/>
                  <a:pt x="816" y="335"/>
                </a:cubicBezTo>
                <a:cubicBezTo>
                  <a:pt x="815" y="335"/>
                  <a:pt x="813" y="335"/>
                  <a:pt x="812" y="335"/>
                </a:cubicBezTo>
                <a:cubicBezTo>
                  <a:pt x="810" y="336"/>
                  <a:pt x="808" y="336"/>
                  <a:pt x="807" y="335"/>
                </a:cubicBezTo>
                <a:cubicBezTo>
                  <a:pt x="804" y="335"/>
                  <a:pt x="803" y="334"/>
                  <a:pt x="801" y="333"/>
                </a:cubicBezTo>
                <a:cubicBezTo>
                  <a:pt x="800" y="333"/>
                  <a:pt x="800" y="333"/>
                  <a:pt x="799" y="332"/>
                </a:cubicBezTo>
                <a:cubicBezTo>
                  <a:pt x="799" y="332"/>
                  <a:pt x="799" y="332"/>
                  <a:pt x="798" y="332"/>
                </a:cubicBezTo>
                <a:cubicBezTo>
                  <a:pt x="797" y="332"/>
                  <a:pt x="795" y="332"/>
                  <a:pt x="793" y="332"/>
                </a:cubicBezTo>
                <a:cubicBezTo>
                  <a:pt x="792" y="332"/>
                  <a:pt x="792" y="333"/>
                  <a:pt x="791" y="333"/>
                </a:cubicBezTo>
                <a:cubicBezTo>
                  <a:pt x="790" y="334"/>
                  <a:pt x="789" y="333"/>
                  <a:pt x="788" y="333"/>
                </a:cubicBezTo>
                <a:cubicBezTo>
                  <a:pt x="787" y="333"/>
                  <a:pt x="787" y="333"/>
                  <a:pt x="787" y="332"/>
                </a:cubicBezTo>
                <a:cubicBezTo>
                  <a:pt x="786" y="332"/>
                  <a:pt x="785" y="332"/>
                  <a:pt x="784" y="332"/>
                </a:cubicBezTo>
                <a:cubicBezTo>
                  <a:pt x="784" y="332"/>
                  <a:pt x="783" y="333"/>
                  <a:pt x="784" y="333"/>
                </a:cubicBezTo>
                <a:cubicBezTo>
                  <a:pt x="784" y="333"/>
                  <a:pt x="785" y="333"/>
                  <a:pt x="785" y="333"/>
                </a:cubicBezTo>
                <a:cubicBezTo>
                  <a:pt x="786" y="333"/>
                  <a:pt x="785" y="334"/>
                  <a:pt x="785" y="334"/>
                </a:cubicBezTo>
                <a:cubicBezTo>
                  <a:pt x="785" y="335"/>
                  <a:pt x="785" y="335"/>
                  <a:pt x="785" y="335"/>
                </a:cubicBezTo>
                <a:cubicBezTo>
                  <a:pt x="784" y="336"/>
                  <a:pt x="784" y="336"/>
                  <a:pt x="784" y="336"/>
                </a:cubicBezTo>
                <a:cubicBezTo>
                  <a:pt x="784" y="337"/>
                  <a:pt x="786" y="337"/>
                  <a:pt x="785" y="338"/>
                </a:cubicBezTo>
                <a:cubicBezTo>
                  <a:pt x="785" y="338"/>
                  <a:pt x="785" y="339"/>
                  <a:pt x="785" y="339"/>
                </a:cubicBezTo>
                <a:cubicBezTo>
                  <a:pt x="785" y="339"/>
                  <a:pt x="785" y="340"/>
                  <a:pt x="785" y="340"/>
                </a:cubicBezTo>
                <a:cubicBezTo>
                  <a:pt x="785" y="341"/>
                  <a:pt x="785" y="341"/>
                  <a:pt x="785" y="341"/>
                </a:cubicBezTo>
                <a:cubicBezTo>
                  <a:pt x="785" y="342"/>
                  <a:pt x="786" y="342"/>
                  <a:pt x="785" y="342"/>
                </a:cubicBezTo>
                <a:cubicBezTo>
                  <a:pt x="785" y="343"/>
                  <a:pt x="785" y="343"/>
                  <a:pt x="785" y="343"/>
                </a:cubicBezTo>
                <a:cubicBezTo>
                  <a:pt x="785" y="343"/>
                  <a:pt x="785" y="344"/>
                  <a:pt x="785" y="344"/>
                </a:cubicBezTo>
                <a:cubicBezTo>
                  <a:pt x="786" y="344"/>
                  <a:pt x="786" y="345"/>
                  <a:pt x="786" y="345"/>
                </a:cubicBezTo>
                <a:cubicBezTo>
                  <a:pt x="786" y="345"/>
                  <a:pt x="787" y="346"/>
                  <a:pt x="787" y="346"/>
                </a:cubicBezTo>
                <a:cubicBezTo>
                  <a:pt x="787" y="347"/>
                  <a:pt x="787" y="347"/>
                  <a:pt x="788" y="347"/>
                </a:cubicBezTo>
                <a:cubicBezTo>
                  <a:pt x="788" y="346"/>
                  <a:pt x="788" y="346"/>
                  <a:pt x="789" y="346"/>
                </a:cubicBezTo>
                <a:cubicBezTo>
                  <a:pt x="789" y="346"/>
                  <a:pt x="790" y="346"/>
                  <a:pt x="790" y="347"/>
                </a:cubicBezTo>
                <a:cubicBezTo>
                  <a:pt x="790" y="347"/>
                  <a:pt x="790" y="347"/>
                  <a:pt x="791" y="347"/>
                </a:cubicBezTo>
                <a:cubicBezTo>
                  <a:pt x="791" y="347"/>
                  <a:pt x="792" y="347"/>
                  <a:pt x="792" y="348"/>
                </a:cubicBezTo>
                <a:cubicBezTo>
                  <a:pt x="793" y="348"/>
                  <a:pt x="793" y="349"/>
                  <a:pt x="794" y="349"/>
                </a:cubicBezTo>
                <a:cubicBezTo>
                  <a:pt x="794" y="349"/>
                  <a:pt x="795" y="348"/>
                  <a:pt x="795" y="349"/>
                </a:cubicBezTo>
                <a:cubicBezTo>
                  <a:pt x="795" y="349"/>
                  <a:pt x="795" y="349"/>
                  <a:pt x="795" y="349"/>
                </a:cubicBezTo>
                <a:cubicBezTo>
                  <a:pt x="794" y="349"/>
                  <a:pt x="794" y="349"/>
                  <a:pt x="793" y="349"/>
                </a:cubicBezTo>
                <a:cubicBezTo>
                  <a:pt x="793" y="349"/>
                  <a:pt x="792" y="349"/>
                  <a:pt x="792" y="349"/>
                </a:cubicBezTo>
                <a:cubicBezTo>
                  <a:pt x="792" y="349"/>
                  <a:pt x="791" y="349"/>
                  <a:pt x="791" y="349"/>
                </a:cubicBezTo>
                <a:cubicBezTo>
                  <a:pt x="791" y="349"/>
                  <a:pt x="791" y="350"/>
                  <a:pt x="791" y="350"/>
                </a:cubicBezTo>
                <a:cubicBezTo>
                  <a:pt x="791" y="351"/>
                  <a:pt x="790" y="350"/>
                  <a:pt x="789" y="351"/>
                </a:cubicBezTo>
                <a:cubicBezTo>
                  <a:pt x="789" y="351"/>
                  <a:pt x="788" y="352"/>
                  <a:pt x="788" y="352"/>
                </a:cubicBezTo>
                <a:cubicBezTo>
                  <a:pt x="788" y="352"/>
                  <a:pt x="789" y="353"/>
                  <a:pt x="789" y="353"/>
                </a:cubicBezTo>
                <a:cubicBezTo>
                  <a:pt x="790" y="353"/>
                  <a:pt x="790" y="353"/>
                  <a:pt x="790" y="353"/>
                </a:cubicBezTo>
                <a:cubicBezTo>
                  <a:pt x="791" y="353"/>
                  <a:pt x="792" y="353"/>
                  <a:pt x="792" y="353"/>
                </a:cubicBezTo>
                <a:cubicBezTo>
                  <a:pt x="793" y="354"/>
                  <a:pt x="791" y="354"/>
                  <a:pt x="791" y="354"/>
                </a:cubicBezTo>
                <a:cubicBezTo>
                  <a:pt x="790" y="354"/>
                  <a:pt x="789" y="354"/>
                  <a:pt x="788" y="354"/>
                </a:cubicBezTo>
                <a:cubicBezTo>
                  <a:pt x="788" y="355"/>
                  <a:pt x="788" y="355"/>
                  <a:pt x="787" y="355"/>
                </a:cubicBezTo>
                <a:cubicBezTo>
                  <a:pt x="787" y="355"/>
                  <a:pt x="787" y="355"/>
                  <a:pt x="787" y="354"/>
                </a:cubicBezTo>
                <a:cubicBezTo>
                  <a:pt x="786" y="353"/>
                  <a:pt x="785" y="354"/>
                  <a:pt x="785" y="355"/>
                </a:cubicBezTo>
                <a:cubicBezTo>
                  <a:pt x="784" y="355"/>
                  <a:pt x="784" y="355"/>
                  <a:pt x="784" y="355"/>
                </a:cubicBezTo>
                <a:cubicBezTo>
                  <a:pt x="783" y="355"/>
                  <a:pt x="783" y="355"/>
                  <a:pt x="783" y="356"/>
                </a:cubicBezTo>
                <a:cubicBezTo>
                  <a:pt x="782" y="356"/>
                  <a:pt x="782" y="357"/>
                  <a:pt x="782" y="358"/>
                </a:cubicBezTo>
                <a:cubicBezTo>
                  <a:pt x="782" y="359"/>
                  <a:pt x="783" y="359"/>
                  <a:pt x="783" y="360"/>
                </a:cubicBezTo>
                <a:cubicBezTo>
                  <a:pt x="783" y="360"/>
                  <a:pt x="783" y="361"/>
                  <a:pt x="782" y="361"/>
                </a:cubicBezTo>
                <a:cubicBezTo>
                  <a:pt x="782" y="361"/>
                  <a:pt x="782" y="362"/>
                  <a:pt x="782" y="362"/>
                </a:cubicBezTo>
                <a:cubicBezTo>
                  <a:pt x="781" y="362"/>
                  <a:pt x="781" y="362"/>
                  <a:pt x="781" y="363"/>
                </a:cubicBezTo>
                <a:cubicBezTo>
                  <a:pt x="781" y="364"/>
                  <a:pt x="781" y="364"/>
                  <a:pt x="781" y="365"/>
                </a:cubicBezTo>
                <a:cubicBezTo>
                  <a:pt x="781" y="366"/>
                  <a:pt x="781" y="366"/>
                  <a:pt x="781" y="366"/>
                </a:cubicBezTo>
                <a:cubicBezTo>
                  <a:pt x="780" y="367"/>
                  <a:pt x="780" y="367"/>
                  <a:pt x="780" y="368"/>
                </a:cubicBezTo>
                <a:cubicBezTo>
                  <a:pt x="780" y="369"/>
                  <a:pt x="780" y="369"/>
                  <a:pt x="779" y="369"/>
                </a:cubicBezTo>
                <a:cubicBezTo>
                  <a:pt x="778" y="369"/>
                  <a:pt x="777" y="369"/>
                  <a:pt x="777" y="370"/>
                </a:cubicBezTo>
                <a:cubicBezTo>
                  <a:pt x="777" y="371"/>
                  <a:pt x="776" y="372"/>
                  <a:pt x="776" y="372"/>
                </a:cubicBezTo>
                <a:cubicBezTo>
                  <a:pt x="775" y="373"/>
                  <a:pt x="774" y="373"/>
                  <a:pt x="774" y="374"/>
                </a:cubicBezTo>
                <a:cubicBezTo>
                  <a:pt x="774" y="374"/>
                  <a:pt x="774" y="375"/>
                  <a:pt x="774" y="376"/>
                </a:cubicBezTo>
                <a:cubicBezTo>
                  <a:pt x="774" y="376"/>
                  <a:pt x="774" y="377"/>
                  <a:pt x="774" y="377"/>
                </a:cubicBezTo>
                <a:cubicBezTo>
                  <a:pt x="774" y="378"/>
                  <a:pt x="774" y="380"/>
                  <a:pt x="774" y="381"/>
                </a:cubicBezTo>
                <a:cubicBezTo>
                  <a:pt x="773" y="381"/>
                  <a:pt x="773" y="382"/>
                  <a:pt x="773" y="382"/>
                </a:cubicBezTo>
                <a:cubicBezTo>
                  <a:pt x="772" y="382"/>
                  <a:pt x="773" y="381"/>
                  <a:pt x="772" y="381"/>
                </a:cubicBezTo>
                <a:cubicBezTo>
                  <a:pt x="772" y="381"/>
                  <a:pt x="771" y="381"/>
                  <a:pt x="771" y="381"/>
                </a:cubicBezTo>
                <a:cubicBezTo>
                  <a:pt x="770" y="381"/>
                  <a:pt x="770" y="380"/>
                  <a:pt x="769" y="380"/>
                </a:cubicBezTo>
                <a:cubicBezTo>
                  <a:pt x="769" y="381"/>
                  <a:pt x="769" y="381"/>
                  <a:pt x="768" y="381"/>
                </a:cubicBezTo>
                <a:cubicBezTo>
                  <a:pt x="768" y="381"/>
                  <a:pt x="768" y="382"/>
                  <a:pt x="767" y="382"/>
                </a:cubicBezTo>
                <a:cubicBezTo>
                  <a:pt x="766" y="383"/>
                  <a:pt x="767" y="383"/>
                  <a:pt x="768" y="383"/>
                </a:cubicBezTo>
                <a:cubicBezTo>
                  <a:pt x="768" y="384"/>
                  <a:pt x="766" y="384"/>
                  <a:pt x="765" y="384"/>
                </a:cubicBezTo>
                <a:cubicBezTo>
                  <a:pt x="765" y="385"/>
                  <a:pt x="765" y="385"/>
                  <a:pt x="765" y="385"/>
                </a:cubicBezTo>
                <a:cubicBezTo>
                  <a:pt x="764" y="386"/>
                  <a:pt x="764" y="385"/>
                  <a:pt x="764" y="385"/>
                </a:cubicBezTo>
                <a:cubicBezTo>
                  <a:pt x="763" y="383"/>
                  <a:pt x="763" y="382"/>
                  <a:pt x="761" y="381"/>
                </a:cubicBezTo>
                <a:cubicBezTo>
                  <a:pt x="760" y="380"/>
                  <a:pt x="759" y="379"/>
                  <a:pt x="758" y="378"/>
                </a:cubicBezTo>
                <a:cubicBezTo>
                  <a:pt x="756" y="376"/>
                  <a:pt x="755" y="376"/>
                  <a:pt x="754" y="374"/>
                </a:cubicBezTo>
                <a:cubicBezTo>
                  <a:pt x="754" y="373"/>
                  <a:pt x="753" y="372"/>
                  <a:pt x="753" y="371"/>
                </a:cubicBezTo>
                <a:cubicBezTo>
                  <a:pt x="752" y="370"/>
                  <a:pt x="752" y="369"/>
                  <a:pt x="753" y="368"/>
                </a:cubicBezTo>
                <a:cubicBezTo>
                  <a:pt x="753" y="368"/>
                  <a:pt x="753" y="367"/>
                  <a:pt x="753" y="366"/>
                </a:cubicBezTo>
                <a:cubicBezTo>
                  <a:pt x="753" y="366"/>
                  <a:pt x="753" y="365"/>
                  <a:pt x="753" y="364"/>
                </a:cubicBezTo>
                <a:cubicBezTo>
                  <a:pt x="753" y="364"/>
                  <a:pt x="753" y="364"/>
                  <a:pt x="753" y="363"/>
                </a:cubicBezTo>
                <a:cubicBezTo>
                  <a:pt x="753" y="363"/>
                  <a:pt x="753" y="363"/>
                  <a:pt x="753" y="362"/>
                </a:cubicBezTo>
                <a:cubicBezTo>
                  <a:pt x="753" y="362"/>
                  <a:pt x="754" y="362"/>
                  <a:pt x="754" y="362"/>
                </a:cubicBezTo>
                <a:cubicBezTo>
                  <a:pt x="754" y="363"/>
                  <a:pt x="754" y="363"/>
                  <a:pt x="754" y="363"/>
                </a:cubicBezTo>
                <a:cubicBezTo>
                  <a:pt x="754" y="364"/>
                  <a:pt x="754" y="364"/>
                  <a:pt x="754" y="364"/>
                </a:cubicBezTo>
                <a:cubicBezTo>
                  <a:pt x="755" y="364"/>
                  <a:pt x="754" y="364"/>
                  <a:pt x="755" y="364"/>
                </a:cubicBezTo>
                <a:cubicBezTo>
                  <a:pt x="755" y="365"/>
                  <a:pt x="755" y="365"/>
                  <a:pt x="755" y="365"/>
                </a:cubicBezTo>
                <a:cubicBezTo>
                  <a:pt x="756" y="364"/>
                  <a:pt x="756" y="364"/>
                  <a:pt x="756" y="364"/>
                </a:cubicBezTo>
                <a:cubicBezTo>
                  <a:pt x="757" y="364"/>
                  <a:pt x="757" y="364"/>
                  <a:pt x="758" y="363"/>
                </a:cubicBezTo>
                <a:cubicBezTo>
                  <a:pt x="760" y="362"/>
                  <a:pt x="758" y="359"/>
                  <a:pt x="757" y="358"/>
                </a:cubicBezTo>
                <a:cubicBezTo>
                  <a:pt x="757" y="356"/>
                  <a:pt x="757" y="354"/>
                  <a:pt x="756" y="353"/>
                </a:cubicBezTo>
                <a:cubicBezTo>
                  <a:pt x="755" y="353"/>
                  <a:pt x="755" y="352"/>
                  <a:pt x="754" y="352"/>
                </a:cubicBezTo>
                <a:cubicBezTo>
                  <a:pt x="754" y="351"/>
                  <a:pt x="753" y="351"/>
                  <a:pt x="752" y="350"/>
                </a:cubicBezTo>
                <a:cubicBezTo>
                  <a:pt x="751" y="350"/>
                  <a:pt x="750" y="349"/>
                  <a:pt x="748" y="348"/>
                </a:cubicBezTo>
                <a:cubicBezTo>
                  <a:pt x="748" y="348"/>
                  <a:pt x="747" y="347"/>
                  <a:pt x="747" y="346"/>
                </a:cubicBezTo>
                <a:cubicBezTo>
                  <a:pt x="746" y="346"/>
                  <a:pt x="746" y="345"/>
                  <a:pt x="745" y="345"/>
                </a:cubicBezTo>
                <a:cubicBezTo>
                  <a:pt x="744" y="344"/>
                  <a:pt x="742" y="343"/>
                  <a:pt x="741" y="345"/>
                </a:cubicBezTo>
                <a:cubicBezTo>
                  <a:pt x="741" y="345"/>
                  <a:pt x="740" y="346"/>
                  <a:pt x="740" y="346"/>
                </a:cubicBezTo>
                <a:cubicBezTo>
                  <a:pt x="739" y="347"/>
                  <a:pt x="739" y="347"/>
                  <a:pt x="738" y="348"/>
                </a:cubicBezTo>
                <a:cubicBezTo>
                  <a:pt x="738" y="348"/>
                  <a:pt x="737" y="348"/>
                  <a:pt x="737" y="349"/>
                </a:cubicBezTo>
                <a:cubicBezTo>
                  <a:pt x="737" y="349"/>
                  <a:pt x="737" y="350"/>
                  <a:pt x="737" y="350"/>
                </a:cubicBezTo>
                <a:cubicBezTo>
                  <a:pt x="737" y="351"/>
                  <a:pt x="738" y="352"/>
                  <a:pt x="737" y="352"/>
                </a:cubicBezTo>
                <a:cubicBezTo>
                  <a:pt x="736" y="353"/>
                  <a:pt x="736" y="353"/>
                  <a:pt x="735" y="354"/>
                </a:cubicBezTo>
                <a:cubicBezTo>
                  <a:pt x="735" y="354"/>
                  <a:pt x="735" y="355"/>
                  <a:pt x="734" y="355"/>
                </a:cubicBezTo>
                <a:cubicBezTo>
                  <a:pt x="734" y="355"/>
                  <a:pt x="734" y="356"/>
                  <a:pt x="734" y="356"/>
                </a:cubicBezTo>
                <a:cubicBezTo>
                  <a:pt x="733" y="357"/>
                  <a:pt x="733" y="357"/>
                  <a:pt x="733" y="358"/>
                </a:cubicBezTo>
                <a:cubicBezTo>
                  <a:pt x="733" y="359"/>
                  <a:pt x="733" y="360"/>
                  <a:pt x="733" y="361"/>
                </a:cubicBezTo>
                <a:cubicBezTo>
                  <a:pt x="734" y="361"/>
                  <a:pt x="734" y="361"/>
                  <a:pt x="734" y="362"/>
                </a:cubicBezTo>
                <a:cubicBezTo>
                  <a:pt x="734" y="362"/>
                  <a:pt x="733" y="362"/>
                  <a:pt x="733" y="362"/>
                </a:cubicBezTo>
                <a:cubicBezTo>
                  <a:pt x="733" y="363"/>
                  <a:pt x="732" y="363"/>
                  <a:pt x="732" y="363"/>
                </a:cubicBezTo>
                <a:cubicBezTo>
                  <a:pt x="732" y="363"/>
                  <a:pt x="731" y="364"/>
                  <a:pt x="731" y="364"/>
                </a:cubicBezTo>
                <a:cubicBezTo>
                  <a:pt x="731" y="364"/>
                  <a:pt x="731" y="364"/>
                  <a:pt x="731" y="364"/>
                </a:cubicBezTo>
                <a:cubicBezTo>
                  <a:pt x="730" y="364"/>
                  <a:pt x="730" y="364"/>
                  <a:pt x="730" y="364"/>
                </a:cubicBezTo>
                <a:cubicBezTo>
                  <a:pt x="730" y="364"/>
                  <a:pt x="730" y="363"/>
                  <a:pt x="730" y="363"/>
                </a:cubicBezTo>
                <a:cubicBezTo>
                  <a:pt x="730" y="363"/>
                  <a:pt x="729" y="363"/>
                  <a:pt x="729" y="362"/>
                </a:cubicBezTo>
                <a:cubicBezTo>
                  <a:pt x="728" y="362"/>
                  <a:pt x="728" y="361"/>
                  <a:pt x="727" y="361"/>
                </a:cubicBezTo>
                <a:cubicBezTo>
                  <a:pt x="727" y="361"/>
                  <a:pt x="727" y="360"/>
                  <a:pt x="727" y="360"/>
                </a:cubicBezTo>
                <a:cubicBezTo>
                  <a:pt x="728" y="359"/>
                  <a:pt x="728" y="359"/>
                  <a:pt x="728" y="358"/>
                </a:cubicBezTo>
                <a:cubicBezTo>
                  <a:pt x="727" y="358"/>
                  <a:pt x="728" y="357"/>
                  <a:pt x="728" y="357"/>
                </a:cubicBezTo>
                <a:cubicBezTo>
                  <a:pt x="728" y="356"/>
                  <a:pt x="728" y="356"/>
                  <a:pt x="728" y="356"/>
                </a:cubicBezTo>
                <a:cubicBezTo>
                  <a:pt x="728" y="355"/>
                  <a:pt x="728" y="355"/>
                  <a:pt x="728" y="354"/>
                </a:cubicBezTo>
                <a:cubicBezTo>
                  <a:pt x="728" y="354"/>
                  <a:pt x="728" y="354"/>
                  <a:pt x="728" y="353"/>
                </a:cubicBezTo>
                <a:cubicBezTo>
                  <a:pt x="728" y="353"/>
                  <a:pt x="729" y="352"/>
                  <a:pt x="729" y="352"/>
                </a:cubicBezTo>
                <a:cubicBezTo>
                  <a:pt x="728" y="352"/>
                  <a:pt x="728" y="351"/>
                  <a:pt x="728" y="351"/>
                </a:cubicBezTo>
                <a:cubicBezTo>
                  <a:pt x="727" y="351"/>
                  <a:pt x="727" y="351"/>
                  <a:pt x="727" y="350"/>
                </a:cubicBezTo>
                <a:cubicBezTo>
                  <a:pt x="727" y="350"/>
                  <a:pt x="727" y="350"/>
                  <a:pt x="727" y="349"/>
                </a:cubicBezTo>
                <a:cubicBezTo>
                  <a:pt x="726" y="349"/>
                  <a:pt x="726" y="348"/>
                  <a:pt x="726" y="348"/>
                </a:cubicBezTo>
                <a:cubicBezTo>
                  <a:pt x="725" y="347"/>
                  <a:pt x="724" y="347"/>
                  <a:pt x="724" y="346"/>
                </a:cubicBezTo>
                <a:cubicBezTo>
                  <a:pt x="723" y="346"/>
                  <a:pt x="722" y="345"/>
                  <a:pt x="721" y="345"/>
                </a:cubicBezTo>
                <a:cubicBezTo>
                  <a:pt x="721" y="344"/>
                  <a:pt x="721" y="344"/>
                  <a:pt x="721" y="344"/>
                </a:cubicBezTo>
                <a:cubicBezTo>
                  <a:pt x="720" y="344"/>
                  <a:pt x="720" y="344"/>
                  <a:pt x="720" y="343"/>
                </a:cubicBezTo>
                <a:cubicBezTo>
                  <a:pt x="720" y="343"/>
                  <a:pt x="721" y="344"/>
                  <a:pt x="721" y="344"/>
                </a:cubicBezTo>
                <a:cubicBezTo>
                  <a:pt x="722" y="344"/>
                  <a:pt x="722" y="344"/>
                  <a:pt x="723" y="344"/>
                </a:cubicBezTo>
                <a:cubicBezTo>
                  <a:pt x="723" y="344"/>
                  <a:pt x="723" y="345"/>
                  <a:pt x="723" y="345"/>
                </a:cubicBezTo>
                <a:cubicBezTo>
                  <a:pt x="724" y="345"/>
                  <a:pt x="724" y="344"/>
                  <a:pt x="724" y="344"/>
                </a:cubicBezTo>
                <a:cubicBezTo>
                  <a:pt x="724" y="343"/>
                  <a:pt x="724" y="343"/>
                  <a:pt x="724" y="343"/>
                </a:cubicBezTo>
                <a:cubicBezTo>
                  <a:pt x="725" y="342"/>
                  <a:pt x="725" y="342"/>
                  <a:pt x="725" y="342"/>
                </a:cubicBezTo>
                <a:cubicBezTo>
                  <a:pt x="725" y="341"/>
                  <a:pt x="725" y="341"/>
                  <a:pt x="725" y="341"/>
                </a:cubicBezTo>
                <a:cubicBezTo>
                  <a:pt x="725" y="340"/>
                  <a:pt x="726" y="340"/>
                  <a:pt x="726" y="341"/>
                </a:cubicBezTo>
                <a:cubicBezTo>
                  <a:pt x="727" y="341"/>
                  <a:pt x="728" y="341"/>
                  <a:pt x="728" y="341"/>
                </a:cubicBezTo>
                <a:cubicBezTo>
                  <a:pt x="730" y="341"/>
                  <a:pt x="729" y="340"/>
                  <a:pt x="728" y="340"/>
                </a:cubicBezTo>
                <a:cubicBezTo>
                  <a:pt x="728" y="339"/>
                  <a:pt x="728" y="339"/>
                  <a:pt x="728" y="339"/>
                </a:cubicBezTo>
                <a:cubicBezTo>
                  <a:pt x="727" y="339"/>
                  <a:pt x="727" y="339"/>
                  <a:pt x="726" y="339"/>
                </a:cubicBezTo>
                <a:cubicBezTo>
                  <a:pt x="726" y="338"/>
                  <a:pt x="726" y="338"/>
                  <a:pt x="725" y="338"/>
                </a:cubicBezTo>
                <a:cubicBezTo>
                  <a:pt x="725" y="339"/>
                  <a:pt x="725" y="339"/>
                  <a:pt x="725" y="339"/>
                </a:cubicBezTo>
                <a:cubicBezTo>
                  <a:pt x="724" y="340"/>
                  <a:pt x="724" y="339"/>
                  <a:pt x="724" y="339"/>
                </a:cubicBezTo>
                <a:cubicBezTo>
                  <a:pt x="723" y="339"/>
                  <a:pt x="723" y="339"/>
                  <a:pt x="722" y="339"/>
                </a:cubicBezTo>
                <a:cubicBezTo>
                  <a:pt x="722" y="339"/>
                  <a:pt x="722" y="339"/>
                  <a:pt x="722" y="339"/>
                </a:cubicBezTo>
                <a:cubicBezTo>
                  <a:pt x="721" y="339"/>
                  <a:pt x="721" y="338"/>
                  <a:pt x="720" y="338"/>
                </a:cubicBezTo>
                <a:cubicBezTo>
                  <a:pt x="720" y="338"/>
                  <a:pt x="720" y="338"/>
                  <a:pt x="719" y="338"/>
                </a:cubicBezTo>
                <a:cubicBezTo>
                  <a:pt x="719" y="338"/>
                  <a:pt x="719" y="339"/>
                  <a:pt x="718" y="339"/>
                </a:cubicBezTo>
                <a:cubicBezTo>
                  <a:pt x="719" y="338"/>
                  <a:pt x="719" y="338"/>
                  <a:pt x="719" y="338"/>
                </a:cubicBezTo>
                <a:cubicBezTo>
                  <a:pt x="719" y="338"/>
                  <a:pt x="719" y="337"/>
                  <a:pt x="719" y="337"/>
                </a:cubicBezTo>
                <a:cubicBezTo>
                  <a:pt x="720" y="337"/>
                  <a:pt x="720" y="337"/>
                  <a:pt x="721" y="337"/>
                </a:cubicBezTo>
                <a:cubicBezTo>
                  <a:pt x="721" y="337"/>
                  <a:pt x="721" y="336"/>
                  <a:pt x="720" y="336"/>
                </a:cubicBezTo>
                <a:cubicBezTo>
                  <a:pt x="720" y="336"/>
                  <a:pt x="719" y="336"/>
                  <a:pt x="718" y="336"/>
                </a:cubicBezTo>
                <a:cubicBezTo>
                  <a:pt x="717" y="336"/>
                  <a:pt x="716" y="336"/>
                  <a:pt x="716" y="337"/>
                </a:cubicBezTo>
                <a:cubicBezTo>
                  <a:pt x="715" y="338"/>
                  <a:pt x="715" y="339"/>
                  <a:pt x="713" y="339"/>
                </a:cubicBezTo>
                <a:cubicBezTo>
                  <a:pt x="713" y="339"/>
                  <a:pt x="713" y="338"/>
                  <a:pt x="712" y="338"/>
                </a:cubicBezTo>
                <a:cubicBezTo>
                  <a:pt x="712" y="338"/>
                  <a:pt x="711" y="338"/>
                  <a:pt x="710" y="338"/>
                </a:cubicBezTo>
                <a:cubicBezTo>
                  <a:pt x="710" y="337"/>
                  <a:pt x="709" y="337"/>
                  <a:pt x="708" y="336"/>
                </a:cubicBezTo>
                <a:cubicBezTo>
                  <a:pt x="708" y="336"/>
                  <a:pt x="708" y="336"/>
                  <a:pt x="707" y="336"/>
                </a:cubicBezTo>
                <a:cubicBezTo>
                  <a:pt x="707" y="336"/>
                  <a:pt x="707" y="336"/>
                  <a:pt x="706" y="336"/>
                </a:cubicBezTo>
                <a:cubicBezTo>
                  <a:pt x="706" y="335"/>
                  <a:pt x="706" y="335"/>
                  <a:pt x="706" y="335"/>
                </a:cubicBezTo>
                <a:cubicBezTo>
                  <a:pt x="706" y="334"/>
                  <a:pt x="706" y="334"/>
                  <a:pt x="705" y="334"/>
                </a:cubicBezTo>
                <a:cubicBezTo>
                  <a:pt x="705" y="333"/>
                  <a:pt x="706" y="332"/>
                  <a:pt x="707" y="332"/>
                </a:cubicBezTo>
                <a:cubicBezTo>
                  <a:pt x="707" y="332"/>
                  <a:pt x="708" y="331"/>
                  <a:pt x="709" y="331"/>
                </a:cubicBezTo>
                <a:cubicBezTo>
                  <a:pt x="709" y="330"/>
                  <a:pt x="709" y="330"/>
                  <a:pt x="710" y="330"/>
                </a:cubicBezTo>
                <a:cubicBezTo>
                  <a:pt x="710" y="329"/>
                  <a:pt x="711" y="329"/>
                  <a:pt x="711" y="329"/>
                </a:cubicBezTo>
                <a:cubicBezTo>
                  <a:pt x="711" y="328"/>
                  <a:pt x="711" y="328"/>
                  <a:pt x="711" y="328"/>
                </a:cubicBezTo>
                <a:cubicBezTo>
                  <a:pt x="711" y="327"/>
                  <a:pt x="710" y="327"/>
                  <a:pt x="710" y="327"/>
                </a:cubicBezTo>
                <a:cubicBezTo>
                  <a:pt x="710" y="327"/>
                  <a:pt x="710" y="327"/>
                  <a:pt x="709" y="327"/>
                </a:cubicBezTo>
                <a:cubicBezTo>
                  <a:pt x="709" y="327"/>
                  <a:pt x="709" y="327"/>
                  <a:pt x="708" y="327"/>
                </a:cubicBezTo>
                <a:cubicBezTo>
                  <a:pt x="708" y="327"/>
                  <a:pt x="707" y="327"/>
                  <a:pt x="707" y="327"/>
                </a:cubicBezTo>
                <a:cubicBezTo>
                  <a:pt x="707" y="327"/>
                  <a:pt x="706" y="327"/>
                  <a:pt x="706" y="327"/>
                </a:cubicBezTo>
                <a:cubicBezTo>
                  <a:pt x="705" y="328"/>
                  <a:pt x="705" y="328"/>
                  <a:pt x="705" y="328"/>
                </a:cubicBezTo>
                <a:cubicBezTo>
                  <a:pt x="705" y="327"/>
                  <a:pt x="705" y="327"/>
                  <a:pt x="705" y="327"/>
                </a:cubicBezTo>
                <a:cubicBezTo>
                  <a:pt x="705" y="327"/>
                  <a:pt x="706" y="327"/>
                  <a:pt x="706" y="326"/>
                </a:cubicBezTo>
                <a:cubicBezTo>
                  <a:pt x="706" y="326"/>
                  <a:pt x="705" y="326"/>
                  <a:pt x="706" y="325"/>
                </a:cubicBezTo>
                <a:cubicBezTo>
                  <a:pt x="706" y="325"/>
                  <a:pt x="706" y="326"/>
                  <a:pt x="707" y="326"/>
                </a:cubicBezTo>
                <a:cubicBezTo>
                  <a:pt x="707" y="325"/>
                  <a:pt x="707" y="325"/>
                  <a:pt x="707" y="324"/>
                </a:cubicBezTo>
                <a:cubicBezTo>
                  <a:pt x="708" y="324"/>
                  <a:pt x="708" y="325"/>
                  <a:pt x="708" y="325"/>
                </a:cubicBezTo>
                <a:cubicBezTo>
                  <a:pt x="708" y="326"/>
                  <a:pt x="709" y="326"/>
                  <a:pt x="709" y="326"/>
                </a:cubicBezTo>
                <a:cubicBezTo>
                  <a:pt x="709" y="326"/>
                  <a:pt x="710" y="326"/>
                  <a:pt x="710" y="326"/>
                </a:cubicBezTo>
                <a:cubicBezTo>
                  <a:pt x="711" y="327"/>
                  <a:pt x="711" y="327"/>
                  <a:pt x="712" y="327"/>
                </a:cubicBezTo>
                <a:cubicBezTo>
                  <a:pt x="713" y="327"/>
                  <a:pt x="714" y="327"/>
                  <a:pt x="715" y="327"/>
                </a:cubicBezTo>
                <a:cubicBezTo>
                  <a:pt x="715" y="326"/>
                  <a:pt x="716" y="326"/>
                  <a:pt x="717" y="326"/>
                </a:cubicBezTo>
                <a:cubicBezTo>
                  <a:pt x="717" y="325"/>
                  <a:pt x="715" y="325"/>
                  <a:pt x="715" y="325"/>
                </a:cubicBezTo>
                <a:cubicBezTo>
                  <a:pt x="714" y="325"/>
                  <a:pt x="714" y="324"/>
                  <a:pt x="714" y="323"/>
                </a:cubicBezTo>
                <a:cubicBezTo>
                  <a:pt x="714" y="322"/>
                  <a:pt x="714" y="322"/>
                  <a:pt x="713" y="322"/>
                </a:cubicBezTo>
                <a:cubicBezTo>
                  <a:pt x="713" y="322"/>
                  <a:pt x="712" y="323"/>
                  <a:pt x="712" y="323"/>
                </a:cubicBezTo>
                <a:cubicBezTo>
                  <a:pt x="711" y="323"/>
                  <a:pt x="711" y="322"/>
                  <a:pt x="711" y="322"/>
                </a:cubicBezTo>
                <a:cubicBezTo>
                  <a:pt x="711" y="321"/>
                  <a:pt x="711" y="321"/>
                  <a:pt x="711" y="321"/>
                </a:cubicBezTo>
                <a:cubicBezTo>
                  <a:pt x="710" y="320"/>
                  <a:pt x="710" y="320"/>
                  <a:pt x="709" y="319"/>
                </a:cubicBezTo>
                <a:cubicBezTo>
                  <a:pt x="709" y="319"/>
                  <a:pt x="709" y="318"/>
                  <a:pt x="709" y="317"/>
                </a:cubicBezTo>
                <a:cubicBezTo>
                  <a:pt x="708" y="316"/>
                  <a:pt x="707" y="316"/>
                  <a:pt x="706" y="316"/>
                </a:cubicBezTo>
                <a:cubicBezTo>
                  <a:pt x="705" y="316"/>
                  <a:pt x="704" y="315"/>
                  <a:pt x="704" y="314"/>
                </a:cubicBezTo>
                <a:cubicBezTo>
                  <a:pt x="703" y="314"/>
                  <a:pt x="703" y="313"/>
                  <a:pt x="702" y="313"/>
                </a:cubicBezTo>
                <a:cubicBezTo>
                  <a:pt x="702" y="312"/>
                  <a:pt x="701" y="312"/>
                  <a:pt x="700" y="311"/>
                </a:cubicBezTo>
                <a:cubicBezTo>
                  <a:pt x="700" y="311"/>
                  <a:pt x="700" y="310"/>
                  <a:pt x="700" y="309"/>
                </a:cubicBezTo>
                <a:cubicBezTo>
                  <a:pt x="700" y="307"/>
                  <a:pt x="700" y="305"/>
                  <a:pt x="700" y="303"/>
                </a:cubicBezTo>
                <a:cubicBezTo>
                  <a:pt x="700" y="303"/>
                  <a:pt x="700" y="302"/>
                  <a:pt x="699" y="301"/>
                </a:cubicBezTo>
                <a:cubicBezTo>
                  <a:pt x="699" y="300"/>
                  <a:pt x="698" y="300"/>
                  <a:pt x="698" y="299"/>
                </a:cubicBezTo>
                <a:cubicBezTo>
                  <a:pt x="697" y="299"/>
                  <a:pt x="697" y="298"/>
                  <a:pt x="696" y="298"/>
                </a:cubicBezTo>
                <a:cubicBezTo>
                  <a:pt x="695" y="298"/>
                  <a:pt x="694" y="298"/>
                  <a:pt x="694" y="297"/>
                </a:cubicBezTo>
                <a:cubicBezTo>
                  <a:pt x="693" y="297"/>
                  <a:pt x="692" y="297"/>
                  <a:pt x="692" y="296"/>
                </a:cubicBezTo>
                <a:cubicBezTo>
                  <a:pt x="691" y="296"/>
                  <a:pt x="690" y="295"/>
                  <a:pt x="690" y="294"/>
                </a:cubicBezTo>
                <a:cubicBezTo>
                  <a:pt x="691" y="294"/>
                  <a:pt x="691" y="293"/>
                  <a:pt x="691" y="292"/>
                </a:cubicBezTo>
                <a:cubicBezTo>
                  <a:pt x="690" y="292"/>
                  <a:pt x="690" y="292"/>
                  <a:pt x="689" y="293"/>
                </a:cubicBezTo>
                <a:cubicBezTo>
                  <a:pt x="689" y="293"/>
                  <a:pt x="689" y="293"/>
                  <a:pt x="688" y="293"/>
                </a:cubicBezTo>
                <a:cubicBezTo>
                  <a:pt x="688" y="292"/>
                  <a:pt x="688" y="292"/>
                  <a:pt x="687" y="292"/>
                </a:cubicBezTo>
                <a:cubicBezTo>
                  <a:pt x="687" y="292"/>
                  <a:pt x="687" y="292"/>
                  <a:pt x="686" y="292"/>
                </a:cubicBezTo>
                <a:cubicBezTo>
                  <a:pt x="686" y="292"/>
                  <a:pt x="686" y="292"/>
                  <a:pt x="686" y="292"/>
                </a:cubicBezTo>
                <a:cubicBezTo>
                  <a:pt x="685" y="292"/>
                  <a:pt x="685" y="293"/>
                  <a:pt x="685" y="293"/>
                </a:cubicBezTo>
                <a:cubicBezTo>
                  <a:pt x="685" y="293"/>
                  <a:pt x="684" y="294"/>
                  <a:pt x="684" y="294"/>
                </a:cubicBezTo>
                <a:cubicBezTo>
                  <a:pt x="684" y="294"/>
                  <a:pt x="684" y="293"/>
                  <a:pt x="684" y="293"/>
                </a:cubicBezTo>
                <a:cubicBezTo>
                  <a:pt x="684" y="292"/>
                  <a:pt x="684" y="292"/>
                  <a:pt x="683" y="292"/>
                </a:cubicBezTo>
                <a:cubicBezTo>
                  <a:pt x="683" y="292"/>
                  <a:pt x="683" y="292"/>
                  <a:pt x="682" y="292"/>
                </a:cubicBezTo>
                <a:cubicBezTo>
                  <a:pt x="682" y="292"/>
                  <a:pt x="682" y="292"/>
                  <a:pt x="681" y="292"/>
                </a:cubicBezTo>
                <a:cubicBezTo>
                  <a:pt x="681" y="292"/>
                  <a:pt x="681" y="292"/>
                  <a:pt x="681" y="292"/>
                </a:cubicBezTo>
                <a:cubicBezTo>
                  <a:pt x="681" y="291"/>
                  <a:pt x="682" y="291"/>
                  <a:pt x="682" y="291"/>
                </a:cubicBezTo>
                <a:cubicBezTo>
                  <a:pt x="682" y="290"/>
                  <a:pt x="682" y="290"/>
                  <a:pt x="683" y="290"/>
                </a:cubicBezTo>
                <a:cubicBezTo>
                  <a:pt x="683" y="289"/>
                  <a:pt x="683" y="289"/>
                  <a:pt x="683" y="289"/>
                </a:cubicBezTo>
                <a:cubicBezTo>
                  <a:pt x="683" y="288"/>
                  <a:pt x="682" y="288"/>
                  <a:pt x="682" y="288"/>
                </a:cubicBezTo>
                <a:cubicBezTo>
                  <a:pt x="682" y="288"/>
                  <a:pt x="681" y="287"/>
                  <a:pt x="682" y="287"/>
                </a:cubicBezTo>
                <a:cubicBezTo>
                  <a:pt x="682" y="287"/>
                  <a:pt x="682" y="287"/>
                  <a:pt x="683" y="287"/>
                </a:cubicBezTo>
                <a:cubicBezTo>
                  <a:pt x="683" y="287"/>
                  <a:pt x="683" y="287"/>
                  <a:pt x="684" y="287"/>
                </a:cubicBezTo>
                <a:cubicBezTo>
                  <a:pt x="684" y="287"/>
                  <a:pt x="684" y="287"/>
                  <a:pt x="685" y="287"/>
                </a:cubicBezTo>
                <a:cubicBezTo>
                  <a:pt x="685" y="287"/>
                  <a:pt x="686" y="287"/>
                  <a:pt x="686" y="288"/>
                </a:cubicBezTo>
                <a:cubicBezTo>
                  <a:pt x="686" y="288"/>
                  <a:pt x="687" y="288"/>
                  <a:pt x="687" y="288"/>
                </a:cubicBezTo>
                <a:cubicBezTo>
                  <a:pt x="687" y="288"/>
                  <a:pt x="688" y="287"/>
                  <a:pt x="687" y="287"/>
                </a:cubicBezTo>
                <a:cubicBezTo>
                  <a:pt x="687" y="286"/>
                  <a:pt x="687" y="287"/>
                  <a:pt x="686" y="287"/>
                </a:cubicBezTo>
                <a:cubicBezTo>
                  <a:pt x="685" y="286"/>
                  <a:pt x="687" y="286"/>
                  <a:pt x="687" y="285"/>
                </a:cubicBezTo>
                <a:cubicBezTo>
                  <a:pt x="688" y="285"/>
                  <a:pt x="688" y="285"/>
                  <a:pt x="688" y="284"/>
                </a:cubicBezTo>
                <a:cubicBezTo>
                  <a:pt x="688" y="284"/>
                  <a:pt x="688" y="284"/>
                  <a:pt x="688" y="283"/>
                </a:cubicBezTo>
                <a:cubicBezTo>
                  <a:pt x="689" y="283"/>
                  <a:pt x="689" y="282"/>
                  <a:pt x="690" y="281"/>
                </a:cubicBezTo>
                <a:cubicBezTo>
                  <a:pt x="690" y="281"/>
                  <a:pt x="690" y="281"/>
                  <a:pt x="690" y="281"/>
                </a:cubicBezTo>
                <a:cubicBezTo>
                  <a:pt x="691" y="281"/>
                  <a:pt x="691" y="281"/>
                  <a:pt x="692" y="281"/>
                </a:cubicBezTo>
                <a:cubicBezTo>
                  <a:pt x="692" y="281"/>
                  <a:pt x="692" y="280"/>
                  <a:pt x="692" y="280"/>
                </a:cubicBezTo>
                <a:cubicBezTo>
                  <a:pt x="693" y="279"/>
                  <a:pt x="694" y="279"/>
                  <a:pt x="694" y="278"/>
                </a:cubicBezTo>
                <a:cubicBezTo>
                  <a:pt x="694" y="277"/>
                  <a:pt x="693" y="276"/>
                  <a:pt x="693" y="276"/>
                </a:cubicBezTo>
                <a:cubicBezTo>
                  <a:pt x="692" y="275"/>
                  <a:pt x="692" y="275"/>
                  <a:pt x="691" y="274"/>
                </a:cubicBezTo>
                <a:cubicBezTo>
                  <a:pt x="691" y="274"/>
                  <a:pt x="690" y="274"/>
                  <a:pt x="690" y="274"/>
                </a:cubicBezTo>
                <a:cubicBezTo>
                  <a:pt x="690" y="274"/>
                  <a:pt x="690" y="273"/>
                  <a:pt x="690" y="273"/>
                </a:cubicBezTo>
                <a:cubicBezTo>
                  <a:pt x="690" y="273"/>
                  <a:pt x="691" y="272"/>
                  <a:pt x="690" y="272"/>
                </a:cubicBezTo>
                <a:cubicBezTo>
                  <a:pt x="690" y="271"/>
                  <a:pt x="690" y="272"/>
                  <a:pt x="689" y="272"/>
                </a:cubicBezTo>
                <a:cubicBezTo>
                  <a:pt x="689" y="272"/>
                  <a:pt x="688" y="272"/>
                  <a:pt x="687" y="272"/>
                </a:cubicBezTo>
                <a:cubicBezTo>
                  <a:pt x="686" y="272"/>
                  <a:pt x="685" y="272"/>
                  <a:pt x="684" y="272"/>
                </a:cubicBezTo>
                <a:cubicBezTo>
                  <a:pt x="685" y="271"/>
                  <a:pt x="686" y="271"/>
                  <a:pt x="686" y="271"/>
                </a:cubicBezTo>
                <a:cubicBezTo>
                  <a:pt x="687" y="271"/>
                  <a:pt x="688" y="271"/>
                  <a:pt x="689" y="271"/>
                </a:cubicBezTo>
                <a:cubicBezTo>
                  <a:pt x="690" y="271"/>
                  <a:pt x="691" y="271"/>
                  <a:pt x="691" y="271"/>
                </a:cubicBezTo>
                <a:cubicBezTo>
                  <a:pt x="692" y="271"/>
                  <a:pt x="693" y="271"/>
                  <a:pt x="694" y="270"/>
                </a:cubicBezTo>
                <a:cubicBezTo>
                  <a:pt x="695" y="270"/>
                  <a:pt x="695" y="270"/>
                  <a:pt x="696" y="270"/>
                </a:cubicBezTo>
                <a:cubicBezTo>
                  <a:pt x="697" y="271"/>
                  <a:pt x="698" y="270"/>
                  <a:pt x="698" y="271"/>
                </a:cubicBezTo>
                <a:cubicBezTo>
                  <a:pt x="699" y="271"/>
                  <a:pt x="699" y="271"/>
                  <a:pt x="699" y="271"/>
                </a:cubicBezTo>
                <a:cubicBezTo>
                  <a:pt x="700" y="271"/>
                  <a:pt x="700" y="271"/>
                  <a:pt x="701" y="271"/>
                </a:cubicBezTo>
                <a:cubicBezTo>
                  <a:pt x="702" y="271"/>
                  <a:pt x="703" y="271"/>
                  <a:pt x="703" y="272"/>
                </a:cubicBezTo>
                <a:cubicBezTo>
                  <a:pt x="704" y="272"/>
                  <a:pt x="705" y="272"/>
                  <a:pt x="705" y="272"/>
                </a:cubicBezTo>
                <a:cubicBezTo>
                  <a:pt x="706" y="272"/>
                  <a:pt x="707" y="272"/>
                  <a:pt x="708" y="272"/>
                </a:cubicBezTo>
                <a:cubicBezTo>
                  <a:pt x="709" y="272"/>
                  <a:pt x="710" y="271"/>
                  <a:pt x="710" y="271"/>
                </a:cubicBezTo>
                <a:cubicBezTo>
                  <a:pt x="711" y="270"/>
                  <a:pt x="712" y="269"/>
                  <a:pt x="713" y="269"/>
                </a:cubicBezTo>
                <a:cubicBezTo>
                  <a:pt x="713" y="268"/>
                  <a:pt x="714" y="267"/>
                  <a:pt x="715" y="266"/>
                </a:cubicBezTo>
                <a:cubicBezTo>
                  <a:pt x="716" y="265"/>
                  <a:pt x="717" y="264"/>
                  <a:pt x="717" y="263"/>
                </a:cubicBezTo>
                <a:cubicBezTo>
                  <a:pt x="717" y="263"/>
                  <a:pt x="718" y="262"/>
                  <a:pt x="717" y="262"/>
                </a:cubicBezTo>
                <a:cubicBezTo>
                  <a:pt x="717" y="261"/>
                  <a:pt x="717" y="261"/>
                  <a:pt x="717" y="261"/>
                </a:cubicBezTo>
                <a:cubicBezTo>
                  <a:pt x="716" y="260"/>
                  <a:pt x="718" y="260"/>
                  <a:pt x="718" y="260"/>
                </a:cubicBezTo>
                <a:cubicBezTo>
                  <a:pt x="719" y="260"/>
                  <a:pt x="720" y="259"/>
                  <a:pt x="720" y="258"/>
                </a:cubicBezTo>
                <a:cubicBezTo>
                  <a:pt x="721" y="257"/>
                  <a:pt x="722" y="257"/>
                  <a:pt x="723" y="255"/>
                </a:cubicBezTo>
                <a:cubicBezTo>
                  <a:pt x="723" y="255"/>
                  <a:pt x="723" y="255"/>
                  <a:pt x="723" y="255"/>
                </a:cubicBezTo>
                <a:cubicBezTo>
                  <a:pt x="723" y="254"/>
                  <a:pt x="724" y="254"/>
                  <a:pt x="724" y="254"/>
                </a:cubicBezTo>
                <a:cubicBezTo>
                  <a:pt x="725" y="254"/>
                  <a:pt x="726" y="253"/>
                  <a:pt x="727" y="252"/>
                </a:cubicBezTo>
                <a:cubicBezTo>
                  <a:pt x="727" y="251"/>
                  <a:pt x="728" y="251"/>
                  <a:pt x="728" y="250"/>
                </a:cubicBezTo>
                <a:cubicBezTo>
                  <a:pt x="729" y="250"/>
                  <a:pt x="729" y="249"/>
                  <a:pt x="730" y="249"/>
                </a:cubicBezTo>
                <a:cubicBezTo>
                  <a:pt x="730" y="248"/>
                  <a:pt x="730" y="247"/>
                  <a:pt x="731" y="247"/>
                </a:cubicBezTo>
                <a:cubicBezTo>
                  <a:pt x="732" y="246"/>
                  <a:pt x="731" y="246"/>
                  <a:pt x="730" y="246"/>
                </a:cubicBezTo>
                <a:cubicBezTo>
                  <a:pt x="728" y="245"/>
                  <a:pt x="726" y="245"/>
                  <a:pt x="724" y="245"/>
                </a:cubicBezTo>
                <a:cubicBezTo>
                  <a:pt x="723" y="244"/>
                  <a:pt x="721" y="244"/>
                  <a:pt x="719" y="244"/>
                </a:cubicBezTo>
                <a:cubicBezTo>
                  <a:pt x="718" y="243"/>
                  <a:pt x="717" y="244"/>
                  <a:pt x="716" y="243"/>
                </a:cubicBezTo>
                <a:cubicBezTo>
                  <a:pt x="716" y="243"/>
                  <a:pt x="715" y="243"/>
                  <a:pt x="714" y="243"/>
                </a:cubicBezTo>
                <a:cubicBezTo>
                  <a:pt x="713" y="243"/>
                  <a:pt x="712" y="243"/>
                  <a:pt x="711" y="244"/>
                </a:cubicBezTo>
                <a:cubicBezTo>
                  <a:pt x="711" y="244"/>
                  <a:pt x="710" y="245"/>
                  <a:pt x="709" y="245"/>
                </a:cubicBezTo>
                <a:cubicBezTo>
                  <a:pt x="708" y="245"/>
                  <a:pt x="708" y="244"/>
                  <a:pt x="707" y="243"/>
                </a:cubicBezTo>
                <a:cubicBezTo>
                  <a:pt x="707" y="242"/>
                  <a:pt x="706" y="242"/>
                  <a:pt x="705" y="242"/>
                </a:cubicBezTo>
                <a:cubicBezTo>
                  <a:pt x="704" y="242"/>
                  <a:pt x="703" y="242"/>
                  <a:pt x="701" y="242"/>
                </a:cubicBezTo>
                <a:cubicBezTo>
                  <a:pt x="701" y="242"/>
                  <a:pt x="700" y="242"/>
                  <a:pt x="699" y="242"/>
                </a:cubicBezTo>
                <a:cubicBezTo>
                  <a:pt x="698" y="242"/>
                  <a:pt x="697" y="242"/>
                  <a:pt x="696" y="242"/>
                </a:cubicBezTo>
                <a:cubicBezTo>
                  <a:pt x="695" y="242"/>
                  <a:pt x="694" y="242"/>
                  <a:pt x="694" y="242"/>
                </a:cubicBezTo>
                <a:cubicBezTo>
                  <a:pt x="692" y="242"/>
                  <a:pt x="690" y="242"/>
                  <a:pt x="688" y="242"/>
                </a:cubicBezTo>
                <a:cubicBezTo>
                  <a:pt x="687" y="242"/>
                  <a:pt x="685" y="242"/>
                  <a:pt x="683" y="242"/>
                </a:cubicBezTo>
                <a:cubicBezTo>
                  <a:pt x="682" y="242"/>
                  <a:pt x="681" y="242"/>
                  <a:pt x="681" y="242"/>
                </a:cubicBezTo>
                <a:cubicBezTo>
                  <a:pt x="680" y="242"/>
                  <a:pt x="680" y="242"/>
                  <a:pt x="679" y="242"/>
                </a:cubicBezTo>
                <a:cubicBezTo>
                  <a:pt x="678" y="242"/>
                  <a:pt x="677" y="242"/>
                  <a:pt x="677" y="243"/>
                </a:cubicBezTo>
                <a:cubicBezTo>
                  <a:pt x="675" y="243"/>
                  <a:pt x="675" y="244"/>
                  <a:pt x="674" y="244"/>
                </a:cubicBezTo>
                <a:cubicBezTo>
                  <a:pt x="673" y="244"/>
                  <a:pt x="673" y="244"/>
                  <a:pt x="673" y="245"/>
                </a:cubicBezTo>
                <a:cubicBezTo>
                  <a:pt x="673" y="245"/>
                  <a:pt x="673" y="246"/>
                  <a:pt x="673" y="246"/>
                </a:cubicBezTo>
                <a:cubicBezTo>
                  <a:pt x="673" y="247"/>
                  <a:pt x="674" y="247"/>
                  <a:pt x="674" y="248"/>
                </a:cubicBezTo>
                <a:cubicBezTo>
                  <a:pt x="675" y="248"/>
                  <a:pt x="675" y="247"/>
                  <a:pt x="675" y="247"/>
                </a:cubicBezTo>
                <a:cubicBezTo>
                  <a:pt x="676" y="247"/>
                  <a:pt x="676" y="247"/>
                  <a:pt x="676" y="247"/>
                </a:cubicBezTo>
                <a:cubicBezTo>
                  <a:pt x="677" y="248"/>
                  <a:pt x="675" y="248"/>
                  <a:pt x="675" y="249"/>
                </a:cubicBezTo>
                <a:cubicBezTo>
                  <a:pt x="676" y="250"/>
                  <a:pt x="677" y="250"/>
                  <a:pt x="677" y="250"/>
                </a:cubicBezTo>
                <a:cubicBezTo>
                  <a:pt x="678" y="250"/>
                  <a:pt x="678" y="251"/>
                  <a:pt x="678" y="251"/>
                </a:cubicBezTo>
                <a:cubicBezTo>
                  <a:pt x="678" y="251"/>
                  <a:pt x="679" y="251"/>
                  <a:pt x="679" y="251"/>
                </a:cubicBezTo>
                <a:cubicBezTo>
                  <a:pt x="679" y="251"/>
                  <a:pt x="679" y="251"/>
                  <a:pt x="679" y="251"/>
                </a:cubicBezTo>
                <a:cubicBezTo>
                  <a:pt x="680" y="252"/>
                  <a:pt x="679" y="252"/>
                  <a:pt x="679" y="252"/>
                </a:cubicBezTo>
                <a:cubicBezTo>
                  <a:pt x="678" y="252"/>
                  <a:pt x="678" y="251"/>
                  <a:pt x="678" y="251"/>
                </a:cubicBezTo>
                <a:cubicBezTo>
                  <a:pt x="677" y="251"/>
                  <a:pt x="676" y="251"/>
                  <a:pt x="675" y="251"/>
                </a:cubicBezTo>
                <a:cubicBezTo>
                  <a:pt x="674" y="251"/>
                  <a:pt x="672" y="250"/>
                  <a:pt x="670" y="251"/>
                </a:cubicBezTo>
                <a:cubicBezTo>
                  <a:pt x="669" y="251"/>
                  <a:pt x="668" y="251"/>
                  <a:pt x="669" y="252"/>
                </a:cubicBezTo>
                <a:cubicBezTo>
                  <a:pt x="669" y="253"/>
                  <a:pt x="669" y="253"/>
                  <a:pt x="669" y="253"/>
                </a:cubicBezTo>
                <a:cubicBezTo>
                  <a:pt x="669" y="254"/>
                  <a:pt x="669" y="255"/>
                  <a:pt x="669" y="255"/>
                </a:cubicBezTo>
                <a:cubicBezTo>
                  <a:pt x="669" y="256"/>
                  <a:pt x="669" y="256"/>
                  <a:pt x="669" y="257"/>
                </a:cubicBezTo>
                <a:cubicBezTo>
                  <a:pt x="669" y="258"/>
                  <a:pt x="669" y="258"/>
                  <a:pt x="669" y="259"/>
                </a:cubicBezTo>
                <a:cubicBezTo>
                  <a:pt x="670" y="260"/>
                  <a:pt x="670" y="260"/>
                  <a:pt x="670" y="261"/>
                </a:cubicBezTo>
                <a:cubicBezTo>
                  <a:pt x="670" y="262"/>
                  <a:pt x="669" y="263"/>
                  <a:pt x="669" y="263"/>
                </a:cubicBezTo>
                <a:cubicBezTo>
                  <a:pt x="669" y="264"/>
                  <a:pt x="668" y="265"/>
                  <a:pt x="668" y="266"/>
                </a:cubicBezTo>
                <a:cubicBezTo>
                  <a:pt x="668" y="266"/>
                  <a:pt x="669" y="267"/>
                  <a:pt x="669" y="267"/>
                </a:cubicBezTo>
                <a:cubicBezTo>
                  <a:pt x="669" y="268"/>
                  <a:pt x="669" y="269"/>
                  <a:pt x="669" y="270"/>
                </a:cubicBezTo>
                <a:cubicBezTo>
                  <a:pt x="669" y="270"/>
                  <a:pt x="669" y="270"/>
                  <a:pt x="669" y="271"/>
                </a:cubicBezTo>
                <a:cubicBezTo>
                  <a:pt x="670" y="271"/>
                  <a:pt x="670" y="272"/>
                  <a:pt x="670" y="272"/>
                </a:cubicBezTo>
                <a:cubicBezTo>
                  <a:pt x="670" y="273"/>
                  <a:pt x="670" y="273"/>
                  <a:pt x="671" y="273"/>
                </a:cubicBezTo>
                <a:cubicBezTo>
                  <a:pt x="672" y="273"/>
                  <a:pt x="672" y="273"/>
                  <a:pt x="672" y="274"/>
                </a:cubicBezTo>
                <a:cubicBezTo>
                  <a:pt x="672" y="275"/>
                  <a:pt x="672" y="276"/>
                  <a:pt x="673" y="276"/>
                </a:cubicBezTo>
                <a:cubicBezTo>
                  <a:pt x="674" y="276"/>
                  <a:pt x="674" y="276"/>
                  <a:pt x="674" y="277"/>
                </a:cubicBezTo>
                <a:cubicBezTo>
                  <a:pt x="675" y="277"/>
                  <a:pt x="674" y="278"/>
                  <a:pt x="674" y="278"/>
                </a:cubicBezTo>
                <a:cubicBezTo>
                  <a:pt x="674" y="279"/>
                  <a:pt x="674" y="279"/>
                  <a:pt x="674" y="279"/>
                </a:cubicBezTo>
                <a:cubicBezTo>
                  <a:pt x="675" y="281"/>
                  <a:pt x="673" y="285"/>
                  <a:pt x="676" y="285"/>
                </a:cubicBezTo>
                <a:cubicBezTo>
                  <a:pt x="676" y="285"/>
                  <a:pt x="677" y="284"/>
                  <a:pt x="677" y="285"/>
                </a:cubicBezTo>
                <a:cubicBezTo>
                  <a:pt x="677" y="285"/>
                  <a:pt x="677" y="285"/>
                  <a:pt x="677" y="285"/>
                </a:cubicBezTo>
                <a:cubicBezTo>
                  <a:pt x="676" y="286"/>
                  <a:pt x="676" y="286"/>
                  <a:pt x="675" y="287"/>
                </a:cubicBezTo>
                <a:cubicBezTo>
                  <a:pt x="675" y="287"/>
                  <a:pt x="675" y="288"/>
                  <a:pt x="675" y="288"/>
                </a:cubicBezTo>
                <a:cubicBezTo>
                  <a:pt x="674" y="289"/>
                  <a:pt x="674" y="289"/>
                  <a:pt x="674" y="290"/>
                </a:cubicBezTo>
                <a:cubicBezTo>
                  <a:pt x="674" y="290"/>
                  <a:pt x="674" y="290"/>
                  <a:pt x="675" y="291"/>
                </a:cubicBezTo>
                <a:cubicBezTo>
                  <a:pt x="675" y="291"/>
                  <a:pt x="674" y="291"/>
                  <a:pt x="674" y="292"/>
                </a:cubicBezTo>
                <a:cubicBezTo>
                  <a:pt x="674" y="292"/>
                  <a:pt x="674" y="292"/>
                  <a:pt x="674" y="293"/>
                </a:cubicBezTo>
                <a:cubicBezTo>
                  <a:pt x="674" y="294"/>
                  <a:pt x="671" y="293"/>
                  <a:pt x="670" y="294"/>
                </a:cubicBezTo>
                <a:cubicBezTo>
                  <a:pt x="669" y="294"/>
                  <a:pt x="669" y="295"/>
                  <a:pt x="668" y="295"/>
                </a:cubicBezTo>
                <a:cubicBezTo>
                  <a:pt x="668" y="295"/>
                  <a:pt x="667" y="296"/>
                  <a:pt x="667" y="296"/>
                </a:cubicBezTo>
                <a:cubicBezTo>
                  <a:pt x="667" y="296"/>
                  <a:pt x="666" y="296"/>
                  <a:pt x="666" y="296"/>
                </a:cubicBezTo>
                <a:cubicBezTo>
                  <a:pt x="665" y="296"/>
                  <a:pt x="666" y="297"/>
                  <a:pt x="667" y="297"/>
                </a:cubicBezTo>
                <a:cubicBezTo>
                  <a:pt x="667" y="298"/>
                  <a:pt x="668" y="298"/>
                  <a:pt x="668" y="298"/>
                </a:cubicBezTo>
                <a:cubicBezTo>
                  <a:pt x="669" y="298"/>
                  <a:pt x="669" y="298"/>
                  <a:pt x="670" y="298"/>
                </a:cubicBezTo>
                <a:cubicBezTo>
                  <a:pt x="670" y="298"/>
                  <a:pt x="671" y="298"/>
                  <a:pt x="671" y="298"/>
                </a:cubicBezTo>
                <a:cubicBezTo>
                  <a:pt x="671" y="299"/>
                  <a:pt x="670" y="299"/>
                  <a:pt x="670" y="299"/>
                </a:cubicBezTo>
                <a:cubicBezTo>
                  <a:pt x="670" y="299"/>
                  <a:pt x="671" y="300"/>
                  <a:pt x="671" y="300"/>
                </a:cubicBezTo>
                <a:cubicBezTo>
                  <a:pt x="671" y="300"/>
                  <a:pt x="671" y="301"/>
                  <a:pt x="671" y="301"/>
                </a:cubicBezTo>
                <a:cubicBezTo>
                  <a:pt x="670" y="301"/>
                  <a:pt x="670" y="301"/>
                  <a:pt x="670" y="301"/>
                </a:cubicBezTo>
                <a:cubicBezTo>
                  <a:pt x="670" y="302"/>
                  <a:pt x="670" y="302"/>
                  <a:pt x="670" y="302"/>
                </a:cubicBezTo>
                <a:cubicBezTo>
                  <a:pt x="670" y="303"/>
                  <a:pt x="669" y="302"/>
                  <a:pt x="669" y="302"/>
                </a:cubicBezTo>
                <a:cubicBezTo>
                  <a:pt x="668" y="302"/>
                  <a:pt x="667" y="301"/>
                  <a:pt x="666" y="301"/>
                </a:cubicBezTo>
                <a:cubicBezTo>
                  <a:pt x="666" y="301"/>
                  <a:pt x="666" y="301"/>
                  <a:pt x="665" y="301"/>
                </a:cubicBezTo>
                <a:cubicBezTo>
                  <a:pt x="665" y="301"/>
                  <a:pt x="665" y="300"/>
                  <a:pt x="664" y="300"/>
                </a:cubicBezTo>
                <a:cubicBezTo>
                  <a:pt x="663" y="300"/>
                  <a:pt x="663" y="300"/>
                  <a:pt x="662" y="301"/>
                </a:cubicBezTo>
                <a:cubicBezTo>
                  <a:pt x="662" y="301"/>
                  <a:pt x="662" y="302"/>
                  <a:pt x="661" y="302"/>
                </a:cubicBezTo>
                <a:cubicBezTo>
                  <a:pt x="661" y="302"/>
                  <a:pt x="660" y="302"/>
                  <a:pt x="660" y="302"/>
                </a:cubicBezTo>
                <a:cubicBezTo>
                  <a:pt x="659" y="302"/>
                  <a:pt x="660" y="303"/>
                  <a:pt x="660" y="303"/>
                </a:cubicBezTo>
                <a:cubicBezTo>
                  <a:pt x="660" y="304"/>
                  <a:pt x="660" y="303"/>
                  <a:pt x="660" y="304"/>
                </a:cubicBezTo>
                <a:cubicBezTo>
                  <a:pt x="660" y="304"/>
                  <a:pt x="660" y="305"/>
                  <a:pt x="659" y="305"/>
                </a:cubicBezTo>
                <a:cubicBezTo>
                  <a:pt x="659" y="305"/>
                  <a:pt x="659" y="305"/>
                  <a:pt x="659" y="306"/>
                </a:cubicBezTo>
                <a:cubicBezTo>
                  <a:pt x="659" y="307"/>
                  <a:pt x="661" y="306"/>
                  <a:pt x="661" y="307"/>
                </a:cubicBezTo>
                <a:cubicBezTo>
                  <a:pt x="661" y="307"/>
                  <a:pt x="659" y="308"/>
                  <a:pt x="659" y="308"/>
                </a:cubicBezTo>
                <a:cubicBezTo>
                  <a:pt x="659" y="309"/>
                  <a:pt x="659" y="309"/>
                  <a:pt x="659" y="309"/>
                </a:cubicBezTo>
                <a:cubicBezTo>
                  <a:pt x="659" y="310"/>
                  <a:pt x="659" y="310"/>
                  <a:pt x="659" y="311"/>
                </a:cubicBezTo>
                <a:cubicBezTo>
                  <a:pt x="658" y="311"/>
                  <a:pt x="658" y="312"/>
                  <a:pt x="658" y="313"/>
                </a:cubicBezTo>
                <a:cubicBezTo>
                  <a:pt x="658" y="313"/>
                  <a:pt x="659" y="314"/>
                  <a:pt x="659" y="314"/>
                </a:cubicBezTo>
                <a:cubicBezTo>
                  <a:pt x="660" y="314"/>
                  <a:pt x="660" y="314"/>
                  <a:pt x="661" y="315"/>
                </a:cubicBezTo>
                <a:cubicBezTo>
                  <a:pt x="661" y="315"/>
                  <a:pt x="661" y="316"/>
                  <a:pt x="662" y="316"/>
                </a:cubicBezTo>
                <a:cubicBezTo>
                  <a:pt x="663" y="316"/>
                  <a:pt x="664" y="315"/>
                  <a:pt x="664" y="316"/>
                </a:cubicBezTo>
                <a:cubicBezTo>
                  <a:pt x="664" y="316"/>
                  <a:pt x="663" y="317"/>
                  <a:pt x="663" y="317"/>
                </a:cubicBezTo>
                <a:cubicBezTo>
                  <a:pt x="662" y="318"/>
                  <a:pt x="662" y="318"/>
                  <a:pt x="661" y="319"/>
                </a:cubicBezTo>
                <a:cubicBezTo>
                  <a:pt x="661" y="320"/>
                  <a:pt x="661" y="321"/>
                  <a:pt x="660" y="321"/>
                </a:cubicBezTo>
                <a:cubicBezTo>
                  <a:pt x="660" y="322"/>
                  <a:pt x="659" y="322"/>
                  <a:pt x="659" y="323"/>
                </a:cubicBezTo>
                <a:cubicBezTo>
                  <a:pt x="659" y="324"/>
                  <a:pt x="659" y="325"/>
                  <a:pt x="659" y="326"/>
                </a:cubicBezTo>
                <a:cubicBezTo>
                  <a:pt x="659" y="326"/>
                  <a:pt x="660" y="327"/>
                  <a:pt x="660" y="328"/>
                </a:cubicBezTo>
                <a:cubicBezTo>
                  <a:pt x="661" y="329"/>
                  <a:pt x="661" y="329"/>
                  <a:pt x="662" y="329"/>
                </a:cubicBezTo>
                <a:cubicBezTo>
                  <a:pt x="662" y="330"/>
                  <a:pt x="662" y="330"/>
                  <a:pt x="663" y="330"/>
                </a:cubicBezTo>
                <a:cubicBezTo>
                  <a:pt x="663" y="330"/>
                  <a:pt x="664" y="330"/>
                  <a:pt x="664" y="330"/>
                </a:cubicBezTo>
                <a:cubicBezTo>
                  <a:pt x="665" y="331"/>
                  <a:pt x="662" y="331"/>
                  <a:pt x="663" y="332"/>
                </a:cubicBezTo>
                <a:cubicBezTo>
                  <a:pt x="663" y="332"/>
                  <a:pt x="664" y="332"/>
                  <a:pt x="664" y="332"/>
                </a:cubicBezTo>
                <a:cubicBezTo>
                  <a:pt x="665" y="333"/>
                  <a:pt x="664" y="333"/>
                  <a:pt x="665" y="333"/>
                </a:cubicBezTo>
                <a:cubicBezTo>
                  <a:pt x="666" y="333"/>
                  <a:pt x="666" y="333"/>
                  <a:pt x="666" y="333"/>
                </a:cubicBezTo>
                <a:cubicBezTo>
                  <a:pt x="667" y="333"/>
                  <a:pt x="668" y="333"/>
                  <a:pt x="668" y="333"/>
                </a:cubicBezTo>
                <a:cubicBezTo>
                  <a:pt x="669" y="333"/>
                  <a:pt x="669" y="334"/>
                  <a:pt x="669" y="334"/>
                </a:cubicBezTo>
                <a:cubicBezTo>
                  <a:pt x="670" y="334"/>
                  <a:pt x="671" y="334"/>
                  <a:pt x="671" y="335"/>
                </a:cubicBezTo>
                <a:cubicBezTo>
                  <a:pt x="672" y="336"/>
                  <a:pt x="674" y="337"/>
                  <a:pt x="675" y="337"/>
                </a:cubicBezTo>
                <a:cubicBezTo>
                  <a:pt x="676" y="337"/>
                  <a:pt x="677" y="337"/>
                  <a:pt x="678" y="336"/>
                </a:cubicBezTo>
                <a:cubicBezTo>
                  <a:pt x="679" y="336"/>
                  <a:pt x="681" y="335"/>
                  <a:pt x="681" y="337"/>
                </a:cubicBezTo>
                <a:cubicBezTo>
                  <a:pt x="682" y="338"/>
                  <a:pt x="682" y="338"/>
                  <a:pt x="683" y="339"/>
                </a:cubicBezTo>
                <a:cubicBezTo>
                  <a:pt x="683" y="339"/>
                  <a:pt x="684" y="340"/>
                  <a:pt x="684" y="340"/>
                </a:cubicBezTo>
                <a:cubicBezTo>
                  <a:pt x="685" y="340"/>
                  <a:pt x="686" y="340"/>
                  <a:pt x="687" y="340"/>
                </a:cubicBezTo>
                <a:cubicBezTo>
                  <a:pt x="688" y="340"/>
                  <a:pt x="688" y="340"/>
                  <a:pt x="688" y="340"/>
                </a:cubicBezTo>
                <a:cubicBezTo>
                  <a:pt x="689" y="340"/>
                  <a:pt x="689" y="340"/>
                  <a:pt x="690" y="339"/>
                </a:cubicBezTo>
                <a:cubicBezTo>
                  <a:pt x="690" y="339"/>
                  <a:pt x="691" y="339"/>
                  <a:pt x="691" y="339"/>
                </a:cubicBezTo>
                <a:cubicBezTo>
                  <a:pt x="692" y="339"/>
                  <a:pt x="692" y="339"/>
                  <a:pt x="692" y="340"/>
                </a:cubicBezTo>
                <a:cubicBezTo>
                  <a:pt x="693" y="340"/>
                  <a:pt x="693" y="340"/>
                  <a:pt x="693" y="340"/>
                </a:cubicBezTo>
                <a:cubicBezTo>
                  <a:pt x="693" y="341"/>
                  <a:pt x="693" y="341"/>
                  <a:pt x="693" y="341"/>
                </a:cubicBezTo>
                <a:cubicBezTo>
                  <a:pt x="693" y="342"/>
                  <a:pt x="693" y="342"/>
                  <a:pt x="693" y="342"/>
                </a:cubicBezTo>
                <a:cubicBezTo>
                  <a:pt x="694" y="342"/>
                  <a:pt x="694" y="342"/>
                  <a:pt x="695" y="342"/>
                </a:cubicBezTo>
                <a:cubicBezTo>
                  <a:pt x="695" y="343"/>
                  <a:pt x="693" y="343"/>
                  <a:pt x="693" y="343"/>
                </a:cubicBezTo>
                <a:cubicBezTo>
                  <a:pt x="692" y="344"/>
                  <a:pt x="692" y="345"/>
                  <a:pt x="691" y="345"/>
                </a:cubicBezTo>
                <a:cubicBezTo>
                  <a:pt x="690" y="346"/>
                  <a:pt x="690" y="345"/>
                  <a:pt x="689" y="345"/>
                </a:cubicBezTo>
                <a:cubicBezTo>
                  <a:pt x="689" y="344"/>
                  <a:pt x="688" y="344"/>
                  <a:pt x="687" y="343"/>
                </a:cubicBezTo>
                <a:cubicBezTo>
                  <a:pt x="687" y="343"/>
                  <a:pt x="687" y="343"/>
                  <a:pt x="686" y="343"/>
                </a:cubicBezTo>
                <a:cubicBezTo>
                  <a:pt x="686" y="343"/>
                  <a:pt x="686" y="343"/>
                  <a:pt x="685" y="343"/>
                </a:cubicBezTo>
                <a:cubicBezTo>
                  <a:pt x="684" y="342"/>
                  <a:pt x="685" y="344"/>
                  <a:pt x="685" y="344"/>
                </a:cubicBezTo>
                <a:cubicBezTo>
                  <a:pt x="684" y="345"/>
                  <a:pt x="684" y="345"/>
                  <a:pt x="684" y="346"/>
                </a:cubicBezTo>
                <a:cubicBezTo>
                  <a:pt x="684" y="346"/>
                  <a:pt x="684" y="346"/>
                  <a:pt x="684" y="347"/>
                </a:cubicBezTo>
                <a:cubicBezTo>
                  <a:pt x="684" y="348"/>
                  <a:pt x="683" y="348"/>
                  <a:pt x="682" y="349"/>
                </a:cubicBezTo>
                <a:cubicBezTo>
                  <a:pt x="682" y="349"/>
                  <a:pt x="682" y="349"/>
                  <a:pt x="682" y="350"/>
                </a:cubicBezTo>
                <a:cubicBezTo>
                  <a:pt x="681" y="350"/>
                  <a:pt x="681" y="350"/>
                  <a:pt x="681" y="351"/>
                </a:cubicBezTo>
                <a:cubicBezTo>
                  <a:pt x="681" y="352"/>
                  <a:pt x="681" y="352"/>
                  <a:pt x="681" y="352"/>
                </a:cubicBezTo>
                <a:cubicBezTo>
                  <a:pt x="681" y="353"/>
                  <a:pt x="680" y="353"/>
                  <a:pt x="681" y="353"/>
                </a:cubicBezTo>
                <a:cubicBezTo>
                  <a:pt x="681" y="354"/>
                  <a:pt x="681" y="354"/>
                  <a:pt x="681" y="354"/>
                </a:cubicBezTo>
                <a:cubicBezTo>
                  <a:pt x="682" y="354"/>
                  <a:pt x="682" y="355"/>
                  <a:pt x="683" y="355"/>
                </a:cubicBezTo>
                <a:cubicBezTo>
                  <a:pt x="683" y="355"/>
                  <a:pt x="684" y="354"/>
                  <a:pt x="685" y="354"/>
                </a:cubicBezTo>
                <a:cubicBezTo>
                  <a:pt x="686" y="354"/>
                  <a:pt x="686" y="354"/>
                  <a:pt x="687" y="354"/>
                </a:cubicBezTo>
                <a:cubicBezTo>
                  <a:pt x="688" y="354"/>
                  <a:pt x="688" y="353"/>
                  <a:pt x="689" y="352"/>
                </a:cubicBezTo>
                <a:cubicBezTo>
                  <a:pt x="689" y="352"/>
                  <a:pt x="690" y="352"/>
                  <a:pt x="690" y="352"/>
                </a:cubicBezTo>
                <a:cubicBezTo>
                  <a:pt x="690" y="351"/>
                  <a:pt x="690" y="351"/>
                  <a:pt x="689" y="352"/>
                </a:cubicBezTo>
                <a:cubicBezTo>
                  <a:pt x="689" y="352"/>
                  <a:pt x="687" y="353"/>
                  <a:pt x="687" y="352"/>
                </a:cubicBezTo>
                <a:cubicBezTo>
                  <a:pt x="688" y="351"/>
                  <a:pt x="689" y="351"/>
                  <a:pt x="689" y="350"/>
                </a:cubicBezTo>
                <a:cubicBezTo>
                  <a:pt x="689" y="349"/>
                  <a:pt x="688" y="349"/>
                  <a:pt x="689" y="349"/>
                </a:cubicBezTo>
                <a:cubicBezTo>
                  <a:pt x="689" y="349"/>
                  <a:pt x="689" y="350"/>
                  <a:pt x="689" y="350"/>
                </a:cubicBezTo>
                <a:cubicBezTo>
                  <a:pt x="690" y="350"/>
                  <a:pt x="690" y="350"/>
                  <a:pt x="691" y="350"/>
                </a:cubicBezTo>
                <a:cubicBezTo>
                  <a:pt x="691" y="350"/>
                  <a:pt x="691" y="350"/>
                  <a:pt x="691" y="351"/>
                </a:cubicBezTo>
                <a:cubicBezTo>
                  <a:pt x="691" y="351"/>
                  <a:pt x="692" y="351"/>
                  <a:pt x="691" y="352"/>
                </a:cubicBezTo>
                <a:cubicBezTo>
                  <a:pt x="691" y="353"/>
                  <a:pt x="691" y="353"/>
                  <a:pt x="691" y="353"/>
                </a:cubicBezTo>
                <a:cubicBezTo>
                  <a:pt x="691" y="354"/>
                  <a:pt x="691" y="355"/>
                  <a:pt x="691" y="356"/>
                </a:cubicBezTo>
                <a:cubicBezTo>
                  <a:pt x="691" y="356"/>
                  <a:pt x="690" y="356"/>
                  <a:pt x="691" y="357"/>
                </a:cubicBezTo>
                <a:cubicBezTo>
                  <a:pt x="691" y="357"/>
                  <a:pt x="693" y="357"/>
                  <a:pt x="693" y="357"/>
                </a:cubicBezTo>
                <a:cubicBezTo>
                  <a:pt x="694" y="358"/>
                  <a:pt x="692" y="358"/>
                  <a:pt x="692" y="358"/>
                </a:cubicBezTo>
                <a:cubicBezTo>
                  <a:pt x="690" y="359"/>
                  <a:pt x="689" y="360"/>
                  <a:pt x="688" y="361"/>
                </a:cubicBezTo>
                <a:cubicBezTo>
                  <a:pt x="687" y="362"/>
                  <a:pt x="686" y="363"/>
                  <a:pt x="686" y="364"/>
                </a:cubicBezTo>
                <a:cubicBezTo>
                  <a:pt x="685" y="364"/>
                  <a:pt x="684" y="365"/>
                  <a:pt x="683" y="365"/>
                </a:cubicBezTo>
                <a:cubicBezTo>
                  <a:pt x="683" y="366"/>
                  <a:pt x="682" y="366"/>
                  <a:pt x="681" y="367"/>
                </a:cubicBezTo>
                <a:cubicBezTo>
                  <a:pt x="681" y="367"/>
                  <a:pt x="680" y="368"/>
                  <a:pt x="679" y="368"/>
                </a:cubicBezTo>
                <a:cubicBezTo>
                  <a:pt x="678" y="368"/>
                  <a:pt x="677" y="368"/>
                  <a:pt x="676" y="368"/>
                </a:cubicBezTo>
                <a:cubicBezTo>
                  <a:pt x="675" y="368"/>
                  <a:pt x="674" y="367"/>
                  <a:pt x="673" y="368"/>
                </a:cubicBezTo>
                <a:cubicBezTo>
                  <a:pt x="672" y="368"/>
                  <a:pt x="671" y="368"/>
                  <a:pt x="671" y="369"/>
                </a:cubicBezTo>
                <a:cubicBezTo>
                  <a:pt x="671" y="369"/>
                  <a:pt x="671" y="370"/>
                  <a:pt x="671" y="370"/>
                </a:cubicBezTo>
                <a:cubicBezTo>
                  <a:pt x="670" y="370"/>
                  <a:pt x="670" y="371"/>
                  <a:pt x="670" y="371"/>
                </a:cubicBezTo>
                <a:cubicBezTo>
                  <a:pt x="670" y="371"/>
                  <a:pt x="669" y="372"/>
                  <a:pt x="669" y="373"/>
                </a:cubicBezTo>
                <a:cubicBezTo>
                  <a:pt x="668" y="373"/>
                  <a:pt x="668" y="374"/>
                  <a:pt x="669" y="375"/>
                </a:cubicBezTo>
                <a:cubicBezTo>
                  <a:pt x="669" y="375"/>
                  <a:pt x="670" y="375"/>
                  <a:pt x="670" y="376"/>
                </a:cubicBezTo>
                <a:cubicBezTo>
                  <a:pt x="671" y="376"/>
                  <a:pt x="672" y="377"/>
                  <a:pt x="672" y="378"/>
                </a:cubicBezTo>
                <a:cubicBezTo>
                  <a:pt x="672" y="378"/>
                  <a:pt x="672" y="379"/>
                  <a:pt x="672" y="380"/>
                </a:cubicBezTo>
                <a:cubicBezTo>
                  <a:pt x="672" y="381"/>
                  <a:pt x="672" y="381"/>
                  <a:pt x="673" y="382"/>
                </a:cubicBezTo>
                <a:cubicBezTo>
                  <a:pt x="673" y="382"/>
                  <a:pt x="673" y="382"/>
                  <a:pt x="673" y="383"/>
                </a:cubicBezTo>
                <a:cubicBezTo>
                  <a:pt x="673" y="384"/>
                  <a:pt x="674" y="385"/>
                  <a:pt x="673" y="385"/>
                </a:cubicBezTo>
                <a:cubicBezTo>
                  <a:pt x="672" y="386"/>
                  <a:pt x="673" y="386"/>
                  <a:pt x="673" y="387"/>
                </a:cubicBezTo>
                <a:cubicBezTo>
                  <a:pt x="673" y="387"/>
                  <a:pt x="673" y="388"/>
                  <a:pt x="673" y="388"/>
                </a:cubicBezTo>
                <a:cubicBezTo>
                  <a:pt x="673" y="388"/>
                  <a:pt x="673" y="389"/>
                  <a:pt x="673" y="389"/>
                </a:cubicBezTo>
                <a:cubicBezTo>
                  <a:pt x="674" y="389"/>
                  <a:pt x="673" y="391"/>
                  <a:pt x="673" y="390"/>
                </a:cubicBezTo>
                <a:cubicBezTo>
                  <a:pt x="672" y="390"/>
                  <a:pt x="672" y="389"/>
                  <a:pt x="672" y="389"/>
                </a:cubicBezTo>
                <a:cubicBezTo>
                  <a:pt x="671" y="390"/>
                  <a:pt x="671" y="390"/>
                  <a:pt x="671" y="390"/>
                </a:cubicBezTo>
                <a:cubicBezTo>
                  <a:pt x="670" y="390"/>
                  <a:pt x="669" y="390"/>
                  <a:pt x="669" y="390"/>
                </a:cubicBezTo>
                <a:cubicBezTo>
                  <a:pt x="668" y="390"/>
                  <a:pt x="668" y="390"/>
                  <a:pt x="668" y="390"/>
                </a:cubicBezTo>
                <a:cubicBezTo>
                  <a:pt x="668" y="390"/>
                  <a:pt x="668" y="390"/>
                  <a:pt x="668" y="390"/>
                </a:cubicBezTo>
                <a:cubicBezTo>
                  <a:pt x="668" y="389"/>
                  <a:pt x="668" y="389"/>
                  <a:pt x="667" y="390"/>
                </a:cubicBezTo>
                <a:cubicBezTo>
                  <a:pt x="667" y="390"/>
                  <a:pt x="666" y="390"/>
                  <a:pt x="666" y="390"/>
                </a:cubicBezTo>
                <a:cubicBezTo>
                  <a:pt x="665" y="390"/>
                  <a:pt x="665" y="390"/>
                  <a:pt x="665" y="390"/>
                </a:cubicBezTo>
                <a:cubicBezTo>
                  <a:pt x="664" y="390"/>
                  <a:pt x="664" y="390"/>
                  <a:pt x="664" y="390"/>
                </a:cubicBezTo>
                <a:cubicBezTo>
                  <a:pt x="664" y="391"/>
                  <a:pt x="665" y="391"/>
                  <a:pt x="665" y="391"/>
                </a:cubicBezTo>
                <a:cubicBezTo>
                  <a:pt x="665" y="391"/>
                  <a:pt x="665" y="392"/>
                  <a:pt x="665" y="392"/>
                </a:cubicBezTo>
                <a:cubicBezTo>
                  <a:pt x="666" y="392"/>
                  <a:pt x="666" y="392"/>
                  <a:pt x="666" y="393"/>
                </a:cubicBezTo>
                <a:cubicBezTo>
                  <a:pt x="666" y="393"/>
                  <a:pt x="666" y="393"/>
                  <a:pt x="666" y="393"/>
                </a:cubicBezTo>
                <a:cubicBezTo>
                  <a:pt x="665" y="393"/>
                  <a:pt x="665" y="392"/>
                  <a:pt x="664" y="392"/>
                </a:cubicBezTo>
                <a:cubicBezTo>
                  <a:pt x="664" y="391"/>
                  <a:pt x="664" y="391"/>
                  <a:pt x="663" y="391"/>
                </a:cubicBezTo>
                <a:cubicBezTo>
                  <a:pt x="663" y="390"/>
                  <a:pt x="663" y="390"/>
                  <a:pt x="663" y="390"/>
                </a:cubicBezTo>
                <a:cubicBezTo>
                  <a:pt x="662" y="389"/>
                  <a:pt x="662" y="389"/>
                  <a:pt x="661" y="388"/>
                </a:cubicBezTo>
                <a:cubicBezTo>
                  <a:pt x="661" y="388"/>
                  <a:pt x="661" y="388"/>
                  <a:pt x="661" y="388"/>
                </a:cubicBezTo>
                <a:cubicBezTo>
                  <a:pt x="661" y="388"/>
                  <a:pt x="661" y="388"/>
                  <a:pt x="661" y="387"/>
                </a:cubicBezTo>
                <a:cubicBezTo>
                  <a:pt x="661" y="387"/>
                  <a:pt x="661" y="387"/>
                  <a:pt x="661" y="387"/>
                </a:cubicBezTo>
                <a:cubicBezTo>
                  <a:pt x="662" y="387"/>
                  <a:pt x="661" y="388"/>
                  <a:pt x="661" y="388"/>
                </a:cubicBezTo>
                <a:cubicBezTo>
                  <a:pt x="662" y="388"/>
                  <a:pt x="662" y="388"/>
                  <a:pt x="662" y="388"/>
                </a:cubicBezTo>
                <a:cubicBezTo>
                  <a:pt x="663" y="389"/>
                  <a:pt x="664" y="390"/>
                  <a:pt x="664" y="389"/>
                </a:cubicBezTo>
                <a:cubicBezTo>
                  <a:pt x="664" y="388"/>
                  <a:pt x="664" y="388"/>
                  <a:pt x="665" y="388"/>
                </a:cubicBezTo>
                <a:cubicBezTo>
                  <a:pt x="665" y="388"/>
                  <a:pt x="665" y="388"/>
                  <a:pt x="666" y="389"/>
                </a:cubicBezTo>
                <a:cubicBezTo>
                  <a:pt x="666" y="389"/>
                  <a:pt x="667" y="389"/>
                  <a:pt x="668" y="389"/>
                </a:cubicBezTo>
                <a:cubicBezTo>
                  <a:pt x="668" y="389"/>
                  <a:pt x="669" y="389"/>
                  <a:pt x="669" y="389"/>
                </a:cubicBezTo>
                <a:cubicBezTo>
                  <a:pt x="670" y="390"/>
                  <a:pt x="670" y="390"/>
                  <a:pt x="670" y="390"/>
                </a:cubicBezTo>
                <a:cubicBezTo>
                  <a:pt x="671" y="390"/>
                  <a:pt x="671" y="390"/>
                  <a:pt x="671" y="389"/>
                </a:cubicBezTo>
                <a:cubicBezTo>
                  <a:pt x="671" y="389"/>
                  <a:pt x="671" y="389"/>
                  <a:pt x="672" y="389"/>
                </a:cubicBezTo>
                <a:cubicBezTo>
                  <a:pt x="672" y="389"/>
                  <a:pt x="673" y="389"/>
                  <a:pt x="673" y="388"/>
                </a:cubicBezTo>
                <a:cubicBezTo>
                  <a:pt x="673" y="388"/>
                  <a:pt x="672" y="388"/>
                  <a:pt x="672" y="388"/>
                </a:cubicBezTo>
                <a:cubicBezTo>
                  <a:pt x="671" y="387"/>
                  <a:pt x="673" y="386"/>
                  <a:pt x="672" y="386"/>
                </a:cubicBezTo>
                <a:cubicBezTo>
                  <a:pt x="671" y="385"/>
                  <a:pt x="671" y="386"/>
                  <a:pt x="671" y="385"/>
                </a:cubicBezTo>
                <a:cubicBezTo>
                  <a:pt x="671" y="385"/>
                  <a:pt x="671" y="385"/>
                  <a:pt x="671" y="385"/>
                </a:cubicBezTo>
                <a:cubicBezTo>
                  <a:pt x="670" y="383"/>
                  <a:pt x="669" y="385"/>
                  <a:pt x="668" y="385"/>
                </a:cubicBezTo>
                <a:cubicBezTo>
                  <a:pt x="668" y="384"/>
                  <a:pt x="669" y="384"/>
                  <a:pt x="669" y="383"/>
                </a:cubicBezTo>
                <a:cubicBezTo>
                  <a:pt x="669" y="383"/>
                  <a:pt x="670" y="383"/>
                  <a:pt x="670" y="383"/>
                </a:cubicBezTo>
                <a:cubicBezTo>
                  <a:pt x="670" y="382"/>
                  <a:pt x="670" y="382"/>
                  <a:pt x="670" y="381"/>
                </a:cubicBezTo>
                <a:cubicBezTo>
                  <a:pt x="670" y="381"/>
                  <a:pt x="670" y="381"/>
                  <a:pt x="670" y="381"/>
                </a:cubicBezTo>
                <a:cubicBezTo>
                  <a:pt x="669" y="382"/>
                  <a:pt x="669" y="382"/>
                  <a:pt x="669" y="382"/>
                </a:cubicBezTo>
                <a:cubicBezTo>
                  <a:pt x="669" y="382"/>
                  <a:pt x="669" y="381"/>
                  <a:pt x="669" y="381"/>
                </a:cubicBezTo>
                <a:cubicBezTo>
                  <a:pt x="668" y="381"/>
                  <a:pt x="667" y="382"/>
                  <a:pt x="667" y="382"/>
                </a:cubicBezTo>
                <a:cubicBezTo>
                  <a:pt x="666" y="382"/>
                  <a:pt x="666" y="382"/>
                  <a:pt x="666" y="383"/>
                </a:cubicBezTo>
                <a:cubicBezTo>
                  <a:pt x="665" y="383"/>
                  <a:pt x="665" y="384"/>
                  <a:pt x="665" y="384"/>
                </a:cubicBezTo>
                <a:cubicBezTo>
                  <a:pt x="664" y="384"/>
                  <a:pt x="663" y="384"/>
                  <a:pt x="663" y="384"/>
                </a:cubicBezTo>
                <a:cubicBezTo>
                  <a:pt x="663" y="384"/>
                  <a:pt x="662" y="383"/>
                  <a:pt x="662" y="383"/>
                </a:cubicBezTo>
                <a:cubicBezTo>
                  <a:pt x="663" y="383"/>
                  <a:pt x="663" y="382"/>
                  <a:pt x="663" y="382"/>
                </a:cubicBezTo>
                <a:cubicBezTo>
                  <a:pt x="663" y="381"/>
                  <a:pt x="664" y="381"/>
                  <a:pt x="664" y="381"/>
                </a:cubicBezTo>
                <a:cubicBezTo>
                  <a:pt x="664" y="381"/>
                  <a:pt x="663" y="380"/>
                  <a:pt x="662" y="380"/>
                </a:cubicBezTo>
                <a:cubicBezTo>
                  <a:pt x="662" y="380"/>
                  <a:pt x="662" y="380"/>
                  <a:pt x="661" y="380"/>
                </a:cubicBezTo>
                <a:cubicBezTo>
                  <a:pt x="661" y="380"/>
                  <a:pt x="660" y="379"/>
                  <a:pt x="660" y="378"/>
                </a:cubicBezTo>
                <a:cubicBezTo>
                  <a:pt x="660" y="378"/>
                  <a:pt x="661" y="378"/>
                  <a:pt x="661" y="377"/>
                </a:cubicBezTo>
                <a:cubicBezTo>
                  <a:pt x="662" y="377"/>
                  <a:pt x="661" y="377"/>
                  <a:pt x="661" y="376"/>
                </a:cubicBezTo>
                <a:cubicBezTo>
                  <a:pt x="661" y="375"/>
                  <a:pt x="662" y="376"/>
                  <a:pt x="663" y="376"/>
                </a:cubicBezTo>
                <a:cubicBezTo>
                  <a:pt x="664" y="376"/>
                  <a:pt x="663" y="375"/>
                  <a:pt x="663" y="374"/>
                </a:cubicBezTo>
                <a:cubicBezTo>
                  <a:pt x="663" y="373"/>
                  <a:pt x="663" y="372"/>
                  <a:pt x="663" y="372"/>
                </a:cubicBezTo>
                <a:cubicBezTo>
                  <a:pt x="663" y="371"/>
                  <a:pt x="664" y="370"/>
                  <a:pt x="664" y="369"/>
                </a:cubicBezTo>
                <a:cubicBezTo>
                  <a:pt x="664" y="369"/>
                  <a:pt x="665" y="368"/>
                  <a:pt x="664" y="367"/>
                </a:cubicBezTo>
                <a:cubicBezTo>
                  <a:pt x="664" y="366"/>
                  <a:pt x="665" y="366"/>
                  <a:pt x="665" y="365"/>
                </a:cubicBezTo>
                <a:cubicBezTo>
                  <a:pt x="665" y="364"/>
                  <a:pt x="664" y="365"/>
                  <a:pt x="663" y="366"/>
                </a:cubicBezTo>
                <a:cubicBezTo>
                  <a:pt x="663" y="366"/>
                  <a:pt x="662" y="366"/>
                  <a:pt x="662" y="366"/>
                </a:cubicBezTo>
                <a:cubicBezTo>
                  <a:pt x="662" y="366"/>
                  <a:pt x="661" y="367"/>
                  <a:pt x="661" y="367"/>
                </a:cubicBezTo>
                <a:cubicBezTo>
                  <a:pt x="660" y="368"/>
                  <a:pt x="660" y="368"/>
                  <a:pt x="659" y="368"/>
                </a:cubicBezTo>
                <a:cubicBezTo>
                  <a:pt x="658" y="368"/>
                  <a:pt x="658" y="369"/>
                  <a:pt x="658" y="369"/>
                </a:cubicBezTo>
                <a:cubicBezTo>
                  <a:pt x="657" y="369"/>
                  <a:pt x="657" y="369"/>
                  <a:pt x="656" y="369"/>
                </a:cubicBezTo>
                <a:cubicBezTo>
                  <a:pt x="656" y="369"/>
                  <a:pt x="656" y="368"/>
                  <a:pt x="656" y="368"/>
                </a:cubicBezTo>
                <a:cubicBezTo>
                  <a:pt x="657" y="367"/>
                  <a:pt x="657" y="368"/>
                  <a:pt x="657" y="368"/>
                </a:cubicBezTo>
                <a:cubicBezTo>
                  <a:pt x="658" y="367"/>
                  <a:pt x="658" y="367"/>
                  <a:pt x="658" y="367"/>
                </a:cubicBezTo>
                <a:cubicBezTo>
                  <a:pt x="658" y="367"/>
                  <a:pt x="658" y="367"/>
                  <a:pt x="658" y="367"/>
                </a:cubicBezTo>
                <a:cubicBezTo>
                  <a:pt x="658" y="366"/>
                  <a:pt x="659" y="366"/>
                  <a:pt x="659" y="366"/>
                </a:cubicBezTo>
                <a:cubicBezTo>
                  <a:pt x="659" y="365"/>
                  <a:pt x="658" y="366"/>
                  <a:pt x="658" y="365"/>
                </a:cubicBezTo>
                <a:cubicBezTo>
                  <a:pt x="658" y="364"/>
                  <a:pt x="658" y="364"/>
                  <a:pt x="657" y="363"/>
                </a:cubicBezTo>
                <a:cubicBezTo>
                  <a:pt x="657" y="363"/>
                  <a:pt x="657" y="364"/>
                  <a:pt x="656" y="364"/>
                </a:cubicBezTo>
                <a:cubicBezTo>
                  <a:pt x="656" y="364"/>
                  <a:pt x="655" y="364"/>
                  <a:pt x="654" y="364"/>
                </a:cubicBezTo>
                <a:cubicBezTo>
                  <a:pt x="653" y="364"/>
                  <a:pt x="654" y="363"/>
                  <a:pt x="654" y="362"/>
                </a:cubicBezTo>
                <a:cubicBezTo>
                  <a:pt x="653" y="362"/>
                  <a:pt x="653" y="362"/>
                  <a:pt x="653" y="362"/>
                </a:cubicBezTo>
                <a:cubicBezTo>
                  <a:pt x="652" y="362"/>
                  <a:pt x="652" y="361"/>
                  <a:pt x="652" y="361"/>
                </a:cubicBezTo>
                <a:cubicBezTo>
                  <a:pt x="651" y="360"/>
                  <a:pt x="650" y="360"/>
                  <a:pt x="650" y="361"/>
                </a:cubicBezTo>
                <a:cubicBezTo>
                  <a:pt x="649" y="361"/>
                  <a:pt x="648" y="361"/>
                  <a:pt x="647" y="361"/>
                </a:cubicBezTo>
                <a:cubicBezTo>
                  <a:pt x="646" y="360"/>
                  <a:pt x="646" y="360"/>
                  <a:pt x="645" y="359"/>
                </a:cubicBezTo>
                <a:cubicBezTo>
                  <a:pt x="645" y="359"/>
                  <a:pt x="645" y="359"/>
                  <a:pt x="645" y="359"/>
                </a:cubicBezTo>
                <a:cubicBezTo>
                  <a:pt x="644" y="359"/>
                  <a:pt x="644" y="359"/>
                  <a:pt x="643" y="359"/>
                </a:cubicBezTo>
                <a:cubicBezTo>
                  <a:pt x="643" y="359"/>
                  <a:pt x="643" y="358"/>
                  <a:pt x="642" y="358"/>
                </a:cubicBezTo>
                <a:cubicBezTo>
                  <a:pt x="642" y="359"/>
                  <a:pt x="642" y="359"/>
                  <a:pt x="643" y="359"/>
                </a:cubicBezTo>
                <a:cubicBezTo>
                  <a:pt x="643" y="360"/>
                  <a:pt x="643" y="360"/>
                  <a:pt x="643" y="360"/>
                </a:cubicBezTo>
                <a:cubicBezTo>
                  <a:pt x="643" y="361"/>
                  <a:pt x="644" y="361"/>
                  <a:pt x="644" y="361"/>
                </a:cubicBezTo>
                <a:cubicBezTo>
                  <a:pt x="644" y="361"/>
                  <a:pt x="645" y="362"/>
                  <a:pt x="644" y="362"/>
                </a:cubicBezTo>
                <a:cubicBezTo>
                  <a:pt x="644" y="362"/>
                  <a:pt x="643" y="362"/>
                  <a:pt x="643" y="362"/>
                </a:cubicBezTo>
                <a:cubicBezTo>
                  <a:pt x="643" y="362"/>
                  <a:pt x="642" y="363"/>
                  <a:pt x="642" y="363"/>
                </a:cubicBezTo>
                <a:cubicBezTo>
                  <a:pt x="641" y="363"/>
                  <a:pt x="641" y="363"/>
                  <a:pt x="640" y="363"/>
                </a:cubicBezTo>
                <a:cubicBezTo>
                  <a:pt x="640" y="363"/>
                  <a:pt x="639" y="363"/>
                  <a:pt x="639" y="363"/>
                </a:cubicBezTo>
                <a:cubicBezTo>
                  <a:pt x="639" y="363"/>
                  <a:pt x="639" y="363"/>
                  <a:pt x="638" y="363"/>
                </a:cubicBezTo>
                <a:cubicBezTo>
                  <a:pt x="638" y="362"/>
                  <a:pt x="638" y="362"/>
                  <a:pt x="637" y="362"/>
                </a:cubicBezTo>
                <a:cubicBezTo>
                  <a:pt x="636" y="362"/>
                  <a:pt x="636" y="362"/>
                  <a:pt x="635" y="362"/>
                </a:cubicBezTo>
                <a:cubicBezTo>
                  <a:pt x="635" y="361"/>
                  <a:pt x="634" y="361"/>
                  <a:pt x="634" y="362"/>
                </a:cubicBezTo>
                <a:cubicBezTo>
                  <a:pt x="634" y="362"/>
                  <a:pt x="634" y="362"/>
                  <a:pt x="635" y="362"/>
                </a:cubicBezTo>
                <a:cubicBezTo>
                  <a:pt x="635" y="363"/>
                  <a:pt x="636" y="364"/>
                  <a:pt x="636" y="364"/>
                </a:cubicBezTo>
                <a:cubicBezTo>
                  <a:pt x="636" y="365"/>
                  <a:pt x="638" y="365"/>
                  <a:pt x="638" y="366"/>
                </a:cubicBezTo>
                <a:cubicBezTo>
                  <a:pt x="638" y="366"/>
                  <a:pt x="638" y="368"/>
                  <a:pt x="637" y="367"/>
                </a:cubicBezTo>
                <a:cubicBezTo>
                  <a:pt x="637" y="367"/>
                  <a:pt x="637" y="366"/>
                  <a:pt x="636" y="366"/>
                </a:cubicBezTo>
                <a:cubicBezTo>
                  <a:pt x="636" y="366"/>
                  <a:pt x="636" y="367"/>
                  <a:pt x="636" y="367"/>
                </a:cubicBezTo>
                <a:cubicBezTo>
                  <a:pt x="636" y="368"/>
                  <a:pt x="638" y="368"/>
                  <a:pt x="636" y="369"/>
                </a:cubicBezTo>
                <a:cubicBezTo>
                  <a:pt x="636" y="369"/>
                  <a:pt x="635" y="369"/>
                  <a:pt x="635" y="368"/>
                </a:cubicBezTo>
                <a:cubicBezTo>
                  <a:pt x="635" y="368"/>
                  <a:pt x="635" y="368"/>
                  <a:pt x="634" y="368"/>
                </a:cubicBezTo>
                <a:cubicBezTo>
                  <a:pt x="634" y="368"/>
                  <a:pt x="634" y="368"/>
                  <a:pt x="634" y="369"/>
                </a:cubicBezTo>
                <a:cubicBezTo>
                  <a:pt x="634" y="369"/>
                  <a:pt x="634" y="369"/>
                  <a:pt x="634" y="370"/>
                </a:cubicBezTo>
                <a:cubicBezTo>
                  <a:pt x="634" y="370"/>
                  <a:pt x="634" y="370"/>
                  <a:pt x="635" y="370"/>
                </a:cubicBezTo>
                <a:cubicBezTo>
                  <a:pt x="635" y="371"/>
                  <a:pt x="635" y="371"/>
                  <a:pt x="635" y="371"/>
                </a:cubicBezTo>
                <a:cubicBezTo>
                  <a:pt x="635" y="372"/>
                  <a:pt x="634" y="373"/>
                  <a:pt x="633" y="373"/>
                </a:cubicBezTo>
                <a:cubicBezTo>
                  <a:pt x="632" y="374"/>
                  <a:pt x="631" y="375"/>
                  <a:pt x="629" y="374"/>
                </a:cubicBezTo>
                <a:cubicBezTo>
                  <a:pt x="629" y="374"/>
                  <a:pt x="628" y="374"/>
                  <a:pt x="627" y="374"/>
                </a:cubicBezTo>
                <a:cubicBezTo>
                  <a:pt x="626" y="373"/>
                  <a:pt x="625" y="373"/>
                  <a:pt x="625" y="373"/>
                </a:cubicBezTo>
                <a:cubicBezTo>
                  <a:pt x="624" y="373"/>
                  <a:pt x="623" y="373"/>
                  <a:pt x="622" y="373"/>
                </a:cubicBezTo>
                <a:cubicBezTo>
                  <a:pt x="621" y="372"/>
                  <a:pt x="620" y="372"/>
                  <a:pt x="620" y="372"/>
                </a:cubicBezTo>
                <a:cubicBezTo>
                  <a:pt x="619" y="372"/>
                  <a:pt x="618" y="372"/>
                  <a:pt x="618" y="372"/>
                </a:cubicBezTo>
                <a:cubicBezTo>
                  <a:pt x="617" y="372"/>
                  <a:pt x="616" y="372"/>
                  <a:pt x="616" y="372"/>
                </a:cubicBezTo>
                <a:cubicBezTo>
                  <a:pt x="615" y="372"/>
                  <a:pt x="614" y="372"/>
                  <a:pt x="613" y="373"/>
                </a:cubicBezTo>
                <a:cubicBezTo>
                  <a:pt x="612" y="373"/>
                  <a:pt x="612" y="373"/>
                  <a:pt x="611" y="373"/>
                </a:cubicBezTo>
                <a:cubicBezTo>
                  <a:pt x="611" y="373"/>
                  <a:pt x="610" y="374"/>
                  <a:pt x="610" y="374"/>
                </a:cubicBezTo>
                <a:cubicBezTo>
                  <a:pt x="609" y="374"/>
                  <a:pt x="608" y="374"/>
                  <a:pt x="608" y="374"/>
                </a:cubicBezTo>
                <a:cubicBezTo>
                  <a:pt x="607" y="374"/>
                  <a:pt x="607" y="374"/>
                  <a:pt x="606" y="375"/>
                </a:cubicBezTo>
                <a:cubicBezTo>
                  <a:pt x="605" y="375"/>
                  <a:pt x="604" y="375"/>
                  <a:pt x="602" y="375"/>
                </a:cubicBezTo>
                <a:cubicBezTo>
                  <a:pt x="601" y="375"/>
                  <a:pt x="599" y="375"/>
                  <a:pt x="597" y="375"/>
                </a:cubicBezTo>
                <a:cubicBezTo>
                  <a:pt x="596" y="374"/>
                  <a:pt x="595" y="374"/>
                  <a:pt x="594" y="374"/>
                </a:cubicBezTo>
                <a:cubicBezTo>
                  <a:pt x="593" y="374"/>
                  <a:pt x="592" y="373"/>
                  <a:pt x="591" y="373"/>
                </a:cubicBezTo>
                <a:cubicBezTo>
                  <a:pt x="590" y="373"/>
                  <a:pt x="590" y="373"/>
                  <a:pt x="589" y="373"/>
                </a:cubicBezTo>
                <a:cubicBezTo>
                  <a:pt x="588" y="373"/>
                  <a:pt x="587" y="372"/>
                  <a:pt x="587" y="371"/>
                </a:cubicBezTo>
                <a:cubicBezTo>
                  <a:pt x="586" y="371"/>
                  <a:pt x="586" y="370"/>
                  <a:pt x="585" y="370"/>
                </a:cubicBezTo>
                <a:cubicBezTo>
                  <a:pt x="584" y="370"/>
                  <a:pt x="584" y="370"/>
                  <a:pt x="583" y="369"/>
                </a:cubicBezTo>
                <a:cubicBezTo>
                  <a:pt x="583" y="369"/>
                  <a:pt x="582" y="369"/>
                  <a:pt x="582" y="368"/>
                </a:cubicBezTo>
                <a:cubicBezTo>
                  <a:pt x="581" y="368"/>
                  <a:pt x="581" y="368"/>
                  <a:pt x="580" y="368"/>
                </a:cubicBezTo>
                <a:cubicBezTo>
                  <a:pt x="579" y="368"/>
                  <a:pt x="579" y="369"/>
                  <a:pt x="578" y="369"/>
                </a:cubicBezTo>
                <a:cubicBezTo>
                  <a:pt x="577" y="369"/>
                  <a:pt x="575" y="369"/>
                  <a:pt x="573" y="369"/>
                </a:cubicBezTo>
                <a:cubicBezTo>
                  <a:pt x="572" y="369"/>
                  <a:pt x="572" y="368"/>
                  <a:pt x="571" y="368"/>
                </a:cubicBezTo>
                <a:cubicBezTo>
                  <a:pt x="570" y="368"/>
                  <a:pt x="569" y="369"/>
                  <a:pt x="568" y="368"/>
                </a:cubicBezTo>
                <a:cubicBezTo>
                  <a:pt x="568" y="368"/>
                  <a:pt x="568" y="368"/>
                  <a:pt x="568" y="367"/>
                </a:cubicBezTo>
                <a:cubicBezTo>
                  <a:pt x="567" y="367"/>
                  <a:pt x="567" y="367"/>
                  <a:pt x="567" y="367"/>
                </a:cubicBezTo>
                <a:cubicBezTo>
                  <a:pt x="566" y="366"/>
                  <a:pt x="567" y="365"/>
                  <a:pt x="566" y="365"/>
                </a:cubicBezTo>
                <a:cubicBezTo>
                  <a:pt x="566" y="364"/>
                  <a:pt x="565" y="365"/>
                  <a:pt x="564" y="365"/>
                </a:cubicBezTo>
                <a:cubicBezTo>
                  <a:pt x="563" y="364"/>
                  <a:pt x="563" y="364"/>
                  <a:pt x="562" y="364"/>
                </a:cubicBezTo>
                <a:cubicBezTo>
                  <a:pt x="562" y="364"/>
                  <a:pt x="561" y="364"/>
                  <a:pt x="561" y="363"/>
                </a:cubicBezTo>
                <a:cubicBezTo>
                  <a:pt x="561" y="363"/>
                  <a:pt x="561" y="363"/>
                  <a:pt x="560" y="363"/>
                </a:cubicBezTo>
                <a:cubicBezTo>
                  <a:pt x="560" y="363"/>
                  <a:pt x="560" y="363"/>
                  <a:pt x="559" y="363"/>
                </a:cubicBezTo>
                <a:cubicBezTo>
                  <a:pt x="559" y="362"/>
                  <a:pt x="559" y="361"/>
                  <a:pt x="559" y="361"/>
                </a:cubicBezTo>
                <a:cubicBezTo>
                  <a:pt x="558" y="361"/>
                  <a:pt x="558" y="361"/>
                  <a:pt x="557" y="361"/>
                </a:cubicBezTo>
                <a:cubicBezTo>
                  <a:pt x="557" y="360"/>
                  <a:pt x="558" y="360"/>
                  <a:pt x="558" y="360"/>
                </a:cubicBezTo>
                <a:cubicBezTo>
                  <a:pt x="559" y="360"/>
                  <a:pt x="559" y="359"/>
                  <a:pt x="559" y="359"/>
                </a:cubicBezTo>
                <a:cubicBezTo>
                  <a:pt x="559" y="358"/>
                  <a:pt x="558" y="358"/>
                  <a:pt x="557" y="357"/>
                </a:cubicBezTo>
                <a:cubicBezTo>
                  <a:pt x="557" y="356"/>
                  <a:pt x="557" y="355"/>
                  <a:pt x="557" y="355"/>
                </a:cubicBezTo>
                <a:cubicBezTo>
                  <a:pt x="557" y="354"/>
                  <a:pt x="556" y="354"/>
                  <a:pt x="555" y="353"/>
                </a:cubicBezTo>
                <a:cubicBezTo>
                  <a:pt x="554" y="352"/>
                  <a:pt x="553" y="352"/>
                  <a:pt x="552" y="351"/>
                </a:cubicBezTo>
                <a:cubicBezTo>
                  <a:pt x="551" y="351"/>
                  <a:pt x="550" y="351"/>
                  <a:pt x="549" y="351"/>
                </a:cubicBezTo>
                <a:cubicBezTo>
                  <a:pt x="548" y="351"/>
                  <a:pt x="548" y="351"/>
                  <a:pt x="547" y="351"/>
                </a:cubicBezTo>
                <a:cubicBezTo>
                  <a:pt x="546" y="352"/>
                  <a:pt x="546" y="352"/>
                  <a:pt x="546" y="352"/>
                </a:cubicBezTo>
                <a:cubicBezTo>
                  <a:pt x="545" y="352"/>
                  <a:pt x="545" y="352"/>
                  <a:pt x="544" y="352"/>
                </a:cubicBezTo>
                <a:cubicBezTo>
                  <a:pt x="544" y="353"/>
                  <a:pt x="543" y="353"/>
                  <a:pt x="543" y="353"/>
                </a:cubicBezTo>
                <a:cubicBezTo>
                  <a:pt x="542" y="353"/>
                  <a:pt x="542" y="353"/>
                  <a:pt x="542" y="353"/>
                </a:cubicBezTo>
                <a:cubicBezTo>
                  <a:pt x="541" y="353"/>
                  <a:pt x="541" y="353"/>
                  <a:pt x="541" y="353"/>
                </a:cubicBezTo>
                <a:cubicBezTo>
                  <a:pt x="540" y="353"/>
                  <a:pt x="540" y="354"/>
                  <a:pt x="539" y="354"/>
                </a:cubicBezTo>
                <a:cubicBezTo>
                  <a:pt x="537" y="354"/>
                  <a:pt x="534" y="355"/>
                  <a:pt x="532" y="356"/>
                </a:cubicBezTo>
                <a:cubicBezTo>
                  <a:pt x="530" y="356"/>
                  <a:pt x="528" y="356"/>
                  <a:pt x="526" y="357"/>
                </a:cubicBezTo>
                <a:cubicBezTo>
                  <a:pt x="525" y="357"/>
                  <a:pt x="524" y="357"/>
                  <a:pt x="524" y="358"/>
                </a:cubicBezTo>
                <a:cubicBezTo>
                  <a:pt x="523" y="358"/>
                  <a:pt x="523" y="359"/>
                  <a:pt x="523" y="360"/>
                </a:cubicBezTo>
                <a:cubicBezTo>
                  <a:pt x="522" y="361"/>
                  <a:pt x="522" y="362"/>
                  <a:pt x="521" y="362"/>
                </a:cubicBezTo>
                <a:cubicBezTo>
                  <a:pt x="520" y="362"/>
                  <a:pt x="519" y="363"/>
                  <a:pt x="519" y="364"/>
                </a:cubicBezTo>
                <a:cubicBezTo>
                  <a:pt x="519" y="364"/>
                  <a:pt x="523" y="363"/>
                  <a:pt x="523" y="363"/>
                </a:cubicBezTo>
                <a:cubicBezTo>
                  <a:pt x="524" y="364"/>
                  <a:pt x="523" y="364"/>
                  <a:pt x="523" y="364"/>
                </a:cubicBezTo>
                <a:cubicBezTo>
                  <a:pt x="524" y="365"/>
                  <a:pt x="524" y="365"/>
                  <a:pt x="525" y="365"/>
                </a:cubicBezTo>
                <a:cubicBezTo>
                  <a:pt x="526" y="365"/>
                  <a:pt x="527" y="365"/>
                  <a:pt x="528" y="365"/>
                </a:cubicBezTo>
                <a:cubicBezTo>
                  <a:pt x="529" y="365"/>
                  <a:pt x="529" y="365"/>
                  <a:pt x="530" y="365"/>
                </a:cubicBezTo>
                <a:cubicBezTo>
                  <a:pt x="530" y="366"/>
                  <a:pt x="531" y="366"/>
                  <a:pt x="532" y="366"/>
                </a:cubicBezTo>
                <a:cubicBezTo>
                  <a:pt x="532" y="366"/>
                  <a:pt x="533" y="366"/>
                  <a:pt x="533" y="365"/>
                </a:cubicBezTo>
                <a:cubicBezTo>
                  <a:pt x="532" y="365"/>
                  <a:pt x="532" y="365"/>
                  <a:pt x="532" y="365"/>
                </a:cubicBezTo>
                <a:cubicBezTo>
                  <a:pt x="531" y="365"/>
                  <a:pt x="531" y="364"/>
                  <a:pt x="531" y="364"/>
                </a:cubicBezTo>
                <a:cubicBezTo>
                  <a:pt x="530" y="364"/>
                  <a:pt x="530" y="363"/>
                  <a:pt x="531" y="362"/>
                </a:cubicBezTo>
                <a:cubicBezTo>
                  <a:pt x="532" y="362"/>
                  <a:pt x="533" y="362"/>
                  <a:pt x="534" y="363"/>
                </a:cubicBezTo>
                <a:cubicBezTo>
                  <a:pt x="535" y="363"/>
                  <a:pt x="535" y="363"/>
                  <a:pt x="536" y="363"/>
                </a:cubicBezTo>
                <a:cubicBezTo>
                  <a:pt x="536" y="364"/>
                  <a:pt x="536" y="364"/>
                  <a:pt x="537" y="364"/>
                </a:cubicBezTo>
                <a:cubicBezTo>
                  <a:pt x="537" y="364"/>
                  <a:pt x="538" y="364"/>
                  <a:pt x="539" y="364"/>
                </a:cubicBezTo>
                <a:cubicBezTo>
                  <a:pt x="539" y="363"/>
                  <a:pt x="539" y="363"/>
                  <a:pt x="540" y="362"/>
                </a:cubicBezTo>
                <a:cubicBezTo>
                  <a:pt x="540" y="362"/>
                  <a:pt x="542" y="361"/>
                  <a:pt x="542" y="362"/>
                </a:cubicBezTo>
                <a:cubicBezTo>
                  <a:pt x="543" y="362"/>
                  <a:pt x="543" y="362"/>
                  <a:pt x="543" y="362"/>
                </a:cubicBezTo>
                <a:cubicBezTo>
                  <a:pt x="543" y="362"/>
                  <a:pt x="544" y="362"/>
                  <a:pt x="544" y="363"/>
                </a:cubicBezTo>
                <a:cubicBezTo>
                  <a:pt x="544" y="363"/>
                  <a:pt x="544" y="363"/>
                  <a:pt x="544" y="363"/>
                </a:cubicBezTo>
                <a:cubicBezTo>
                  <a:pt x="544" y="363"/>
                  <a:pt x="545" y="364"/>
                  <a:pt x="545" y="363"/>
                </a:cubicBezTo>
                <a:cubicBezTo>
                  <a:pt x="545" y="363"/>
                  <a:pt x="545" y="363"/>
                  <a:pt x="545" y="363"/>
                </a:cubicBezTo>
                <a:cubicBezTo>
                  <a:pt x="545" y="362"/>
                  <a:pt x="545" y="362"/>
                  <a:pt x="545" y="361"/>
                </a:cubicBezTo>
                <a:cubicBezTo>
                  <a:pt x="545" y="361"/>
                  <a:pt x="545" y="361"/>
                  <a:pt x="545" y="360"/>
                </a:cubicBezTo>
                <a:cubicBezTo>
                  <a:pt x="545" y="359"/>
                  <a:pt x="546" y="359"/>
                  <a:pt x="546" y="359"/>
                </a:cubicBezTo>
                <a:cubicBezTo>
                  <a:pt x="547" y="358"/>
                  <a:pt x="548" y="358"/>
                  <a:pt x="549" y="358"/>
                </a:cubicBezTo>
                <a:cubicBezTo>
                  <a:pt x="550" y="358"/>
                  <a:pt x="550" y="357"/>
                  <a:pt x="551" y="357"/>
                </a:cubicBezTo>
                <a:cubicBezTo>
                  <a:pt x="552" y="357"/>
                  <a:pt x="553" y="356"/>
                  <a:pt x="554" y="356"/>
                </a:cubicBezTo>
                <a:cubicBezTo>
                  <a:pt x="554" y="356"/>
                  <a:pt x="555" y="357"/>
                  <a:pt x="555" y="357"/>
                </a:cubicBezTo>
                <a:cubicBezTo>
                  <a:pt x="554" y="357"/>
                  <a:pt x="554" y="357"/>
                  <a:pt x="554" y="358"/>
                </a:cubicBezTo>
                <a:cubicBezTo>
                  <a:pt x="553" y="359"/>
                  <a:pt x="555" y="359"/>
                  <a:pt x="554" y="360"/>
                </a:cubicBezTo>
                <a:cubicBezTo>
                  <a:pt x="554" y="360"/>
                  <a:pt x="553" y="360"/>
                  <a:pt x="552" y="361"/>
                </a:cubicBezTo>
                <a:cubicBezTo>
                  <a:pt x="552" y="361"/>
                  <a:pt x="552" y="361"/>
                  <a:pt x="551" y="361"/>
                </a:cubicBezTo>
                <a:cubicBezTo>
                  <a:pt x="551" y="361"/>
                  <a:pt x="551" y="361"/>
                  <a:pt x="550" y="361"/>
                </a:cubicBezTo>
                <a:cubicBezTo>
                  <a:pt x="550" y="361"/>
                  <a:pt x="550" y="361"/>
                  <a:pt x="549" y="361"/>
                </a:cubicBezTo>
                <a:cubicBezTo>
                  <a:pt x="549" y="361"/>
                  <a:pt x="548" y="361"/>
                  <a:pt x="548" y="361"/>
                </a:cubicBezTo>
                <a:cubicBezTo>
                  <a:pt x="547" y="362"/>
                  <a:pt x="547" y="362"/>
                  <a:pt x="547" y="362"/>
                </a:cubicBezTo>
                <a:cubicBezTo>
                  <a:pt x="547" y="362"/>
                  <a:pt x="546" y="362"/>
                  <a:pt x="546" y="363"/>
                </a:cubicBezTo>
                <a:cubicBezTo>
                  <a:pt x="545" y="363"/>
                  <a:pt x="546" y="364"/>
                  <a:pt x="546" y="365"/>
                </a:cubicBezTo>
                <a:cubicBezTo>
                  <a:pt x="546" y="365"/>
                  <a:pt x="545" y="365"/>
                  <a:pt x="545" y="365"/>
                </a:cubicBezTo>
                <a:cubicBezTo>
                  <a:pt x="545" y="365"/>
                  <a:pt x="545" y="364"/>
                  <a:pt x="544" y="364"/>
                </a:cubicBezTo>
                <a:cubicBezTo>
                  <a:pt x="543" y="364"/>
                  <a:pt x="542" y="364"/>
                  <a:pt x="542" y="365"/>
                </a:cubicBezTo>
                <a:cubicBezTo>
                  <a:pt x="541" y="366"/>
                  <a:pt x="541" y="366"/>
                  <a:pt x="540" y="366"/>
                </a:cubicBezTo>
                <a:cubicBezTo>
                  <a:pt x="539" y="367"/>
                  <a:pt x="538" y="367"/>
                  <a:pt x="537" y="367"/>
                </a:cubicBezTo>
                <a:cubicBezTo>
                  <a:pt x="537" y="368"/>
                  <a:pt x="536" y="368"/>
                  <a:pt x="535" y="368"/>
                </a:cubicBezTo>
                <a:cubicBezTo>
                  <a:pt x="535" y="368"/>
                  <a:pt x="534" y="368"/>
                  <a:pt x="534" y="368"/>
                </a:cubicBezTo>
                <a:cubicBezTo>
                  <a:pt x="534" y="368"/>
                  <a:pt x="533" y="369"/>
                  <a:pt x="533" y="369"/>
                </a:cubicBezTo>
                <a:cubicBezTo>
                  <a:pt x="533" y="369"/>
                  <a:pt x="532" y="369"/>
                  <a:pt x="532" y="369"/>
                </a:cubicBezTo>
                <a:cubicBezTo>
                  <a:pt x="531" y="369"/>
                  <a:pt x="531" y="369"/>
                  <a:pt x="531" y="369"/>
                </a:cubicBezTo>
                <a:cubicBezTo>
                  <a:pt x="530" y="369"/>
                  <a:pt x="530" y="368"/>
                  <a:pt x="530" y="368"/>
                </a:cubicBezTo>
                <a:cubicBezTo>
                  <a:pt x="530" y="367"/>
                  <a:pt x="530" y="367"/>
                  <a:pt x="529" y="368"/>
                </a:cubicBezTo>
                <a:cubicBezTo>
                  <a:pt x="529" y="368"/>
                  <a:pt x="529" y="369"/>
                  <a:pt x="529" y="369"/>
                </a:cubicBezTo>
                <a:cubicBezTo>
                  <a:pt x="530" y="370"/>
                  <a:pt x="530" y="369"/>
                  <a:pt x="530" y="370"/>
                </a:cubicBezTo>
                <a:cubicBezTo>
                  <a:pt x="531" y="370"/>
                  <a:pt x="531" y="370"/>
                  <a:pt x="531" y="370"/>
                </a:cubicBezTo>
                <a:cubicBezTo>
                  <a:pt x="531" y="370"/>
                  <a:pt x="531" y="370"/>
                  <a:pt x="531" y="370"/>
                </a:cubicBezTo>
                <a:cubicBezTo>
                  <a:pt x="532" y="370"/>
                  <a:pt x="532" y="371"/>
                  <a:pt x="531" y="371"/>
                </a:cubicBezTo>
                <a:cubicBezTo>
                  <a:pt x="531" y="372"/>
                  <a:pt x="530" y="372"/>
                  <a:pt x="529" y="372"/>
                </a:cubicBezTo>
                <a:cubicBezTo>
                  <a:pt x="529" y="373"/>
                  <a:pt x="528" y="373"/>
                  <a:pt x="528" y="374"/>
                </a:cubicBezTo>
                <a:cubicBezTo>
                  <a:pt x="528" y="375"/>
                  <a:pt x="529" y="375"/>
                  <a:pt x="530" y="376"/>
                </a:cubicBezTo>
                <a:cubicBezTo>
                  <a:pt x="530" y="376"/>
                  <a:pt x="531" y="377"/>
                  <a:pt x="531" y="378"/>
                </a:cubicBezTo>
                <a:cubicBezTo>
                  <a:pt x="532" y="378"/>
                  <a:pt x="533" y="379"/>
                  <a:pt x="533" y="379"/>
                </a:cubicBezTo>
                <a:cubicBezTo>
                  <a:pt x="533" y="380"/>
                  <a:pt x="532" y="380"/>
                  <a:pt x="532" y="380"/>
                </a:cubicBezTo>
                <a:cubicBezTo>
                  <a:pt x="532" y="380"/>
                  <a:pt x="532" y="381"/>
                  <a:pt x="532" y="381"/>
                </a:cubicBezTo>
                <a:cubicBezTo>
                  <a:pt x="532" y="382"/>
                  <a:pt x="533" y="382"/>
                  <a:pt x="533" y="383"/>
                </a:cubicBezTo>
                <a:cubicBezTo>
                  <a:pt x="534" y="383"/>
                  <a:pt x="534" y="384"/>
                  <a:pt x="534" y="384"/>
                </a:cubicBezTo>
                <a:cubicBezTo>
                  <a:pt x="534" y="385"/>
                  <a:pt x="534" y="385"/>
                  <a:pt x="535" y="386"/>
                </a:cubicBezTo>
                <a:cubicBezTo>
                  <a:pt x="535" y="386"/>
                  <a:pt x="537" y="386"/>
                  <a:pt x="536" y="387"/>
                </a:cubicBezTo>
                <a:cubicBezTo>
                  <a:pt x="536" y="387"/>
                  <a:pt x="534" y="387"/>
                  <a:pt x="536" y="388"/>
                </a:cubicBezTo>
                <a:cubicBezTo>
                  <a:pt x="536" y="389"/>
                  <a:pt x="537" y="389"/>
                  <a:pt x="537" y="390"/>
                </a:cubicBezTo>
                <a:cubicBezTo>
                  <a:pt x="537" y="390"/>
                  <a:pt x="538" y="391"/>
                  <a:pt x="538" y="392"/>
                </a:cubicBezTo>
                <a:cubicBezTo>
                  <a:pt x="538" y="392"/>
                  <a:pt x="537" y="391"/>
                  <a:pt x="537" y="390"/>
                </a:cubicBezTo>
                <a:cubicBezTo>
                  <a:pt x="536" y="390"/>
                  <a:pt x="536" y="390"/>
                  <a:pt x="535" y="390"/>
                </a:cubicBezTo>
                <a:cubicBezTo>
                  <a:pt x="535" y="388"/>
                  <a:pt x="535" y="390"/>
                  <a:pt x="535" y="390"/>
                </a:cubicBezTo>
                <a:cubicBezTo>
                  <a:pt x="535" y="391"/>
                  <a:pt x="535" y="392"/>
                  <a:pt x="535" y="392"/>
                </a:cubicBezTo>
                <a:cubicBezTo>
                  <a:pt x="535" y="392"/>
                  <a:pt x="534" y="392"/>
                  <a:pt x="534" y="392"/>
                </a:cubicBezTo>
                <a:cubicBezTo>
                  <a:pt x="534" y="392"/>
                  <a:pt x="534" y="392"/>
                  <a:pt x="534" y="392"/>
                </a:cubicBezTo>
                <a:cubicBezTo>
                  <a:pt x="534" y="391"/>
                  <a:pt x="533" y="391"/>
                  <a:pt x="533" y="391"/>
                </a:cubicBezTo>
                <a:cubicBezTo>
                  <a:pt x="533" y="390"/>
                  <a:pt x="534" y="390"/>
                  <a:pt x="534" y="390"/>
                </a:cubicBezTo>
                <a:cubicBezTo>
                  <a:pt x="534" y="389"/>
                  <a:pt x="534" y="389"/>
                  <a:pt x="534" y="389"/>
                </a:cubicBezTo>
                <a:cubicBezTo>
                  <a:pt x="533" y="388"/>
                  <a:pt x="533" y="387"/>
                  <a:pt x="532" y="388"/>
                </a:cubicBezTo>
                <a:cubicBezTo>
                  <a:pt x="531" y="388"/>
                  <a:pt x="531" y="388"/>
                  <a:pt x="531" y="389"/>
                </a:cubicBezTo>
                <a:cubicBezTo>
                  <a:pt x="531" y="390"/>
                  <a:pt x="531" y="390"/>
                  <a:pt x="531" y="390"/>
                </a:cubicBezTo>
                <a:cubicBezTo>
                  <a:pt x="531" y="391"/>
                  <a:pt x="532" y="391"/>
                  <a:pt x="532" y="391"/>
                </a:cubicBezTo>
                <a:cubicBezTo>
                  <a:pt x="532" y="392"/>
                  <a:pt x="532" y="392"/>
                  <a:pt x="532" y="392"/>
                </a:cubicBezTo>
                <a:cubicBezTo>
                  <a:pt x="531" y="393"/>
                  <a:pt x="531" y="393"/>
                  <a:pt x="531" y="393"/>
                </a:cubicBezTo>
                <a:cubicBezTo>
                  <a:pt x="531" y="394"/>
                  <a:pt x="532" y="394"/>
                  <a:pt x="532" y="394"/>
                </a:cubicBezTo>
                <a:cubicBezTo>
                  <a:pt x="533" y="395"/>
                  <a:pt x="533" y="396"/>
                  <a:pt x="534" y="396"/>
                </a:cubicBezTo>
                <a:cubicBezTo>
                  <a:pt x="534" y="397"/>
                  <a:pt x="534" y="398"/>
                  <a:pt x="535" y="398"/>
                </a:cubicBezTo>
                <a:cubicBezTo>
                  <a:pt x="535" y="399"/>
                  <a:pt x="537" y="399"/>
                  <a:pt x="536" y="400"/>
                </a:cubicBezTo>
                <a:cubicBezTo>
                  <a:pt x="536" y="400"/>
                  <a:pt x="536" y="399"/>
                  <a:pt x="535" y="399"/>
                </a:cubicBezTo>
                <a:cubicBezTo>
                  <a:pt x="535" y="399"/>
                  <a:pt x="534" y="398"/>
                  <a:pt x="534" y="398"/>
                </a:cubicBezTo>
                <a:cubicBezTo>
                  <a:pt x="533" y="397"/>
                  <a:pt x="533" y="397"/>
                  <a:pt x="532" y="396"/>
                </a:cubicBezTo>
                <a:cubicBezTo>
                  <a:pt x="532" y="395"/>
                  <a:pt x="531" y="395"/>
                  <a:pt x="530" y="395"/>
                </a:cubicBezTo>
                <a:cubicBezTo>
                  <a:pt x="528" y="394"/>
                  <a:pt x="530" y="392"/>
                  <a:pt x="528" y="392"/>
                </a:cubicBezTo>
                <a:cubicBezTo>
                  <a:pt x="528" y="391"/>
                  <a:pt x="528" y="392"/>
                  <a:pt x="527" y="391"/>
                </a:cubicBezTo>
                <a:cubicBezTo>
                  <a:pt x="527" y="391"/>
                  <a:pt x="527" y="391"/>
                  <a:pt x="527" y="390"/>
                </a:cubicBezTo>
                <a:cubicBezTo>
                  <a:pt x="527" y="389"/>
                  <a:pt x="526" y="389"/>
                  <a:pt x="525" y="389"/>
                </a:cubicBezTo>
                <a:cubicBezTo>
                  <a:pt x="525" y="389"/>
                  <a:pt x="525" y="388"/>
                  <a:pt x="524" y="388"/>
                </a:cubicBezTo>
                <a:cubicBezTo>
                  <a:pt x="524" y="388"/>
                  <a:pt x="524" y="388"/>
                  <a:pt x="523" y="388"/>
                </a:cubicBezTo>
                <a:cubicBezTo>
                  <a:pt x="523" y="388"/>
                  <a:pt x="523" y="387"/>
                  <a:pt x="523" y="387"/>
                </a:cubicBezTo>
                <a:cubicBezTo>
                  <a:pt x="522" y="387"/>
                  <a:pt x="522" y="386"/>
                  <a:pt x="522" y="386"/>
                </a:cubicBezTo>
                <a:cubicBezTo>
                  <a:pt x="522" y="386"/>
                  <a:pt x="523" y="387"/>
                  <a:pt x="524" y="387"/>
                </a:cubicBezTo>
                <a:cubicBezTo>
                  <a:pt x="524" y="387"/>
                  <a:pt x="524" y="387"/>
                  <a:pt x="525" y="387"/>
                </a:cubicBezTo>
                <a:cubicBezTo>
                  <a:pt x="525" y="387"/>
                  <a:pt x="525" y="388"/>
                  <a:pt x="526" y="388"/>
                </a:cubicBezTo>
                <a:cubicBezTo>
                  <a:pt x="526" y="388"/>
                  <a:pt x="527" y="388"/>
                  <a:pt x="528" y="388"/>
                </a:cubicBezTo>
                <a:cubicBezTo>
                  <a:pt x="529" y="387"/>
                  <a:pt x="529" y="388"/>
                  <a:pt x="529" y="386"/>
                </a:cubicBezTo>
                <a:cubicBezTo>
                  <a:pt x="529" y="386"/>
                  <a:pt x="529" y="385"/>
                  <a:pt x="529" y="384"/>
                </a:cubicBezTo>
                <a:cubicBezTo>
                  <a:pt x="528" y="383"/>
                  <a:pt x="528" y="383"/>
                  <a:pt x="527" y="383"/>
                </a:cubicBezTo>
                <a:cubicBezTo>
                  <a:pt x="526" y="383"/>
                  <a:pt x="526" y="382"/>
                  <a:pt x="526" y="382"/>
                </a:cubicBezTo>
                <a:cubicBezTo>
                  <a:pt x="525" y="382"/>
                  <a:pt x="524" y="382"/>
                  <a:pt x="523" y="382"/>
                </a:cubicBezTo>
                <a:cubicBezTo>
                  <a:pt x="523" y="381"/>
                  <a:pt x="522" y="381"/>
                  <a:pt x="522" y="380"/>
                </a:cubicBezTo>
                <a:cubicBezTo>
                  <a:pt x="522" y="380"/>
                  <a:pt x="523" y="379"/>
                  <a:pt x="522" y="378"/>
                </a:cubicBezTo>
                <a:cubicBezTo>
                  <a:pt x="522" y="378"/>
                  <a:pt x="521" y="378"/>
                  <a:pt x="521" y="377"/>
                </a:cubicBezTo>
                <a:cubicBezTo>
                  <a:pt x="521" y="377"/>
                  <a:pt x="521" y="376"/>
                  <a:pt x="520" y="377"/>
                </a:cubicBezTo>
                <a:cubicBezTo>
                  <a:pt x="520" y="377"/>
                  <a:pt x="520" y="378"/>
                  <a:pt x="520" y="379"/>
                </a:cubicBezTo>
                <a:cubicBezTo>
                  <a:pt x="520" y="379"/>
                  <a:pt x="520" y="380"/>
                  <a:pt x="520" y="380"/>
                </a:cubicBezTo>
                <a:cubicBezTo>
                  <a:pt x="520" y="381"/>
                  <a:pt x="519" y="381"/>
                  <a:pt x="518" y="381"/>
                </a:cubicBezTo>
                <a:cubicBezTo>
                  <a:pt x="518" y="381"/>
                  <a:pt x="518" y="380"/>
                  <a:pt x="518" y="380"/>
                </a:cubicBezTo>
                <a:cubicBezTo>
                  <a:pt x="518" y="380"/>
                  <a:pt x="518" y="380"/>
                  <a:pt x="518" y="380"/>
                </a:cubicBezTo>
                <a:cubicBezTo>
                  <a:pt x="517" y="380"/>
                  <a:pt x="517" y="379"/>
                  <a:pt x="517" y="379"/>
                </a:cubicBezTo>
                <a:cubicBezTo>
                  <a:pt x="517" y="379"/>
                  <a:pt x="518" y="379"/>
                  <a:pt x="518" y="378"/>
                </a:cubicBezTo>
                <a:cubicBezTo>
                  <a:pt x="518" y="378"/>
                  <a:pt x="517" y="378"/>
                  <a:pt x="517" y="377"/>
                </a:cubicBezTo>
                <a:cubicBezTo>
                  <a:pt x="517" y="377"/>
                  <a:pt x="517" y="376"/>
                  <a:pt x="517" y="376"/>
                </a:cubicBezTo>
                <a:cubicBezTo>
                  <a:pt x="516" y="375"/>
                  <a:pt x="516" y="375"/>
                  <a:pt x="515" y="374"/>
                </a:cubicBezTo>
                <a:cubicBezTo>
                  <a:pt x="514" y="374"/>
                  <a:pt x="514" y="375"/>
                  <a:pt x="513" y="375"/>
                </a:cubicBezTo>
                <a:cubicBezTo>
                  <a:pt x="513" y="375"/>
                  <a:pt x="512" y="375"/>
                  <a:pt x="512" y="375"/>
                </a:cubicBezTo>
                <a:cubicBezTo>
                  <a:pt x="512" y="375"/>
                  <a:pt x="511" y="375"/>
                  <a:pt x="510" y="375"/>
                </a:cubicBezTo>
                <a:cubicBezTo>
                  <a:pt x="510" y="375"/>
                  <a:pt x="509" y="375"/>
                  <a:pt x="509" y="374"/>
                </a:cubicBezTo>
                <a:cubicBezTo>
                  <a:pt x="509" y="374"/>
                  <a:pt x="510" y="374"/>
                  <a:pt x="509" y="374"/>
                </a:cubicBezTo>
                <a:cubicBezTo>
                  <a:pt x="509" y="373"/>
                  <a:pt x="509" y="373"/>
                  <a:pt x="508" y="373"/>
                </a:cubicBezTo>
                <a:cubicBezTo>
                  <a:pt x="508" y="372"/>
                  <a:pt x="507" y="372"/>
                  <a:pt x="506" y="372"/>
                </a:cubicBezTo>
                <a:cubicBezTo>
                  <a:pt x="505" y="372"/>
                  <a:pt x="504" y="372"/>
                  <a:pt x="503" y="373"/>
                </a:cubicBezTo>
                <a:cubicBezTo>
                  <a:pt x="502" y="373"/>
                  <a:pt x="500" y="373"/>
                  <a:pt x="499" y="373"/>
                </a:cubicBezTo>
                <a:cubicBezTo>
                  <a:pt x="497" y="373"/>
                  <a:pt x="495" y="373"/>
                  <a:pt x="493" y="374"/>
                </a:cubicBezTo>
                <a:cubicBezTo>
                  <a:pt x="492" y="374"/>
                  <a:pt x="490" y="374"/>
                  <a:pt x="488" y="374"/>
                </a:cubicBezTo>
                <a:cubicBezTo>
                  <a:pt x="486" y="374"/>
                  <a:pt x="485" y="374"/>
                  <a:pt x="483" y="374"/>
                </a:cubicBezTo>
                <a:cubicBezTo>
                  <a:pt x="481" y="374"/>
                  <a:pt x="480" y="375"/>
                  <a:pt x="478" y="375"/>
                </a:cubicBezTo>
                <a:cubicBezTo>
                  <a:pt x="476" y="375"/>
                  <a:pt x="475" y="375"/>
                  <a:pt x="473" y="375"/>
                </a:cubicBezTo>
                <a:cubicBezTo>
                  <a:pt x="472" y="375"/>
                  <a:pt x="471" y="375"/>
                  <a:pt x="470" y="375"/>
                </a:cubicBezTo>
                <a:cubicBezTo>
                  <a:pt x="469" y="375"/>
                  <a:pt x="468" y="375"/>
                  <a:pt x="467" y="375"/>
                </a:cubicBezTo>
                <a:cubicBezTo>
                  <a:pt x="465" y="375"/>
                  <a:pt x="464" y="375"/>
                  <a:pt x="463" y="375"/>
                </a:cubicBezTo>
                <a:cubicBezTo>
                  <a:pt x="462" y="375"/>
                  <a:pt x="462" y="375"/>
                  <a:pt x="461" y="375"/>
                </a:cubicBezTo>
                <a:cubicBezTo>
                  <a:pt x="461" y="375"/>
                  <a:pt x="460" y="375"/>
                  <a:pt x="460" y="375"/>
                </a:cubicBezTo>
                <a:cubicBezTo>
                  <a:pt x="458" y="374"/>
                  <a:pt x="457" y="374"/>
                  <a:pt x="455" y="374"/>
                </a:cubicBezTo>
                <a:cubicBezTo>
                  <a:pt x="453" y="373"/>
                  <a:pt x="452" y="373"/>
                  <a:pt x="450" y="373"/>
                </a:cubicBezTo>
                <a:cubicBezTo>
                  <a:pt x="449" y="373"/>
                  <a:pt x="448" y="373"/>
                  <a:pt x="447" y="373"/>
                </a:cubicBezTo>
                <a:cubicBezTo>
                  <a:pt x="446" y="373"/>
                  <a:pt x="446" y="372"/>
                  <a:pt x="445" y="371"/>
                </a:cubicBezTo>
                <a:cubicBezTo>
                  <a:pt x="445" y="371"/>
                  <a:pt x="444" y="371"/>
                  <a:pt x="444" y="371"/>
                </a:cubicBezTo>
                <a:cubicBezTo>
                  <a:pt x="444" y="371"/>
                  <a:pt x="443" y="371"/>
                  <a:pt x="443" y="371"/>
                </a:cubicBezTo>
                <a:cubicBezTo>
                  <a:pt x="443" y="371"/>
                  <a:pt x="442" y="371"/>
                  <a:pt x="443" y="370"/>
                </a:cubicBezTo>
                <a:cubicBezTo>
                  <a:pt x="443" y="370"/>
                  <a:pt x="444" y="370"/>
                  <a:pt x="444" y="370"/>
                </a:cubicBezTo>
                <a:cubicBezTo>
                  <a:pt x="445" y="370"/>
                  <a:pt x="445" y="369"/>
                  <a:pt x="446" y="369"/>
                </a:cubicBezTo>
                <a:cubicBezTo>
                  <a:pt x="447" y="369"/>
                  <a:pt x="447" y="369"/>
                  <a:pt x="447" y="368"/>
                </a:cubicBezTo>
                <a:cubicBezTo>
                  <a:pt x="447" y="368"/>
                  <a:pt x="446" y="368"/>
                  <a:pt x="446" y="368"/>
                </a:cubicBezTo>
                <a:cubicBezTo>
                  <a:pt x="445" y="367"/>
                  <a:pt x="447" y="367"/>
                  <a:pt x="447" y="367"/>
                </a:cubicBezTo>
                <a:cubicBezTo>
                  <a:pt x="448" y="367"/>
                  <a:pt x="448" y="367"/>
                  <a:pt x="449" y="367"/>
                </a:cubicBezTo>
                <a:cubicBezTo>
                  <a:pt x="449" y="366"/>
                  <a:pt x="449" y="366"/>
                  <a:pt x="450" y="366"/>
                </a:cubicBezTo>
                <a:cubicBezTo>
                  <a:pt x="450" y="366"/>
                  <a:pt x="451" y="366"/>
                  <a:pt x="451" y="365"/>
                </a:cubicBezTo>
                <a:cubicBezTo>
                  <a:pt x="451" y="365"/>
                  <a:pt x="451" y="365"/>
                  <a:pt x="452" y="365"/>
                </a:cubicBezTo>
                <a:cubicBezTo>
                  <a:pt x="452" y="364"/>
                  <a:pt x="453" y="365"/>
                  <a:pt x="453" y="365"/>
                </a:cubicBezTo>
                <a:cubicBezTo>
                  <a:pt x="453" y="365"/>
                  <a:pt x="454" y="365"/>
                  <a:pt x="454" y="365"/>
                </a:cubicBezTo>
                <a:cubicBezTo>
                  <a:pt x="456" y="365"/>
                  <a:pt x="459" y="365"/>
                  <a:pt x="460" y="363"/>
                </a:cubicBezTo>
                <a:cubicBezTo>
                  <a:pt x="460" y="363"/>
                  <a:pt x="460" y="363"/>
                  <a:pt x="460" y="363"/>
                </a:cubicBezTo>
                <a:cubicBezTo>
                  <a:pt x="460" y="363"/>
                  <a:pt x="460" y="363"/>
                  <a:pt x="460" y="362"/>
                </a:cubicBezTo>
                <a:cubicBezTo>
                  <a:pt x="461" y="361"/>
                  <a:pt x="459" y="362"/>
                  <a:pt x="459" y="361"/>
                </a:cubicBezTo>
                <a:cubicBezTo>
                  <a:pt x="459" y="360"/>
                  <a:pt x="459" y="360"/>
                  <a:pt x="459" y="360"/>
                </a:cubicBezTo>
                <a:cubicBezTo>
                  <a:pt x="459" y="359"/>
                  <a:pt x="458" y="359"/>
                  <a:pt x="458" y="359"/>
                </a:cubicBezTo>
                <a:cubicBezTo>
                  <a:pt x="458" y="358"/>
                  <a:pt x="457" y="358"/>
                  <a:pt x="457" y="357"/>
                </a:cubicBezTo>
                <a:cubicBezTo>
                  <a:pt x="456" y="357"/>
                  <a:pt x="455" y="357"/>
                  <a:pt x="455" y="356"/>
                </a:cubicBezTo>
                <a:cubicBezTo>
                  <a:pt x="454" y="355"/>
                  <a:pt x="454" y="355"/>
                  <a:pt x="453" y="355"/>
                </a:cubicBezTo>
                <a:cubicBezTo>
                  <a:pt x="452" y="355"/>
                  <a:pt x="452" y="354"/>
                  <a:pt x="451" y="353"/>
                </a:cubicBezTo>
                <a:cubicBezTo>
                  <a:pt x="450" y="353"/>
                  <a:pt x="450" y="353"/>
                  <a:pt x="449" y="353"/>
                </a:cubicBezTo>
                <a:cubicBezTo>
                  <a:pt x="448" y="352"/>
                  <a:pt x="447" y="352"/>
                  <a:pt x="446" y="352"/>
                </a:cubicBezTo>
                <a:cubicBezTo>
                  <a:pt x="446" y="352"/>
                  <a:pt x="445" y="352"/>
                  <a:pt x="445" y="351"/>
                </a:cubicBezTo>
                <a:cubicBezTo>
                  <a:pt x="445" y="351"/>
                  <a:pt x="444" y="351"/>
                  <a:pt x="444" y="351"/>
                </a:cubicBezTo>
                <a:cubicBezTo>
                  <a:pt x="443" y="351"/>
                  <a:pt x="442" y="350"/>
                  <a:pt x="441" y="350"/>
                </a:cubicBezTo>
                <a:cubicBezTo>
                  <a:pt x="441" y="350"/>
                  <a:pt x="440" y="349"/>
                  <a:pt x="439" y="349"/>
                </a:cubicBezTo>
                <a:cubicBezTo>
                  <a:pt x="438" y="349"/>
                  <a:pt x="436" y="349"/>
                  <a:pt x="435" y="349"/>
                </a:cubicBezTo>
                <a:cubicBezTo>
                  <a:pt x="435" y="349"/>
                  <a:pt x="434" y="350"/>
                  <a:pt x="433" y="350"/>
                </a:cubicBezTo>
                <a:cubicBezTo>
                  <a:pt x="433" y="351"/>
                  <a:pt x="434" y="351"/>
                  <a:pt x="434" y="351"/>
                </a:cubicBezTo>
                <a:cubicBezTo>
                  <a:pt x="435" y="351"/>
                  <a:pt x="435" y="351"/>
                  <a:pt x="435" y="352"/>
                </a:cubicBezTo>
                <a:cubicBezTo>
                  <a:pt x="436" y="352"/>
                  <a:pt x="436" y="352"/>
                  <a:pt x="436" y="352"/>
                </a:cubicBezTo>
                <a:cubicBezTo>
                  <a:pt x="437" y="353"/>
                  <a:pt x="436" y="353"/>
                  <a:pt x="436" y="353"/>
                </a:cubicBezTo>
                <a:cubicBezTo>
                  <a:pt x="435" y="353"/>
                  <a:pt x="435" y="352"/>
                  <a:pt x="435" y="352"/>
                </a:cubicBezTo>
                <a:cubicBezTo>
                  <a:pt x="434" y="352"/>
                  <a:pt x="434" y="352"/>
                  <a:pt x="433" y="352"/>
                </a:cubicBezTo>
                <a:cubicBezTo>
                  <a:pt x="432" y="352"/>
                  <a:pt x="431" y="352"/>
                  <a:pt x="430" y="352"/>
                </a:cubicBezTo>
                <a:cubicBezTo>
                  <a:pt x="429" y="352"/>
                  <a:pt x="429" y="351"/>
                  <a:pt x="428" y="351"/>
                </a:cubicBezTo>
                <a:cubicBezTo>
                  <a:pt x="427" y="352"/>
                  <a:pt x="426" y="352"/>
                  <a:pt x="425" y="352"/>
                </a:cubicBezTo>
                <a:cubicBezTo>
                  <a:pt x="424" y="352"/>
                  <a:pt x="423" y="351"/>
                  <a:pt x="422" y="351"/>
                </a:cubicBezTo>
                <a:cubicBezTo>
                  <a:pt x="422" y="350"/>
                  <a:pt x="421" y="350"/>
                  <a:pt x="420" y="350"/>
                </a:cubicBezTo>
                <a:cubicBezTo>
                  <a:pt x="419" y="350"/>
                  <a:pt x="418" y="350"/>
                  <a:pt x="417" y="350"/>
                </a:cubicBezTo>
                <a:cubicBezTo>
                  <a:pt x="416" y="349"/>
                  <a:pt x="415" y="349"/>
                  <a:pt x="414" y="349"/>
                </a:cubicBezTo>
                <a:cubicBezTo>
                  <a:pt x="412" y="348"/>
                  <a:pt x="410" y="348"/>
                  <a:pt x="409" y="346"/>
                </a:cubicBezTo>
                <a:cubicBezTo>
                  <a:pt x="407" y="344"/>
                  <a:pt x="405" y="344"/>
                  <a:pt x="403" y="344"/>
                </a:cubicBezTo>
                <a:cubicBezTo>
                  <a:pt x="401" y="344"/>
                  <a:pt x="399" y="344"/>
                  <a:pt x="397" y="343"/>
                </a:cubicBezTo>
                <a:cubicBezTo>
                  <a:pt x="396" y="343"/>
                  <a:pt x="394" y="343"/>
                  <a:pt x="393" y="343"/>
                </a:cubicBezTo>
                <a:cubicBezTo>
                  <a:pt x="391" y="342"/>
                  <a:pt x="390" y="342"/>
                  <a:pt x="389" y="341"/>
                </a:cubicBezTo>
                <a:cubicBezTo>
                  <a:pt x="387" y="340"/>
                  <a:pt x="385" y="339"/>
                  <a:pt x="383" y="338"/>
                </a:cubicBezTo>
                <a:cubicBezTo>
                  <a:pt x="381" y="337"/>
                  <a:pt x="380" y="336"/>
                  <a:pt x="378" y="335"/>
                </a:cubicBezTo>
                <a:cubicBezTo>
                  <a:pt x="377" y="334"/>
                  <a:pt x="376" y="334"/>
                  <a:pt x="375" y="334"/>
                </a:cubicBezTo>
                <a:cubicBezTo>
                  <a:pt x="374" y="334"/>
                  <a:pt x="374" y="334"/>
                  <a:pt x="373" y="333"/>
                </a:cubicBezTo>
                <a:cubicBezTo>
                  <a:pt x="372" y="333"/>
                  <a:pt x="371" y="333"/>
                  <a:pt x="370" y="333"/>
                </a:cubicBezTo>
                <a:cubicBezTo>
                  <a:pt x="369" y="333"/>
                  <a:pt x="368" y="333"/>
                  <a:pt x="367" y="333"/>
                </a:cubicBezTo>
                <a:cubicBezTo>
                  <a:pt x="365" y="333"/>
                  <a:pt x="364" y="332"/>
                  <a:pt x="362" y="332"/>
                </a:cubicBezTo>
                <a:cubicBezTo>
                  <a:pt x="361" y="332"/>
                  <a:pt x="360" y="332"/>
                  <a:pt x="359" y="332"/>
                </a:cubicBezTo>
                <a:cubicBezTo>
                  <a:pt x="359" y="333"/>
                  <a:pt x="358" y="333"/>
                  <a:pt x="358" y="333"/>
                </a:cubicBezTo>
                <a:cubicBezTo>
                  <a:pt x="357" y="333"/>
                  <a:pt x="357" y="333"/>
                  <a:pt x="356" y="333"/>
                </a:cubicBezTo>
                <a:cubicBezTo>
                  <a:pt x="356" y="333"/>
                  <a:pt x="356" y="333"/>
                  <a:pt x="356" y="334"/>
                </a:cubicBezTo>
                <a:cubicBezTo>
                  <a:pt x="356" y="334"/>
                  <a:pt x="357" y="335"/>
                  <a:pt x="356" y="335"/>
                </a:cubicBezTo>
                <a:cubicBezTo>
                  <a:pt x="356" y="336"/>
                  <a:pt x="356" y="336"/>
                  <a:pt x="356" y="336"/>
                </a:cubicBezTo>
                <a:cubicBezTo>
                  <a:pt x="356" y="337"/>
                  <a:pt x="356" y="337"/>
                  <a:pt x="356" y="337"/>
                </a:cubicBezTo>
                <a:cubicBezTo>
                  <a:pt x="356" y="338"/>
                  <a:pt x="356" y="339"/>
                  <a:pt x="355" y="339"/>
                </a:cubicBezTo>
                <a:cubicBezTo>
                  <a:pt x="354" y="339"/>
                  <a:pt x="353" y="339"/>
                  <a:pt x="352" y="339"/>
                </a:cubicBezTo>
                <a:cubicBezTo>
                  <a:pt x="352" y="340"/>
                  <a:pt x="351" y="340"/>
                  <a:pt x="350" y="340"/>
                </a:cubicBezTo>
                <a:cubicBezTo>
                  <a:pt x="349" y="341"/>
                  <a:pt x="348" y="341"/>
                  <a:pt x="347" y="341"/>
                </a:cubicBezTo>
                <a:cubicBezTo>
                  <a:pt x="346" y="342"/>
                  <a:pt x="346" y="342"/>
                  <a:pt x="345" y="342"/>
                </a:cubicBezTo>
                <a:cubicBezTo>
                  <a:pt x="344" y="342"/>
                  <a:pt x="343" y="342"/>
                  <a:pt x="343" y="342"/>
                </a:cubicBezTo>
                <a:cubicBezTo>
                  <a:pt x="342" y="342"/>
                  <a:pt x="341" y="343"/>
                  <a:pt x="341" y="342"/>
                </a:cubicBezTo>
                <a:cubicBezTo>
                  <a:pt x="341" y="341"/>
                  <a:pt x="341" y="340"/>
                  <a:pt x="342" y="339"/>
                </a:cubicBezTo>
                <a:cubicBezTo>
                  <a:pt x="342" y="339"/>
                  <a:pt x="342" y="339"/>
                  <a:pt x="343" y="339"/>
                </a:cubicBezTo>
                <a:cubicBezTo>
                  <a:pt x="343" y="339"/>
                  <a:pt x="343" y="338"/>
                  <a:pt x="343" y="338"/>
                </a:cubicBezTo>
                <a:cubicBezTo>
                  <a:pt x="343" y="338"/>
                  <a:pt x="344" y="337"/>
                  <a:pt x="344" y="337"/>
                </a:cubicBezTo>
                <a:cubicBezTo>
                  <a:pt x="344" y="337"/>
                  <a:pt x="345" y="337"/>
                  <a:pt x="345" y="336"/>
                </a:cubicBezTo>
                <a:cubicBezTo>
                  <a:pt x="345" y="336"/>
                  <a:pt x="344" y="336"/>
                  <a:pt x="344" y="336"/>
                </a:cubicBezTo>
                <a:cubicBezTo>
                  <a:pt x="344" y="336"/>
                  <a:pt x="343" y="335"/>
                  <a:pt x="343" y="335"/>
                </a:cubicBezTo>
                <a:cubicBezTo>
                  <a:pt x="342" y="335"/>
                  <a:pt x="340" y="335"/>
                  <a:pt x="341" y="333"/>
                </a:cubicBezTo>
                <a:cubicBezTo>
                  <a:pt x="341" y="333"/>
                  <a:pt x="341" y="333"/>
                  <a:pt x="341" y="332"/>
                </a:cubicBezTo>
                <a:cubicBezTo>
                  <a:pt x="341" y="332"/>
                  <a:pt x="341" y="332"/>
                  <a:pt x="341" y="332"/>
                </a:cubicBezTo>
                <a:cubicBezTo>
                  <a:pt x="340" y="331"/>
                  <a:pt x="341" y="331"/>
                  <a:pt x="341" y="331"/>
                </a:cubicBezTo>
                <a:cubicBezTo>
                  <a:pt x="341" y="330"/>
                  <a:pt x="341" y="330"/>
                  <a:pt x="341" y="329"/>
                </a:cubicBezTo>
                <a:cubicBezTo>
                  <a:pt x="341" y="328"/>
                  <a:pt x="342" y="328"/>
                  <a:pt x="341" y="327"/>
                </a:cubicBezTo>
                <a:cubicBezTo>
                  <a:pt x="341" y="326"/>
                  <a:pt x="340" y="327"/>
                  <a:pt x="339" y="326"/>
                </a:cubicBezTo>
                <a:cubicBezTo>
                  <a:pt x="339" y="326"/>
                  <a:pt x="340" y="326"/>
                  <a:pt x="340" y="325"/>
                </a:cubicBezTo>
                <a:cubicBezTo>
                  <a:pt x="340" y="325"/>
                  <a:pt x="339" y="325"/>
                  <a:pt x="339" y="325"/>
                </a:cubicBezTo>
                <a:cubicBezTo>
                  <a:pt x="338" y="325"/>
                  <a:pt x="338" y="325"/>
                  <a:pt x="338" y="325"/>
                </a:cubicBezTo>
                <a:cubicBezTo>
                  <a:pt x="338" y="324"/>
                  <a:pt x="337" y="324"/>
                  <a:pt x="337" y="325"/>
                </a:cubicBezTo>
                <a:cubicBezTo>
                  <a:pt x="337" y="325"/>
                  <a:pt x="337" y="325"/>
                  <a:pt x="337" y="325"/>
                </a:cubicBezTo>
                <a:cubicBezTo>
                  <a:pt x="337" y="325"/>
                  <a:pt x="337" y="326"/>
                  <a:pt x="337" y="326"/>
                </a:cubicBezTo>
                <a:cubicBezTo>
                  <a:pt x="337" y="326"/>
                  <a:pt x="338" y="326"/>
                  <a:pt x="338" y="327"/>
                </a:cubicBezTo>
                <a:cubicBezTo>
                  <a:pt x="339" y="328"/>
                  <a:pt x="337" y="328"/>
                  <a:pt x="337" y="328"/>
                </a:cubicBezTo>
                <a:cubicBezTo>
                  <a:pt x="336" y="328"/>
                  <a:pt x="336" y="328"/>
                  <a:pt x="336" y="328"/>
                </a:cubicBezTo>
                <a:cubicBezTo>
                  <a:pt x="335" y="328"/>
                  <a:pt x="335" y="329"/>
                  <a:pt x="335" y="328"/>
                </a:cubicBezTo>
                <a:cubicBezTo>
                  <a:pt x="334" y="328"/>
                  <a:pt x="333" y="328"/>
                  <a:pt x="333" y="329"/>
                </a:cubicBezTo>
                <a:cubicBezTo>
                  <a:pt x="333" y="329"/>
                  <a:pt x="333" y="329"/>
                  <a:pt x="333" y="330"/>
                </a:cubicBezTo>
                <a:cubicBezTo>
                  <a:pt x="332" y="330"/>
                  <a:pt x="332" y="330"/>
                  <a:pt x="332" y="330"/>
                </a:cubicBezTo>
                <a:cubicBezTo>
                  <a:pt x="332" y="331"/>
                  <a:pt x="333" y="330"/>
                  <a:pt x="333" y="330"/>
                </a:cubicBezTo>
                <a:cubicBezTo>
                  <a:pt x="333" y="330"/>
                  <a:pt x="333" y="330"/>
                  <a:pt x="334" y="330"/>
                </a:cubicBezTo>
                <a:cubicBezTo>
                  <a:pt x="334" y="329"/>
                  <a:pt x="334" y="329"/>
                  <a:pt x="334" y="329"/>
                </a:cubicBezTo>
                <a:cubicBezTo>
                  <a:pt x="334" y="329"/>
                  <a:pt x="334" y="329"/>
                  <a:pt x="335" y="329"/>
                </a:cubicBezTo>
                <a:cubicBezTo>
                  <a:pt x="335" y="329"/>
                  <a:pt x="335" y="329"/>
                  <a:pt x="335" y="330"/>
                </a:cubicBezTo>
                <a:cubicBezTo>
                  <a:pt x="335" y="330"/>
                  <a:pt x="334" y="330"/>
                  <a:pt x="333" y="331"/>
                </a:cubicBezTo>
                <a:cubicBezTo>
                  <a:pt x="333" y="332"/>
                  <a:pt x="333" y="332"/>
                  <a:pt x="333" y="332"/>
                </a:cubicBezTo>
                <a:cubicBezTo>
                  <a:pt x="332" y="333"/>
                  <a:pt x="331" y="333"/>
                  <a:pt x="331" y="334"/>
                </a:cubicBezTo>
                <a:cubicBezTo>
                  <a:pt x="332" y="335"/>
                  <a:pt x="333" y="334"/>
                  <a:pt x="333" y="334"/>
                </a:cubicBezTo>
                <a:cubicBezTo>
                  <a:pt x="334" y="334"/>
                  <a:pt x="334" y="335"/>
                  <a:pt x="335" y="335"/>
                </a:cubicBezTo>
                <a:cubicBezTo>
                  <a:pt x="335" y="335"/>
                  <a:pt x="334" y="335"/>
                  <a:pt x="334" y="335"/>
                </a:cubicBezTo>
                <a:cubicBezTo>
                  <a:pt x="334" y="334"/>
                  <a:pt x="333" y="335"/>
                  <a:pt x="333" y="335"/>
                </a:cubicBezTo>
                <a:cubicBezTo>
                  <a:pt x="333" y="335"/>
                  <a:pt x="332" y="335"/>
                  <a:pt x="332" y="335"/>
                </a:cubicBezTo>
                <a:cubicBezTo>
                  <a:pt x="332" y="335"/>
                  <a:pt x="331" y="335"/>
                  <a:pt x="331" y="335"/>
                </a:cubicBezTo>
                <a:cubicBezTo>
                  <a:pt x="331" y="336"/>
                  <a:pt x="330" y="336"/>
                  <a:pt x="330" y="336"/>
                </a:cubicBezTo>
                <a:cubicBezTo>
                  <a:pt x="329" y="337"/>
                  <a:pt x="331" y="337"/>
                  <a:pt x="331" y="338"/>
                </a:cubicBezTo>
                <a:cubicBezTo>
                  <a:pt x="331" y="338"/>
                  <a:pt x="331" y="338"/>
                  <a:pt x="331" y="338"/>
                </a:cubicBezTo>
                <a:cubicBezTo>
                  <a:pt x="331" y="338"/>
                  <a:pt x="331" y="338"/>
                  <a:pt x="331" y="339"/>
                </a:cubicBezTo>
                <a:cubicBezTo>
                  <a:pt x="332" y="339"/>
                  <a:pt x="331" y="339"/>
                  <a:pt x="331" y="339"/>
                </a:cubicBezTo>
                <a:cubicBezTo>
                  <a:pt x="330" y="340"/>
                  <a:pt x="329" y="339"/>
                  <a:pt x="329" y="340"/>
                </a:cubicBezTo>
                <a:cubicBezTo>
                  <a:pt x="328" y="340"/>
                  <a:pt x="328" y="340"/>
                  <a:pt x="328" y="340"/>
                </a:cubicBezTo>
                <a:cubicBezTo>
                  <a:pt x="327" y="341"/>
                  <a:pt x="328" y="341"/>
                  <a:pt x="328" y="341"/>
                </a:cubicBezTo>
                <a:cubicBezTo>
                  <a:pt x="329" y="341"/>
                  <a:pt x="329" y="340"/>
                  <a:pt x="329" y="340"/>
                </a:cubicBezTo>
                <a:cubicBezTo>
                  <a:pt x="329" y="340"/>
                  <a:pt x="330" y="340"/>
                  <a:pt x="330" y="340"/>
                </a:cubicBezTo>
                <a:cubicBezTo>
                  <a:pt x="331" y="340"/>
                  <a:pt x="331" y="340"/>
                  <a:pt x="331" y="340"/>
                </a:cubicBezTo>
                <a:cubicBezTo>
                  <a:pt x="332" y="340"/>
                  <a:pt x="332" y="340"/>
                  <a:pt x="331" y="341"/>
                </a:cubicBezTo>
                <a:cubicBezTo>
                  <a:pt x="331" y="341"/>
                  <a:pt x="332" y="342"/>
                  <a:pt x="331" y="342"/>
                </a:cubicBezTo>
                <a:cubicBezTo>
                  <a:pt x="331" y="342"/>
                  <a:pt x="331" y="342"/>
                  <a:pt x="330" y="342"/>
                </a:cubicBezTo>
                <a:cubicBezTo>
                  <a:pt x="329" y="342"/>
                  <a:pt x="329" y="342"/>
                  <a:pt x="328" y="342"/>
                </a:cubicBezTo>
                <a:cubicBezTo>
                  <a:pt x="327" y="342"/>
                  <a:pt x="327" y="342"/>
                  <a:pt x="326" y="342"/>
                </a:cubicBezTo>
                <a:cubicBezTo>
                  <a:pt x="325" y="341"/>
                  <a:pt x="324" y="341"/>
                  <a:pt x="324" y="341"/>
                </a:cubicBezTo>
                <a:cubicBezTo>
                  <a:pt x="322" y="340"/>
                  <a:pt x="321" y="339"/>
                  <a:pt x="320" y="338"/>
                </a:cubicBezTo>
                <a:cubicBezTo>
                  <a:pt x="319" y="338"/>
                  <a:pt x="318" y="337"/>
                  <a:pt x="318" y="336"/>
                </a:cubicBezTo>
                <a:cubicBezTo>
                  <a:pt x="317" y="336"/>
                  <a:pt x="316" y="335"/>
                  <a:pt x="315" y="334"/>
                </a:cubicBezTo>
                <a:cubicBezTo>
                  <a:pt x="315" y="334"/>
                  <a:pt x="315" y="333"/>
                  <a:pt x="314" y="333"/>
                </a:cubicBezTo>
                <a:cubicBezTo>
                  <a:pt x="314" y="333"/>
                  <a:pt x="314" y="332"/>
                  <a:pt x="314" y="332"/>
                </a:cubicBezTo>
                <a:cubicBezTo>
                  <a:pt x="314" y="332"/>
                  <a:pt x="314" y="331"/>
                  <a:pt x="314" y="331"/>
                </a:cubicBezTo>
                <a:cubicBezTo>
                  <a:pt x="314" y="330"/>
                  <a:pt x="315" y="330"/>
                  <a:pt x="314" y="330"/>
                </a:cubicBezTo>
                <a:cubicBezTo>
                  <a:pt x="314" y="329"/>
                  <a:pt x="314" y="329"/>
                  <a:pt x="313" y="329"/>
                </a:cubicBezTo>
                <a:cubicBezTo>
                  <a:pt x="313" y="329"/>
                  <a:pt x="313" y="328"/>
                  <a:pt x="313" y="328"/>
                </a:cubicBezTo>
                <a:cubicBezTo>
                  <a:pt x="312" y="327"/>
                  <a:pt x="311" y="325"/>
                  <a:pt x="310" y="324"/>
                </a:cubicBezTo>
                <a:cubicBezTo>
                  <a:pt x="309" y="323"/>
                  <a:pt x="307" y="322"/>
                  <a:pt x="306" y="321"/>
                </a:cubicBezTo>
                <a:cubicBezTo>
                  <a:pt x="305" y="320"/>
                  <a:pt x="305" y="320"/>
                  <a:pt x="304" y="319"/>
                </a:cubicBezTo>
                <a:cubicBezTo>
                  <a:pt x="304" y="319"/>
                  <a:pt x="303" y="319"/>
                  <a:pt x="302" y="318"/>
                </a:cubicBezTo>
                <a:cubicBezTo>
                  <a:pt x="302" y="318"/>
                  <a:pt x="302" y="318"/>
                  <a:pt x="301" y="317"/>
                </a:cubicBezTo>
                <a:cubicBezTo>
                  <a:pt x="300" y="316"/>
                  <a:pt x="299" y="318"/>
                  <a:pt x="299" y="319"/>
                </a:cubicBezTo>
                <a:cubicBezTo>
                  <a:pt x="299" y="319"/>
                  <a:pt x="299" y="320"/>
                  <a:pt x="299" y="320"/>
                </a:cubicBezTo>
                <a:cubicBezTo>
                  <a:pt x="299" y="320"/>
                  <a:pt x="299" y="321"/>
                  <a:pt x="298" y="321"/>
                </a:cubicBezTo>
                <a:cubicBezTo>
                  <a:pt x="298" y="321"/>
                  <a:pt x="298" y="321"/>
                  <a:pt x="298" y="322"/>
                </a:cubicBezTo>
                <a:cubicBezTo>
                  <a:pt x="298" y="322"/>
                  <a:pt x="298" y="322"/>
                  <a:pt x="299" y="322"/>
                </a:cubicBezTo>
                <a:cubicBezTo>
                  <a:pt x="299" y="322"/>
                  <a:pt x="299" y="322"/>
                  <a:pt x="300" y="322"/>
                </a:cubicBezTo>
                <a:cubicBezTo>
                  <a:pt x="300" y="322"/>
                  <a:pt x="300" y="321"/>
                  <a:pt x="301" y="321"/>
                </a:cubicBezTo>
                <a:cubicBezTo>
                  <a:pt x="301" y="321"/>
                  <a:pt x="301" y="321"/>
                  <a:pt x="301" y="322"/>
                </a:cubicBezTo>
                <a:cubicBezTo>
                  <a:pt x="301" y="322"/>
                  <a:pt x="301" y="322"/>
                  <a:pt x="300" y="323"/>
                </a:cubicBezTo>
                <a:cubicBezTo>
                  <a:pt x="300" y="323"/>
                  <a:pt x="299" y="323"/>
                  <a:pt x="300" y="323"/>
                </a:cubicBezTo>
                <a:cubicBezTo>
                  <a:pt x="300" y="324"/>
                  <a:pt x="301" y="323"/>
                  <a:pt x="301" y="323"/>
                </a:cubicBezTo>
                <a:cubicBezTo>
                  <a:pt x="301" y="323"/>
                  <a:pt x="302" y="324"/>
                  <a:pt x="302" y="324"/>
                </a:cubicBezTo>
                <a:cubicBezTo>
                  <a:pt x="302" y="324"/>
                  <a:pt x="303" y="324"/>
                  <a:pt x="303" y="324"/>
                </a:cubicBezTo>
                <a:cubicBezTo>
                  <a:pt x="304" y="324"/>
                  <a:pt x="304" y="324"/>
                  <a:pt x="304" y="324"/>
                </a:cubicBezTo>
                <a:cubicBezTo>
                  <a:pt x="304" y="325"/>
                  <a:pt x="304" y="325"/>
                  <a:pt x="303" y="325"/>
                </a:cubicBezTo>
                <a:cubicBezTo>
                  <a:pt x="302" y="325"/>
                  <a:pt x="301" y="325"/>
                  <a:pt x="301" y="325"/>
                </a:cubicBezTo>
                <a:cubicBezTo>
                  <a:pt x="300" y="325"/>
                  <a:pt x="299" y="326"/>
                  <a:pt x="298" y="326"/>
                </a:cubicBezTo>
                <a:cubicBezTo>
                  <a:pt x="297" y="326"/>
                  <a:pt x="296" y="326"/>
                  <a:pt x="296" y="327"/>
                </a:cubicBezTo>
                <a:cubicBezTo>
                  <a:pt x="296" y="327"/>
                  <a:pt x="296" y="328"/>
                  <a:pt x="296" y="328"/>
                </a:cubicBezTo>
                <a:cubicBezTo>
                  <a:pt x="296" y="329"/>
                  <a:pt x="296" y="329"/>
                  <a:pt x="296" y="330"/>
                </a:cubicBezTo>
                <a:cubicBezTo>
                  <a:pt x="296" y="331"/>
                  <a:pt x="295" y="331"/>
                  <a:pt x="294" y="331"/>
                </a:cubicBezTo>
                <a:cubicBezTo>
                  <a:pt x="294" y="331"/>
                  <a:pt x="294" y="332"/>
                  <a:pt x="293" y="333"/>
                </a:cubicBezTo>
                <a:cubicBezTo>
                  <a:pt x="292" y="333"/>
                  <a:pt x="291" y="334"/>
                  <a:pt x="291" y="335"/>
                </a:cubicBezTo>
                <a:cubicBezTo>
                  <a:pt x="290" y="335"/>
                  <a:pt x="290" y="336"/>
                  <a:pt x="289" y="336"/>
                </a:cubicBezTo>
                <a:cubicBezTo>
                  <a:pt x="289" y="336"/>
                  <a:pt x="289" y="336"/>
                  <a:pt x="288" y="336"/>
                </a:cubicBezTo>
                <a:cubicBezTo>
                  <a:pt x="288" y="335"/>
                  <a:pt x="288" y="335"/>
                  <a:pt x="288" y="335"/>
                </a:cubicBezTo>
                <a:cubicBezTo>
                  <a:pt x="288" y="335"/>
                  <a:pt x="288" y="335"/>
                  <a:pt x="287" y="335"/>
                </a:cubicBezTo>
                <a:cubicBezTo>
                  <a:pt x="287" y="335"/>
                  <a:pt x="287" y="335"/>
                  <a:pt x="287" y="334"/>
                </a:cubicBezTo>
                <a:cubicBezTo>
                  <a:pt x="287" y="334"/>
                  <a:pt x="287" y="333"/>
                  <a:pt x="287" y="333"/>
                </a:cubicBezTo>
                <a:cubicBezTo>
                  <a:pt x="287" y="332"/>
                  <a:pt x="289" y="333"/>
                  <a:pt x="289" y="332"/>
                </a:cubicBezTo>
                <a:cubicBezTo>
                  <a:pt x="289" y="332"/>
                  <a:pt x="290" y="331"/>
                  <a:pt x="290" y="330"/>
                </a:cubicBezTo>
                <a:cubicBezTo>
                  <a:pt x="290" y="330"/>
                  <a:pt x="289" y="331"/>
                  <a:pt x="289" y="331"/>
                </a:cubicBezTo>
                <a:cubicBezTo>
                  <a:pt x="289" y="331"/>
                  <a:pt x="289" y="331"/>
                  <a:pt x="289" y="331"/>
                </a:cubicBezTo>
                <a:cubicBezTo>
                  <a:pt x="288" y="331"/>
                  <a:pt x="288" y="332"/>
                  <a:pt x="287" y="332"/>
                </a:cubicBezTo>
                <a:cubicBezTo>
                  <a:pt x="286" y="332"/>
                  <a:pt x="286" y="332"/>
                  <a:pt x="285" y="332"/>
                </a:cubicBezTo>
                <a:cubicBezTo>
                  <a:pt x="284" y="332"/>
                  <a:pt x="284" y="332"/>
                  <a:pt x="283" y="333"/>
                </a:cubicBezTo>
                <a:cubicBezTo>
                  <a:pt x="282" y="333"/>
                  <a:pt x="282" y="333"/>
                  <a:pt x="281" y="333"/>
                </a:cubicBezTo>
                <a:cubicBezTo>
                  <a:pt x="281" y="333"/>
                  <a:pt x="280" y="333"/>
                  <a:pt x="279" y="334"/>
                </a:cubicBezTo>
                <a:cubicBezTo>
                  <a:pt x="279" y="334"/>
                  <a:pt x="278" y="334"/>
                  <a:pt x="277" y="335"/>
                </a:cubicBezTo>
                <a:cubicBezTo>
                  <a:pt x="277" y="335"/>
                  <a:pt x="276" y="335"/>
                  <a:pt x="275" y="335"/>
                </a:cubicBezTo>
                <a:cubicBezTo>
                  <a:pt x="274" y="335"/>
                  <a:pt x="273" y="335"/>
                  <a:pt x="273" y="336"/>
                </a:cubicBezTo>
                <a:cubicBezTo>
                  <a:pt x="272" y="337"/>
                  <a:pt x="272" y="337"/>
                  <a:pt x="271" y="338"/>
                </a:cubicBezTo>
                <a:cubicBezTo>
                  <a:pt x="271" y="338"/>
                  <a:pt x="270" y="339"/>
                  <a:pt x="270" y="339"/>
                </a:cubicBezTo>
                <a:cubicBezTo>
                  <a:pt x="269" y="340"/>
                  <a:pt x="269" y="340"/>
                  <a:pt x="269" y="341"/>
                </a:cubicBezTo>
                <a:cubicBezTo>
                  <a:pt x="268" y="341"/>
                  <a:pt x="268" y="341"/>
                  <a:pt x="268" y="342"/>
                </a:cubicBezTo>
                <a:cubicBezTo>
                  <a:pt x="268" y="343"/>
                  <a:pt x="268" y="343"/>
                  <a:pt x="267" y="343"/>
                </a:cubicBezTo>
                <a:cubicBezTo>
                  <a:pt x="267" y="344"/>
                  <a:pt x="267" y="344"/>
                  <a:pt x="267" y="345"/>
                </a:cubicBezTo>
                <a:cubicBezTo>
                  <a:pt x="267" y="344"/>
                  <a:pt x="267" y="343"/>
                  <a:pt x="267" y="343"/>
                </a:cubicBezTo>
                <a:cubicBezTo>
                  <a:pt x="267" y="342"/>
                  <a:pt x="266" y="342"/>
                  <a:pt x="266" y="342"/>
                </a:cubicBezTo>
                <a:cubicBezTo>
                  <a:pt x="266" y="341"/>
                  <a:pt x="267" y="341"/>
                  <a:pt x="267" y="341"/>
                </a:cubicBezTo>
                <a:cubicBezTo>
                  <a:pt x="267" y="340"/>
                  <a:pt x="267" y="340"/>
                  <a:pt x="267" y="339"/>
                </a:cubicBezTo>
                <a:cubicBezTo>
                  <a:pt x="267" y="338"/>
                  <a:pt x="266" y="340"/>
                  <a:pt x="266" y="339"/>
                </a:cubicBezTo>
                <a:cubicBezTo>
                  <a:pt x="266" y="338"/>
                  <a:pt x="266" y="338"/>
                  <a:pt x="265" y="338"/>
                </a:cubicBezTo>
                <a:cubicBezTo>
                  <a:pt x="265" y="338"/>
                  <a:pt x="265" y="339"/>
                  <a:pt x="265" y="339"/>
                </a:cubicBezTo>
                <a:cubicBezTo>
                  <a:pt x="265" y="339"/>
                  <a:pt x="265" y="338"/>
                  <a:pt x="265" y="338"/>
                </a:cubicBezTo>
                <a:cubicBezTo>
                  <a:pt x="265" y="338"/>
                  <a:pt x="265" y="338"/>
                  <a:pt x="265" y="338"/>
                </a:cubicBezTo>
                <a:cubicBezTo>
                  <a:pt x="264" y="337"/>
                  <a:pt x="265" y="337"/>
                  <a:pt x="264" y="337"/>
                </a:cubicBezTo>
                <a:cubicBezTo>
                  <a:pt x="264" y="337"/>
                  <a:pt x="263" y="338"/>
                  <a:pt x="263" y="338"/>
                </a:cubicBezTo>
                <a:cubicBezTo>
                  <a:pt x="263" y="339"/>
                  <a:pt x="264" y="339"/>
                  <a:pt x="264" y="339"/>
                </a:cubicBezTo>
                <a:cubicBezTo>
                  <a:pt x="264" y="339"/>
                  <a:pt x="264" y="340"/>
                  <a:pt x="264" y="340"/>
                </a:cubicBezTo>
                <a:cubicBezTo>
                  <a:pt x="263" y="341"/>
                  <a:pt x="263" y="341"/>
                  <a:pt x="262" y="341"/>
                </a:cubicBezTo>
                <a:cubicBezTo>
                  <a:pt x="262" y="342"/>
                  <a:pt x="261" y="342"/>
                  <a:pt x="261" y="342"/>
                </a:cubicBezTo>
                <a:cubicBezTo>
                  <a:pt x="261" y="342"/>
                  <a:pt x="261" y="343"/>
                  <a:pt x="260" y="343"/>
                </a:cubicBezTo>
                <a:cubicBezTo>
                  <a:pt x="260" y="342"/>
                  <a:pt x="260" y="342"/>
                  <a:pt x="261" y="341"/>
                </a:cubicBezTo>
                <a:cubicBezTo>
                  <a:pt x="261" y="341"/>
                  <a:pt x="261" y="341"/>
                  <a:pt x="261" y="340"/>
                </a:cubicBezTo>
                <a:cubicBezTo>
                  <a:pt x="261" y="340"/>
                  <a:pt x="260" y="340"/>
                  <a:pt x="259" y="340"/>
                </a:cubicBezTo>
                <a:cubicBezTo>
                  <a:pt x="259" y="340"/>
                  <a:pt x="258" y="340"/>
                  <a:pt x="258" y="340"/>
                </a:cubicBezTo>
                <a:cubicBezTo>
                  <a:pt x="258" y="341"/>
                  <a:pt x="257" y="341"/>
                  <a:pt x="257" y="341"/>
                </a:cubicBezTo>
                <a:cubicBezTo>
                  <a:pt x="257" y="341"/>
                  <a:pt x="256" y="341"/>
                  <a:pt x="256" y="341"/>
                </a:cubicBezTo>
                <a:cubicBezTo>
                  <a:pt x="255" y="341"/>
                  <a:pt x="256" y="341"/>
                  <a:pt x="256" y="341"/>
                </a:cubicBezTo>
                <a:cubicBezTo>
                  <a:pt x="256" y="342"/>
                  <a:pt x="255" y="343"/>
                  <a:pt x="254" y="343"/>
                </a:cubicBezTo>
                <a:cubicBezTo>
                  <a:pt x="254" y="344"/>
                  <a:pt x="254" y="345"/>
                  <a:pt x="253" y="345"/>
                </a:cubicBezTo>
                <a:cubicBezTo>
                  <a:pt x="252" y="346"/>
                  <a:pt x="251" y="346"/>
                  <a:pt x="251" y="346"/>
                </a:cubicBezTo>
                <a:cubicBezTo>
                  <a:pt x="250" y="346"/>
                  <a:pt x="249" y="347"/>
                  <a:pt x="249" y="347"/>
                </a:cubicBezTo>
                <a:cubicBezTo>
                  <a:pt x="248" y="348"/>
                  <a:pt x="247" y="348"/>
                  <a:pt x="246" y="347"/>
                </a:cubicBezTo>
                <a:cubicBezTo>
                  <a:pt x="246" y="347"/>
                  <a:pt x="245" y="348"/>
                  <a:pt x="245" y="348"/>
                </a:cubicBezTo>
                <a:cubicBezTo>
                  <a:pt x="244" y="349"/>
                  <a:pt x="244" y="349"/>
                  <a:pt x="245" y="349"/>
                </a:cubicBezTo>
                <a:cubicBezTo>
                  <a:pt x="245" y="350"/>
                  <a:pt x="245" y="350"/>
                  <a:pt x="245" y="350"/>
                </a:cubicBezTo>
                <a:cubicBezTo>
                  <a:pt x="245" y="351"/>
                  <a:pt x="245" y="352"/>
                  <a:pt x="246" y="352"/>
                </a:cubicBezTo>
                <a:cubicBezTo>
                  <a:pt x="246" y="352"/>
                  <a:pt x="248" y="353"/>
                  <a:pt x="248" y="352"/>
                </a:cubicBezTo>
                <a:cubicBezTo>
                  <a:pt x="248" y="352"/>
                  <a:pt x="247" y="351"/>
                  <a:pt x="248" y="351"/>
                </a:cubicBezTo>
                <a:cubicBezTo>
                  <a:pt x="248" y="351"/>
                  <a:pt x="248" y="351"/>
                  <a:pt x="249" y="352"/>
                </a:cubicBezTo>
                <a:cubicBezTo>
                  <a:pt x="249" y="352"/>
                  <a:pt x="249" y="352"/>
                  <a:pt x="249" y="352"/>
                </a:cubicBezTo>
                <a:cubicBezTo>
                  <a:pt x="249" y="353"/>
                  <a:pt x="249" y="353"/>
                  <a:pt x="248" y="353"/>
                </a:cubicBezTo>
                <a:cubicBezTo>
                  <a:pt x="248" y="353"/>
                  <a:pt x="248" y="354"/>
                  <a:pt x="247" y="354"/>
                </a:cubicBezTo>
                <a:cubicBezTo>
                  <a:pt x="247" y="354"/>
                  <a:pt x="247" y="354"/>
                  <a:pt x="246" y="353"/>
                </a:cubicBezTo>
                <a:cubicBezTo>
                  <a:pt x="246" y="353"/>
                  <a:pt x="245" y="353"/>
                  <a:pt x="244" y="353"/>
                </a:cubicBezTo>
                <a:cubicBezTo>
                  <a:pt x="243" y="353"/>
                  <a:pt x="243" y="353"/>
                  <a:pt x="242" y="353"/>
                </a:cubicBezTo>
                <a:cubicBezTo>
                  <a:pt x="242" y="353"/>
                  <a:pt x="241" y="353"/>
                  <a:pt x="241" y="353"/>
                </a:cubicBezTo>
                <a:cubicBezTo>
                  <a:pt x="240" y="352"/>
                  <a:pt x="240" y="352"/>
                  <a:pt x="240" y="352"/>
                </a:cubicBezTo>
                <a:cubicBezTo>
                  <a:pt x="239" y="352"/>
                  <a:pt x="239" y="353"/>
                  <a:pt x="239" y="354"/>
                </a:cubicBezTo>
                <a:cubicBezTo>
                  <a:pt x="240" y="354"/>
                  <a:pt x="240" y="354"/>
                  <a:pt x="240" y="354"/>
                </a:cubicBezTo>
                <a:cubicBezTo>
                  <a:pt x="240" y="355"/>
                  <a:pt x="240" y="355"/>
                  <a:pt x="240" y="355"/>
                </a:cubicBezTo>
                <a:cubicBezTo>
                  <a:pt x="241" y="354"/>
                  <a:pt x="238" y="354"/>
                  <a:pt x="238" y="353"/>
                </a:cubicBezTo>
                <a:cubicBezTo>
                  <a:pt x="239" y="352"/>
                  <a:pt x="240" y="352"/>
                  <a:pt x="240" y="351"/>
                </a:cubicBezTo>
                <a:cubicBezTo>
                  <a:pt x="241" y="351"/>
                  <a:pt x="241" y="350"/>
                  <a:pt x="241" y="349"/>
                </a:cubicBezTo>
                <a:cubicBezTo>
                  <a:pt x="241" y="349"/>
                  <a:pt x="242" y="348"/>
                  <a:pt x="243" y="348"/>
                </a:cubicBezTo>
                <a:cubicBezTo>
                  <a:pt x="243" y="348"/>
                  <a:pt x="243" y="349"/>
                  <a:pt x="244" y="348"/>
                </a:cubicBezTo>
                <a:cubicBezTo>
                  <a:pt x="245" y="348"/>
                  <a:pt x="245" y="347"/>
                  <a:pt x="245" y="346"/>
                </a:cubicBezTo>
                <a:cubicBezTo>
                  <a:pt x="246" y="345"/>
                  <a:pt x="246" y="345"/>
                  <a:pt x="246" y="345"/>
                </a:cubicBezTo>
                <a:cubicBezTo>
                  <a:pt x="247" y="344"/>
                  <a:pt x="247" y="344"/>
                  <a:pt x="247" y="344"/>
                </a:cubicBezTo>
                <a:cubicBezTo>
                  <a:pt x="248" y="344"/>
                  <a:pt x="249" y="344"/>
                  <a:pt x="249" y="345"/>
                </a:cubicBezTo>
                <a:cubicBezTo>
                  <a:pt x="249" y="345"/>
                  <a:pt x="249" y="346"/>
                  <a:pt x="249" y="346"/>
                </a:cubicBezTo>
                <a:cubicBezTo>
                  <a:pt x="250" y="345"/>
                  <a:pt x="250" y="345"/>
                  <a:pt x="250" y="345"/>
                </a:cubicBezTo>
                <a:cubicBezTo>
                  <a:pt x="250" y="344"/>
                  <a:pt x="251" y="343"/>
                  <a:pt x="252" y="343"/>
                </a:cubicBezTo>
                <a:cubicBezTo>
                  <a:pt x="252" y="343"/>
                  <a:pt x="253" y="343"/>
                  <a:pt x="253" y="343"/>
                </a:cubicBezTo>
                <a:cubicBezTo>
                  <a:pt x="253" y="342"/>
                  <a:pt x="254" y="342"/>
                  <a:pt x="254" y="341"/>
                </a:cubicBezTo>
                <a:cubicBezTo>
                  <a:pt x="254" y="341"/>
                  <a:pt x="254" y="340"/>
                  <a:pt x="255" y="339"/>
                </a:cubicBezTo>
                <a:cubicBezTo>
                  <a:pt x="256" y="338"/>
                  <a:pt x="257" y="338"/>
                  <a:pt x="258" y="338"/>
                </a:cubicBezTo>
                <a:cubicBezTo>
                  <a:pt x="259" y="338"/>
                  <a:pt x="259" y="338"/>
                  <a:pt x="259" y="338"/>
                </a:cubicBezTo>
                <a:cubicBezTo>
                  <a:pt x="260" y="338"/>
                  <a:pt x="261" y="338"/>
                  <a:pt x="261" y="338"/>
                </a:cubicBezTo>
                <a:cubicBezTo>
                  <a:pt x="262" y="338"/>
                  <a:pt x="263" y="337"/>
                  <a:pt x="263" y="337"/>
                </a:cubicBezTo>
                <a:cubicBezTo>
                  <a:pt x="264" y="337"/>
                  <a:pt x="264" y="337"/>
                  <a:pt x="265" y="337"/>
                </a:cubicBezTo>
                <a:cubicBezTo>
                  <a:pt x="266" y="337"/>
                  <a:pt x="266" y="337"/>
                  <a:pt x="266" y="338"/>
                </a:cubicBezTo>
                <a:cubicBezTo>
                  <a:pt x="267" y="338"/>
                  <a:pt x="267" y="337"/>
                  <a:pt x="268" y="337"/>
                </a:cubicBezTo>
                <a:cubicBezTo>
                  <a:pt x="268" y="336"/>
                  <a:pt x="268" y="336"/>
                  <a:pt x="269" y="336"/>
                </a:cubicBezTo>
                <a:cubicBezTo>
                  <a:pt x="269" y="336"/>
                  <a:pt x="270" y="336"/>
                  <a:pt x="270" y="336"/>
                </a:cubicBezTo>
                <a:cubicBezTo>
                  <a:pt x="271" y="335"/>
                  <a:pt x="271" y="334"/>
                  <a:pt x="272" y="334"/>
                </a:cubicBezTo>
                <a:cubicBezTo>
                  <a:pt x="273" y="333"/>
                  <a:pt x="274" y="332"/>
                  <a:pt x="276" y="332"/>
                </a:cubicBezTo>
                <a:cubicBezTo>
                  <a:pt x="277" y="331"/>
                  <a:pt x="279" y="331"/>
                  <a:pt x="280" y="330"/>
                </a:cubicBezTo>
                <a:cubicBezTo>
                  <a:pt x="280" y="330"/>
                  <a:pt x="281" y="329"/>
                  <a:pt x="282" y="329"/>
                </a:cubicBezTo>
                <a:cubicBezTo>
                  <a:pt x="283" y="329"/>
                  <a:pt x="284" y="329"/>
                  <a:pt x="284" y="328"/>
                </a:cubicBezTo>
                <a:cubicBezTo>
                  <a:pt x="284" y="328"/>
                  <a:pt x="284" y="328"/>
                  <a:pt x="284" y="327"/>
                </a:cubicBezTo>
                <a:cubicBezTo>
                  <a:pt x="283" y="327"/>
                  <a:pt x="283" y="327"/>
                  <a:pt x="283" y="326"/>
                </a:cubicBezTo>
                <a:cubicBezTo>
                  <a:pt x="283" y="326"/>
                  <a:pt x="282" y="326"/>
                  <a:pt x="282" y="325"/>
                </a:cubicBezTo>
                <a:cubicBezTo>
                  <a:pt x="281" y="325"/>
                  <a:pt x="281" y="323"/>
                  <a:pt x="280" y="324"/>
                </a:cubicBezTo>
                <a:cubicBezTo>
                  <a:pt x="280" y="324"/>
                  <a:pt x="280" y="325"/>
                  <a:pt x="280" y="325"/>
                </a:cubicBezTo>
                <a:cubicBezTo>
                  <a:pt x="280" y="326"/>
                  <a:pt x="279" y="327"/>
                  <a:pt x="278" y="327"/>
                </a:cubicBezTo>
                <a:cubicBezTo>
                  <a:pt x="277" y="328"/>
                  <a:pt x="276" y="328"/>
                  <a:pt x="275" y="328"/>
                </a:cubicBezTo>
                <a:cubicBezTo>
                  <a:pt x="275" y="328"/>
                  <a:pt x="274" y="327"/>
                  <a:pt x="273" y="327"/>
                </a:cubicBezTo>
                <a:cubicBezTo>
                  <a:pt x="272" y="327"/>
                  <a:pt x="271" y="327"/>
                  <a:pt x="270" y="327"/>
                </a:cubicBezTo>
                <a:cubicBezTo>
                  <a:pt x="269" y="327"/>
                  <a:pt x="268" y="327"/>
                  <a:pt x="267" y="327"/>
                </a:cubicBezTo>
                <a:cubicBezTo>
                  <a:pt x="266" y="328"/>
                  <a:pt x="266" y="329"/>
                  <a:pt x="266" y="330"/>
                </a:cubicBezTo>
                <a:cubicBezTo>
                  <a:pt x="265" y="330"/>
                  <a:pt x="265" y="330"/>
                  <a:pt x="265" y="331"/>
                </a:cubicBezTo>
                <a:cubicBezTo>
                  <a:pt x="265" y="331"/>
                  <a:pt x="265" y="331"/>
                  <a:pt x="265" y="332"/>
                </a:cubicBezTo>
                <a:cubicBezTo>
                  <a:pt x="265" y="332"/>
                  <a:pt x="264" y="333"/>
                  <a:pt x="264" y="332"/>
                </a:cubicBezTo>
                <a:cubicBezTo>
                  <a:pt x="263" y="332"/>
                  <a:pt x="263" y="332"/>
                  <a:pt x="263" y="331"/>
                </a:cubicBezTo>
                <a:cubicBezTo>
                  <a:pt x="263" y="330"/>
                  <a:pt x="262" y="330"/>
                  <a:pt x="261" y="331"/>
                </a:cubicBezTo>
                <a:cubicBezTo>
                  <a:pt x="261" y="331"/>
                  <a:pt x="260" y="331"/>
                  <a:pt x="259" y="331"/>
                </a:cubicBezTo>
                <a:cubicBezTo>
                  <a:pt x="258" y="332"/>
                  <a:pt x="258" y="333"/>
                  <a:pt x="257" y="333"/>
                </a:cubicBezTo>
                <a:cubicBezTo>
                  <a:pt x="257" y="333"/>
                  <a:pt x="257" y="333"/>
                  <a:pt x="256" y="333"/>
                </a:cubicBezTo>
                <a:cubicBezTo>
                  <a:pt x="256" y="334"/>
                  <a:pt x="256" y="334"/>
                  <a:pt x="255" y="334"/>
                </a:cubicBezTo>
                <a:cubicBezTo>
                  <a:pt x="254" y="335"/>
                  <a:pt x="253" y="335"/>
                  <a:pt x="252" y="335"/>
                </a:cubicBezTo>
                <a:cubicBezTo>
                  <a:pt x="251" y="335"/>
                  <a:pt x="251" y="335"/>
                  <a:pt x="251" y="335"/>
                </a:cubicBezTo>
                <a:cubicBezTo>
                  <a:pt x="250" y="335"/>
                  <a:pt x="250" y="335"/>
                  <a:pt x="250" y="335"/>
                </a:cubicBezTo>
                <a:cubicBezTo>
                  <a:pt x="249" y="335"/>
                  <a:pt x="248" y="334"/>
                  <a:pt x="248" y="335"/>
                </a:cubicBezTo>
                <a:cubicBezTo>
                  <a:pt x="248" y="336"/>
                  <a:pt x="250" y="336"/>
                  <a:pt x="250" y="336"/>
                </a:cubicBezTo>
                <a:cubicBezTo>
                  <a:pt x="250" y="337"/>
                  <a:pt x="248" y="336"/>
                  <a:pt x="247" y="336"/>
                </a:cubicBezTo>
                <a:cubicBezTo>
                  <a:pt x="246" y="336"/>
                  <a:pt x="246" y="336"/>
                  <a:pt x="245" y="336"/>
                </a:cubicBezTo>
                <a:cubicBezTo>
                  <a:pt x="244" y="337"/>
                  <a:pt x="243" y="337"/>
                  <a:pt x="242" y="337"/>
                </a:cubicBezTo>
                <a:cubicBezTo>
                  <a:pt x="242" y="338"/>
                  <a:pt x="241" y="338"/>
                  <a:pt x="240" y="339"/>
                </a:cubicBezTo>
                <a:cubicBezTo>
                  <a:pt x="238" y="340"/>
                  <a:pt x="237" y="341"/>
                  <a:pt x="235" y="341"/>
                </a:cubicBezTo>
                <a:cubicBezTo>
                  <a:pt x="234" y="342"/>
                  <a:pt x="233" y="342"/>
                  <a:pt x="232" y="343"/>
                </a:cubicBezTo>
                <a:cubicBezTo>
                  <a:pt x="232" y="343"/>
                  <a:pt x="231" y="344"/>
                  <a:pt x="230" y="344"/>
                </a:cubicBezTo>
                <a:cubicBezTo>
                  <a:pt x="230" y="343"/>
                  <a:pt x="232" y="343"/>
                  <a:pt x="232" y="342"/>
                </a:cubicBezTo>
                <a:cubicBezTo>
                  <a:pt x="232" y="341"/>
                  <a:pt x="233" y="341"/>
                  <a:pt x="233" y="340"/>
                </a:cubicBezTo>
                <a:cubicBezTo>
                  <a:pt x="234" y="340"/>
                  <a:pt x="235" y="339"/>
                  <a:pt x="235" y="338"/>
                </a:cubicBezTo>
                <a:cubicBezTo>
                  <a:pt x="234" y="338"/>
                  <a:pt x="234" y="338"/>
                  <a:pt x="234" y="339"/>
                </a:cubicBezTo>
                <a:cubicBezTo>
                  <a:pt x="233" y="339"/>
                  <a:pt x="233" y="339"/>
                  <a:pt x="232" y="339"/>
                </a:cubicBezTo>
                <a:cubicBezTo>
                  <a:pt x="232" y="339"/>
                  <a:pt x="232" y="338"/>
                  <a:pt x="232" y="338"/>
                </a:cubicBezTo>
                <a:cubicBezTo>
                  <a:pt x="231" y="338"/>
                  <a:pt x="231" y="338"/>
                  <a:pt x="230" y="338"/>
                </a:cubicBezTo>
                <a:cubicBezTo>
                  <a:pt x="230" y="337"/>
                  <a:pt x="230" y="337"/>
                  <a:pt x="230" y="337"/>
                </a:cubicBezTo>
                <a:cubicBezTo>
                  <a:pt x="230" y="336"/>
                  <a:pt x="229" y="336"/>
                  <a:pt x="228" y="335"/>
                </a:cubicBezTo>
                <a:cubicBezTo>
                  <a:pt x="228" y="335"/>
                  <a:pt x="228" y="334"/>
                  <a:pt x="228" y="335"/>
                </a:cubicBezTo>
                <a:cubicBezTo>
                  <a:pt x="227" y="335"/>
                  <a:pt x="227" y="335"/>
                  <a:pt x="227" y="336"/>
                </a:cubicBezTo>
                <a:cubicBezTo>
                  <a:pt x="227" y="336"/>
                  <a:pt x="227" y="336"/>
                  <a:pt x="227" y="337"/>
                </a:cubicBezTo>
                <a:cubicBezTo>
                  <a:pt x="227" y="337"/>
                  <a:pt x="227" y="338"/>
                  <a:pt x="227" y="338"/>
                </a:cubicBezTo>
                <a:cubicBezTo>
                  <a:pt x="227" y="339"/>
                  <a:pt x="228" y="340"/>
                  <a:pt x="226" y="340"/>
                </a:cubicBezTo>
                <a:cubicBezTo>
                  <a:pt x="226" y="340"/>
                  <a:pt x="225" y="340"/>
                  <a:pt x="225" y="340"/>
                </a:cubicBezTo>
                <a:cubicBezTo>
                  <a:pt x="225" y="340"/>
                  <a:pt x="224" y="340"/>
                  <a:pt x="224" y="339"/>
                </a:cubicBezTo>
                <a:cubicBezTo>
                  <a:pt x="223" y="339"/>
                  <a:pt x="222" y="339"/>
                  <a:pt x="222" y="339"/>
                </a:cubicBezTo>
                <a:cubicBezTo>
                  <a:pt x="221" y="339"/>
                  <a:pt x="220" y="339"/>
                  <a:pt x="219" y="339"/>
                </a:cubicBezTo>
                <a:cubicBezTo>
                  <a:pt x="219" y="340"/>
                  <a:pt x="219" y="340"/>
                  <a:pt x="218" y="340"/>
                </a:cubicBezTo>
                <a:cubicBezTo>
                  <a:pt x="218" y="340"/>
                  <a:pt x="218" y="340"/>
                  <a:pt x="217" y="340"/>
                </a:cubicBezTo>
                <a:cubicBezTo>
                  <a:pt x="216" y="341"/>
                  <a:pt x="217" y="341"/>
                  <a:pt x="218" y="342"/>
                </a:cubicBezTo>
                <a:cubicBezTo>
                  <a:pt x="218" y="342"/>
                  <a:pt x="218" y="343"/>
                  <a:pt x="218" y="343"/>
                </a:cubicBezTo>
                <a:cubicBezTo>
                  <a:pt x="218" y="343"/>
                  <a:pt x="218" y="343"/>
                  <a:pt x="218" y="344"/>
                </a:cubicBezTo>
                <a:cubicBezTo>
                  <a:pt x="217" y="344"/>
                  <a:pt x="216" y="343"/>
                  <a:pt x="216" y="343"/>
                </a:cubicBezTo>
                <a:cubicBezTo>
                  <a:pt x="215" y="343"/>
                  <a:pt x="214" y="343"/>
                  <a:pt x="214" y="344"/>
                </a:cubicBezTo>
                <a:cubicBezTo>
                  <a:pt x="213" y="344"/>
                  <a:pt x="214" y="344"/>
                  <a:pt x="213" y="344"/>
                </a:cubicBezTo>
                <a:cubicBezTo>
                  <a:pt x="213" y="345"/>
                  <a:pt x="213" y="344"/>
                  <a:pt x="212" y="344"/>
                </a:cubicBezTo>
                <a:cubicBezTo>
                  <a:pt x="212" y="344"/>
                  <a:pt x="212" y="343"/>
                  <a:pt x="211" y="344"/>
                </a:cubicBezTo>
                <a:cubicBezTo>
                  <a:pt x="211" y="344"/>
                  <a:pt x="211" y="345"/>
                  <a:pt x="211" y="345"/>
                </a:cubicBezTo>
                <a:cubicBezTo>
                  <a:pt x="211" y="345"/>
                  <a:pt x="211" y="345"/>
                  <a:pt x="210" y="345"/>
                </a:cubicBezTo>
                <a:cubicBezTo>
                  <a:pt x="210" y="345"/>
                  <a:pt x="210" y="344"/>
                  <a:pt x="210" y="345"/>
                </a:cubicBezTo>
                <a:cubicBezTo>
                  <a:pt x="209" y="345"/>
                  <a:pt x="209" y="347"/>
                  <a:pt x="210" y="347"/>
                </a:cubicBezTo>
                <a:cubicBezTo>
                  <a:pt x="210" y="347"/>
                  <a:pt x="210" y="347"/>
                  <a:pt x="211" y="348"/>
                </a:cubicBezTo>
                <a:cubicBezTo>
                  <a:pt x="211" y="348"/>
                  <a:pt x="211" y="348"/>
                  <a:pt x="212" y="348"/>
                </a:cubicBezTo>
                <a:cubicBezTo>
                  <a:pt x="212" y="349"/>
                  <a:pt x="213" y="348"/>
                  <a:pt x="213" y="349"/>
                </a:cubicBezTo>
                <a:cubicBezTo>
                  <a:pt x="213" y="349"/>
                  <a:pt x="214" y="349"/>
                  <a:pt x="213" y="349"/>
                </a:cubicBezTo>
                <a:cubicBezTo>
                  <a:pt x="213" y="350"/>
                  <a:pt x="212" y="349"/>
                  <a:pt x="212" y="350"/>
                </a:cubicBezTo>
                <a:cubicBezTo>
                  <a:pt x="212" y="350"/>
                  <a:pt x="212" y="350"/>
                  <a:pt x="211" y="350"/>
                </a:cubicBezTo>
                <a:cubicBezTo>
                  <a:pt x="211" y="350"/>
                  <a:pt x="210" y="350"/>
                  <a:pt x="210" y="350"/>
                </a:cubicBezTo>
                <a:cubicBezTo>
                  <a:pt x="209" y="350"/>
                  <a:pt x="209" y="351"/>
                  <a:pt x="209" y="351"/>
                </a:cubicBezTo>
                <a:cubicBezTo>
                  <a:pt x="210" y="351"/>
                  <a:pt x="211" y="351"/>
                  <a:pt x="212" y="351"/>
                </a:cubicBezTo>
                <a:cubicBezTo>
                  <a:pt x="212" y="351"/>
                  <a:pt x="213" y="351"/>
                  <a:pt x="213" y="351"/>
                </a:cubicBezTo>
                <a:cubicBezTo>
                  <a:pt x="214" y="351"/>
                  <a:pt x="215" y="351"/>
                  <a:pt x="215" y="350"/>
                </a:cubicBezTo>
                <a:cubicBezTo>
                  <a:pt x="216" y="350"/>
                  <a:pt x="216" y="350"/>
                  <a:pt x="217" y="351"/>
                </a:cubicBezTo>
                <a:cubicBezTo>
                  <a:pt x="217" y="351"/>
                  <a:pt x="217" y="351"/>
                  <a:pt x="218" y="351"/>
                </a:cubicBezTo>
                <a:cubicBezTo>
                  <a:pt x="218" y="351"/>
                  <a:pt x="218" y="351"/>
                  <a:pt x="218" y="352"/>
                </a:cubicBezTo>
                <a:cubicBezTo>
                  <a:pt x="218" y="352"/>
                  <a:pt x="217" y="352"/>
                  <a:pt x="216" y="352"/>
                </a:cubicBezTo>
                <a:cubicBezTo>
                  <a:pt x="216" y="353"/>
                  <a:pt x="216" y="353"/>
                  <a:pt x="216" y="353"/>
                </a:cubicBezTo>
                <a:cubicBezTo>
                  <a:pt x="216" y="353"/>
                  <a:pt x="216" y="353"/>
                  <a:pt x="216" y="353"/>
                </a:cubicBezTo>
                <a:cubicBezTo>
                  <a:pt x="215" y="353"/>
                  <a:pt x="215" y="353"/>
                  <a:pt x="215" y="353"/>
                </a:cubicBezTo>
                <a:cubicBezTo>
                  <a:pt x="216" y="354"/>
                  <a:pt x="216" y="353"/>
                  <a:pt x="216" y="354"/>
                </a:cubicBezTo>
                <a:cubicBezTo>
                  <a:pt x="216" y="355"/>
                  <a:pt x="216" y="355"/>
                  <a:pt x="217" y="355"/>
                </a:cubicBezTo>
                <a:cubicBezTo>
                  <a:pt x="217" y="355"/>
                  <a:pt x="217" y="355"/>
                  <a:pt x="218" y="355"/>
                </a:cubicBezTo>
                <a:cubicBezTo>
                  <a:pt x="218" y="356"/>
                  <a:pt x="218" y="357"/>
                  <a:pt x="217" y="356"/>
                </a:cubicBezTo>
                <a:cubicBezTo>
                  <a:pt x="217" y="356"/>
                  <a:pt x="216" y="355"/>
                  <a:pt x="215" y="355"/>
                </a:cubicBezTo>
                <a:cubicBezTo>
                  <a:pt x="215" y="355"/>
                  <a:pt x="214" y="355"/>
                  <a:pt x="213" y="354"/>
                </a:cubicBezTo>
                <a:cubicBezTo>
                  <a:pt x="212" y="354"/>
                  <a:pt x="211" y="353"/>
                  <a:pt x="209" y="353"/>
                </a:cubicBezTo>
                <a:cubicBezTo>
                  <a:pt x="208" y="353"/>
                  <a:pt x="207" y="352"/>
                  <a:pt x="206" y="352"/>
                </a:cubicBezTo>
                <a:cubicBezTo>
                  <a:pt x="206" y="351"/>
                  <a:pt x="205" y="352"/>
                  <a:pt x="204" y="351"/>
                </a:cubicBezTo>
                <a:cubicBezTo>
                  <a:pt x="204" y="351"/>
                  <a:pt x="203" y="351"/>
                  <a:pt x="203" y="351"/>
                </a:cubicBezTo>
                <a:cubicBezTo>
                  <a:pt x="202" y="350"/>
                  <a:pt x="202" y="350"/>
                  <a:pt x="202" y="350"/>
                </a:cubicBezTo>
                <a:cubicBezTo>
                  <a:pt x="201" y="350"/>
                  <a:pt x="200" y="350"/>
                  <a:pt x="199" y="349"/>
                </a:cubicBezTo>
                <a:cubicBezTo>
                  <a:pt x="198" y="349"/>
                  <a:pt x="198" y="348"/>
                  <a:pt x="197" y="348"/>
                </a:cubicBezTo>
                <a:cubicBezTo>
                  <a:pt x="196" y="348"/>
                  <a:pt x="195" y="348"/>
                  <a:pt x="194" y="348"/>
                </a:cubicBezTo>
                <a:cubicBezTo>
                  <a:pt x="193" y="347"/>
                  <a:pt x="192" y="347"/>
                  <a:pt x="192" y="347"/>
                </a:cubicBezTo>
                <a:cubicBezTo>
                  <a:pt x="191" y="346"/>
                  <a:pt x="190" y="346"/>
                  <a:pt x="189" y="345"/>
                </a:cubicBezTo>
                <a:cubicBezTo>
                  <a:pt x="188" y="345"/>
                  <a:pt x="187" y="345"/>
                  <a:pt x="186" y="345"/>
                </a:cubicBezTo>
                <a:cubicBezTo>
                  <a:pt x="186" y="345"/>
                  <a:pt x="185" y="344"/>
                  <a:pt x="184" y="344"/>
                </a:cubicBezTo>
                <a:cubicBezTo>
                  <a:pt x="183" y="344"/>
                  <a:pt x="182" y="343"/>
                  <a:pt x="182" y="343"/>
                </a:cubicBezTo>
                <a:cubicBezTo>
                  <a:pt x="181" y="343"/>
                  <a:pt x="181" y="343"/>
                  <a:pt x="180" y="343"/>
                </a:cubicBezTo>
                <a:cubicBezTo>
                  <a:pt x="180" y="342"/>
                  <a:pt x="179" y="342"/>
                  <a:pt x="179" y="342"/>
                </a:cubicBezTo>
                <a:cubicBezTo>
                  <a:pt x="178" y="342"/>
                  <a:pt x="178" y="342"/>
                  <a:pt x="178" y="341"/>
                </a:cubicBezTo>
                <a:cubicBezTo>
                  <a:pt x="177" y="341"/>
                  <a:pt x="176" y="341"/>
                  <a:pt x="176" y="341"/>
                </a:cubicBezTo>
                <a:cubicBezTo>
                  <a:pt x="175" y="341"/>
                  <a:pt x="175" y="340"/>
                  <a:pt x="174" y="340"/>
                </a:cubicBezTo>
                <a:cubicBezTo>
                  <a:pt x="174" y="340"/>
                  <a:pt x="174" y="340"/>
                  <a:pt x="173" y="339"/>
                </a:cubicBezTo>
                <a:cubicBezTo>
                  <a:pt x="173" y="339"/>
                  <a:pt x="174" y="338"/>
                  <a:pt x="174" y="338"/>
                </a:cubicBezTo>
                <a:cubicBezTo>
                  <a:pt x="175" y="338"/>
                  <a:pt x="176" y="338"/>
                  <a:pt x="176" y="338"/>
                </a:cubicBezTo>
                <a:cubicBezTo>
                  <a:pt x="177" y="337"/>
                  <a:pt x="176" y="337"/>
                  <a:pt x="176" y="337"/>
                </a:cubicBezTo>
                <a:cubicBezTo>
                  <a:pt x="175" y="337"/>
                  <a:pt x="174" y="336"/>
                  <a:pt x="173" y="336"/>
                </a:cubicBezTo>
                <a:cubicBezTo>
                  <a:pt x="173" y="336"/>
                  <a:pt x="173" y="337"/>
                  <a:pt x="172" y="337"/>
                </a:cubicBezTo>
                <a:cubicBezTo>
                  <a:pt x="172" y="337"/>
                  <a:pt x="172" y="337"/>
                  <a:pt x="171" y="337"/>
                </a:cubicBezTo>
                <a:cubicBezTo>
                  <a:pt x="170" y="338"/>
                  <a:pt x="172" y="338"/>
                  <a:pt x="173" y="338"/>
                </a:cubicBezTo>
                <a:cubicBezTo>
                  <a:pt x="173" y="338"/>
                  <a:pt x="173" y="339"/>
                  <a:pt x="173" y="339"/>
                </a:cubicBezTo>
                <a:cubicBezTo>
                  <a:pt x="172" y="339"/>
                  <a:pt x="172" y="339"/>
                  <a:pt x="171" y="339"/>
                </a:cubicBezTo>
                <a:cubicBezTo>
                  <a:pt x="170" y="338"/>
                  <a:pt x="168" y="338"/>
                  <a:pt x="167" y="338"/>
                </a:cubicBezTo>
                <a:cubicBezTo>
                  <a:pt x="166" y="338"/>
                  <a:pt x="165" y="338"/>
                  <a:pt x="164" y="338"/>
                </a:cubicBezTo>
                <a:cubicBezTo>
                  <a:pt x="163" y="338"/>
                  <a:pt x="162" y="337"/>
                  <a:pt x="161" y="337"/>
                </a:cubicBezTo>
                <a:cubicBezTo>
                  <a:pt x="159" y="337"/>
                  <a:pt x="157" y="337"/>
                  <a:pt x="155" y="337"/>
                </a:cubicBezTo>
                <a:cubicBezTo>
                  <a:pt x="155" y="337"/>
                  <a:pt x="154" y="336"/>
                  <a:pt x="153" y="336"/>
                </a:cubicBezTo>
                <a:cubicBezTo>
                  <a:pt x="152" y="336"/>
                  <a:pt x="151" y="336"/>
                  <a:pt x="151" y="336"/>
                </a:cubicBezTo>
                <a:cubicBezTo>
                  <a:pt x="149" y="335"/>
                  <a:pt x="147" y="334"/>
                  <a:pt x="145" y="333"/>
                </a:cubicBezTo>
                <a:cubicBezTo>
                  <a:pt x="143" y="333"/>
                  <a:pt x="141" y="332"/>
                  <a:pt x="139" y="331"/>
                </a:cubicBezTo>
                <a:cubicBezTo>
                  <a:pt x="138" y="331"/>
                  <a:pt x="137" y="330"/>
                  <a:pt x="136" y="330"/>
                </a:cubicBezTo>
                <a:cubicBezTo>
                  <a:pt x="135" y="330"/>
                  <a:pt x="134" y="329"/>
                  <a:pt x="133" y="329"/>
                </a:cubicBezTo>
                <a:cubicBezTo>
                  <a:pt x="131" y="329"/>
                  <a:pt x="129" y="329"/>
                  <a:pt x="127" y="329"/>
                </a:cubicBezTo>
                <a:cubicBezTo>
                  <a:pt x="125" y="329"/>
                  <a:pt x="123" y="328"/>
                  <a:pt x="121" y="328"/>
                </a:cubicBezTo>
                <a:cubicBezTo>
                  <a:pt x="121" y="328"/>
                  <a:pt x="120" y="328"/>
                  <a:pt x="120" y="328"/>
                </a:cubicBezTo>
                <a:cubicBezTo>
                  <a:pt x="118" y="329"/>
                  <a:pt x="117" y="329"/>
                  <a:pt x="116" y="329"/>
                </a:cubicBezTo>
                <a:cubicBezTo>
                  <a:pt x="114" y="329"/>
                  <a:pt x="113" y="328"/>
                  <a:pt x="112" y="328"/>
                </a:cubicBezTo>
                <a:cubicBezTo>
                  <a:pt x="111" y="329"/>
                  <a:pt x="111" y="329"/>
                  <a:pt x="110" y="329"/>
                </a:cubicBezTo>
                <a:cubicBezTo>
                  <a:pt x="109" y="330"/>
                  <a:pt x="108" y="330"/>
                  <a:pt x="107" y="330"/>
                </a:cubicBezTo>
                <a:cubicBezTo>
                  <a:pt x="105" y="330"/>
                  <a:pt x="103" y="329"/>
                  <a:pt x="102" y="328"/>
                </a:cubicBezTo>
                <a:cubicBezTo>
                  <a:pt x="101" y="328"/>
                  <a:pt x="100" y="327"/>
                  <a:pt x="100" y="327"/>
                </a:cubicBezTo>
                <a:cubicBezTo>
                  <a:pt x="99" y="327"/>
                  <a:pt x="98" y="327"/>
                  <a:pt x="97" y="326"/>
                </a:cubicBezTo>
                <a:cubicBezTo>
                  <a:pt x="97" y="326"/>
                  <a:pt x="96" y="326"/>
                  <a:pt x="95" y="325"/>
                </a:cubicBezTo>
                <a:cubicBezTo>
                  <a:pt x="95" y="325"/>
                  <a:pt x="94" y="325"/>
                  <a:pt x="94" y="325"/>
                </a:cubicBezTo>
                <a:cubicBezTo>
                  <a:pt x="93" y="325"/>
                  <a:pt x="92" y="325"/>
                  <a:pt x="91" y="325"/>
                </a:cubicBezTo>
                <a:cubicBezTo>
                  <a:pt x="89" y="325"/>
                  <a:pt x="87" y="325"/>
                  <a:pt x="85" y="325"/>
                </a:cubicBezTo>
                <a:cubicBezTo>
                  <a:pt x="84" y="326"/>
                  <a:pt x="82" y="326"/>
                  <a:pt x="81" y="325"/>
                </a:cubicBezTo>
                <a:cubicBezTo>
                  <a:pt x="79" y="325"/>
                  <a:pt x="77" y="325"/>
                  <a:pt x="75" y="325"/>
                </a:cubicBezTo>
                <a:cubicBezTo>
                  <a:pt x="73" y="324"/>
                  <a:pt x="71" y="324"/>
                  <a:pt x="69" y="323"/>
                </a:cubicBezTo>
                <a:cubicBezTo>
                  <a:pt x="67" y="323"/>
                  <a:pt x="65" y="323"/>
                  <a:pt x="64" y="323"/>
                </a:cubicBezTo>
                <a:cubicBezTo>
                  <a:pt x="62" y="322"/>
                  <a:pt x="60" y="322"/>
                  <a:pt x="58" y="322"/>
                </a:cubicBezTo>
                <a:cubicBezTo>
                  <a:pt x="57" y="321"/>
                  <a:pt x="57" y="321"/>
                  <a:pt x="56" y="321"/>
                </a:cubicBezTo>
                <a:cubicBezTo>
                  <a:pt x="55" y="321"/>
                  <a:pt x="54" y="321"/>
                  <a:pt x="53" y="321"/>
                </a:cubicBezTo>
                <a:cubicBezTo>
                  <a:pt x="52" y="320"/>
                  <a:pt x="51" y="320"/>
                  <a:pt x="49" y="320"/>
                </a:cubicBezTo>
                <a:cubicBezTo>
                  <a:pt x="48" y="320"/>
                  <a:pt x="47" y="320"/>
                  <a:pt x="46" y="320"/>
                </a:cubicBezTo>
                <a:cubicBezTo>
                  <a:pt x="45" y="320"/>
                  <a:pt x="44" y="320"/>
                  <a:pt x="43" y="320"/>
                </a:cubicBezTo>
                <a:cubicBezTo>
                  <a:pt x="42" y="320"/>
                  <a:pt x="41" y="320"/>
                  <a:pt x="40" y="320"/>
                </a:cubicBezTo>
                <a:cubicBezTo>
                  <a:pt x="39" y="320"/>
                  <a:pt x="38" y="320"/>
                  <a:pt x="37" y="320"/>
                </a:cubicBezTo>
                <a:cubicBezTo>
                  <a:pt x="37" y="320"/>
                  <a:pt x="36" y="321"/>
                  <a:pt x="36" y="321"/>
                </a:cubicBezTo>
                <a:cubicBezTo>
                  <a:pt x="35" y="322"/>
                  <a:pt x="34" y="321"/>
                  <a:pt x="34" y="321"/>
                </a:cubicBezTo>
                <a:cubicBezTo>
                  <a:pt x="33" y="321"/>
                  <a:pt x="32" y="321"/>
                  <a:pt x="32" y="320"/>
                </a:cubicBezTo>
                <a:cubicBezTo>
                  <a:pt x="31" y="320"/>
                  <a:pt x="31" y="320"/>
                  <a:pt x="31" y="320"/>
                </a:cubicBezTo>
                <a:cubicBezTo>
                  <a:pt x="30" y="320"/>
                  <a:pt x="30" y="320"/>
                  <a:pt x="29" y="319"/>
                </a:cubicBezTo>
                <a:cubicBezTo>
                  <a:pt x="29" y="319"/>
                  <a:pt x="30" y="317"/>
                  <a:pt x="29" y="317"/>
                </a:cubicBezTo>
                <a:cubicBezTo>
                  <a:pt x="28" y="317"/>
                  <a:pt x="28" y="318"/>
                  <a:pt x="27" y="318"/>
                </a:cubicBezTo>
                <a:cubicBezTo>
                  <a:pt x="26" y="318"/>
                  <a:pt x="26" y="317"/>
                  <a:pt x="26" y="317"/>
                </a:cubicBezTo>
                <a:cubicBezTo>
                  <a:pt x="25" y="316"/>
                  <a:pt x="25" y="316"/>
                  <a:pt x="24" y="316"/>
                </a:cubicBezTo>
                <a:cubicBezTo>
                  <a:pt x="24" y="316"/>
                  <a:pt x="23" y="316"/>
                  <a:pt x="23" y="316"/>
                </a:cubicBezTo>
                <a:cubicBezTo>
                  <a:pt x="23" y="315"/>
                  <a:pt x="22" y="315"/>
                  <a:pt x="22" y="315"/>
                </a:cubicBezTo>
                <a:cubicBezTo>
                  <a:pt x="21" y="315"/>
                  <a:pt x="22" y="315"/>
                  <a:pt x="22" y="314"/>
                </a:cubicBezTo>
                <a:cubicBezTo>
                  <a:pt x="23" y="314"/>
                  <a:pt x="23" y="314"/>
                  <a:pt x="23" y="314"/>
                </a:cubicBezTo>
                <a:cubicBezTo>
                  <a:pt x="23" y="313"/>
                  <a:pt x="24" y="313"/>
                  <a:pt x="24" y="313"/>
                </a:cubicBezTo>
                <a:cubicBezTo>
                  <a:pt x="24" y="313"/>
                  <a:pt x="24" y="312"/>
                  <a:pt x="24" y="312"/>
                </a:cubicBezTo>
                <a:cubicBezTo>
                  <a:pt x="24" y="312"/>
                  <a:pt x="23" y="312"/>
                  <a:pt x="23" y="312"/>
                </a:cubicBezTo>
                <a:cubicBezTo>
                  <a:pt x="22" y="312"/>
                  <a:pt x="21" y="311"/>
                  <a:pt x="20" y="311"/>
                </a:cubicBezTo>
                <a:cubicBezTo>
                  <a:pt x="19" y="311"/>
                  <a:pt x="17" y="311"/>
                  <a:pt x="16" y="311"/>
                </a:cubicBezTo>
                <a:cubicBezTo>
                  <a:pt x="14" y="311"/>
                  <a:pt x="13" y="311"/>
                  <a:pt x="12" y="311"/>
                </a:cubicBezTo>
                <a:cubicBezTo>
                  <a:pt x="11" y="311"/>
                  <a:pt x="10" y="311"/>
                  <a:pt x="9" y="311"/>
                </a:cubicBezTo>
                <a:cubicBezTo>
                  <a:pt x="9" y="311"/>
                  <a:pt x="8" y="311"/>
                  <a:pt x="7" y="311"/>
                </a:cubicBezTo>
                <a:cubicBezTo>
                  <a:pt x="6" y="310"/>
                  <a:pt x="6" y="310"/>
                  <a:pt x="5" y="311"/>
                </a:cubicBezTo>
                <a:cubicBezTo>
                  <a:pt x="5" y="311"/>
                  <a:pt x="4" y="311"/>
                  <a:pt x="4" y="312"/>
                </a:cubicBezTo>
                <a:cubicBezTo>
                  <a:pt x="4" y="312"/>
                  <a:pt x="3" y="312"/>
                  <a:pt x="3" y="312"/>
                </a:cubicBezTo>
                <a:cubicBezTo>
                  <a:pt x="2" y="313"/>
                  <a:pt x="2" y="313"/>
                  <a:pt x="1" y="313"/>
                </a:cubicBezTo>
                <a:cubicBezTo>
                  <a:pt x="0" y="547"/>
                  <a:pt x="0" y="547"/>
                  <a:pt x="0" y="547"/>
                </a:cubicBezTo>
                <a:cubicBezTo>
                  <a:pt x="0" y="546"/>
                  <a:pt x="0" y="546"/>
                  <a:pt x="1" y="545"/>
                </a:cubicBezTo>
                <a:cubicBezTo>
                  <a:pt x="2" y="545"/>
                  <a:pt x="2" y="545"/>
                  <a:pt x="2" y="544"/>
                </a:cubicBezTo>
                <a:cubicBezTo>
                  <a:pt x="2" y="544"/>
                  <a:pt x="2" y="544"/>
                  <a:pt x="2" y="543"/>
                </a:cubicBezTo>
                <a:cubicBezTo>
                  <a:pt x="2" y="542"/>
                  <a:pt x="3" y="543"/>
                  <a:pt x="4" y="542"/>
                </a:cubicBezTo>
                <a:cubicBezTo>
                  <a:pt x="3" y="542"/>
                  <a:pt x="2" y="541"/>
                  <a:pt x="3" y="541"/>
                </a:cubicBezTo>
                <a:cubicBezTo>
                  <a:pt x="3" y="540"/>
                  <a:pt x="4" y="540"/>
                  <a:pt x="4" y="539"/>
                </a:cubicBezTo>
                <a:cubicBezTo>
                  <a:pt x="4" y="539"/>
                  <a:pt x="5" y="538"/>
                  <a:pt x="6" y="538"/>
                </a:cubicBezTo>
                <a:cubicBezTo>
                  <a:pt x="6" y="538"/>
                  <a:pt x="6" y="538"/>
                  <a:pt x="7" y="538"/>
                </a:cubicBezTo>
                <a:cubicBezTo>
                  <a:pt x="7" y="538"/>
                  <a:pt x="8" y="537"/>
                  <a:pt x="9" y="537"/>
                </a:cubicBezTo>
                <a:cubicBezTo>
                  <a:pt x="9" y="537"/>
                  <a:pt x="9" y="537"/>
                  <a:pt x="10" y="537"/>
                </a:cubicBezTo>
                <a:cubicBezTo>
                  <a:pt x="10" y="537"/>
                  <a:pt x="10" y="536"/>
                  <a:pt x="11" y="536"/>
                </a:cubicBezTo>
                <a:cubicBezTo>
                  <a:pt x="11" y="535"/>
                  <a:pt x="11" y="535"/>
                  <a:pt x="12" y="534"/>
                </a:cubicBezTo>
                <a:cubicBezTo>
                  <a:pt x="12" y="533"/>
                  <a:pt x="11" y="533"/>
                  <a:pt x="10" y="532"/>
                </a:cubicBezTo>
                <a:cubicBezTo>
                  <a:pt x="9" y="532"/>
                  <a:pt x="9" y="532"/>
                  <a:pt x="8" y="532"/>
                </a:cubicBezTo>
                <a:cubicBezTo>
                  <a:pt x="8" y="531"/>
                  <a:pt x="8" y="531"/>
                  <a:pt x="7" y="531"/>
                </a:cubicBezTo>
                <a:cubicBezTo>
                  <a:pt x="7" y="530"/>
                  <a:pt x="6" y="531"/>
                  <a:pt x="5" y="531"/>
                </a:cubicBezTo>
                <a:cubicBezTo>
                  <a:pt x="5" y="531"/>
                  <a:pt x="5" y="531"/>
                  <a:pt x="4" y="531"/>
                </a:cubicBezTo>
                <a:cubicBezTo>
                  <a:pt x="4" y="531"/>
                  <a:pt x="3" y="531"/>
                  <a:pt x="3" y="531"/>
                </a:cubicBezTo>
                <a:cubicBezTo>
                  <a:pt x="2" y="531"/>
                  <a:pt x="1" y="530"/>
                  <a:pt x="2" y="529"/>
                </a:cubicBezTo>
                <a:cubicBezTo>
                  <a:pt x="2" y="529"/>
                  <a:pt x="2" y="529"/>
                  <a:pt x="2" y="528"/>
                </a:cubicBezTo>
                <a:cubicBezTo>
                  <a:pt x="2" y="528"/>
                  <a:pt x="2" y="528"/>
                  <a:pt x="2" y="527"/>
                </a:cubicBezTo>
                <a:cubicBezTo>
                  <a:pt x="3" y="527"/>
                  <a:pt x="3" y="527"/>
                  <a:pt x="3" y="527"/>
                </a:cubicBezTo>
                <a:cubicBezTo>
                  <a:pt x="4" y="526"/>
                  <a:pt x="3" y="526"/>
                  <a:pt x="3" y="526"/>
                </a:cubicBezTo>
                <a:cubicBezTo>
                  <a:pt x="3" y="525"/>
                  <a:pt x="3" y="525"/>
                  <a:pt x="4" y="525"/>
                </a:cubicBezTo>
                <a:cubicBezTo>
                  <a:pt x="4" y="525"/>
                  <a:pt x="4" y="525"/>
                  <a:pt x="4" y="525"/>
                </a:cubicBezTo>
                <a:cubicBezTo>
                  <a:pt x="5" y="524"/>
                  <a:pt x="6" y="525"/>
                  <a:pt x="7" y="524"/>
                </a:cubicBezTo>
                <a:cubicBezTo>
                  <a:pt x="8" y="523"/>
                  <a:pt x="6" y="523"/>
                  <a:pt x="6" y="522"/>
                </a:cubicBezTo>
                <a:cubicBezTo>
                  <a:pt x="6" y="522"/>
                  <a:pt x="7" y="522"/>
                  <a:pt x="7" y="522"/>
                </a:cubicBezTo>
                <a:cubicBezTo>
                  <a:pt x="8" y="522"/>
                  <a:pt x="8" y="522"/>
                  <a:pt x="8" y="521"/>
                </a:cubicBezTo>
                <a:cubicBezTo>
                  <a:pt x="8" y="521"/>
                  <a:pt x="8" y="521"/>
                  <a:pt x="9" y="521"/>
                </a:cubicBezTo>
                <a:cubicBezTo>
                  <a:pt x="9" y="520"/>
                  <a:pt x="9" y="520"/>
                  <a:pt x="9" y="520"/>
                </a:cubicBezTo>
                <a:cubicBezTo>
                  <a:pt x="10" y="518"/>
                  <a:pt x="11" y="519"/>
                  <a:pt x="11" y="520"/>
                </a:cubicBezTo>
                <a:cubicBezTo>
                  <a:pt x="11" y="521"/>
                  <a:pt x="10" y="521"/>
                  <a:pt x="11" y="521"/>
                </a:cubicBezTo>
                <a:cubicBezTo>
                  <a:pt x="11" y="522"/>
                  <a:pt x="11" y="521"/>
                  <a:pt x="12" y="521"/>
                </a:cubicBezTo>
                <a:cubicBezTo>
                  <a:pt x="12" y="521"/>
                  <a:pt x="12" y="521"/>
                  <a:pt x="13" y="521"/>
                </a:cubicBezTo>
                <a:cubicBezTo>
                  <a:pt x="13" y="521"/>
                  <a:pt x="14" y="520"/>
                  <a:pt x="14" y="519"/>
                </a:cubicBezTo>
                <a:cubicBezTo>
                  <a:pt x="15" y="519"/>
                  <a:pt x="16" y="519"/>
                  <a:pt x="15" y="518"/>
                </a:cubicBezTo>
                <a:cubicBezTo>
                  <a:pt x="15" y="517"/>
                  <a:pt x="13" y="518"/>
                  <a:pt x="13" y="517"/>
                </a:cubicBezTo>
                <a:cubicBezTo>
                  <a:pt x="13" y="517"/>
                  <a:pt x="14" y="516"/>
                  <a:pt x="15" y="516"/>
                </a:cubicBezTo>
                <a:cubicBezTo>
                  <a:pt x="16" y="516"/>
                  <a:pt x="16" y="516"/>
                  <a:pt x="17" y="516"/>
                </a:cubicBezTo>
                <a:cubicBezTo>
                  <a:pt x="18" y="515"/>
                  <a:pt x="18" y="515"/>
                  <a:pt x="18" y="515"/>
                </a:cubicBezTo>
                <a:cubicBezTo>
                  <a:pt x="19" y="515"/>
                  <a:pt x="19" y="515"/>
                  <a:pt x="19" y="514"/>
                </a:cubicBezTo>
                <a:cubicBezTo>
                  <a:pt x="20" y="514"/>
                  <a:pt x="19" y="513"/>
                  <a:pt x="19" y="513"/>
                </a:cubicBezTo>
                <a:cubicBezTo>
                  <a:pt x="18" y="512"/>
                  <a:pt x="18" y="511"/>
                  <a:pt x="17" y="511"/>
                </a:cubicBezTo>
                <a:cubicBezTo>
                  <a:pt x="17" y="511"/>
                  <a:pt x="16" y="510"/>
                  <a:pt x="15" y="510"/>
                </a:cubicBezTo>
                <a:cubicBezTo>
                  <a:pt x="16" y="509"/>
                  <a:pt x="17" y="509"/>
                  <a:pt x="18" y="509"/>
                </a:cubicBezTo>
                <a:cubicBezTo>
                  <a:pt x="18" y="509"/>
                  <a:pt x="19" y="509"/>
                  <a:pt x="20" y="509"/>
                </a:cubicBezTo>
                <a:cubicBezTo>
                  <a:pt x="21" y="509"/>
                  <a:pt x="21" y="509"/>
                  <a:pt x="21" y="509"/>
                </a:cubicBezTo>
                <a:cubicBezTo>
                  <a:pt x="22" y="509"/>
                  <a:pt x="22" y="509"/>
                  <a:pt x="23" y="509"/>
                </a:cubicBezTo>
                <a:cubicBezTo>
                  <a:pt x="23" y="509"/>
                  <a:pt x="23" y="509"/>
                  <a:pt x="23" y="508"/>
                </a:cubicBezTo>
                <a:cubicBezTo>
                  <a:pt x="23" y="508"/>
                  <a:pt x="23" y="508"/>
                  <a:pt x="23" y="507"/>
                </a:cubicBezTo>
                <a:cubicBezTo>
                  <a:pt x="23" y="507"/>
                  <a:pt x="23" y="506"/>
                  <a:pt x="24" y="505"/>
                </a:cubicBezTo>
                <a:cubicBezTo>
                  <a:pt x="24" y="505"/>
                  <a:pt x="25" y="505"/>
                  <a:pt x="25" y="505"/>
                </a:cubicBezTo>
                <a:cubicBezTo>
                  <a:pt x="26" y="504"/>
                  <a:pt x="27" y="503"/>
                  <a:pt x="27" y="503"/>
                </a:cubicBezTo>
                <a:cubicBezTo>
                  <a:pt x="28" y="502"/>
                  <a:pt x="28" y="502"/>
                  <a:pt x="29" y="501"/>
                </a:cubicBezTo>
                <a:cubicBezTo>
                  <a:pt x="29" y="501"/>
                  <a:pt x="29" y="500"/>
                  <a:pt x="30" y="499"/>
                </a:cubicBezTo>
                <a:cubicBezTo>
                  <a:pt x="30" y="499"/>
                  <a:pt x="31" y="498"/>
                  <a:pt x="31" y="498"/>
                </a:cubicBezTo>
                <a:cubicBezTo>
                  <a:pt x="33" y="497"/>
                  <a:pt x="35" y="498"/>
                  <a:pt x="36" y="496"/>
                </a:cubicBezTo>
                <a:cubicBezTo>
                  <a:pt x="37" y="496"/>
                  <a:pt x="37" y="495"/>
                  <a:pt x="38" y="495"/>
                </a:cubicBezTo>
                <a:cubicBezTo>
                  <a:pt x="38" y="494"/>
                  <a:pt x="39" y="494"/>
                  <a:pt x="39" y="494"/>
                </a:cubicBezTo>
                <a:cubicBezTo>
                  <a:pt x="39" y="494"/>
                  <a:pt x="40" y="494"/>
                  <a:pt x="40" y="494"/>
                </a:cubicBezTo>
                <a:cubicBezTo>
                  <a:pt x="41" y="494"/>
                  <a:pt x="42" y="493"/>
                  <a:pt x="42" y="492"/>
                </a:cubicBezTo>
                <a:cubicBezTo>
                  <a:pt x="43" y="492"/>
                  <a:pt x="43" y="491"/>
                  <a:pt x="43" y="491"/>
                </a:cubicBezTo>
                <a:cubicBezTo>
                  <a:pt x="44" y="491"/>
                  <a:pt x="44" y="492"/>
                  <a:pt x="45" y="492"/>
                </a:cubicBezTo>
                <a:cubicBezTo>
                  <a:pt x="46" y="492"/>
                  <a:pt x="46" y="492"/>
                  <a:pt x="47" y="492"/>
                </a:cubicBezTo>
                <a:cubicBezTo>
                  <a:pt x="48" y="492"/>
                  <a:pt x="48" y="492"/>
                  <a:pt x="48" y="492"/>
                </a:cubicBezTo>
                <a:cubicBezTo>
                  <a:pt x="49" y="492"/>
                  <a:pt x="49" y="492"/>
                  <a:pt x="50" y="492"/>
                </a:cubicBezTo>
                <a:cubicBezTo>
                  <a:pt x="50" y="492"/>
                  <a:pt x="50" y="492"/>
                  <a:pt x="51" y="492"/>
                </a:cubicBezTo>
                <a:cubicBezTo>
                  <a:pt x="51" y="491"/>
                  <a:pt x="51" y="491"/>
                  <a:pt x="51" y="491"/>
                </a:cubicBezTo>
                <a:cubicBezTo>
                  <a:pt x="52" y="490"/>
                  <a:pt x="53" y="490"/>
                  <a:pt x="53" y="490"/>
                </a:cubicBezTo>
                <a:cubicBezTo>
                  <a:pt x="54" y="490"/>
                  <a:pt x="55" y="489"/>
                  <a:pt x="55" y="489"/>
                </a:cubicBezTo>
                <a:cubicBezTo>
                  <a:pt x="56" y="489"/>
                  <a:pt x="56" y="490"/>
                  <a:pt x="57" y="490"/>
                </a:cubicBezTo>
                <a:cubicBezTo>
                  <a:pt x="56" y="490"/>
                  <a:pt x="55" y="490"/>
                  <a:pt x="55" y="490"/>
                </a:cubicBezTo>
                <a:cubicBezTo>
                  <a:pt x="53" y="490"/>
                  <a:pt x="52" y="492"/>
                  <a:pt x="51" y="493"/>
                </a:cubicBezTo>
                <a:cubicBezTo>
                  <a:pt x="51" y="493"/>
                  <a:pt x="51" y="494"/>
                  <a:pt x="50" y="494"/>
                </a:cubicBezTo>
                <a:cubicBezTo>
                  <a:pt x="50" y="494"/>
                  <a:pt x="49" y="494"/>
                  <a:pt x="49" y="494"/>
                </a:cubicBezTo>
                <a:cubicBezTo>
                  <a:pt x="49" y="495"/>
                  <a:pt x="49" y="495"/>
                  <a:pt x="49" y="496"/>
                </a:cubicBezTo>
                <a:cubicBezTo>
                  <a:pt x="49" y="496"/>
                  <a:pt x="50" y="496"/>
                  <a:pt x="50" y="496"/>
                </a:cubicBezTo>
                <a:cubicBezTo>
                  <a:pt x="50" y="496"/>
                  <a:pt x="50" y="497"/>
                  <a:pt x="51" y="497"/>
                </a:cubicBezTo>
                <a:cubicBezTo>
                  <a:pt x="51" y="497"/>
                  <a:pt x="52" y="497"/>
                  <a:pt x="52" y="497"/>
                </a:cubicBezTo>
                <a:cubicBezTo>
                  <a:pt x="53" y="497"/>
                  <a:pt x="53" y="498"/>
                  <a:pt x="54" y="498"/>
                </a:cubicBezTo>
                <a:cubicBezTo>
                  <a:pt x="54" y="498"/>
                  <a:pt x="55" y="498"/>
                  <a:pt x="55" y="498"/>
                </a:cubicBezTo>
                <a:cubicBezTo>
                  <a:pt x="55" y="499"/>
                  <a:pt x="56" y="499"/>
                  <a:pt x="56" y="499"/>
                </a:cubicBezTo>
                <a:cubicBezTo>
                  <a:pt x="56" y="500"/>
                  <a:pt x="56" y="499"/>
                  <a:pt x="55" y="499"/>
                </a:cubicBezTo>
                <a:cubicBezTo>
                  <a:pt x="55" y="499"/>
                  <a:pt x="55" y="499"/>
                  <a:pt x="54" y="499"/>
                </a:cubicBezTo>
                <a:cubicBezTo>
                  <a:pt x="54" y="499"/>
                  <a:pt x="54" y="499"/>
                  <a:pt x="53" y="499"/>
                </a:cubicBezTo>
                <a:cubicBezTo>
                  <a:pt x="52" y="498"/>
                  <a:pt x="51" y="498"/>
                  <a:pt x="51" y="499"/>
                </a:cubicBezTo>
                <a:cubicBezTo>
                  <a:pt x="50" y="499"/>
                  <a:pt x="50" y="499"/>
                  <a:pt x="49" y="500"/>
                </a:cubicBezTo>
                <a:cubicBezTo>
                  <a:pt x="48" y="500"/>
                  <a:pt x="48" y="499"/>
                  <a:pt x="47" y="499"/>
                </a:cubicBezTo>
                <a:cubicBezTo>
                  <a:pt x="47" y="499"/>
                  <a:pt x="46" y="499"/>
                  <a:pt x="46" y="499"/>
                </a:cubicBezTo>
                <a:cubicBezTo>
                  <a:pt x="45" y="499"/>
                  <a:pt x="45" y="498"/>
                  <a:pt x="44" y="498"/>
                </a:cubicBezTo>
                <a:cubicBezTo>
                  <a:pt x="43" y="498"/>
                  <a:pt x="42" y="498"/>
                  <a:pt x="42" y="499"/>
                </a:cubicBezTo>
                <a:cubicBezTo>
                  <a:pt x="41" y="499"/>
                  <a:pt x="41" y="499"/>
                  <a:pt x="40" y="500"/>
                </a:cubicBezTo>
                <a:cubicBezTo>
                  <a:pt x="38" y="500"/>
                  <a:pt x="37" y="502"/>
                  <a:pt x="35" y="502"/>
                </a:cubicBezTo>
                <a:cubicBezTo>
                  <a:pt x="34" y="502"/>
                  <a:pt x="33" y="502"/>
                  <a:pt x="33" y="503"/>
                </a:cubicBezTo>
                <a:cubicBezTo>
                  <a:pt x="34" y="504"/>
                  <a:pt x="34" y="504"/>
                  <a:pt x="34" y="504"/>
                </a:cubicBezTo>
                <a:cubicBezTo>
                  <a:pt x="34" y="505"/>
                  <a:pt x="35" y="506"/>
                  <a:pt x="35" y="507"/>
                </a:cubicBezTo>
                <a:cubicBezTo>
                  <a:pt x="35" y="508"/>
                  <a:pt x="34" y="508"/>
                  <a:pt x="34" y="508"/>
                </a:cubicBezTo>
                <a:cubicBezTo>
                  <a:pt x="33" y="510"/>
                  <a:pt x="33" y="511"/>
                  <a:pt x="32" y="513"/>
                </a:cubicBezTo>
                <a:cubicBezTo>
                  <a:pt x="31" y="513"/>
                  <a:pt x="31" y="514"/>
                  <a:pt x="30" y="515"/>
                </a:cubicBezTo>
                <a:cubicBezTo>
                  <a:pt x="29" y="516"/>
                  <a:pt x="27" y="518"/>
                  <a:pt x="28" y="519"/>
                </a:cubicBezTo>
                <a:cubicBezTo>
                  <a:pt x="28" y="520"/>
                  <a:pt x="29" y="520"/>
                  <a:pt x="29" y="520"/>
                </a:cubicBezTo>
                <a:cubicBezTo>
                  <a:pt x="30" y="520"/>
                  <a:pt x="30" y="521"/>
                  <a:pt x="31" y="521"/>
                </a:cubicBezTo>
                <a:cubicBezTo>
                  <a:pt x="31" y="521"/>
                  <a:pt x="31" y="521"/>
                  <a:pt x="32" y="521"/>
                </a:cubicBezTo>
                <a:cubicBezTo>
                  <a:pt x="32" y="521"/>
                  <a:pt x="32" y="521"/>
                  <a:pt x="32" y="522"/>
                </a:cubicBezTo>
                <a:cubicBezTo>
                  <a:pt x="33" y="522"/>
                  <a:pt x="33" y="521"/>
                  <a:pt x="34" y="520"/>
                </a:cubicBezTo>
                <a:cubicBezTo>
                  <a:pt x="35" y="520"/>
                  <a:pt x="35" y="520"/>
                  <a:pt x="35" y="520"/>
                </a:cubicBezTo>
                <a:cubicBezTo>
                  <a:pt x="36" y="520"/>
                  <a:pt x="36" y="519"/>
                  <a:pt x="36" y="519"/>
                </a:cubicBezTo>
                <a:cubicBezTo>
                  <a:pt x="37" y="519"/>
                  <a:pt x="37" y="520"/>
                  <a:pt x="37" y="520"/>
                </a:cubicBezTo>
                <a:cubicBezTo>
                  <a:pt x="37" y="520"/>
                  <a:pt x="36" y="521"/>
                  <a:pt x="36" y="521"/>
                </a:cubicBezTo>
                <a:cubicBezTo>
                  <a:pt x="36" y="521"/>
                  <a:pt x="35" y="522"/>
                  <a:pt x="34" y="522"/>
                </a:cubicBezTo>
                <a:cubicBezTo>
                  <a:pt x="34" y="523"/>
                  <a:pt x="33" y="522"/>
                  <a:pt x="33" y="524"/>
                </a:cubicBezTo>
                <a:cubicBezTo>
                  <a:pt x="33" y="524"/>
                  <a:pt x="33" y="524"/>
                  <a:pt x="33" y="525"/>
                </a:cubicBezTo>
                <a:cubicBezTo>
                  <a:pt x="32" y="525"/>
                  <a:pt x="32" y="524"/>
                  <a:pt x="32" y="524"/>
                </a:cubicBezTo>
                <a:cubicBezTo>
                  <a:pt x="32" y="523"/>
                  <a:pt x="31" y="524"/>
                  <a:pt x="30" y="524"/>
                </a:cubicBezTo>
                <a:cubicBezTo>
                  <a:pt x="29" y="524"/>
                  <a:pt x="29" y="524"/>
                  <a:pt x="29" y="525"/>
                </a:cubicBezTo>
                <a:cubicBezTo>
                  <a:pt x="28" y="526"/>
                  <a:pt x="28" y="526"/>
                  <a:pt x="28" y="526"/>
                </a:cubicBezTo>
                <a:cubicBezTo>
                  <a:pt x="27" y="526"/>
                  <a:pt x="27" y="526"/>
                  <a:pt x="27" y="527"/>
                </a:cubicBezTo>
                <a:cubicBezTo>
                  <a:pt x="27" y="528"/>
                  <a:pt x="27" y="528"/>
                  <a:pt x="28" y="528"/>
                </a:cubicBezTo>
                <a:cubicBezTo>
                  <a:pt x="28" y="528"/>
                  <a:pt x="29" y="529"/>
                  <a:pt x="29" y="529"/>
                </a:cubicBezTo>
                <a:cubicBezTo>
                  <a:pt x="29" y="529"/>
                  <a:pt x="29" y="529"/>
                  <a:pt x="30" y="529"/>
                </a:cubicBezTo>
                <a:cubicBezTo>
                  <a:pt x="31" y="529"/>
                  <a:pt x="31" y="529"/>
                  <a:pt x="32" y="528"/>
                </a:cubicBezTo>
                <a:cubicBezTo>
                  <a:pt x="33" y="528"/>
                  <a:pt x="34" y="528"/>
                  <a:pt x="35" y="528"/>
                </a:cubicBezTo>
                <a:cubicBezTo>
                  <a:pt x="36" y="527"/>
                  <a:pt x="37" y="527"/>
                  <a:pt x="38" y="527"/>
                </a:cubicBezTo>
                <a:cubicBezTo>
                  <a:pt x="39" y="526"/>
                  <a:pt x="39" y="525"/>
                  <a:pt x="40" y="525"/>
                </a:cubicBezTo>
                <a:cubicBezTo>
                  <a:pt x="41" y="525"/>
                  <a:pt x="42" y="525"/>
                  <a:pt x="42" y="525"/>
                </a:cubicBezTo>
                <a:cubicBezTo>
                  <a:pt x="43" y="524"/>
                  <a:pt x="44" y="524"/>
                  <a:pt x="43" y="523"/>
                </a:cubicBezTo>
                <a:cubicBezTo>
                  <a:pt x="43" y="523"/>
                  <a:pt x="42" y="523"/>
                  <a:pt x="42" y="522"/>
                </a:cubicBezTo>
                <a:cubicBezTo>
                  <a:pt x="43" y="522"/>
                  <a:pt x="43" y="522"/>
                  <a:pt x="44" y="522"/>
                </a:cubicBezTo>
                <a:cubicBezTo>
                  <a:pt x="44" y="523"/>
                  <a:pt x="44" y="523"/>
                  <a:pt x="44" y="523"/>
                </a:cubicBezTo>
                <a:cubicBezTo>
                  <a:pt x="44" y="523"/>
                  <a:pt x="44" y="524"/>
                  <a:pt x="44" y="524"/>
                </a:cubicBezTo>
                <a:cubicBezTo>
                  <a:pt x="45" y="524"/>
                  <a:pt x="45" y="522"/>
                  <a:pt x="45" y="522"/>
                </a:cubicBezTo>
                <a:cubicBezTo>
                  <a:pt x="45" y="522"/>
                  <a:pt x="46" y="520"/>
                  <a:pt x="47" y="520"/>
                </a:cubicBezTo>
                <a:cubicBezTo>
                  <a:pt x="47" y="521"/>
                  <a:pt x="46" y="521"/>
                  <a:pt x="46" y="521"/>
                </a:cubicBezTo>
                <a:cubicBezTo>
                  <a:pt x="46" y="522"/>
                  <a:pt x="46" y="522"/>
                  <a:pt x="46" y="522"/>
                </a:cubicBezTo>
                <a:cubicBezTo>
                  <a:pt x="45" y="523"/>
                  <a:pt x="46" y="523"/>
                  <a:pt x="45" y="523"/>
                </a:cubicBezTo>
                <a:cubicBezTo>
                  <a:pt x="45" y="524"/>
                  <a:pt x="45" y="524"/>
                  <a:pt x="45" y="524"/>
                </a:cubicBezTo>
                <a:cubicBezTo>
                  <a:pt x="46" y="524"/>
                  <a:pt x="46" y="523"/>
                  <a:pt x="47" y="523"/>
                </a:cubicBezTo>
                <a:cubicBezTo>
                  <a:pt x="47" y="522"/>
                  <a:pt x="48" y="523"/>
                  <a:pt x="48" y="522"/>
                </a:cubicBezTo>
                <a:cubicBezTo>
                  <a:pt x="48" y="521"/>
                  <a:pt x="48" y="520"/>
                  <a:pt x="49" y="520"/>
                </a:cubicBezTo>
                <a:cubicBezTo>
                  <a:pt x="49" y="520"/>
                  <a:pt x="49" y="520"/>
                  <a:pt x="49" y="520"/>
                </a:cubicBezTo>
                <a:cubicBezTo>
                  <a:pt x="50" y="520"/>
                  <a:pt x="50" y="520"/>
                  <a:pt x="50" y="520"/>
                </a:cubicBezTo>
                <a:cubicBezTo>
                  <a:pt x="50" y="520"/>
                  <a:pt x="51" y="519"/>
                  <a:pt x="51" y="520"/>
                </a:cubicBezTo>
                <a:cubicBezTo>
                  <a:pt x="52" y="520"/>
                  <a:pt x="52" y="521"/>
                  <a:pt x="52" y="521"/>
                </a:cubicBezTo>
                <a:cubicBezTo>
                  <a:pt x="52" y="521"/>
                  <a:pt x="52" y="521"/>
                  <a:pt x="52" y="521"/>
                </a:cubicBezTo>
                <a:cubicBezTo>
                  <a:pt x="52" y="521"/>
                  <a:pt x="52" y="520"/>
                  <a:pt x="52" y="520"/>
                </a:cubicBezTo>
                <a:cubicBezTo>
                  <a:pt x="52" y="520"/>
                  <a:pt x="52" y="519"/>
                  <a:pt x="52" y="519"/>
                </a:cubicBezTo>
                <a:cubicBezTo>
                  <a:pt x="52" y="519"/>
                  <a:pt x="52" y="518"/>
                  <a:pt x="52" y="518"/>
                </a:cubicBezTo>
                <a:cubicBezTo>
                  <a:pt x="52" y="518"/>
                  <a:pt x="51" y="518"/>
                  <a:pt x="51" y="518"/>
                </a:cubicBezTo>
                <a:cubicBezTo>
                  <a:pt x="51" y="518"/>
                  <a:pt x="52" y="517"/>
                  <a:pt x="52" y="517"/>
                </a:cubicBezTo>
                <a:cubicBezTo>
                  <a:pt x="53" y="517"/>
                  <a:pt x="53" y="518"/>
                  <a:pt x="54" y="519"/>
                </a:cubicBezTo>
                <a:cubicBezTo>
                  <a:pt x="54" y="519"/>
                  <a:pt x="54" y="520"/>
                  <a:pt x="54" y="519"/>
                </a:cubicBezTo>
                <a:cubicBezTo>
                  <a:pt x="54" y="519"/>
                  <a:pt x="54" y="518"/>
                  <a:pt x="54" y="518"/>
                </a:cubicBezTo>
                <a:cubicBezTo>
                  <a:pt x="54" y="517"/>
                  <a:pt x="54" y="517"/>
                  <a:pt x="55" y="516"/>
                </a:cubicBezTo>
                <a:cubicBezTo>
                  <a:pt x="56" y="516"/>
                  <a:pt x="56" y="516"/>
                  <a:pt x="56" y="515"/>
                </a:cubicBezTo>
                <a:cubicBezTo>
                  <a:pt x="56" y="515"/>
                  <a:pt x="56" y="515"/>
                  <a:pt x="56" y="514"/>
                </a:cubicBezTo>
                <a:cubicBezTo>
                  <a:pt x="56" y="514"/>
                  <a:pt x="56" y="514"/>
                  <a:pt x="56" y="514"/>
                </a:cubicBezTo>
                <a:cubicBezTo>
                  <a:pt x="57" y="514"/>
                  <a:pt x="57" y="515"/>
                  <a:pt x="57" y="515"/>
                </a:cubicBezTo>
                <a:cubicBezTo>
                  <a:pt x="57" y="516"/>
                  <a:pt x="57" y="516"/>
                  <a:pt x="57" y="516"/>
                </a:cubicBezTo>
                <a:cubicBezTo>
                  <a:pt x="58" y="516"/>
                  <a:pt x="57" y="517"/>
                  <a:pt x="58" y="517"/>
                </a:cubicBezTo>
                <a:cubicBezTo>
                  <a:pt x="58" y="517"/>
                  <a:pt x="58" y="515"/>
                  <a:pt x="59" y="515"/>
                </a:cubicBezTo>
                <a:cubicBezTo>
                  <a:pt x="60" y="514"/>
                  <a:pt x="61" y="515"/>
                  <a:pt x="61" y="515"/>
                </a:cubicBezTo>
                <a:cubicBezTo>
                  <a:pt x="62" y="516"/>
                  <a:pt x="62" y="516"/>
                  <a:pt x="62" y="516"/>
                </a:cubicBezTo>
                <a:cubicBezTo>
                  <a:pt x="63" y="516"/>
                  <a:pt x="63" y="516"/>
                  <a:pt x="63" y="516"/>
                </a:cubicBezTo>
                <a:cubicBezTo>
                  <a:pt x="64" y="517"/>
                  <a:pt x="65" y="516"/>
                  <a:pt x="65" y="516"/>
                </a:cubicBezTo>
                <a:cubicBezTo>
                  <a:pt x="66" y="515"/>
                  <a:pt x="66" y="515"/>
                  <a:pt x="67" y="514"/>
                </a:cubicBezTo>
                <a:cubicBezTo>
                  <a:pt x="68" y="514"/>
                  <a:pt x="68" y="513"/>
                  <a:pt x="68" y="513"/>
                </a:cubicBezTo>
                <a:cubicBezTo>
                  <a:pt x="68" y="513"/>
                  <a:pt x="69" y="512"/>
                  <a:pt x="69" y="512"/>
                </a:cubicBezTo>
                <a:cubicBezTo>
                  <a:pt x="70" y="511"/>
                  <a:pt x="70" y="512"/>
                  <a:pt x="70" y="512"/>
                </a:cubicBezTo>
                <a:cubicBezTo>
                  <a:pt x="71" y="512"/>
                  <a:pt x="71" y="512"/>
                  <a:pt x="71" y="511"/>
                </a:cubicBezTo>
                <a:cubicBezTo>
                  <a:pt x="71" y="511"/>
                  <a:pt x="71" y="511"/>
                  <a:pt x="70" y="510"/>
                </a:cubicBezTo>
                <a:cubicBezTo>
                  <a:pt x="70" y="510"/>
                  <a:pt x="70" y="510"/>
                  <a:pt x="69" y="510"/>
                </a:cubicBezTo>
                <a:cubicBezTo>
                  <a:pt x="69" y="510"/>
                  <a:pt x="68" y="511"/>
                  <a:pt x="68" y="510"/>
                </a:cubicBezTo>
                <a:cubicBezTo>
                  <a:pt x="68" y="509"/>
                  <a:pt x="70" y="509"/>
                  <a:pt x="70" y="509"/>
                </a:cubicBezTo>
                <a:cubicBezTo>
                  <a:pt x="70" y="508"/>
                  <a:pt x="71" y="508"/>
                  <a:pt x="71" y="508"/>
                </a:cubicBezTo>
                <a:cubicBezTo>
                  <a:pt x="72" y="507"/>
                  <a:pt x="73" y="508"/>
                  <a:pt x="73" y="507"/>
                </a:cubicBezTo>
                <a:cubicBezTo>
                  <a:pt x="73" y="506"/>
                  <a:pt x="72" y="506"/>
                  <a:pt x="72" y="506"/>
                </a:cubicBezTo>
                <a:cubicBezTo>
                  <a:pt x="72" y="506"/>
                  <a:pt x="72" y="505"/>
                  <a:pt x="72" y="505"/>
                </a:cubicBezTo>
                <a:cubicBezTo>
                  <a:pt x="71" y="504"/>
                  <a:pt x="71" y="506"/>
                  <a:pt x="70" y="506"/>
                </a:cubicBezTo>
                <a:cubicBezTo>
                  <a:pt x="70" y="507"/>
                  <a:pt x="70" y="508"/>
                  <a:pt x="69" y="508"/>
                </a:cubicBezTo>
                <a:cubicBezTo>
                  <a:pt x="68" y="507"/>
                  <a:pt x="68" y="507"/>
                  <a:pt x="66" y="507"/>
                </a:cubicBezTo>
                <a:cubicBezTo>
                  <a:pt x="66" y="507"/>
                  <a:pt x="65" y="507"/>
                  <a:pt x="66" y="507"/>
                </a:cubicBezTo>
                <a:cubicBezTo>
                  <a:pt x="66" y="506"/>
                  <a:pt x="66" y="506"/>
                  <a:pt x="66" y="506"/>
                </a:cubicBezTo>
                <a:cubicBezTo>
                  <a:pt x="67" y="506"/>
                  <a:pt x="66" y="505"/>
                  <a:pt x="67" y="505"/>
                </a:cubicBezTo>
                <a:cubicBezTo>
                  <a:pt x="67" y="504"/>
                  <a:pt x="68" y="505"/>
                  <a:pt x="68" y="505"/>
                </a:cubicBezTo>
                <a:cubicBezTo>
                  <a:pt x="69" y="505"/>
                  <a:pt x="70" y="505"/>
                  <a:pt x="70" y="504"/>
                </a:cubicBezTo>
                <a:cubicBezTo>
                  <a:pt x="70" y="503"/>
                  <a:pt x="69" y="503"/>
                  <a:pt x="69" y="503"/>
                </a:cubicBezTo>
                <a:cubicBezTo>
                  <a:pt x="69" y="503"/>
                  <a:pt x="70" y="502"/>
                  <a:pt x="69" y="502"/>
                </a:cubicBezTo>
                <a:cubicBezTo>
                  <a:pt x="69" y="502"/>
                  <a:pt x="69" y="503"/>
                  <a:pt x="68" y="503"/>
                </a:cubicBezTo>
                <a:cubicBezTo>
                  <a:pt x="68" y="503"/>
                  <a:pt x="67" y="503"/>
                  <a:pt x="68" y="502"/>
                </a:cubicBezTo>
                <a:cubicBezTo>
                  <a:pt x="68" y="502"/>
                  <a:pt x="68" y="502"/>
                  <a:pt x="68" y="502"/>
                </a:cubicBezTo>
                <a:cubicBezTo>
                  <a:pt x="68" y="501"/>
                  <a:pt x="67" y="502"/>
                  <a:pt x="67" y="502"/>
                </a:cubicBezTo>
                <a:cubicBezTo>
                  <a:pt x="67" y="502"/>
                  <a:pt x="67" y="502"/>
                  <a:pt x="66" y="502"/>
                </a:cubicBezTo>
                <a:cubicBezTo>
                  <a:pt x="66" y="502"/>
                  <a:pt x="65" y="503"/>
                  <a:pt x="65" y="503"/>
                </a:cubicBezTo>
                <a:cubicBezTo>
                  <a:pt x="65" y="502"/>
                  <a:pt x="66" y="502"/>
                  <a:pt x="67" y="501"/>
                </a:cubicBezTo>
                <a:cubicBezTo>
                  <a:pt x="67" y="501"/>
                  <a:pt x="67" y="500"/>
                  <a:pt x="67" y="500"/>
                </a:cubicBezTo>
                <a:cubicBezTo>
                  <a:pt x="68" y="500"/>
                  <a:pt x="69" y="500"/>
                  <a:pt x="69" y="500"/>
                </a:cubicBezTo>
                <a:cubicBezTo>
                  <a:pt x="69" y="499"/>
                  <a:pt x="69" y="499"/>
                  <a:pt x="69" y="499"/>
                </a:cubicBezTo>
                <a:cubicBezTo>
                  <a:pt x="69" y="498"/>
                  <a:pt x="70" y="498"/>
                  <a:pt x="70" y="497"/>
                </a:cubicBezTo>
                <a:cubicBezTo>
                  <a:pt x="70" y="497"/>
                  <a:pt x="70" y="496"/>
                  <a:pt x="70" y="496"/>
                </a:cubicBezTo>
                <a:cubicBezTo>
                  <a:pt x="70" y="496"/>
                  <a:pt x="70" y="496"/>
                  <a:pt x="69" y="497"/>
                </a:cubicBezTo>
                <a:cubicBezTo>
                  <a:pt x="69" y="497"/>
                  <a:pt x="68" y="498"/>
                  <a:pt x="68" y="498"/>
                </a:cubicBezTo>
                <a:cubicBezTo>
                  <a:pt x="68" y="497"/>
                  <a:pt x="69" y="496"/>
                  <a:pt x="69" y="496"/>
                </a:cubicBezTo>
                <a:cubicBezTo>
                  <a:pt x="70" y="496"/>
                  <a:pt x="72" y="496"/>
                  <a:pt x="72" y="496"/>
                </a:cubicBezTo>
                <a:cubicBezTo>
                  <a:pt x="73" y="495"/>
                  <a:pt x="73" y="495"/>
                  <a:pt x="74" y="495"/>
                </a:cubicBezTo>
                <a:cubicBezTo>
                  <a:pt x="74" y="495"/>
                  <a:pt x="74" y="494"/>
                  <a:pt x="74" y="494"/>
                </a:cubicBezTo>
                <a:cubicBezTo>
                  <a:pt x="75" y="495"/>
                  <a:pt x="74" y="495"/>
                  <a:pt x="73" y="496"/>
                </a:cubicBezTo>
                <a:cubicBezTo>
                  <a:pt x="73" y="496"/>
                  <a:pt x="73" y="497"/>
                  <a:pt x="73" y="497"/>
                </a:cubicBezTo>
                <a:cubicBezTo>
                  <a:pt x="73" y="497"/>
                  <a:pt x="72" y="497"/>
                  <a:pt x="72" y="498"/>
                </a:cubicBezTo>
                <a:cubicBezTo>
                  <a:pt x="72" y="498"/>
                  <a:pt x="72" y="498"/>
                  <a:pt x="72" y="499"/>
                </a:cubicBezTo>
                <a:cubicBezTo>
                  <a:pt x="72" y="499"/>
                  <a:pt x="73" y="499"/>
                  <a:pt x="73" y="500"/>
                </a:cubicBezTo>
                <a:cubicBezTo>
                  <a:pt x="73" y="500"/>
                  <a:pt x="73" y="501"/>
                  <a:pt x="73" y="501"/>
                </a:cubicBezTo>
                <a:cubicBezTo>
                  <a:pt x="74" y="501"/>
                  <a:pt x="74" y="500"/>
                  <a:pt x="75" y="499"/>
                </a:cubicBezTo>
                <a:cubicBezTo>
                  <a:pt x="75" y="499"/>
                  <a:pt x="75" y="499"/>
                  <a:pt x="75" y="499"/>
                </a:cubicBezTo>
                <a:cubicBezTo>
                  <a:pt x="76" y="499"/>
                  <a:pt x="76" y="499"/>
                  <a:pt x="77" y="498"/>
                </a:cubicBezTo>
                <a:cubicBezTo>
                  <a:pt x="77" y="498"/>
                  <a:pt x="77" y="498"/>
                  <a:pt x="77" y="497"/>
                </a:cubicBezTo>
                <a:cubicBezTo>
                  <a:pt x="77" y="497"/>
                  <a:pt x="77" y="497"/>
                  <a:pt x="77" y="497"/>
                </a:cubicBezTo>
                <a:cubicBezTo>
                  <a:pt x="77" y="497"/>
                  <a:pt x="77" y="496"/>
                  <a:pt x="77" y="496"/>
                </a:cubicBezTo>
                <a:cubicBezTo>
                  <a:pt x="77" y="496"/>
                  <a:pt x="78" y="496"/>
                  <a:pt x="78" y="496"/>
                </a:cubicBezTo>
                <a:cubicBezTo>
                  <a:pt x="78" y="497"/>
                  <a:pt x="77" y="497"/>
                  <a:pt x="77" y="497"/>
                </a:cubicBezTo>
                <a:cubicBezTo>
                  <a:pt x="77" y="498"/>
                  <a:pt x="77" y="498"/>
                  <a:pt x="77" y="499"/>
                </a:cubicBezTo>
                <a:cubicBezTo>
                  <a:pt x="77" y="499"/>
                  <a:pt x="77" y="500"/>
                  <a:pt x="78" y="499"/>
                </a:cubicBezTo>
                <a:cubicBezTo>
                  <a:pt x="78" y="499"/>
                  <a:pt x="78" y="498"/>
                  <a:pt x="78" y="498"/>
                </a:cubicBezTo>
                <a:cubicBezTo>
                  <a:pt x="79" y="498"/>
                  <a:pt x="79" y="499"/>
                  <a:pt x="79" y="499"/>
                </a:cubicBezTo>
                <a:cubicBezTo>
                  <a:pt x="79" y="499"/>
                  <a:pt x="80" y="499"/>
                  <a:pt x="80" y="499"/>
                </a:cubicBezTo>
                <a:cubicBezTo>
                  <a:pt x="80" y="499"/>
                  <a:pt x="80" y="499"/>
                  <a:pt x="80" y="498"/>
                </a:cubicBezTo>
                <a:cubicBezTo>
                  <a:pt x="81" y="498"/>
                  <a:pt x="81" y="498"/>
                  <a:pt x="81" y="498"/>
                </a:cubicBezTo>
                <a:cubicBezTo>
                  <a:pt x="82" y="497"/>
                  <a:pt x="85" y="499"/>
                  <a:pt x="86" y="498"/>
                </a:cubicBezTo>
                <a:cubicBezTo>
                  <a:pt x="87" y="497"/>
                  <a:pt x="87" y="497"/>
                  <a:pt x="87" y="496"/>
                </a:cubicBezTo>
                <a:cubicBezTo>
                  <a:pt x="88" y="495"/>
                  <a:pt x="90" y="496"/>
                  <a:pt x="90" y="495"/>
                </a:cubicBezTo>
                <a:cubicBezTo>
                  <a:pt x="90" y="497"/>
                  <a:pt x="88" y="496"/>
                  <a:pt x="87" y="497"/>
                </a:cubicBezTo>
                <a:cubicBezTo>
                  <a:pt x="87" y="497"/>
                  <a:pt x="87" y="498"/>
                  <a:pt x="87" y="498"/>
                </a:cubicBezTo>
                <a:cubicBezTo>
                  <a:pt x="87" y="498"/>
                  <a:pt x="86" y="499"/>
                  <a:pt x="87" y="499"/>
                </a:cubicBezTo>
                <a:cubicBezTo>
                  <a:pt x="87" y="499"/>
                  <a:pt x="87" y="499"/>
                  <a:pt x="87" y="500"/>
                </a:cubicBezTo>
                <a:cubicBezTo>
                  <a:pt x="87" y="500"/>
                  <a:pt x="87" y="500"/>
                  <a:pt x="87" y="501"/>
                </a:cubicBezTo>
                <a:cubicBezTo>
                  <a:pt x="88" y="501"/>
                  <a:pt x="88" y="501"/>
                  <a:pt x="88" y="501"/>
                </a:cubicBezTo>
                <a:cubicBezTo>
                  <a:pt x="89" y="501"/>
                  <a:pt x="89" y="501"/>
                  <a:pt x="89" y="501"/>
                </a:cubicBezTo>
                <a:cubicBezTo>
                  <a:pt x="90" y="501"/>
                  <a:pt x="90" y="501"/>
                  <a:pt x="90" y="501"/>
                </a:cubicBezTo>
                <a:cubicBezTo>
                  <a:pt x="91" y="500"/>
                  <a:pt x="92" y="500"/>
                  <a:pt x="91" y="501"/>
                </a:cubicBezTo>
                <a:cubicBezTo>
                  <a:pt x="91" y="501"/>
                  <a:pt x="91" y="501"/>
                  <a:pt x="90" y="502"/>
                </a:cubicBezTo>
                <a:cubicBezTo>
                  <a:pt x="90" y="502"/>
                  <a:pt x="90" y="502"/>
                  <a:pt x="89" y="502"/>
                </a:cubicBezTo>
                <a:cubicBezTo>
                  <a:pt x="88" y="502"/>
                  <a:pt x="87" y="502"/>
                  <a:pt x="87" y="503"/>
                </a:cubicBezTo>
                <a:cubicBezTo>
                  <a:pt x="88" y="503"/>
                  <a:pt x="88" y="503"/>
                  <a:pt x="89" y="503"/>
                </a:cubicBezTo>
                <a:cubicBezTo>
                  <a:pt x="89" y="502"/>
                  <a:pt x="90" y="502"/>
                  <a:pt x="91" y="502"/>
                </a:cubicBezTo>
                <a:cubicBezTo>
                  <a:pt x="92" y="502"/>
                  <a:pt x="93" y="502"/>
                  <a:pt x="93" y="502"/>
                </a:cubicBezTo>
                <a:cubicBezTo>
                  <a:pt x="93" y="502"/>
                  <a:pt x="93" y="503"/>
                  <a:pt x="93" y="503"/>
                </a:cubicBezTo>
                <a:cubicBezTo>
                  <a:pt x="93" y="503"/>
                  <a:pt x="92" y="504"/>
                  <a:pt x="92" y="504"/>
                </a:cubicBezTo>
                <a:cubicBezTo>
                  <a:pt x="92" y="504"/>
                  <a:pt x="92" y="504"/>
                  <a:pt x="93" y="504"/>
                </a:cubicBezTo>
                <a:cubicBezTo>
                  <a:pt x="93" y="504"/>
                  <a:pt x="93" y="504"/>
                  <a:pt x="94" y="503"/>
                </a:cubicBezTo>
                <a:cubicBezTo>
                  <a:pt x="94" y="503"/>
                  <a:pt x="94" y="503"/>
                  <a:pt x="95" y="503"/>
                </a:cubicBezTo>
                <a:cubicBezTo>
                  <a:pt x="95" y="503"/>
                  <a:pt x="96" y="503"/>
                  <a:pt x="96" y="503"/>
                </a:cubicBezTo>
                <a:cubicBezTo>
                  <a:pt x="97" y="503"/>
                  <a:pt x="98" y="503"/>
                  <a:pt x="99" y="503"/>
                </a:cubicBezTo>
                <a:cubicBezTo>
                  <a:pt x="99" y="504"/>
                  <a:pt x="98" y="505"/>
                  <a:pt x="98" y="505"/>
                </a:cubicBezTo>
                <a:cubicBezTo>
                  <a:pt x="98" y="506"/>
                  <a:pt x="98" y="506"/>
                  <a:pt x="97" y="506"/>
                </a:cubicBezTo>
                <a:cubicBezTo>
                  <a:pt x="97" y="506"/>
                  <a:pt x="96" y="506"/>
                  <a:pt x="96" y="506"/>
                </a:cubicBezTo>
                <a:cubicBezTo>
                  <a:pt x="95" y="507"/>
                  <a:pt x="97" y="508"/>
                  <a:pt x="98" y="508"/>
                </a:cubicBezTo>
                <a:cubicBezTo>
                  <a:pt x="99" y="508"/>
                  <a:pt x="100" y="508"/>
                  <a:pt x="101" y="508"/>
                </a:cubicBezTo>
                <a:cubicBezTo>
                  <a:pt x="101" y="508"/>
                  <a:pt x="102" y="507"/>
                  <a:pt x="103" y="508"/>
                </a:cubicBezTo>
                <a:cubicBezTo>
                  <a:pt x="104" y="508"/>
                  <a:pt x="104" y="508"/>
                  <a:pt x="105" y="507"/>
                </a:cubicBezTo>
                <a:cubicBezTo>
                  <a:pt x="106" y="507"/>
                  <a:pt x="106" y="506"/>
                  <a:pt x="107" y="506"/>
                </a:cubicBezTo>
                <a:cubicBezTo>
                  <a:pt x="107" y="505"/>
                  <a:pt x="108" y="505"/>
                  <a:pt x="108" y="505"/>
                </a:cubicBezTo>
                <a:cubicBezTo>
                  <a:pt x="109" y="505"/>
                  <a:pt x="108" y="504"/>
                  <a:pt x="109" y="504"/>
                </a:cubicBezTo>
                <a:cubicBezTo>
                  <a:pt x="109" y="504"/>
                  <a:pt x="108" y="506"/>
                  <a:pt x="108" y="506"/>
                </a:cubicBezTo>
                <a:cubicBezTo>
                  <a:pt x="108" y="507"/>
                  <a:pt x="108" y="507"/>
                  <a:pt x="108" y="508"/>
                </a:cubicBezTo>
                <a:cubicBezTo>
                  <a:pt x="108" y="508"/>
                  <a:pt x="107" y="508"/>
                  <a:pt x="107" y="509"/>
                </a:cubicBezTo>
                <a:cubicBezTo>
                  <a:pt x="107" y="509"/>
                  <a:pt x="107" y="510"/>
                  <a:pt x="107" y="510"/>
                </a:cubicBezTo>
                <a:cubicBezTo>
                  <a:pt x="108" y="510"/>
                  <a:pt x="108" y="510"/>
                  <a:pt x="109" y="511"/>
                </a:cubicBezTo>
                <a:cubicBezTo>
                  <a:pt x="110" y="511"/>
                  <a:pt x="110" y="511"/>
                  <a:pt x="111" y="512"/>
                </a:cubicBezTo>
                <a:cubicBezTo>
                  <a:pt x="112" y="512"/>
                  <a:pt x="113" y="512"/>
                  <a:pt x="113" y="512"/>
                </a:cubicBezTo>
                <a:cubicBezTo>
                  <a:pt x="115" y="513"/>
                  <a:pt x="116" y="514"/>
                  <a:pt x="118" y="514"/>
                </a:cubicBezTo>
                <a:cubicBezTo>
                  <a:pt x="119" y="514"/>
                  <a:pt x="121" y="514"/>
                  <a:pt x="123" y="514"/>
                </a:cubicBezTo>
                <a:cubicBezTo>
                  <a:pt x="127" y="514"/>
                  <a:pt x="131" y="513"/>
                  <a:pt x="135" y="514"/>
                </a:cubicBezTo>
                <a:cubicBezTo>
                  <a:pt x="136" y="514"/>
                  <a:pt x="136" y="514"/>
                  <a:pt x="136" y="514"/>
                </a:cubicBezTo>
                <a:cubicBezTo>
                  <a:pt x="137" y="514"/>
                  <a:pt x="137" y="514"/>
                  <a:pt x="138" y="514"/>
                </a:cubicBezTo>
                <a:cubicBezTo>
                  <a:pt x="139" y="514"/>
                  <a:pt x="139" y="514"/>
                  <a:pt x="140" y="514"/>
                </a:cubicBezTo>
                <a:cubicBezTo>
                  <a:pt x="141" y="515"/>
                  <a:pt x="142" y="515"/>
                  <a:pt x="142" y="515"/>
                </a:cubicBezTo>
                <a:cubicBezTo>
                  <a:pt x="144" y="515"/>
                  <a:pt x="145" y="516"/>
                  <a:pt x="146" y="515"/>
                </a:cubicBezTo>
                <a:cubicBezTo>
                  <a:pt x="146" y="515"/>
                  <a:pt x="146" y="515"/>
                  <a:pt x="147" y="515"/>
                </a:cubicBezTo>
                <a:cubicBezTo>
                  <a:pt x="147" y="515"/>
                  <a:pt x="148" y="515"/>
                  <a:pt x="148" y="514"/>
                </a:cubicBezTo>
                <a:cubicBezTo>
                  <a:pt x="148" y="514"/>
                  <a:pt x="147" y="513"/>
                  <a:pt x="147" y="513"/>
                </a:cubicBezTo>
                <a:cubicBezTo>
                  <a:pt x="147" y="513"/>
                  <a:pt x="148" y="513"/>
                  <a:pt x="148" y="514"/>
                </a:cubicBezTo>
                <a:cubicBezTo>
                  <a:pt x="148" y="514"/>
                  <a:pt x="148" y="514"/>
                  <a:pt x="148" y="515"/>
                </a:cubicBezTo>
                <a:cubicBezTo>
                  <a:pt x="148" y="515"/>
                  <a:pt x="149" y="515"/>
                  <a:pt x="149" y="515"/>
                </a:cubicBezTo>
                <a:cubicBezTo>
                  <a:pt x="149" y="516"/>
                  <a:pt x="148" y="516"/>
                  <a:pt x="148" y="516"/>
                </a:cubicBezTo>
                <a:cubicBezTo>
                  <a:pt x="148" y="516"/>
                  <a:pt x="148" y="517"/>
                  <a:pt x="147" y="517"/>
                </a:cubicBezTo>
                <a:cubicBezTo>
                  <a:pt x="147" y="517"/>
                  <a:pt x="147" y="517"/>
                  <a:pt x="147" y="517"/>
                </a:cubicBezTo>
                <a:cubicBezTo>
                  <a:pt x="148" y="517"/>
                  <a:pt x="149" y="518"/>
                  <a:pt x="150" y="518"/>
                </a:cubicBezTo>
                <a:cubicBezTo>
                  <a:pt x="151" y="518"/>
                  <a:pt x="152" y="519"/>
                  <a:pt x="153" y="519"/>
                </a:cubicBezTo>
                <a:cubicBezTo>
                  <a:pt x="154" y="519"/>
                  <a:pt x="155" y="519"/>
                  <a:pt x="156" y="519"/>
                </a:cubicBezTo>
                <a:cubicBezTo>
                  <a:pt x="157" y="519"/>
                  <a:pt x="158" y="520"/>
                  <a:pt x="158" y="520"/>
                </a:cubicBezTo>
                <a:cubicBezTo>
                  <a:pt x="159" y="520"/>
                  <a:pt x="160" y="520"/>
                  <a:pt x="161" y="520"/>
                </a:cubicBezTo>
                <a:cubicBezTo>
                  <a:pt x="162" y="520"/>
                  <a:pt x="162" y="519"/>
                  <a:pt x="162" y="519"/>
                </a:cubicBezTo>
                <a:cubicBezTo>
                  <a:pt x="163" y="519"/>
                  <a:pt x="163" y="519"/>
                  <a:pt x="164" y="519"/>
                </a:cubicBezTo>
                <a:cubicBezTo>
                  <a:pt x="164" y="518"/>
                  <a:pt x="165" y="518"/>
                  <a:pt x="165" y="518"/>
                </a:cubicBezTo>
                <a:cubicBezTo>
                  <a:pt x="166" y="518"/>
                  <a:pt x="166" y="517"/>
                  <a:pt x="167" y="516"/>
                </a:cubicBezTo>
                <a:cubicBezTo>
                  <a:pt x="168" y="515"/>
                  <a:pt x="168" y="517"/>
                  <a:pt x="168" y="518"/>
                </a:cubicBezTo>
                <a:cubicBezTo>
                  <a:pt x="168" y="518"/>
                  <a:pt x="168" y="519"/>
                  <a:pt x="168" y="519"/>
                </a:cubicBezTo>
                <a:cubicBezTo>
                  <a:pt x="168" y="519"/>
                  <a:pt x="169" y="519"/>
                  <a:pt x="169" y="520"/>
                </a:cubicBezTo>
                <a:cubicBezTo>
                  <a:pt x="169" y="521"/>
                  <a:pt x="168" y="521"/>
                  <a:pt x="167" y="522"/>
                </a:cubicBezTo>
                <a:cubicBezTo>
                  <a:pt x="167" y="522"/>
                  <a:pt x="167" y="522"/>
                  <a:pt x="167" y="522"/>
                </a:cubicBezTo>
                <a:cubicBezTo>
                  <a:pt x="166" y="523"/>
                  <a:pt x="166" y="522"/>
                  <a:pt x="165" y="523"/>
                </a:cubicBezTo>
                <a:cubicBezTo>
                  <a:pt x="165" y="523"/>
                  <a:pt x="167" y="523"/>
                  <a:pt x="168" y="524"/>
                </a:cubicBezTo>
                <a:cubicBezTo>
                  <a:pt x="168" y="524"/>
                  <a:pt x="168" y="524"/>
                  <a:pt x="169" y="524"/>
                </a:cubicBezTo>
                <a:cubicBezTo>
                  <a:pt x="170" y="525"/>
                  <a:pt x="171" y="525"/>
                  <a:pt x="172" y="526"/>
                </a:cubicBezTo>
                <a:cubicBezTo>
                  <a:pt x="172" y="526"/>
                  <a:pt x="173" y="527"/>
                  <a:pt x="173" y="527"/>
                </a:cubicBezTo>
                <a:cubicBezTo>
                  <a:pt x="174" y="527"/>
                  <a:pt x="175" y="528"/>
                  <a:pt x="176" y="528"/>
                </a:cubicBezTo>
                <a:cubicBezTo>
                  <a:pt x="176" y="528"/>
                  <a:pt x="177" y="529"/>
                  <a:pt x="178" y="529"/>
                </a:cubicBezTo>
                <a:cubicBezTo>
                  <a:pt x="179" y="529"/>
                  <a:pt x="179" y="529"/>
                  <a:pt x="180" y="529"/>
                </a:cubicBezTo>
                <a:cubicBezTo>
                  <a:pt x="180" y="530"/>
                  <a:pt x="179" y="529"/>
                  <a:pt x="179" y="530"/>
                </a:cubicBezTo>
                <a:cubicBezTo>
                  <a:pt x="179" y="530"/>
                  <a:pt x="180" y="530"/>
                  <a:pt x="180" y="530"/>
                </a:cubicBezTo>
                <a:cubicBezTo>
                  <a:pt x="181" y="531"/>
                  <a:pt x="181" y="532"/>
                  <a:pt x="182" y="532"/>
                </a:cubicBezTo>
                <a:cubicBezTo>
                  <a:pt x="184" y="533"/>
                  <a:pt x="185" y="534"/>
                  <a:pt x="186" y="535"/>
                </a:cubicBezTo>
                <a:cubicBezTo>
                  <a:pt x="187" y="535"/>
                  <a:pt x="188" y="536"/>
                  <a:pt x="188" y="536"/>
                </a:cubicBezTo>
                <a:cubicBezTo>
                  <a:pt x="189" y="536"/>
                  <a:pt x="189" y="537"/>
                  <a:pt x="190" y="538"/>
                </a:cubicBezTo>
                <a:cubicBezTo>
                  <a:pt x="191" y="538"/>
                  <a:pt x="191" y="538"/>
                  <a:pt x="192" y="539"/>
                </a:cubicBezTo>
                <a:cubicBezTo>
                  <a:pt x="193" y="539"/>
                  <a:pt x="193" y="540"/>
                  <a:pt x="194" y="540"/>
                </a:cubicBezTo>
                <a:cubicBezTo>
                  <a:pt x="195" y="541"/>
                  <a:pt x="195" y="541"/>
                  <a:pt x="196" y="541"/>
                </a:cubicBezTo>
                <a:cubicBezTo>
                  <a:pt x="197" y="542"/>
                  <a:pt x="197" y="542"/>
                  <a:pt x="198" y="543"/>
                </a:cubicBezTo>
                <a:cubicBezTo>
                  <a:pt x="198" y="543"/>
                  <a:pt x="199" y="544"/>
                  <a:pt x="200" y="544"/>
                </a:cubicBezTo>
                <a:cubicBezTo>
                  <a:pt x="200" y="544"/>
                  <a:pt x="200" y="544"/>
                  <a:pt x="200" y="544"/>
                </a:cubicBezTo>
                <a:cubicBezTo>
                  <a:pt x="201" y="544"/>
                  <a:pt x="201" y="545"/>
                  <a:pt x="201" y="545"/>
                </a:cubicBezTo>
                <a:cubicBezTo>
                  <a:pt x="202" y="545"/>
                  <a:pt x="202" y="545"/>
                  <a:pt x="202" y="544"/>
                </a:cubicBezTo>
                <a:cubicBezTo>
                  <a:pt x="202" y="544"/>
                  <a:pt x="201" y="544"/>
                  <a:pt x="201" y="543"/>
                </a:cubicBezTo>
                <a:cubicBezTo>
                  <a:pt x="201" y="543"/>
                  <a:pt x="202" y="543"/>
                  <a:pt x="202" y="543"/>
                </a:cubicBezTo>
                <a:cubicBezTo>
                  <a:pt x="203" y="543"/>
                  <a:pt x="203" y="544"/>
                  <a:pt x="203" y="544"/>
                </a:cubicBezTo>
                <a:cubicBezTo>
                  <a:pt x="203" y="544"/>
                  <a:pt x="204" y="544"/>
                  <a:pt x="204" y="544"/>
                </a:cubicBezTo>
                <a:cubicBezTo>
                  <a:pt x="204" y="543"/>
                  <a:pt x="205" y="543"/>
                  <a:pt x="205" y="543"/>
                </a:cubicBezTo>
                <a:cubicBezTo>
                  <a:pt x="205" y="543"/>
                  <a:pt x="206" y="543"/>
                  <a:pt x="205" y="543"/>
                </a:cubicBezTo>
                <a:cubicBezTo>
                  <a:pt x="205" y="543"/>
                  <a:pt x="205" y="543"/>
                  <a:pt x="204" y="543"/>
                </a:cubicBezTo>
                <a:cubicBezTo>
                  <a:pt x="204" y="543"/>
                  <a:pt x="204" y="542"/>
                  <a:pt x="204" y="542"/>
                </a:cubicBezTo>
                <a:cubicBezTo>
                  <a:pt x="204" y="542"/>
                  <a:pt x="205" y="542"/>
                  <a:pt x="205" y="542"/>
                </a:cubicBezTo>
                <a:cubicBezTo>
                  <a:pt x="206" y="542"/>
                  <a:pt x="206" y="542"/>
                  <a:pt x="206" y="542"/>
                </a:cubicBezTo>
                <a:cubicBezTo>
                  <a:pt x="207" y="542"/>
                  <a:pt x="207" y="543"/>
                  <a:pt x="207" y="543"/>
                </a:cubicBezTo>
                <a:cubicBezTo>
                  <a:pt x="208" y="543"/>
                  <a:pt x="209" y="542"/>
                  <a:pt x="209" y="541"/>
                </a:cubicBezTo>
                <a:cubicBezTo>
                  <a:pt x="209" y="541"/>
                  <a:pt x="208" y="541"/>
                  <a:pt x="208" y="541"/>
                </a:cubicBezTo>
                <a:cubicBezTo>
                  <a:pt x="208" y="540"/>
                  <a:pt x="208" y="540"/>
                  <a:pt x="208" y="540"/>
                </a:cubicBezTo>
                <a:cubicBezTo>
                  <a:pt x="207" y="539"/>
                  <a:pt x="207" y="538"/>
                  <a:pt x="206" y="538"/>
                </a:cubicBezTo>
                <a:cubicBezTo>
                  <a:pt x="206" y="538"/>
                  <a:pt x="206" y="538"/>
                  <a:pt x="205" y="537"/>
                </a:cubicBezTo>
                <a:cubicBezTo>
                  <a:pt x="205" y="537"/>
                  <a:pt x="205" y="537"/>
                  <a:pt x="205" y="537"/>
                </a:cubicBezTo>
                <a:cubicBezTo>
                  <a:pt x="204" y="536"/>
                  <a:pt x="204" y="535"/>
                  <a:pt x="203" y="535"/>
                </a:cubicBezTo>
                <a:cubicBezTo>
                  <a:pt x="203" y="535"/>
                  <a:pt x="203" y="535"/>
                  <a:pt x="202" y="535"/>
                </a:cubicBezTo>
                <a:cubicBezTo>
                  <a:pt x="202" y="534"/>
                  <a:pt x="202" y="534"/>
                  <a:pt x="201" y="534"/>
                </a:cubicBezTo>
                <a:cubicBezTo>
                  <a:pt x="201" y="534"/>
                  <a:pt x="200" y="534"/>
                  <a:pt x="199" y="534"/>
                </a:cubicBezTo>
                <a:cubicBezTo>
                  <a:pt x="199" y="534"/>
                  <a:pt x="198" y="534"/>
                  <a:pt x="198" y="534"/>
                </a:cubicBezTo>
                <a:cubicBezTo>
                  <a:pt x="198" y="533"/>
                  <a:pt x="198" y="533"/>
                  <a:pt x="198" y="533"/>
                </a:cubicBezTo>
                <a:cubicBezTo>
                  <a:pt x="199" y="532"/>
                  <a:pt x="198" y="532"/>
                  <a:pt x="198" y="531"/>
                </a:cubicBezTo>
                <a:cubicBezTo>
                  <a:pt x="198" y="531"/>
                  <a:pt x="199" y="532"/>
                  <a:pt x="199" y="532"/>
                </a:cubicBezTo>
                <a:cubicBezTo>
                  <a:pt x="199" y="532"/>
                  <a:pt x="200" y="532"/>
                  <a:pt x="200" y="532"/>
                </a:cubicBezTo>
                <a:cubicBezTo>
                  <a:pt x="201" y="533"/>
                  <a:pt x="201" y="534"/>
                  <a:pt x="201" y="533"/>
                </a:cubicBezTo>
                <a:cubicBezTo>
                  <a:pt x="202" y="533"/>
                  <a:pt x="202" y="532"/>
                  <a:pt x="202" y="532"/>
                </a:cubicBezTo>
                <a:cubicBezTo>
                  <a:pt x="203" y="533"/>
                  <a:pt x="203" y="534"/>
                  <a:pt x="203" y="534"/>
                </a:cubicBezTo>
                <a:cubicBezTo>
                  <a:pt x="203" y="535"/>
                  <a:pt x="205" y="535"/>
                  <a:pt x="205" y="535"/>
                </a:cubicBezTo>
                <a:cubicBezTo>
                  <a:pt x="206" y="535"/>
                  <a:pt x="207" y="536"/>
                  <a:pt x="208" y="535"/>
                </a:cubicBezTo>
                <a:cubicBezTo>
                  <a:pt x="208" y="535"/>
                  <a:pt x="208" y="534"/>
                  <a:pt x="209" y="534"/>
                </a:cubicBezTo>
                <a:cubicBezTo>
                  <a:pt x="209" y="533"/>
                  <a:pt x="210" y="533"/>
                  <a:pt x="211" y="534"/>
                </a:cubicBezTo>
                <a:cubicBezTo>
                  <a:pt x="210" y="533"/>
                  <a:pt x="209" y="534"/>
                  <a:pt x="209" y="534"/>
                </a:cubicBezTo>
                <a:cubicBezTo>
                  <a:pt x="208" y="534"/>
                  <a:pt x="208" y="535"/>
                  <a:pt x="208" y="536"/>
                </a:cubicBezTo>
                <a:cubicBezTo>
                  <a:pt x="208" y="537"/>
                  <a:pt x="209" y="537"/>
                  <a:pt x="210" y="537"/>
                </a:cubicBezTo>
                <a:cubicBezTo>
                  <a:pt x="210" y="538"/>
                  <a:pt x="210" y="539"/>
                  <a:pt x="210" y="540"/>
                </a:cubicBezTo>
                <a:cubicBezTo>
                  <a:pt x="211" y="540"/>
                  <a:pt x="211" y="540"/>
                  <a:pt x="211" y="540"/>
                </a:cubicBezTo>
                <a:cubicBezTo>
                  <a:pt x="211" y="541"/>
                  <a:pt x="210" y="540"/>
                  <a:pt x="210" y="541"/>
                </a:cubicBezTo>
                <a:cubicBezTo>
                  <a:pt x="210" y="541"/>
                  <a:pt x="210" y="542"/>
                  <a:pt x="210" y="542"/>
                </a:cubicBezTo>
                <a:cubicBezTo>
                  <a:pt x="211" y="542"/>
                  <a:pt x="211" y="542"/>
                  <a:pt x="212" y="542"/>
                </a:cubicBezTo>
                <a:cubicBezTo>
                  <a:pt x="212" y="542"/>
                  <a:pt x="213" y="542"/>
                  <a:pt x="213" y="542"/>
                </a:cubicBezTo>
                <a:cubicBezTo>
                  <a:pt x="214" y="542"/>
                  <a:pt x="214" y="542"/>
                  <a:pt x="215" y="542"/>
                </a:cubicBezTo>
                <a:cubicBezTo>
                  <a:pt x="215" y="542"/>
                  <a:pt x="215" y="542"/>
                  <a:pt x="215" y="543"/>
                </a:cubicBezTo>
                <a:cubicBezTo>
                  <a:pt x="216" y="543"/>
                  <a:pt x="216" y="543"/>
                  <a:pt x="216" y="543"/>
                </a:cubicBezTo>
                <a:cubicBezTo>
                  <a:pt x="216" y="544"/>
                  <a:pt x="216" y="544"/>
                  <a:pt x="217" y="544"/>
                </a:cubicBezTo>
                <a:cubicBezTo>
                  <a:pt x="217" y="544"/>
                  <a:pt x="217" y="544"/>
                  <a:pt x="217" y="544"/>
                </a:cubicBezTo>
                <a:cubicBezTo>
                  <a:pt x="218" y="544"/>
                  <a:pt x="219" y="544"/>
                  <a:pt x="219" y="544"/>
                </a:cubicBezTo>
                <a:cubicBezTo>
                  <a:pt x="219" y="543"/>
                  <a:pt x="220" y="543"/>
                  <a:pt x="220" y="543"/>
                </a:cubicBezTo>
                <a:cubicBezTo>
                  <a:pt x="220" y="542"/>
                  <a:pt x="219" y="541"/>
                  <a:pt x="219" y="540"/>
                </a:cubicBezTo>
                <a:cubicBezTo>
                  <a:pt x="218" y="539"/>
                  <a:pt x="219" y="539"/>
                  <a:pt x="219" y="538"/>
                </a:cubicBezTo>
                <a:cubicBezTo>
                  <a:pt x="219" y="537"/>
                  <a:pt x="218" y="537"/>
                  <a:pt x="218" y="536"/>
                </a:cubicBezTo>
                <a:cubicBezTo>
                  <a:pt x="217" y="535"/>
                  <a:pt x="217" y="535"/>
                  <a:pt x="217" y="534"/>
                </a:cubicBezTo>
                <a:cubicBezTo>
                  <a:pt x="217" y="533"/>
                  <a:pt x="216" y="533"/>
                  <a:pt x="216" y="532"/>
                </a:cubicBezTo>
                <a:cubicBezTo>
                  <a:pt x="216" y="531"/>
                  <a:pt x="216" y="530"/>
                  <a:pt x="216" y="529"/>
                </a:cubicBezTo>
                <a:cubicBezTo>
                  <a:pt x="215" y="529"/>
                  <a:pt x="215" y="529"/>
                  <a:pt x="215" y="529"/>
                </a:cubicBezTo>
                <a:cubicBezTo>
                  <a:pt x="215" y="528"/>
                  <a:pt x="215" y="528"/>
                  <a:pt x="215" y="528"/>
                </a:cubicBezTo>
                <a:cubicBezTo>
                  <a:pt x="216" y="528"/>
                  <a:pt x="216" y="529"/>
                  <a:pt x="216" y="529"/>
                </a:cubicBezTo>
                <a:cubicBezTo>
                  <a:pt x="216" y="529"/>
                  <a:pt x="216" y="529"/>
                  <a:pt x="216" y="528"/>
                </a:cubicBezTo>
                <a:cubicBezTo>
                  <a:pt x="216" y="528"/>
                  <a:pt x="216" y="528"/>
                  <a:pt x="216" y="527"/>
                </a:cubicBezTo>
                <a:cubicBezTo>
                  <a:pt x="216" y="527"/>
                  <a:pt x="215" y="527"/>
                  <a:pt x="216" y="526"/>
                </a:cubicBezTo>
                <a:cubicBezTo>
                  <a:pt x="216" y="526"/>
                  <a:pt x="216" y="528"/>
                  <a:pt x="217" y="528"/>
                </a:cubicBezTo>
                <a:cubicBezTo>
                  <a:pt x="217" y="529"/>
                  <a:pt x="217" y="529"/>
                  <a:pt x="217" y="529"/>
                </a:cubicBezTo>
                <a:cubicBezTo>
                  <a:pt x="217" y="529"/>
                  <a:pt x="217" y="530"/>
                  <a:pt x="218" y="530"/>
                </a:cubicBezTo>
                <a:cubicBezTo>
                  <a:pt x="218" y="531"/>
                  <a:pt x="218" y="531"/>
                  <a:pt x="218" y="531"/>
                </a:cubicBezTo>
                <a:cubicBezTo>
                  <a:pt x="219" y="532"/>
                  <a:pt x="218" y="533"/>
                  <a:pt x="218" y="533"/>
                </a:cubicBezTo>
                <a:cubicBezTo>
                  <a:pt x="218" y="534"/>
                  <a:pt x="218" y="534"/>
                  <a:pt x="218" y="534"/>
                </a:cubicBezTo>
                <a:cubicBezTo>
                  <a:pt x="219" y="534"/>
                  <a:pt x="219" y="534"/>
                  <a:pt x="219" y="535"/>
                </a:cubicBezTo>
                <a:cubicBezTo>
                  <a:pt x="219" y="535"/>
                  <a:pt x="219" y="537"/>
                  <a:pt x="220" y="536"/>
                </a:cubicBezTo>
                <a:cubicBezTo>
                  <a:pt x="220" y="536"/>
                  <a:pt x="220" y="535"/>
                  <a:pt x="221" y="536"/>
                </a:cubicBezTo>
                <a:cubicBezTo>
                  <a:pt x="221" y="536"/>
                  <a:pt x="221" y="536"/>
                  <a:pt x="222" y="536"/>
                </a:cubicBezTo>
                <a:cubicBezTo>
                  <a:pt x="222" y="537"/>
                  <a:pt x="222" y="537"/>
                  <a:pt x="221" y="537"/>
                </a:cubicBezTo>
                <a:cubicBezTo>
                  <a:pt x="221" y="537"/>
                  <a:pt x="221" y="537"/>
                  <a:pt x="221" y="537"/>
                </a:cubicBezTo>
                <a:cubicBezTo>
                  <a:pt x="220" y="537"/>
                  <a:pt x="221" y="538"/>
                  <a:pt x="221" y="538"/>
                </a:cubicBezTo>
                <a:cubicBezTo>
                  <a:pt x="221" y="538"/>
                  <a:pt x="221" y="538"/>
                  <a:pt x="221" y="538"/>
                </a:cubicBezTo>
                <a:cubicBezTo>
                  <a:pt x="221" y="538"/>
                  <a:pt x="221" y="539"/>
                  <a:pt x="221" y="539"/>
                </a:cubicBezTo>
                <a:cubicBezTo>
                  <a:pt x="221" y="539"/>
                  <a:pt x="222" y="539"/>
                  <a:pt x="222" y="539"/>
                </a:cubicBezTo>
                <a:cubicBezTo>
                  <a:pt x="223" y="540"/>
                  <a:pt x="223" y="540"/>
                  <a:pt x="223" y="541"/>
                </a:cubicBezTo>
                <a:cubicBezTo>
                  <a:pt x="223" y="541"/>
                  <a:pt x="223" y="542"/>
                  <a:pt x="224" y="542"/>
                </a:cubicBezTo>
                <a:cubicBezTo>
                  <a:pt x="224" y="543"/>
                  <a:pt x="225" y="543"/>
                  <a:pt x="225" y="543"/>
                </a:cubicBezTo>
                <a:cubicBezTo>
                  <a:pt x="226" y="543"/>
                  <a:pt x="226" y="544"/>
                  <a:pt x="226" y="544"/>
                </a:cubicBezTo>
                <a:cubicBezTo>
                  <a:pt x="226" y="545"/>
                  <a:pt x="227" y="545"/>
                  <a:pt x="228" y="545"/>
                </a:cubicBezTo>
                <a:cubicBezTo>
                  <a:pt x="229" y="545"/>
                  <a:pt x="229" y="545"/>
                  <a:pt x="229" y="545"/>
                </a:cubicBezTo>
                <a:cubicBezTo>
                  <a:pt x="230" y="545"/>
                  <a:pt x="230" y="545"/>
                  <a:pt x="230" y="545"/>
                </a:cubicBezTo>
                <a:cubicBezTo>
                  <a:pt x="231" y="545"/>
                  <a:pt x="230" y="544"/>
                  <a:pt x="230" y="544"/>
                </a:cubicBezTo>
                <a:cubicBezTo>
                  <a:pt x="231" y="543"/>
                  <a:pt x="231" y="543"/>
                  <a:pt x="231" y="543"/>
                </a:cubicBezTo>
                <a:cubicBezTo>
                  <a:pt x="231" y="543"/>
                  <a:pt x="231" y="542"/>
                  <a:pt x="231" y="542"/>
                </a:cubicBezTo>
                <a:cubicBezTo>
                  <a:pt x="231" y="541"/>
                  <a:pt x="231" y="541"/>
                  <a:pt x="232" y="541"/>
                </a:cubicBezTo>
                <a:cubicBezTo>
                  <a:pt x="232" y="541"/>
                  <a:pt x="232" y="540"/>
                  <a:pt x="232" y="540"/>
                </a:cubicBezTo>
                <a:cubicBezTo>
                  <a:pt x="233" y="540"/>
                  <a:pt x="233" y="540"/>
                  <a:pt x="233" y="540"/>
                </a:cubicBezTo>
                <a:cubicBezTo>
                  <a:pt x="233" y="540"/>
                  <a:pt x="233" y="541"/>
                  <a:pt x="232" y="541"/>
                </a:cubicBezTo>
                <a:cubicBezTo>
                  <a:pt x="232" y="541"/>
                  <a:pt x="232" y="541"/>
                  <a:pt x="232" y="542"/>
                </a:cubicBezTo>
                <a:cubicBezTo>
                  <a:pt x="232" y="542"/>
                  <a:pt x="232" y="543"/>
                  <a:pt x="232" y="543"/>
                </a:cubicBezTo>
                <a:cubicBezTo>
                  <a:pt x="232" y="544"/>
                  <a:pt x="230" y="544"/>
                  <a:pt x="231" y="545"/>
                </a:cubicBezTo>
                <a:cubicBezTo>
                  <a:pt x="231" y="545"/>
                  <a:pt x="231" y="545"/>
                  <a:pt x="231" y="546"/>
                </a:cubicBezTo>
                <a:cubicBezTo>
                  <a:pt x="231" y="546"/>
                  <a:pt x="231" y="547"/>
                  <a:pt x="231" y="547"/>
                </a:cubicBezTo>
                <a:cubicBezTo>
                  <a:pt x="231" y="547"/>
                  <a:pt x="232" y="548"/>
                  <a:pt x="232" y="548"/>
                </a:cubicBezTo>
                <a:cubicBezTo>
                  <a:pt x="233" y="548"/>
                  <a:pt x="234" y="549"/>
                  <a:pt x="234" y="548"/>
                </a:cubicBezTo>
                <a:cubicBezTo>
                  <a:pt x="234" y="548"/>
                  <a:pt x="234" y="547"/>
                  <a:pt x="235" y="547"/>
                </a:cubicBezTo>
                <a:cubicBezTo>
                  <a:pt x="235" y="547"/>
                  <a:pt x="235" y="548"/>
                  <a:pt x="235" y="548"/>
                </a:cubicBezTo>
                <a:cubicBezTo>
                  <a:pt x="235" y="549"/>
                  <a:pt x="236" y="549"/>
                  <a:pt x="235" y="549"/>
                </a:cubicBezTo>
                <a:cubicBezTo>
                  <a:pt x="235" y="550"/>
                  <a:pt x="233" y="549"/>
                  <a:pt x="234" y="550"/>
                </a:cubicBezTo>
                <a:cubicBezTo>
                  <a:pt x="234" y="550"/>
                  <a:pt x="235" y="550"/>
                  <a:pt x="235" y="551"/>
                </a:cubicBezTo>
                <a:cubicBezTo>
                  <a:pt x="235" y="551"/>
                  <a:pt x="235" y="551"/>
                  <a:pt x="235" y="552"/>
                </a:cubicBezTo>
                <a:cubicBezTo>
                  <a:pt x="235" y="553"/>
                  <a:pt x="236" y="551"/>
                  <a:pt x="236" y="550"/>
                </a:cubicBezTo>
                <a:cubicBezTo>
                  <a:pt x="237" y="550"/>
                  <a:pt x="237" y="552"/>
                  <a:pt x="237" y="552"/>
                </a:cubicBezTo>
                <a:cubicBezTo>
                  <a:pt x="237" y="553"/>
                  <a:pt x="237" y="553"/>
                  <a:pt x="237" y="553"/>
                </a:cubicBezTo>
                <a:cubicBezTo>
                  <a:pt x="238" y="553"/>
                  <a:pt x="238" y="553"/>
                  <a:pt x="238" y="554"/>
                </a:cubicBezTo>
                <a:cubicBezTo>
                  <a:pt x="238" y="555"/>
                  <a:pt x="237" y="553"/>
                  <a:pt x="236" y="553"/>
                </a:cubicBezTo>
                <a:cubicBezTo>
                  <a:pt x="235" y="553"/>
                  <a:pt x="236" y="555"/>
                  <a:pt x="236" y="555"/>
                </a:cubicBezTo>
                <a:cubicBezTo>
                  <a:pt x="236" y="555"/>
                  <a:pt x="237" y="555"/>
                  <a:pt x="238" y="555"/>
                </a:cubicBezTo>
                <a:cubicBezTo>
                  <a:pt x="238" y="555"/>
                  <a:pt x="238" y="556"/>
                  <a:pt x="238" y="556"/>
                </a:cubicBezTo>
                <a:cubicBezTo>
                  <a:pt x="237" y="557"/>
                  <a:pt x="237" y="557"/>
                  <a:pt x="237" y="557"/>
                </a:cubicBezTo>
                <a:cubicBezTo>
                  <a:pt x="237" y="558"/>
                  <a:pt x="237" y="558"/>
                  <a:pt x="238" y="558"/>
                </a:cubicBezTo>
                <a:cubicBezTo>
                  <a:pt x="238" y="558"/>
                  <a:pt x="238" y="558"/>
                  <a:pt x="238" y="559"/>
                </a:cubicBezTo>
                <a:cubicBezTo>
                  <a:pt x="238" y="559"/>
                  <a:pt x="238" y="559"/>
                  <a:pt x="239" y="559"/>
                </a:cubicBezTo>
                <a:cubicBezTo>
                  <a:pt x="239" y="560"/>
                  <a:pt x="240" y="559"/>
                  <a:pt x="241" y="560"/>
                </a:cubicBezTo>
                <a:cubicBezTo>
                  <a:pt x="241" y="560"/>
                  <a:pt x="239" y="560"/>
                  <a:pt x="239" y="560"/>
                </a:cubicBezTo>
                <a:cubicBezTo>
                  <a:pt x="239" y="560"/>
                  <a:pt x="238" y="560"/>
                  <a:pt x="238" y="561"/>
                </a:cubicBezTo>
                <a:cubicBezTo>
                  <a:pt x="238" y="561"/>
                  <a:pt x="238" y="561"/>
                  <a:pt x="238" y="561"/>
                </a:cubicBezTo>
                <a:cubicBezTo>
                  <a:pt x="238" y="561"/>
                  <a:pt x="238" y="561"/>
                  <a:pt x="237" y="561"/>
                </a:cubicBezTo>
                <a:cubicBezTo>
                  <a:pt x="237" y="562"/>
                  <a:pt x="239" y="562"/>
                  <a:pt x="240" y="562"/>
                </a:cubicBezTo>
                <a:cubicBezTo>
                  <a:pt x="240" y="562"/>
                  <a:pt x="241" y="562"/>
                  <a:pt x="242" y="563"/>
                </a:cubicBezTo>
                <a:cubicBezTo>
                  <a:pt x="242" y="563"/>
                  <a:pt x="242" y="563"/>
                  <a:pt x="243" y="563"/>
                </a:cubicBezTo>
                <a:cubicBezTo>
                  <a:pt x="244" y="563"/>
                  <a:pt x="244" y="564"/>
                  <a:pt x="245" y="564"/>
                </a:cubicBezTo>
                <a:cubicBezTo>
                  <a:pt x="245" y="564"/>
                  <a:pt x="245" y="564"/>
                  <a:pt x="246" y="564"/>
                </a:cubicBezTo>
                <a:cubicBezTo>
                  <a:pt x="246" y="564"/>
                  <a:pt x="246" y="565"/>
                  <a:pt x="246" y="565"/>
                </a:cubicBezTo>
                <a:cubicBezTo>
                  <a:pt x="245" y="565"/>
                  <a:pt x="245" y="565"/>
                  <a:pt x="245" y="565"/>
                </a:cubicBezTo>
                <a:cubicBezTo>
                  <a:pt x="244" y="565"/>
                  <a:pt x="245" y="566"/>
                  <a:pt x="245" y="567"/>
                </a:cubicBezTo>
                <a:cubicBezTo>
                  <a:pt x="245" y="567"/>
                  <a:pt x="246" y="567"/>
                  <a:pt x="246" y="567"/>
                </a:cubicBezTo>
                <a:cubicBezTo>
                  <a:pt x="246" y="568"/>
                  <a:pt x="247" y="567"/>
                  <a:pt x="247" y="568"/>
                </a:cubicBezTo>
                <a:cubicBezTo>
                  <a:pt x="247" y="568"/>
                  <a:pt x="247" y="569"/>
                  <a:pt x="248" y="568"/>
                </a:cubicBezTo>
                <a:cubicBezTo>
                  <a:pt x="248" y="568"/>
                  <a:pt x="248" y="568"/>
                  <a:pt x="249" y="568"/>
                </a:cubicBezTo>
                <a:cubicBezTo>
                  <a:pt x="250" y="568"/>
                  <a:pt x="249" y="569"/>
                  <a:pt x="249" y="569"/>
                </a:cubicBezTo>
                <a:cubicBezTo>
                  <a:pt x="249" y="570"/>
                  <a:pt x="248" y="570"/>
                  <a:pt x="248" y="570"/>
                </a:cubicBezTo>
                <a:cubicBezTo>
                  <a:pt x="248" y="571"/>
                  <a:pt x="249" y="571"/>
                  <a:pt x="249" y="571"/>
                </a:cubicBezTo>
                <a:cubicBezTo>
                  <a:pt x="249" y="571"/>
                  <a:pt x="249" y="572"/>
                  <a:pt x="250" y="572"/>
                </a:cubicBezTo>
                <a:cubicBezTo>
                  <a:pt x="250" y="572"/>
                  <a:pt x="250" y="573"/>
                  <a:pt x="251" y="573"/>
                </a:cubicBezTo>
                <a:cubicBezTo>
                  <a:pt x="252" y="573"/>
                  <a:pt x="252" y="573"/>
                  <a:pt x="252" y="574"/>
                </a:cubicBezTo>
                <a:cubicBezTo>
                  <a:pt x="252" y="575"/>
                  <a:pt x="251" y="573"/>
                  <a:pt x="251" y="574"/>
                </a:cubicBezTo>
                <a:cubicBezTo>
                  <a:pt x="251" y="574"/>
                  <a:pt x="251" y="575"/>
                  <a:pt x="251" y="575"/>
                </a:cubicBezTo>
                <a:cubicBezTo>
                  <a:pt x="251" y="576"/>
                  <a:pt x="251" y="576"/>
                  <a:pt x="251" y="576"/>
                </a:cubicBezTo>
                <a:cubicBezTo>
                  <a:pt x="251" y="577"/>
                  <a:pt x="251" y="578"/>
                  <a:pt x="252" y="578"/>
                </a:cubicBezTo>
                <a:cubicBezTo>
                  <a:pt x="252" y="578"/>
                  <a:pt x="253" y="578"/>
                  <a:pt x="253" y="578"/>
                </a:cubicBezTo>
                <a:cubicBezTo>
                  <a:pt x="254" y="578"/>
                  <a:pt x="253" y="579"/>
                  <a:pt x="254" y="579"/>
                </a:cubicBezTo>
                <a:cubicBezTo>
                  <a:pt x="254" y="580"/>
                  <a:pt x="255" y="579"/>
                  <a:pt x="255" y="578"/>
                </a:cubicBezTo>
                <a:cubicBezTo>
                  <a:pt x="255" y="578"/>
                  <a:pt x="255" y="578"/>
                  <a:pt x="255" y="577"/>
                </a:cubicBezTo>
                <a:cubicBezTo>
                  <a:pt x="255" y="577"/>
                  <a:pt x="254" y="577"/>
                  <a:pt x="254" y="576"/>
                </a:cubicBezTo>
                <a:cubicBezTo>
                  <a:pt x="254" y="576"/>
                  <a:pt x="254" y="575"/>
                  <a:pt x="254" y="576"/>
                </a:cubicBezTo>
                <a:cubicBezTo>
                  <a:pt x="255" y="576"/>
                  <a:pt x="255" y="576"/>
                  <a:pt x="255" y="576"/>
                </a:cubicBezTo>
                <a:cubicBezTo>
                  <a:pt x="255" y="577"/>
                  <a:pt x="256" y="577"/>
                  <a:pt x="256" y="578"/>
                </a:cubicBezTo>
                <a:cubicBezTo>
                  <a:pt x="256" y="578"/>
                  <a:pt x="255" y="578"/>
                  <a:pt x="255" y="579"/>
                </a:cubicBezTo>
                <a:cubicBezTo>
                  <a:pt x="255" y="579"/>
                  <a:pt x="255" y="579"/>
                  <a:pt x="255" y="580"/>
                </a:cubicBezTo>
                <a:cubicBezTo>
                  <a:pt x="255" y="580"/>
                  <a:pt x="255" y="581"/>
                  <a:pt x="255" y="581"/>
                </a:cubicBezTo>
                <a:cubicBezTo>
                  <a:pt x="255" y="581"/>
                  <a:pt x="254" y="581"/>
                  <a:pt x="254" y="582"/>
                </a:cubicBezTo>
                <a:cubicBezTo>
                  <a:pt x="254" y="582"/>
                  <a:pt x="254" y="583"/>
                  <a:pt x="254" y="583"/>
                </a:cubicBezTo>
                <a:cubicBezTo>
                  <a:pt x="254" y="584"/>
                  <a:pt x="254" y="584"/>
                  <a:pt x="254" y="584"/>
                </a:cubicBezTo>
                <a:cubicBezTo>
                  <a:pt x="253" y="584"/>
                  <a:pt x="253" y="584"/>
                  <a:pt x="253" y="584"/>
                </a:cubicBezTo>
                <a:cubicBezTo>
                  <a:pt x="253" y="584"/>
                  <a:pt x="253" y="585"/>
                  <a:pt x="253" y="585"/>
                </a:cubicBezTo>
                <a:cubicBezTo>
                  <a:pt x="252" y="585"/>
                  <a:pt x="252" y="585"/>
                  <a:pt x="252" y="585"/>
                </a:cubicBezTo>
                <a:cubicBezTo>
                  <a:pt x="251" y="586"/>
                  <a:pt x="252" y="586"/>
                  <a:pt x="252" y="586"/>
                </a:cubicBezTo>
                <a:cubicBezTo>
                  <a:pt x="252" y="587"/>
                  <a:pt x="252" y="587"/>
                  <a:pt x="252" y="587"/>
                </a:cubicBezTo>
                <a:cubicBezTo>
                  <a:pt x="253" y="588"/>
                  <a:pt x="254" y="588"/>
                  <a:pt x="254" y="589"/>
                </a:cubicBezTo>
                <a:cubicBezTo>
                  <a:pt x="254" y="589"/>
                  <a:pt x="255" y="589"/>
                  <a:pt x="255" y="589"/>
                </a:cubicBezTo>
                <a:cubicBezTo>
                  <a:pt x="255" y="588"/>
                  <a:pt x="255" y="587"/>
                  <a:pt x="255" y="586"/>
                </a:cubicBezTo>
                <a:cubicBezTo>
                  <a:pt x="256" y="586"/>
                  <a:pt x="256" y="586"/>
                  <a:pt x="256" y="586"/>
                </a:cubicBezTo>
                <a:cubicBezTo>
                  <a:pt x="256" y="586"/>
                  <a:pt x="256" y="586"/>
                  <a:pt x="256" y="585"/>
                </a:cubicBezTo>
                <a:cubicBezTo>
                  <a:pt x="257" y="585"/>
                  <a:pt x="257" y="585"/>
                  <a:pt x="258" y="585"/>
                </a:cubicBezTo>
                <a:cubicBezTo>
                  <a:pt x="258" y="584"/>
                  <a:pt x="258" y="584"/>
                  <a:pt x="257" y="584"/>
                </a:cubicBezTo>
                <a:cubicBezTo>
                  <a:pt x="257" y="584"/>
                  <a:pt x="256" y="583"/>
                  <a:pt x="257" y="583"/>
                </a:cubicBezTo>
                <a:cubicBezTo>
                  <a:pt x="257" y="583"/>
                  <a:pt x="257" y="583"/>
                  <a:pt x="258" y="583"/>
                </a:cubicBezTo>
                <a:cubicBezTo>
                  <a:pt x="258" y="583"/>
                  <a:pt x="259" y="583"/>
                  <a:pt x="259" y="582"/>
                </a:cubicBezTo>
                <a:cubicBezTo>
                  <a:pt x="259" y="582"/>
                  <a:pt x="259" y="582"/>
                  <a:pt x="260" y="582"/>
                </a:cubicBezTo>
                <a:cubicBezTo>
                  <a:pt x="260" y="582"/>
                  <a:pt x="261" y="582"/>
                  <a:pt x="261" y="581"/>
                </a:cubicBezTo>
                <a:cubicBezTo>
                  <a:pt x="261" y="581"/>
                  <a:pt x="262" y="581"/>
                  <a:pt x="262" y="581"/>
                </a:cubicBezTo>
                <a:cubicBezTo>
                  <a:pt x="263" y="581"/>
                  <a:pt x="263" y="581"/>
                  <a:pt x="263" y="581"/>
                </a:cubicBezTo>
                <a:cubicBezTo>
                  <a:pt x="264" y="580"/>
                  <a:pt x="264" y="580"/>
                  <a:pt x="264" y="580"/>
                </a:cubicBezTo>
                <a:cubicBezTo>
                  <a:pt x="264" y="580"/>
                  <a:pt x="264" y="581"/>
                  <a:pt x="264" y="581"/>
                </a:cubicBezTo>
                <a:cubicBezTo>
                  <a:pt x="264" y="581"/>
                  <a:pt x="264" y="581"/>
                  <a:pt x="264" y="582"/>
                </a:cubicBezTo>
                <a:cubicBezTo>
                  <a:pt x="264" y="582"/>
                  <a:pt x="263" y="582"/>
                  <a:pt x="262" y="582"/>
                </a:cubicBezTo>
                <a:cubicBezTo>
                  <a:pt x="261" y="582"/>
                  <a:pt x="261" y="582"/>
                  <a:pt x="261" y="582"/>
                </a:cubicBezTo>
                <a:cubicBezTo>
                  <a:pt x="260" y="582"/>
                  <a:pt x="260" y="583"/>
                  <a:pt x="260" y="583"/>
                </a:cubicBezTo>
                <a:cubicBezTo>
                  <a:pt x="260" y="583"/>
                  <a:pt x="259" y="583"/>
                  <a:pt x="259" y="583"/>
                </a:cubicBezTo>
                <a:cubicBezTo>
                  <a:pt x="258" y="584"/>
                  <a:pt x="259" y="584"/>
                  <a:pt x="259" y="584"/>
                </a:cubicBezTo>
                <a:cubicBezTo>
                  <a:pt x="260" y="584"/>
                  <a:pt x="260" y="585"/>
                  <a:pt x="259" y="585"/>
                </a:cubicBezTo>
                <a:cubicBezTo>
                  <a:pt x="259" y="585"/>
                  <a:pt x="259" y="585"/>
                  <a:pt x="259" y="584"/>
                </a:cubicBezTo>
                <a:cubicBezTo>
                  <a:pt x="258" y="584"/>
                  <a:pt x="258" y="584"/>
                  <a:pt x="258" y="585"/>
                </a:cubicBezTo>
                <a:cubicBezTo>
                  <a:pt x="258" y="585"/>
                  <a:pt x="258" y="585"/>
                  <a:pt x="258" y="586"/>
                </a:cubicBezTo>
                <a:cubicBezTo>
                  <a:pt x="258" y="586"/>
                  <a:pt x="258" y="586"/>
                  <a:pt x="258" y="586"/>
                </a:cubicBezTo>
                <a:cubicBezTo>
                  <a:pt x="258" y="587"/>
                  <a:pt x="258" y="587"/>
                  <a:pt x="258" y="587"/>
                </a:cubicBezTo>
                <a:cubicBezTo>
                  <a:pt x="259" y="587"/>
                  <a:pt x="259" y="588"/>
                  <a:pt x="259" y="588"/>
                </a:cubicBezTo>
                <a:cubicBezTo>
                  <a:pt x="258" y="589"/>
                  <a:pt x="258" y="589"/>
                  <a:pt x="257" y="589"/>
                </a:cubicBezTo>
                <a:cubicBezTo>
                  <a:pt x="256" y="589"/>
                  <a:pt x="257" y="591"/>
                  <a:pt x="256" y="592"/>
                </a:cubicBezTo>
                <a:cubicBezTo>
                  <a:pt x="256" y="592"/>
                  <a:pt x="256" y="593"/>
                  <a:pt x="256" y="593"/>
                </a:cubicBezTo>
                <a:cubicBezTo>
                  <a:pt x="256" y="594"/>
                  <a:pt x="257" y="594"/>
                  <a:pt x="257" y="594"/>
                </a:cubicBezTo>
                <a:cubicBezTo>
                  <a:pt x="257" y="594"/>
                  <a:pt x="257" y="595"/>
                  <a:pt x="257" y="595"/>
                </a:cubicBezTo>
                <a:cubicBezTo>
                  <a:pt x="257" y="596"/>
                  <a:pt x="258" y="595"/>
                  <a:pt x="258" y="595"/>
                </a:cubicBezTo>
                <a:cubicBezTo>
                  <a:pt x="258" y="594"/>
                  <a:pt x="258" y="593"/>
                  <a:pt x="259" y="592"/>
                </a:cubicBezTo>
                <a:cubicBezTo>
                  <a:pt x="259" y="592"/>
                  <a:pt x="259" y="592"/>
                  <a:pt x="259" y="591"/>
                </a:cubicBezTo>
                <a:cubicBezTo>
                  <a:pt x="260" y="591"/>
                  <a:pt x="260" y="591"/>
                  <a:pt x="260" y="591"/>
                </a:cubicBezTo>
                <a:cubicBezTo>
                  <a:pt x="260" y="590"/>
                  <a:pt x="260" y="590"/>
                  <a:pt x="260" y="590"/>
                </a:cubicBezTo>
                <a:cubicBezTo>
                  <a:pt x="261" y="589"/>
                  <a:pt x="261" y="590"/>
                  <a:pt x="261" y="590"/>
                </a:cubicBezTo>
                <a:cubicBezTo>
                  <a:pt x="262" y="590"/>
                  <a:pt x="262" y="590"/>
                  <a:pt x="262" y="590"/>
                </a:cubicBezTo>
                <a:cubicBezTo>
                  <a:pt x="262" y="590"/>
                  <a:pt x="263" y="589"/>
                  <a:pt x="263" y="590"/>
                </a:cubicBezTo>
                <a:cubicBezTo>
                  <a:pt x="263" y="590"/>
                  <a:pt x="263" y="590"/>
                  <a:pt x="263" y="590"/>
                </a:cubicBezTo>
                <a:cubicBezTo>
                  <a:pt x="262" y="591"/>
                  <a:pt x="262" y="591"/>
                  <a:pt x="262" y="591"/>
                </a:cubicBezTo>
                <a:cubicBezTo>
                  <a:pt x="262" y="591"/>
                  <a:pt x="262" y="591"/>
                  <a:pt x="262" y="591"/>
                </a:cubicBezTo>
                <a:cubicBezTo>
                  <a:pt x="262" y="592"/>
                  <a:pt x="262" y="591"/>
                  <a:pt x="262" y="592"/>
                </a:cubicBezTo>
                <a:cubicBezTo>
                  <a:pt x="262" y="593"/>
                  <a:pt x="263" y="593"/>
                  <a:pt x="263" y="592"/>
                </a:cubicBezTo>
                <a:cubicBezTo>
                  <a:pt x="263" y="592"/>
                  <a:pt x="263" y="591"/>
                  <a:pt x="264" y="592"/>
                </a:cubicBezTo>
                <a:cubicBezTo>
                  <a:pt x="264" y="592"/>
                  <a:pt x="264" y="592"/>
                  <a:pt x="264" y="593"/>
                </a:cubicBezTo>
                <a:cubicBezTo>
                  <a:pt x="264" y="593"/>
                  <a:pt x="264" y="593"/>
                  <a:pt x="264" y="593"/>
                </a:cubicBezTo>
                <a:cubicBezTo>
                  <a:pt x="264" y="593"/>
                  <a:pt x="264" y="594"/>
                  <a:pt x="264" y="594"/>
                </a:cubicBezTo>
                <a:cubicBezTo>
                  <a:pt x="265" y="594"/>
                  <a:pt x="265" y="594"/>
                  <a:pt x="265" y="593"/>
                </a:cubicBezTo>
                <a:cubicBezTo>
                  <a:pt x="265" y="593"/>
                  <a:pt x="265" y="593"/>
                  <a:pt x="266" y="592"/>
                </a:cubicBezTo>
                <a:cubicBezTo>
                  <a:pt x="266" y="592"/>
                  <a:pt x="266" y="592"/>
                  <a:pt x="266" y="592"/>
                </a:cubicBezTo>
                <a:cubicBezTo>
                  <a:pt x="266" y="591"/>
                  <a:pt x="266" y="591"/>
                  <a:pt x="266" y="591"/>
                </a:cubicBezTo>
                <a:cubicBezTo>
                  <a:pt x="266" y="590"/>
                  <a:pt x="267" y="590"/>
                  <a:pt x="267" y="590"/>
                </a:cubicBezTo>
                <a:cubicBezTo>
                  <a:pt x="267" y="589"/>
                  <a:pt x="267" y="589"/>
                  <a:pt x="267" y="588"/>
                </a:cubicBezTo>
                <a:cubicBezTo>
                  <a:pt x="267" y="588"/>
                  <a:pt x="267" y="588"/>
                  <a:pt x="266" y="587"/>
                </a:cubicBezTo>
                <a:cubicBezTo>
                  <a:pt x="266" y="587"/>
                  <a:pt x="266" y="587"/>
                  <a:pt x="266" y="586"/>
                </a:cubicBezTo>
                <a:cubicBezTo>
                  <a:pt x="266" y="586"/>
                  <a:pt x="266" y="586"/>
                  <a:pt x="266" y="585"/>
                </a:cubicBezTo>
                <a:cubicBezTo>
                  <a:pt x="266" y="584"/>
                  <a:pt x="266" y="584"/>
                  <a:pt x="265" y="583"/>
                </a:cubicBezTo>
                <a:cubicBezTo>
                  <a:pt x="264" y="583"/>
                  <a:pt x="264" y="583"/>
                  <a:pt x="265" y="583"/>
                </a:cubicBezTo>
                <a:cubicBezTo>
                  <a:pt x="265" y="583"/>
                  <a:pt x="265" y="583"/>
                  <a:pt x="266" y="583"/>
                </a:cubicBezTo>
                <a:cubicBezTo>
                  <a:pt x="266" y="584"/>
                  <a:pt x="266" y="584"/>
                  <a:pt x="266" y="584"/>
                </a:cubicBezTo>
                <a:cubicBezTo>
                  <a:pt x="266" y="585"/>
                  <a:pt x="266" y="585"/>
                  <a:pt x="266" y="585"/>
                </a:cubicBezTo>
                <a:cubicBezTo>
                  <a:pt x="267" y="586"/>
                  <a:pt x="267" y="586"/>
                  <a:pt x="267" y="586"/>
                </a:cubicBezTo>
                <a:cubicBezTo>
                  <a:pt x="267" y="587"/>
                  <a:pt x="267" y="587"/>
                  <a:pt x="267" y="587"/>
                </a:cubicBezTo>
                <a:cubicBezTo>
                  <a:pt x="267" y="588"/>
                  <a:pt x="267" y="588"/>
                  <a:pt x="267" y="589"/>
                </a:cubicBezTo>
                <a:cubicBezTo>
                  <a:pt x="267" y="590"/>
                  <a:pt x="267" y="590"/>
                  <a:pt x="267" y="591"/>
                </a:cubicBezTo>
                <a:cubicBezTo>
                  <a:pt x="267" y="592"/>
                  <a:pt x="268" y="592"/>
                  <a:pt x="268" y="593"/>
                </a:cubicBezTo>
                <a:cubicBezTo>
                  <a:pt x="267" y="593"/>
                  <a:pt x="267" y="593"/>
                  <a:pt x="267" y="593"/>
                </a:cubicBezTo>
                <a:cubicBezTo>
                  <a:pt x="267" y="593"/>
                  <a:pt x="267" y="593"/>
                  <a:pt x="267" y="593"/>
                </a:cubicBezTo>
                <a:cubicBezTo>
                  <a:pt x="266" y="593"/>
                  <a:pt x="266" y="593"/>
                  <a:pt x="266" y="593"/>
                </a:cubicBezTo>
                <a:cubicBezTo>
                  <a:pt x="265" y="594"/>
                  <a:pt x="265" y="595"/>
                  <a:pt x="266" y="595"/>
                </a:cubicBezTo>
                <a:cubicBezTo>
                  <a:pt x="266" y="596"/>
                  <a:pt x="266" y="596"/>
                  <a:pt x="266" y="596"/>
                </a:cubicBezTo>
                <a:cubicBezTo>
                  <a:pt x="266" y="597"/>
                  <a:pt x="266" y="597"/>
                  <a:pt x="266" y="597"/>
                </a:cubicBezTo>
                <a:cubicBezTo>
                  <a:pt x="266" y="597"/>
                  <a:pt x="266" y="598"/>
                  <a:pt x="266" y="598"/>
                </a:cubicBezTo>
                <a:cubicBezTo>
                  <a:pt x="267" y="598"/>
                  <a:pt x="266" y="598"/>
                  <a:pt x="267" y="599"/>
                </a:cubicBezTo>
                <a:cubicBezTo>
                  <a:pt x="267" y="599"/>
                  <a:pt x="267" y="599"/>
                  <a:pt x="267" y="599"/>
                </a:cubicBezTo>
                <a:cubicBezTo>
                  <a:pt x="267" y="599"/>
                  <a:pt x="267" y="600"/>
                  <a:pt x="268" y="601"/>
                </a:cubicBezTo>
                <a:cubicBezTo>
                  <a:pt x="268" y="601"/>
                  <a:pt x="268" y="601"/>
                  <a:pt x="268" y="601"/>
                </a:cubicBezTo>
                <a:cubicBezTo>
                  <a:pt x="269" y="601"/>
                  <a:pt x="269" y="601"/>
                  <a:pt x="270" y="601"/>
                </a:cubicBezTo>
                <a:cubicBezTo>
                  <a:pt x="270" y="601"/>
                  <a:pt x="271" y="600"/>
                  <a:pt x="272" y="600"/>
                </a:cubicBezTo>
                <a:cubicBezTo>
                  <a:pt x="272" y="599"/>
                  <a:pt x="272" y="599"/>
                  <a:pt x="273" y="598"/>
                </a:cubicBezTo>
                <a:cubicBezTo>
                  <a:pt x="273" y="598"/>
                  <a:pt x="274" y="598"/>
                  <a:pt x="274" y="598"/>
                </a:cubicBezTo>
                <a:cubicBezTo>
                  <a:pt x="274" y="597"/>
                  <a:pt x="274" y="597"/>
                  <a:pt x="274" y="597"/>
                </a:cubicBezTo>
                <a:cubicBezTo>
                  <a:pt x="274" y="596"/>
                  <a:pt x="275" y="596"/>
                  <a:pt x="275" y="596"/>
                </a:cubicBezTo>
                <a:cubicBezTo>
                  <a:pt x="276" y="597"/>
                  <a:pt x="275" y="597"/>
                  <a:pt x="276" y="597"/>
                </a:cubicBezTo>
                <a:cubicBezTo>
                  <a:pt x="276" y="598"/>
                  <a:pt x="276" y="597"/>
                  <a:pt x="277" y="597"/>
                </a:cubicBezTo>
                <a:cubicBezTo>
                  <a:pt x="277" y="597"/>
                  <a:pt x="277" y="597"/>
                  <a:pt x="277" y="597"/>
                </a:cubicBezTo>
                <a:cubicBezTo>
                  <a:pt x="278" y="597"/>
                  <a:pt x="278" y="597"/>
                  <a:pt x="278" y="597"/>
                </a:cubicBezTo>
                <a:cubicBezTo>
                  <a:pt x="279" y="599"/>
                  <a:pt x="276" y="597"/>
                  <a:pt x="276" y="599"/>
                </a:cubicBezTo>
                <a:cubicBezTo>
                  <a:pt x="276" y="599"/>
                  <a:pt x="276" y="600"/>
                  <a:pt x="276" y="600"/>
                </a:cubicBezTo>
                <a:cubicBezTo>
                  <a:pt x="276" y="600"/>
                  <a:pt x="275" y="600"/>
                  <a:pt x="275" y="600"/>
                </a:cubicBezTo>
                <a:cubicBezTo>
                  <a:pt x="275" y="601"/>
                  <a:pt x="276" y="602"/>
                  <a:pt x="275" y="602"/>
                </a:cubicBezTo>
                <a:cubicBezTo>
                  <a:pt x="274" y="602"/>
                  <a:pt x="274" y="601"/>
                  <a:pt x="273" y="602"/>
                </a:cubicBezTo>
                <a:cubicBezTo>
                  <a:pt x="273" y="604"/>
                  <a:pt x="274" y="604"/>
                  <a:pt x="275" y="604"/>
                </a:cubicBezTo>
                <a:cubicBezTo>
                  <a:pt x="275" y="604"/>
                  <a:pt x="275" y="604"/>
                  <a:pt x="276" y="605"/>
                </a:cubicBezTo>
                <a:cubicBezTo>
                  <a:pt x="276" y="605"/>
                  <a:pt x="277" y="604"/>
                  <a:pt x="277" y="605"/>
                </a:cubicBezTo>
                <a:cubicBezTo>
                  <a:pt x="277" y="605"/>
                  <a:pt x="276" y="606"/>
                  <a:pt x="276" y="606"/>
                </a:cubicBezTo>
                <a:cubicBezTo>
                  <a:pt x="276" y="606"/>
                  <a:pt x="277" y="607"/>
                  <a:pt x="276" y="607"/>
                </a:cubicBezTo>
                <a:cubicBezTo>
                  <a:pt x="276" y="607"/>
                  <a:pt x="276" y="607"/>
                  <a:pt x="276" y="607"/>
                </a:cubicBezTo>
                <a:cubicBezTo>
                  <a:pt x="276" y="607"/>
                  <a:pt x="276" y="606"/>
                  <a:pt x="276" y="606"/>
                </a:cubicBezTo>
                <a:cubicBezTo>
                  <a:pt x="276" y="606"/>
                  <a:pt x="275" y="606"/>
                  <a:pt x="275" y="605"/>
                </a:cubicBezTo>
                <a:cubicBezTo>
                  <a:pt x="275" y="605"/>
                  <a:pt x="275" y="605"/>
                  <a:pt x="274" y="605"/>
                </a:cubicBezTo>
                <a:cubicBezTo>
                  <a:pt x="274" y="604"/>
                  <a:pt x="274" y="604"/>
                  <a:pt x="273" y="604"/>
                </a:cubicBezTo>
                <a:cubicBezTo>
                  <a:pt x="273" y="603"/>
                  <a:pt x="273" y="603"/>
                  <a:pt x="273" y="603"/>
                </a:cubicBezTo>
                <a:cubicBezTo>
                  <a:pt x="272" y="603"/>
                  <a:pt x="272" y="604"/>
                  <a:pt x="272" y="604"/>
                </a:cubicBezTo>
                <a:cubicBezTo>
                  <a:pt x="272" y="605"/>
                  <a:pt x="272" y="606"/>
                  <a:pt x="272" y="607"/>
                </a:cubicBezTo>
                <a:cubicBezTo>
                  <a:pt x="272" y="607"/>
                  <a:pt x="272" y="607"/>
                  <a:pt x="272" y="607"/>
                </a:cubicBezTo>
                <a:cubicBezTo>
                  <a:pt x="273" y="608"/>
                  <a:pt x="274" y="607"/>
                  <a:pt x="275" y="607"/>
                </a:cubicBezTo>
                <a:cubicBezTo>
                  <a:pt x="276" y="608"/>
                  <a:pt x="274" y="609"/>
                  <a:pt x="274" y="609"/>
                </a:cubicBezTo>
                <a:cubicBezTo>
                  <a:pt x="274" y="610"/>
                  <a:pt x="275" y="610"/>
                  <a:pt x="275" y="610"/>
                </a:cubicBezTo>
                <a:cubicBezTo>
                  <a:pt x="276" y="610"/>
                  <a:pt x="276" y="610"/>
                  <a:pt x="276" y="610"/>
                </a:cubicBezTo>
                <a:cubicBezTo>
                  <a:pt x="277" y="610"/>
                  <a:pt x="277" y="610"/>
                  <a:pt x="277" y="610"/>
                </a:cubicBezTo>
                <a:cubicBezTo>
                  <a:pt x="278" y="610"/>
                  <a:pt x="278" y="610"/>
                  <a:pt x="278" y="610"/>
                </a:cubicBezTo>
                <a:cubicBezTo>
                  <a:pt x="278" y="611"/>
                  <a:pt x="278" y="611"/>
                  <a:pt x="278" y="611"/>
                </a:cubicBezTo>
                <a:cubicBezTo>
                  <a:pt x="277" y="610"/>
                  <a:pt x="276" y="611"/>
                  <a:pt x="276" y="612"/>
                </a:cubicBezTo>
                <a:cubicBezTo>
                  <a:pt x="276" y="612"/>
                  <a:pt x="276" y="612"/>
                  <a:pt x="276" y="613"/>
                </a:cubicBezTo>
                <a:cubicBezTo>
                  <a:pt x="276" y="613"/>
                  <a:pt x="277" y="613"/>
                  <a:pt x="277" y="614"/>
                </a:cubicBezTo>
                <a:cubicBezTo>
                  <a:pt x="277" y="615"/>
                  <a:pt x="276" y="615"/>
                  <a:pt x="275" y="615"/>
                </a:cubicBezTo>
                <a:cubicBezTo>
                  <a:pt x="274" y="614"/>
                  <a:pt x="275" y="615"/>
                  <a:pt x="274" y="616"/>
                </a:cubicBezTo>
                <a:cubicBezTo>
                  <a:pt x="274" y="616"/>
                  <a:pt x="274" y="616"/>
                  <a:pt x="274" y="617"/>
                </a:cubicBezTo>
                <a:cubicBezTo>
                  <a:pt x="273" y="617"/>
                  <a:pt x="273" y="617"/>
                  <a:pt x="273" y="618"/>
                </a:cubicBezTo>
                <a:cubicBezTo>
                  <a:pt x="273" y="618"/>
                  <a:pt x="273" y="618"/>
                  <a:pt x="272" y="618"/>
                </a:cubicBezTo>
                <a:cubicBezTo>
                  <a:pt x="272" y="618"/>
                  <a:pt x="271" y="618"/>
                  <a:pt x="272" y="619"/>
                </a:cubicBezTo>
                <a:cubicBezTo>
                  <a:pt x="272" y="619"/>
                  <a:pt x="272" y="619"/>
                  <a:pt x="272" y="619"/>
                </a:cubicBezTo>
                <a:cubicBezTo>
                  <a:pt x="273" y="620"/>
                  <a:pt x="273" y="620"/>
                  <a:pt x="273" y="620"/>
                </a:cubicBezTo>
                <a:cubicBezTo>
                  <a:pt x="274" y="621"/>
                  <a:pt x="274" y="621"/>
                  <a:pt x="274" y="621"/>
                </a:cubicBezTo>
                <a:cubicBezTo>
                  <a:pt x="274" y="622"/>
                  <a:pt x="275" y="622"/>
                  <a:pt x="275" y="622"/>
                </a:cubicBezTo>
                <a:cubicBezTo>
                  <a:pt x="275" y="623"/>
                  <a:pt x="275" y="623"/>
                  <a:pt x="276" y="623"/>
                </a:cubicBezTo>
                <a:cubicBezTo>
                  <a:pt x="276" y="623"/>
                  <a:pt x="276" y="624"/>
                  <a:pt x="277" y="624"/>
                </a:cubicBezTo>
                <a:cubicBezTo>
                  <a:pt x="278" y="624"/>
                  <a:pt x="278" y="626"/>
                  <a:pt x="280" y="626"/>
                </a:cubicBezTo>
                <a:cubicBezTo>
                  <a:pt x="281" y="626"/>
                  <a:pt x="280" y="624"/>
                  <a:pt x="279" y="623"/>
                </a:cubicBezTo>
                <a:cubicBezTo>
                  <a:pt x="279" y="623"/>
                  <a:pt x="279" y="623"/>
                  <a:pt x="278" y="622"/>
                </a:cubicBezTo>
                <a:cubicBezTo>
                  <a:pt x="278" y="622"/>
                  <a:pt x="278" y="622"/>
                  <a:pt x="278" y="621"/>
                </a:cubicBezTo>
                <a:cubicBezTo>
                  <a:pt x="277" y="621"/>
                  <a:pt x="276" y="621"/>
                  <a:pt x="276" y="620"/>
                </a:cubicBezTo>
                <a:cubicBezTo>
                  <a:pt x="276" y="620"/>
                  <a:pt x="276" y="619"/>
                  <a:pt x="276" y="619"/>
                </a:cubicBezTo>
                <a:cubicBezTo>
                  <a:pt x="276" y="619"/>
                  <a:pt x="276" y="618"/>
                  <a:pt x="275" y="618"/>
                </a:cubicBezTo>
                <a:cubicBezTo>
                  <a:pt x="275" y="618"/>
                  <a:pt x="275" y="617"/>
                  <a:pt x="276" y="617"/>
                </a:cubicBezTo>
                <a:cubicBezTo>
                  <a:pt x="276" y="618"/>
                  <a:pt x="276" y="618"/>
                  <a:pt x="277" y="618"/>
                </a:cubicBezTo>
                <a:cubicBezTo>
                  <a:pt x="277" y="619"/>
                  <a:pt x="277" y="619"/>
                  <a:pt x="277" y="619"/>
                </a:cubicBezTo>
                <a:cubicBezTo>
                  <a:pt x="278" y="620"/>
                  <a:pt x="278" y="619"/>
                  <a:pt x="278" y="619"/>
                </a:cubicBezTo>
                <a:cubicBezTo>
                  <a:pt x="279" y="619"/>
                  <a:pt x="279" y="620"/>
                  <a:pt x="279" y="621"/>
                </a:cubicBezTo>
                <a:cubicBezTo>
                  <a:pt x="279" y="621"/>
                  <a:pt x="280" y="623"/>
                  <a:pt x="280" y="623"/>
                </a:cubicBezTo>
                <a:cubicBezTo>
                  <a:pt x="281" y="623"/>
                  <a:pt x="281" y="623"/>
                  <a:pt x="281" y="624"/>
                </a:cubicBezTo>
                <a:cubicBezTo>
                  <a:pt x="282" y="624"/>
                  <a:pt x="282" y="624"/>
                  <a:pt x="282" y="625"/>
                </a:cubicBezTo>
                <a:cubicBezTo>
                  <a:pt x="282" y="625"/>
                  <a:pt x="282" y="625"/>
                  <a:pt x="283" y="625"/>
                </a:cubicBezTo>
                <a:cubicBezTo>
                  <a:pt x="283" y="625"/>
                  <a:pt x="283" y="624"/>
                  <a:pt x="283" y="624"/>
                </a:cubicBezTo>
                <a:cubicBezTo>
                  <a:pt x="283" y="623"/>
                  <a:pt x="284" y="623"/>
                  <a:pt x="284" y="622"/>
                </a:cubicBezTo>
                <a:cubicBezTo>
                  <a:pt x="283" y="621"/>
                  <a:pt x="283" y="620"/>
                  <a:pt x="282" y="620"/>
                </a:cubicBezTo>
                <a:cubicBezTo>
                  <a:pt x="282" y="619"/>
                  <a:pt x="281" y="619"/>
                  <a:pt x="281" y="618"/>
                </a:cubicBezTo>
                <a:cubicBezTo>
                  <a:pt x="282" y="618"/>
                  <a:pt x="282" y="618"/>
                  <a:pt x="283" y="619"/>
                </a:cubicBezTo>
                <a:cubicBezTo>
                  <a:pt x="283" y="619"/>
                  <a:pt x="284" y="620"/>
                  <a:pt x="284" y="620"/>
                </a:cubicBezTo>
                <a:cubicBezTo>
                  <a:pt x="284" y="620"/>
                  <a:pt x="285" y="620"/>
                  <a:pt x="285" y="620"/>
                </a:cubicBezTo>
                <a:cubicBezTo>
                  <a:pt x="286" y="621"/>
                  <a:pt x="286" y="621"/>
                  <a:pt x="286" y="621"/>
                </a:cubicBezTo>
                <a:cubicBezTo>
                  <a:pt x="286" y="622"/>
                  <a:pt x="286" y="622"/>
                  <a:pt x="287" y="622"/>
                </a:cubicBezTo>
                <a:cubicBezTo>
                  <a:pt x="287" y="622"/>
                  <a:pt x="287" y="621"/>
                  <a:pt x="287" y="620"/>
                </a:cubicBezTo>
                <a:cubicBezTo>
                  <a:pt x="287" y="620"/>
                  <a:pt x="287" y="622"/>
                  <a:pt x="287" y="622"/>
                </a:cubicBezTo>
                <a:cubicBezTo>
                  <a:pt x="288" y="622"/>
                  <a:pt x="288" y="621"/>
                  <a:pt x="288" y="621"/>
                </a:cubicBezTo>
                <a:cubicBezTo>
                  <a:pt x="289" y="620"/>
                  <a:pt x="289" y="620"/>
                  <a:pt x="289" y="620"/>
                </a:cubicBezTo>
                <a:cubicBezTo>
                  <a:pt x="290" y="619"/>
                  <a:pt x="289" y="619"/>
                  <a:pt x="290" y="619"/>
                </a:cubicBezTo>
                <a:cubicBezTo>
                  <a:pt x="290" y="618"/>
                  <a:pt x="290" y="618"/>
                  <a:pt x="290" y="618"/>
                </a:cubicBezTo>
                <a:cubicBezTo>
                  <a:pt x="290" y="617"/>
                  <a:pt x="289" y="618"/>
                  <a:pt x="288" y="618"/>
                </a:cubicBezTo>
                <a:cubicBezTo>
                  <a:pt x="288" y="618"/>
                  <a:pt x="287" y="618"/>
                  <a:pt x="287" y="618"/>
                </a:cubicBezTo>
                <a:cubicBezTo>
                  <a:pt x="287" y="617"/>
                  <a:pt x="288" y="618"/>
                  <a:pt x="288" y="617"/>
                </a:cubicBezTo>
                <a:cubicBezTo>
                  <a:pt x="288" y="617"/>
                  <a:pt x="288" y="616"/>
                  <a:pt x="289" y="616"/>
                </a:cubicBezTo>
                <a:cubicBezTo>
                  <a:pt x="289" y="616"/>
                  <a:pt x="289" y="617"/>
                  <a:pt x="289" y="616"/>
                </a:cubicBezTo>
                <a:cubicBezTo>
                  <a:pt x="289" y="616"/>
                  <a:pt x="289" y="615"/>
                  <a:pt x="290" y="615"/>
                </a:cubicBezTo>
                <a:cubicBezTo>
                  <a:pt x="290" y="615"/>
                  <a:pt x="290" y="615"/>
                  <a:pt x="290" y="615"/>
                </a:cubicBezTo>
                <a:cubicBezTo>
                  <a:pt x="291" y="615"/>
                  <a:pt x="291" y="615"/>
                  <a:pt x="291" y="615"/>
                </a:cubicBezTo>
                <a:cubicBezTo>
                  <a:pt x="292" y="614"/>
                  <a:pt x="292" y="613"/>
                  <a:pt x="293" y="613"/>
                </a:cubicBezTo>
                <a:cubicBezTo>
                  <a:pt x="294" y="612"/>
                  <a:pt x="293" y="614"/>
                  <a:pt x="293" y="614"/>
                </a:cubicBezTo>
                <a:cubicBezTo>
                  <a:pt x="292" y="614"/>
                  <a:pt x="292" y="614"/>
                  <a:pt x="292" y="615"/>
                </a:cubicBezTo>
                <a:cubicBezTo>
                  <a:pt x="292" y="615"/>
                  <a:pt x="293" y="615"/>
                  <a:pt x="293" y="615"/>
                </a:cubicBezTo>
                <a:cubicBezTo>
                  <a:pt x="293" y="615"/>
                  <a:pt x="292" y="616"/>
                  <a:pt x="291" y="616"/>
                </a:cubicBezTo>
                <a:cubicBezTo>
                  <a:pt x="291" y="617"/>
                  <a:pt x="291" y="618"/>
                  <a:pt x="291" y="619"/>
                </a:cubicBezTo>
                <a:cubicBezTo>
                  <a:pt x="291" y="620"/>
                  <a:pt x="292" y="620"/>
                  <a:pt x="293" y="620"/>
                </a:cubicBezTo>
                <a:cubicBezTo>
                  <a:pt x="293" y="621"/>
                  <a:pt x="293" y="621"/>
                  <a:pt x="294" y="621"/>
                </a:cubicBezTo>
                <a:cubicBezTo>
                  <a:pt x="294" y="621"/>
                  <a:pt x="294" y="621"/>
                  <a:pt x="294" y="621"/>
                </a:cubicBezTo>
                <a:cubicBezTo>
                  <a:pt x="295" y="622"/>
                  <a:pt x="296" y="621"/>
                  <a:pt x="297" y="621"/>
                </a:cubicBezTo>
                <a:cubicBezTo>
                  <a:pt x="297" y="621"/>
                  <a:pt x="298" y="621"/>
                  <a:pt x="298" y="622"/>
                </a:cubicBezTo>
                <a:cubicBezTo>
                  <a:pt x="298" y="622"/>
                  <a:pt x="298" y="621"/>
                  <a:pt x="297" y="621"/>
                </a:cubicBezTo>
                <a:cubicBezTo>
                  <a:pt x="296" y="621"/>
                  <a:pt x="296" y="622"/>
                  <a:pt x="295" y="622"/>
                </a:cubicBezTo>
                <a:cubicBezTo>
                  <a:pt x="294" y="622"/>
                  <a:pt x="294" y="622"/>
                  <a:pt x="293" y="621"/>
                </a:cubicBezTo>
                <a:cubicBezTo>
                  <a:pt x="293" y="621"/>
                  <a:pt x="292" y="621"/>
                  <a:pt x="291" y="621"/>
                </a:cubicBezTo>
                <a:cubicBezTo>
                  <a:pt x="291" y="620"/>
                  <a:pt x="290" y="619"/>
                  <a:pt x="289" y="620"/>
                </a:cubicBezTo>
                <a:cubicBezTo>
                  <a:pt x="289" y="621"/>
                  <a:pt x="290" y="621"/>
                  <a:pt x="290" y="622"/>
                </a:cubicBezTo>
                <a:cubicBezTo>
                  <a:pt x="290" y="622"/>
                  <a:pt x="290" y="622"/>
                  <a:pt x="290" y="623"/>
                </a:cubicBezTo>
                <a:cubicBezTo>
                  <a:pt x="290" y="624"/>
                  <a:pt x="291" y="624"/>
                  <a:pt x="291" y="624"/>
                </a:cubicBezTo>
                <a:cubicBezTo>
                  <a:pt x="291" y="624"/>
                  <a:pt x="292" y="625"/>
                  <a:pt x="291" y="625"/>
                </a:cubicBezTo>
                <a:cubicBezTo>
                  <a:pt x="291" y="624"/>
                  <a:pt x="291" y="624"/>
                  <a:pt x="290" y="624"/>
                </a:cubicBezTo>
                <a:cubicBezTo>
                  <a:pt x="290" y="624"/>
                  <a:pt x="289" y="624"/>
                  <a:pt x="289" y="624"/>
                </a:cubicBezTo>
                <a:cubicBezTo>
                  <a:pt x="289" y="624"/>
                  <a:pt x="288" y="624"/>
                  <a:pt x="288" y="624"/>
                </a:cubicBezTo>
                <a:cubicBezTo>
                  <a:pt x="288" y="625"/>
                  <a:pt x="288" y="626"/>
                  <a:pt x="288" y="627"/>
                </a:cubicBezTo>
                <a:cubicBezTo>
                  <a:pt x="288" y="628"/>
                  <a:pt x="287" y="628"/>
                  <a:pt x="287" y="629"/>
                </a:cubicBezTo>
                <a:cubicBezTo>
                  <a:pt x="287" y="630"/>
                  <a:pt x="288" y="630"/>
                  <a:pt x="288" y="631"/>
                </a:cubicBezTo>
                <a:cubicBezTo>
                  <a:pt x="288" y="631"/>
                  <a:pt x="287" y="631"/>
                  <a:pt x="288" y="632"/>
                </a:cubicBezTo>
                <a:cubicBezTo>
                  <a:pt x="288" y="632"/>
                  <a:pt x="288" y="632"/>
                  <a:pt x="288" y="633"/>
                </a:cubicBezTo>
                <a:cubicBezTo>
                  <a:pt x="289" y="633"/>
                  <a:pt x="289" y="634"/>
                  <a:pt x="290" y="634"/>
                </a:cubicBezTo>
                <a:cubicBezTo>
                  <a:pt x="290" y="634"/>
                  <a:pt x="291" y="634"/>
                  <a:pt x="291" y="633"/>
                </a:cubicBezTo>
                <a:cubicBezTo>
                  <a:pt x="292" y="633"/>
                  <a:pt x="292" y="633"/>
                  <a:pt x="292" y="634"/>
                </a:cubicBezTo>
                <a:cubicBezTo>
                  <a:pt x="293" y="634"/>
                  <a:pt x="293" y="634"/>
                  <a:pt x="293" y="634"/>
                </a:cubicBezTo>
                <a:cubicBezTo>
                  <a:pt x="293" y="634"/>
                  <a:pt x="293" y="634"/>
                  <a:pt x="293" y="634"/>
                </a:cubicBezTo>
                <a:cubicBezTo>
                  <a:pt x="292" y="635"/>
                  <a:pt x="292" y="635"/>
                  <a:pt x="292" y="635"/>
                </a:cubicBezTo>
                <a:cubicBezTo>
                  <a:pt x="292" y="635"/>
                  <a:pt x="291" y="635"/>
                  <a:pt x="291" y="636"/>
                </a:cubicBezTo>
                <a:cubicBezTo>
                  <a:pt x="291" y="636"/>
                  <a:pt x="292" y="636"/>
                  <a:pt x="292" y="636"/>
                </a:cubicBezTo>
                <a:cubicBezTo>
                  <a:pt x="292" y="636"/>
                  <a:pt x="293" y="636"/>
                  <a:pt x="293" y="637"/>
                </a:cubicBezTo>
                <a:cubicBezTo>
                  <a:pt x="293" y="637"/>
                  <a:pt x="293" y="637"/>
                  <a:pt x="294" y="637"/>
                </a:cubicBezTo>
                <a:cubicBezTo>
                  <a:pt x="294" y="637"/>
                  <a:pt x="294" y="637"/>
                  <a:pt x="294" y="637"/>
                </a:cubicBezTo>
                <a:cubicBezTo>
                  <a:pt x="295" y="638"/>
                  <a:pt x="294" y="636"/>
                  <a:pt x="294" y="635"/>
                </a:cubicBezTo>
                <a:cubicBezTo>
                  <a:pt x="294" y="635"/>
                  <a:pt x="295" y="635"/>
                  <a:pt x="295" y="634"/>
                </a:cubicBezTo>
                <a:cubicBezTo>
                  <a:pt x="295" y="634"/>
                  <a:pt x="294" y="634"/>
                  <a:pt x="294" y="633"/>
                </a:cubicBezTo>
                <a:cubicBezTo>
                  <a:pt x="294" y="633"/>
                  <a:pt x="294" y="633"/>
                  <a:pt x="294" y="632"/>
                </a:cubicBezTo>
                <a:cubicBezTo>
                  <a:pt x="294" y="632"/>
                  <a:pt x="294" y="631"/>
                  <a:pt x="294" y="631"/>
                </a:cubicBezTo>
                <a:cubicBezTo>
                  <a:pt x="294" y="631"/>
                  <a:pt x="294" y="630"/>
                  <a:pt x="295" y="630"/>
                </a:cubicBezTo>
                <a:cubicBezTo>
                  <a:pt x="295" y="631"/>
                  <a:pt x="295" y="631"/>
                  <a:pt x="295" y="631"/>
                </a:cubicBezTo>
                <a:cubicBezTo>
                  <a:pt x="296" y="632"/>
                  <a:pt x="296" y="631"/>
                  <a:pt x="296" y="631"/>
                </a:cubicBezTo>
                <a:cubicBezTo>
                  <a:pt x="296" y="631"/>
                  <a:pt x="297" y="631"/>
                  <a:pt x="297" y="631"/>
                </a:cubicBezTo>
                <a:cubicBezTo>
                  <a:pt x="298" y="632"/>
                  <a:pt x="298" y="631"/>
                  <a:pt x="298" y="631"/>
                </a:cubicBezTo>
                <a:cubicBezTo>
                  <a:pt x="299" y="631"/>
                  <a:pt x="299" y="631"/>
                  <a:pt x="298" y="632"/>
                </a:cubicBezTo>
                <a:cubicBezTo>
                  <a:pt x="298" y="632"/>
                  <a:pt x="298" y="633"/>
                  <a:pt x="298" y="634"/>
                </a:cubicBezTo>
                <a:cubicBezTo>
                  <a:pt x="297" y="635"/>
                  <a:pt x="298" y="635"/>
                  <a:pt x="298" y="636"/>
                </a:cubicBezTo>
                <a:cubicBezTo>
                  <a:pt x="297" y="636"/>
                  <a:pt x="297" y="637"/>
                  <a:pt x="297" y="637"/>
                </a:cubicBezTo>
                <a:cubicBezTo>
                  <a:pt x="297" y="637"/>
                  <a:pt x="297" y="636"/>
                  <a:pt x="297" y="636"/>
                </a:cubicBezTo>
                <a:cubicBezTo>
                  <a:pt x="297" y="635"/>
                  <a:pt x="297" y="634"/>
                  <a:pt x="297" y="634"/>
                </a:cubicBezTo>
                <a:cubicBezTo>
                  <a:pt x="297" y="633"/>
                  <a:pt x="297" y="633"/>
                  <a:pt x="296" y="633"/>
                </a:cubicBezTo>
                <a:cubicBezTo>
                  <a:pt x="296" y="633"/>
                  <a:pt x="296" y="633"/>
                  <a:pt x="296" y="633"/>
                </a:cubicBezTo>
                <a:cubicBezTo>
                  <a:pt x="296" y="632"/>
                  <a:pt x="296" y="632"/>
                  <a:pt x="296" y="632"/>
                </a:cubicBezTo>
                <a:cubicBezTo>
                  <a:pt x="296" y="632"/>
                  <a:pt x="296" y="633"/>
                  <a:pt x="296" y="633"/>
                </a:cubicBezTo>
                <a:cubicBezTo>
                  <a:pt x="296" y="634"/>
                  <a:pt x="295" y="634"/>
                  <a:pt x="295" y="634"/>
                </a:cubicBezTo>
                <a:cubicBezTo>
                  <a:pt x="295" y="635"/>
                  <a:pt x="296" y="635"/>
                  <a:pt x="296" y="636"/>
                </a:cubicBezTo>
                <a:cubicBezTo>
                  <a:pt x="296" y="636"/>
                  <a:pt x="295" y="637"/>
                  <a:pt x="295" y="637"/>
                </a:cubicBezTo>
                <a:cubicBezTo>
                  <a:pt x="295" y="638"/>
                  <a:pt x="296" y="638"/>
                  <a:pt x="296" y="638"/>
                </a:cubicBezTo>
                <a:cubicBezTo>
                  <a:pt x="296" y="639"/>
                  <a:pt x="295" y="639"/>
                  <a:pt x="296" y="639"/>
                </a:cubicBezTo>
                <a:cubicBezTo>
                  <a:pt x="296" y="639"/>
                  <a:pt x="297" y="639"/>
                  <a:pt x="297" y="639"/>
                </a:cubicBezTo>
                <a:cubicBezTo>
                  <a:pt x="297" y="639"/>
                  <a:pt x="297" y="639"/>
                  <a:pt x="298" y="638"/>
                </a:cubicBezTo>
                <a:cubicBezTo>
                  <a:pt x="298" y="638"/>
                  <a:pt x="298" y="638"/>
                  <a:pt x="299" y="638"/>
                </a:cubicBezTo>
                <a:cubicBezTo>
                  <a:pt x="299" y="637"/>
                  <a:pt x="299" y="637"/>
                  <a:pt x="299" y="637"/>
                </a:cubicBezTo>
                <a:cubicBezTo>
                  <a:pt x="299" y="636"/>
                  <a:pt x="299" y="636"/>
                  <a:pt x="300" y="636"/>
                </a:cubicBezTo>
                <a:cubicBezTo>
                  <a:pt x="300" y="637"/>
                  <a:pt x="299" y="637"/>
                  <a:pt x="299" y="637"/>
                </a:cubicBezTo>
                <a:cubicBezTo>
                  <a:pt x="299" y="637"/>
                  <a:pt x="299" y="637"/>
                  <a:pt x="299" y="637"/>
                </a:cubicBezTo>
                <a:cubicBezTo>
                  <a:pt x="300" y="638"/>
                  <a:pt x="300" y="638"/>
                  <a:pt x="300" y="638"/>
                </a:cubicBezTo>
                <a:cubicBezTo>
                  <a:pt x="301" y="639"/>
                  <a:pt x="301" y="638"/>
                  <a:pt x="302" y="638"/>
                </a:cubicBezTo>
                <a:cubicBezTo>
                  <a:pt x="302" y="638"/>
                  <a:pt x="302" y="638"/>
                  <a:pt x="302" y="638"/>
                </a:cubicBezTo>
                <a:cubicBezTo>
                  <a:pt x="301" y="639"/>
                  <a:pt x="301" y="639"/>
                  <a:pt x="301" y="639"/>
                </a:cubicBezTo>
                <a:cubicBezTo>
                  <a:pt x="301" y="639"/>
                  <a:pt x="301" y="640"/>
                  <a:pt x="301" y="640"/>
                </a:cubicBezTo>
                <a:cubicBezTo>
                  <a:pt x="301" y="640"/>
                  <a:pt x="301" y="640"/>
                  <a:pt x="302" y="640"/>
                </a:cubicBezTo>
                <a:cubicBezTo>
                  <a:pt x="302" y="641"/>
                  <a:pt x="303" y="639"/>
                  <a:pt x="303" y="639"/>
                </a:cubicBezTo>
                <a:cubicBezTo>
                  <a:pt x="303" y="639"/>
                  <a:pt x="303" y="639"/>
                  <a:pt x="304" y="639"/>
                </a:cubicBezTo>
                <a:cubicBezTo>
                  <a:pt x="304" y="639"/>
                  <a:pt x="304" y="639"/>
                  <a:pt x="304" y="640"/>
                </a:cubicBezTo>
                <a:cubicBezTo>
                  <a:pt x="304" y="640"/>
                  <a:pt x="303" y="640"/>
                  <a:pt x="303" y="640"/>
                </a:cubicBezTo>
                <a:cubicBezTo>
                  <a:pt x="303" y="640"/>
                  <a:pt x="303" y="640"/>
                  <a:pt x="303" y="640"/>
                </a:cubicBezTo>
                <a:cubicBezTo>
                  <a:pt x="303" y="641"/>
                  <a:pt x="302" y="641"/>
                  <a:pt x="302" y="641"/>
                </a:cubicBezTo>
                <a:cubicBezTo>
                  <a:pt x="302" y="641"/>
                  <a:pt x="301" y="643"/>
                  <a:pt x="301" y="643"/>
                </a:cubicBezTo>
                <a:cubicBezTo>
                  <a:pt x="302" y="644"/>
                  <a:pt x="302" y="644"/>
                  <a:pt x="302" y="644"/>
                </a:cubicBezTo>
                <a:cubicBezTo>
                  <a:pt x="302" y="645"/>
                  <a:pt x="302" y="645"/>
                  <a:pt x="302" y="645"/>
                </a:cubicBezTo>
                <a:cubicBezTo>
                  <a:pt x="301" y="646"/>
                  <a:pt x="302" y="647"/>
                  <a:pt x="301" y="648"/>
                </a:cubicBezTo>
                <a:cubicBezTo>
                  <a:pt x="301" y="648"/>
                  <a:pt x="301" y="649"/>
                  <a:pt x="302" y="650"/>
                </a:cubicBezTo>
                <a:cubicBezTo>
                  <a:pt x="302" y="650"/>
                  <a:pt x="302" y="650"/>
                  <a:pt x="302" y="651"/>
                </a:cubicBezTo>
                <a:cubicBezTo>
                  <a:pt x="303" y="651"/>
                  <a:pt x="303" y="651"/>
                  <a:pt x="303" y="652"/>
                </a:cubicBezTo>
                <a:cubicBezTo>
                  <a:pt x="304" y="652"/>
                  <a:pt x="305" y="651"/>
                  <a:pt x="305" y="651"/>
                </a:cubicBezTo>
                <a:cubicBezTo>
                  <a:pt x="305" y="651"/>
                  <a:pt x="304" y="653"/>
                  <a:pt x="303" y="653"/>
                </a:cubicBezTo>
                <a:cubicBezTo>
                  <a:pt x="303" y="653"/>
                  <a:pt x="302" y="653"/>
                  <a:pt x="302" y="654"/>
                </a:cubicBezTo>
                <a:cubicBezTo>
                  <a:pt x="303" y="654"/>
                  <a:pt x="304" y="654"/>
                  <a:pt x="304" y="654"/>
                </a:cubicBezTo>
                <a:cubicBezTo>
                  <a:pt x="305" y="654"/>
                  <a:pt x="306" y="654"/>
                  <a:pt x="306" y="654"/>
                </a:cubicBezTo>
                <a:cubicBezTo>
                  <a:pt x="306" y="655"/>
                  <a:pt x="305" y="655"/>
                  <a:pt x="304" y="655"/>
                </a:cubicBezTo>
                <a:cubicBezTo>
                  <a:pt x="304" y="655"/>
                  <a:pt x="303" y="655"/>
                  <a:pt x="303" y="655"/>
                </a:cubicBezTo>
                <a:cubicBezTo>
                  <a:pt x="301" y="656"/>
                  <a:pt x="303" y="656"/>
                  <a:pt x="304" y="657"/>
                </a:cubicBezTo>
                <a:cubicBezTo>
                  <a:pt x="304" y="657"/>
                  <a:pt x="304" y="657"/>
                  <a:pt x="305" y="657"/>
                </a:cubicBezTo>
                <a:cubicBezTo>
                  <a:pt x="305" y="657"/>
                  <a:pt x="305" y="657"/>
                  <a:pt x="305" y="658"/>
                </a:cubicBezTo>
                <a:cubicBezTo>
                  <a:pt x="305" y="658"/>
                  <a:pt x="305" y="658"/>
                  <a:pt x="305" y="659"/>
                </a:cubicBezTo>
                <a:cubicBezTo>
                  <a:pt x="306" y="659"/>
                  <a:pt x="306" y="659"/>
                  <a:pt x="306" y="659"/>
                </a:cubicBezTo>
                <a:cubicBezTo>
                  <a:pt x="307" y="659"/>
                  <a:pt x="308" y="660"/>
                  <a:pt x="308" y="660"/>
                </a:cubicBezTo>
                <a:cubicBezTo>
                  <a:pt x="309" y="660"/>
                  <a:pt x="309" y="660"/>
                  <a:pt x="310" y="660"/>
                </a:cubicBezTo>
                <a:cubicBezTo>
                  <a:pt x="310" y="660"/>
                  <a:pt x="311" y="661"/>
                  <a:pt x="311" y="661"/>
                </a:cubicBezTo>
                <a:cubicBezTo>
                  <a:pt x="312" y="661"/>
                  <a:pt x="312" y="660"/>
                  <a:pt x="312" y="660"/>
                </a:cubicBezTo>
                <a:cubicBezTo>
                  <a:pt x="313" y="660"/>
                  <a:pt x="313" y="660"/>
                  <a:pt x="314" y="660"/>
                </a:cubicBezTo>
                <a:cubicBezTo>
                  <a:pt x="314" y="660"/>
                  <a:pt x="314" y="660"/>
                  <a:pt x="315" y="660"/>
                </a:cubicBezTo>
                <a:cubicBezTo>
                  <a:pt x="315" y="661"/>
                  <a:pt x="315" y="661"/>
                  <a:pt x="316" y="661"/>
                </a:cubicBezTo>
                <a:cubicBezTo>
                  <a:pt x="316" y="661"/>
                  <a:pt x="316" y="661"/>
                  <a:pt x="317" y="661"/>
                </a:cubicBezTo>
                <a:cubicBezTo>
                  <a:pt x="317" y="661"/>
                  <a:pt x="317" y="661"/>
                  <a:pt x="318" y="661"/>
                </a:cubicBezTo>
                <a:cubicBezTo>
                  <a:pt x="318" y="661"/>
                  <a:pt x="319" y="661"/>
                  <a:pt x="319" y="661"/>
                </a:cubicBezTo>
                <a:cubicBezTo>
                  <a:pt x="319" y="661"/>
                  <a:pt x="320" y="661"/>
                  <a:pt x="320" y="661"/>
                </a:cubicBezTo>
                <a:cubicBezTo>
                  <a:pt x="321" y="661"/>
                  <a:pt x="321" y="661"/>
                  <a:pt x="321" y="661"/>
                </a:cubicBezTo>
                <a:cubicBezTo>
                  <a:pt x="322" y="661"/>
                  <a:pt x="322" y="662"/>
                  <a:pt x="322" y="663"/>
                </a:cubicBezTo>
                <a:cubicBezTo>
                  <a:pt x="321" y="663"/>
                  <a:pt x="321" y="663"/>
                  <a:pt x="321" y="663"/>
                </a:cubicBezTo>
                <a:cubicBezTo>
                  <a:pt x="321" y="664"/>
                  <a:pt x="321" y="664"/>
                  <a:pt x="321" y="664"/>
                </a:cubicBezTo>
                <a:cubicBezTo>
                  <a:pt x="321" y="664"/>
                  <a:pt x="321" y="664"/>
                  <a:pt x="321" y="664"/>
                </a:cubicBezTo>
                <a:cubicBezTo>
                  <a:pt x="321" y="664"/>
                  <a:pt x="322" y="664"/>
                  <a:pt x="322" y="664"/>
                </a:cubicBezTo>
                <a:cubicBezTo>
                  <a:pt x="322" y="665"/>
                  <a:pt x="321" y="665"/>
                  <a:pt x="320" y="666"/>
                </a:cubicBezTo>
                <a:cubicBezTo>
                  <a:pt x="319" y="667"/>
                  <a:pt x="321" y="666"/>
                  <a:pt x="321" y="666"/>
                </a:cubicBezTo>
                <a:cubicBezTo>
                  <a:pt x="322" y="666"/>
                  <a:pt x="322" y="667"/>
                  <a:pt x="322" y="667"/>
                </a:cubicBezTo>
                <a:cubicBezTo>
                  <a:pt x="322" y="667"/>
                  <a:pt x="323" y="667"/>
                  <a:pt x="323" y="667"/>
                </a:cubicBezTo>
                <a:cubicBezTo>
                  <a:pt x="324" y="666"/>
                  <a:pt x="325" y="666"/>
                  <a:pt x="326" y="666"/>
                </a:cubicBezTo>
                <a:cubicBezTo>
                  <a:pt x="326" y="666"/>
                  <a:pt x="327" y="666"/>
                  <a:pt x="327" y="667"/>
                </a:cubicBezTo>
                <a:cubicBezTo>
                  <a:pt x="328" y="668"/>
                  <a:pt x="327" y="666"/>
                  <a:pt x="328" y="665"/>
                </a:cubicBezTo>
                <a:cubicBezTo>
                  <a:pt x="328" y="665"/>
                  <a:pt x="328" y="667"/>
                  <a:pt x="328" y="667"/>
                </a:cubicBezTo>
                <a:cubicBezTo>
                  <a:pt x="329" y="667"/>
                  <a:pt x="329" y="667"/>
                  <a:pt x="330" y="666"/>
                </a:cubicBezTo>
                <a:cubicBezTo>
                  <a:pt x="330" y="666"/>
                  <a:pt x="331" y="666"/>
                  <a:pt x="331" y="666"/>
                </a:cubicBezTo>
                <a:cubicBezTo>
                  <a:pt x="331" y="667"/>
                  <a:pt x="332" y="667"/>
                  <a:pt x="332" y="667"/>
                </a:cubicBezTo>
                <a:cubicBezTo>
                  <a:pt x="332" y="667"/>
                  <a:pt x="332" y="667"/>
                  <a:pt x="332" y="667"/>
                </a:cubicBezTo>
                <a:cubicBezTo>
                  <a:pt x="333" y="667"/>
                  <a:pt x="333" y="667"/>
                  <a:pt x="334" y="667"/>
                </a:cubicBezTo>
                <a:cubicBezTo>
                  <a:pt x="334" y="666"/>
                  <a:pt x="334" y="666"/>
                  <a:pt x="335" y="665"/>
                </a:cubicBezTo>
                <a:cubicBezTo>
                  <a:pt x="335" y="665"/>
                  <a:pt x="335" y="666"/>
                  <a:pt x="335" y="666"/>
                </a:cubicBezTo>
                <a:cubicBezTo>
                  <a:pt x="334" y="666"/>
                  <a:pt x="334" y="667"/>
                  <a:pt x="334" y="667"/>
                </a:cubicBezTo>
                <a:cubicBezTo>
                  <a:pt x="334" y="667"/>
                  <a:pt x="334" y="668"/>
                  <a:pt x="334" y="668"/>
                </a:cubicBezTo>
                <a:cubicBezTo>
                  <a:pt x="334" y="669"/>
                  <a:pt x="334" y="669"/>
                  <a:pt x="334" y="669"/>
                </a:cubicBezTo>
                <a:cubicBezTo>
                  <a:pt x="335" y="668"/>
                  <a:pt x="335" y="668"/>
                  <a:pt x="335" y="668"/>
                </a:cubicBezTo>
                <a:cubicBezTo>
                  <a:pt x="336" y="668"/>
                  <a:pt x="336" y="668"/>
                  <a:pt x="336" y="669"/>
                </a:cubicBezTo>
                <a:cubicBezTo>
                  <a:pt x="337" y="669"/>
                  <a:pt x="338" y="669"/>
                  <a:pt x="338" y="669"/>
                </a:cubicBezTo>
                <a:cubicBezTo>
                  <a:pt x="338" y="669"/>
                  <a:pt x="338" y="669"/>
                  <a:pt x="338" y="670"/>
                </a:cubicBezTo>
                <a:cubicBezTo>
                  <a:pt x="338" y="670"/>
                  <a:pt x="338" y="670"/>
                  <a:pt x="338" y="670"/>
                </a:cubicBezTo>
                <a:cubicBezTo>
                  <a:pt x="338" y="671"/>
                  <a:pt x="338" y="671"/>
                  <a:pt x="338" y="672"/>
                </a:cubicBezTo>
                <a:cubicBezTo>
                  <a:pt x="338" y="672"/>
                  <a:pt x="338" y="672"/>
                  <a:pt x="338" y="673"/>
                </a:cubicBezTo>
                <a:cubicBezTo>
                  <a:pt x="338" y="674"/>
                  <a:pt x="337" y="673"/>
                  <a:pt x="337" y="673"/>
                </a:cubicBezTo>
                <a:cubicBezTo>
                  <a:pt x="336" y="674"/>
                  <a:pt x="338" y="674"/>
                  <a:pt x="338" y="674"/>
                </a:cubicBezTo>
                <a:cubicBezTo>
                  <a:pt x="338" y="674"/>
                  <a:pt x="338" y="675"/>
                  <a:pt x="338" y="675"/>
                </a:cubicBezTo>
                <a:cubicBezTo>
                  <a:pt x="338" y="675"/>
                  <a:pt x="338" y="675"/>
                  <a:pt x="339" y="675"/>
                </a:cubicBezTo>
                <a:cubicBezTo>
                  <a:pt x="339" y="675"/>
                  <a:pt x="340" y="675"/>
                  <a:pt x="340" y="675"/>
                </a:cubicBezTo>
                <a:cubicBezTo>
                  <a:pt x="340" y="676"/>
                  <a:pt x="340" y="676"/>
                  <a:pt x="341" y="676"/>
                </a:cubicBezTo>
                <a:cubicBezTo>
                  <a:pt x="341" y="676"/>
                  <a:pt x="341" y="676"/>
                  <a:pt x="342" y="676"/>
                </a:cubicBezTo>
                <a:cubicBezTo>
                  <a:pt x="342" y="676"/>
                  <a:pt x="343" y="677"/>
                  <a:pt x="344" y="677"/>
                </a:cubicBezTo>
                <a:cubicBezTo>
                  <a:pt x="344" y="677"/>
                  <a:pt x="345" y="677"/>
                  <a:pt x="345" y="677"/>
                </a:cubicBezTo>
                <a:cubicBezTo>
                  <a:pt x="345" y="676"/>
                  <a:pt x="345" y="676"/>
                  <a:pt x="345" y="676"/>
                </a:cubicBezTo>
                <a:cubicBezTo>
                  <a:pt x="345" y="675"/>
                  <a:pt x="346" y="675"/>
                  <a:pt x="346" y="675"/>
                </a:cubicBezTo>
                <a:cubicBezTo>
                  <a:pt x="346" y="676"/>
                  <a:pt x="347" y="676"/>
                  <a:pt x="347" y="676"/>
                </a:cubicBezTo>
                <a:cubicBezTo>
                  <a:pt x="347" y="677"/>
                  <a:pt x="347" y="677"/>
                  <a:pt x="347" y="678"/>
                </a:cubicBezTo>
                <a:cubicBezTo>
                  <a:pt x="347" y="678"/>
                  <a:pt x="348" y="678"/>
                  <a:pt x="348" y="678"/>
                </a:cubicBezTo>
                <a:cubicBezTo>
                  <a:pt x="348" y="678"/>
                  <a:pt x="349" y="678"/>
                  <a:pt x="349" y="678"/>
                </a:cubicBezTo>
                <a:cubicBezTo>
                  <a:pt x="350" y="679"/>
                  <a:pt x="349" y="679"/>
                  <a:pt x="349" y="679"/>
                </a:cubicBezTo>
                <a:cubicBezTo>
                  <a:pt x="349" y="679"/>
                  <a:pt x="349" y="680"/>
                  <a:pt x="349" y="680"/>
                </a:cubicBezTo>
                <a:cubicBezTo>
                  <a:pt x="349" y="680"/>
                  <a:pt x="349" y="680"/>
                  <a:pt x="348" y="680"/>
                </a:cubicBezTo>
                <a:cubicBezTo>
                  <a:pt x="348" y="680"/>
                  <a:pt x="348" y="681"/>
                  <a:pt x="349" y="681"/>
                </a:cubicBezTo>
                <a:cubicBezTo>
                  <a:pt x="349" y="681"/>
                  <a:pt x="349" y="681"/>
                  <a:pt x="349" y="681"/>
                </a:cubicBezTo>
                <a:cubicBezTo>
                  <a:pt x="349" y="682"/>
                  <a:pt x="349" y="682"/>
                  <a:pt x="349" y="682"/>
                </a:cubicBezTo>
                <a:cubicBezTo>
                  <a:pt x="350" y="682"/>
                  <a:pt x="350" y="682"/>
                  <a:pt x="350" y="682"/>
                </a:cubicBezTo>
                <a:cubicBezTo>
                  <a:pt x="351" y="682"/>
                  <a:pt x="351" y="683"/>
                  <a:pt x="351" y="683"/>
                </a:cubicBezTo>
                <a:cubicBezTo>
                  <a:pt x="351" y="683"/>
                  <a:pt x="352" y="683"/>
                  <a:pt x="352" y="682"/>
                </a:cubicBezTo>
                <a:cubicBezTo>
                  <a:pt x="352" y="682"/>
                  <a:pt x="352" y="681"/>
                  <a:pt x="353" y="680"/>
                </a:cubicBezTo>
                <a:cubicBezTo>
                  <a:pt x="354" y="680"/>
                  <a:pt x="354" y="681"/>
                  <a:pt x="354" y="680"/>
                </a:cubicBezTo>
                <a:cubicBezTo>
                  <a:pt x="354" y="680"/>
                  <a:pt x="354" y="679"/>
                  <a:pt x="355" y="679"/>
                </a:cubicBezTo>
                <a:cubicBezTo>
                  <a:pt x="355" y="679"/>
                  <a:pt x="355" y="681"/>
                  <a:pt x="354" y="681"/>
                </a:cubicBezTo>
                <a:cubicBezTo>
                  <a:pt x="354" y="681"/>
                  <a:pt x="354" y="682"/>
                  <a:pt x="354" y="682"/>
                </a:cubicBezTo>
                <a:cubicBezTo>
                  <a:pt x="354" y="682"/>
                  <a:pt x="354" y="682"/>
                  <a:pt x="354" y="682"/>
                </a:cubicBezTo>
                <a:cubicBezTo>
                  <a:pt x="354" y="683"/>
                  <a:pt x="354" y="683"/>
                  <a:pt x="354" y="683"/>
                </a:cubicBezTo>
                <a:cubicBezTo>
                  <a:pt x="355" y="683"/>
                  <a:pt x="355" y="683"/>
                  <a:pt x="355" y="683"/>
                </a:cubicBezTo>
                <a:cubicBezTo>
                  <a:pt x="355" y="684"/>
                  <a:pt x="356" y="684"/>
                  <a:pt x="355" y="685"/>
                </a:cubicBezTo>
                <a:cubicBezTo>
                  <a:pt x="355" y="685"/>
                  <a:pt x="355" y="684"/>
                  <a:pt x="355" y="685"/>
                </a:cubicBezTo>
                <a:cubicBezTo>
                  <a:pt x="355" y="685"/>
                  <a:pt x="355" y="685"/>
                  <a:pt x="355" y="685"/>
                </a:cubicBezTo>
                <a:cubicBezTo>
                  <a:pt x="355" y="685"/>
                  <a:pt x="355" y="686"/>
                  <a:pt x="356" y="686"/>
                </a:cubicBezTo>
                <a:cubicBezTo>
                  <a:pt x="356" y="686"/>
                  <a:pt x="356" y="686"/>
                  <a:pt x="357" y="687"/>
                </a:cubicBezTo>
                <a:cubicBezTo>
                  <a:pt x="357" y="687"/>
                  <a:pt x="356" y="688"/>
                  <a:pt x="356" y="689"/>
                </a:cubicBezTo>
                <a:cubicBezTo>
                  <a:pt x="357" y="689"/>
                  <a:pt x="358" y="688"/>
                  <a:pt x="358" y="688"/>
                </a:cubicBezTo>
                <a:cubicBezTo>
                  <a:pt x="359" y="688"/>
                  <a:pt x="359" y="688"/>
                  <a:pt x="359" y="689"/>
                </a:cubicBezTo>
                <a:cubicBezTo>
                  <a:pt x="360" y="689"/>
                  <a:pt x="359" y="691"/>
                  <a:pt x="361" y="691"/>
                </a:cubicBezTo>
                <a:cubicBezTo>
                  <a:pt x="361" y="691"/>
                  <a:pt x="361" y="692"/>
                  <a:pt x="361" y="692"/>
                </a:cubicBezTo>
                <a:cubicBezTo>
                  <a:pt x="361" y="693"/>
                  <a:pt x="361" y="693"/>
                  <a:pt x="362" y="693"/>
                </a:cubicBezTo>
                <a:cubicBezTo>
                  <a:pt x="362" y="693"/>
                  <a:pt x="362" y="692"/>
                  <a:pt x="362" y="692"/>
                </a:cubicBezTo>
                <a:cubicBezTo>
                  <a:pt x="363" y="693"/>
                  <a:pt x="363" y="693"/>
                  <a:pt x="363" y="693"/>
                </a:cubicBezTo>
                <a:cubicBezTo>
                  <a:pt x="363" y="694"/>
                  <a:pt x="363" y="694"/>
                  <a:pt x="363" y="694"/>
                </a:cubicBezTo>
                <a:cubicBezTo>
                  <a:pt x="364" y="695"/>
                  <a:pt x="363" y="695"/>
                  <a:pt x="363" y="695"/>
                </a:cubicBezTo>
                <a:cubicBezTo>
                  <a:pt x="363" y="696"/>
                  <a:pt x="363" y="696"/>
                  <a:pt x="363" y="697"/>
                </a:cubicBezTo>
                <a:cubicBezTo>
                  <a:pt x="363" y="697"/>
                  <a:pt x="363" y="697"/>
                  <a:pt x="362" y="697"/>
                </a:cubicBezTo>
                <a:cubicBezTo>
                  <a:pt x="362" y="697"/>
                  <a:pt x="361" y="697"/>
                  <a:pt x="361" y="698"/>
                </a:cubicBezTo>
                <a:cubicBezTo>
                  <a:pt x="361" y="698"/>
                  <a:pt x="361" y="698"/>
                  <a:pt x="361" y="699"/>
                </a:cubicBezTo>
                <a:cubicBezTo>
                  <a:pt x="360" y="699"/>
                  <a:pt x="360" y="699"/>
                  <a:pt x="360" y="700"/>
                </a:cubicBezTo>
                <a:cubicBezTo>
                  <a:pt x="360" y="700"/>
                  <a:pt x="360" y="700"/>
                  <a:pt x="360" y="700"/>
                </a:cubicBezTo>
                <a:cubicBezTo>
                  <a:pt x="361" y="701"/>
                  <a:pt x="361" y="701"/>
                  <a:pt x="361" y="701"/>
                </a:cubicBezTo>
                <a:cubicBezTo>
                  <a:pt x="361" y="701"/>
                  <a:pt x="362" y="702"/>
                  <a:pt x="362" y="702"/>
                </a:cubicBezTo>
                <a:cubicBezTo>
                  <a:pt x="362" y="702"/>
                  <a:pt x="362" y="703"/>
                  <a:pt x="362" y="703"/>
                </a:cubicBezTo>
                <a:cubicBezTo>
                  <a:pt x="362" y="703"/>
                  <a:pt x="362" y="704"/>
                  <a:pt x="363" y="704"/>
                </a:cubicBezTo>
                <a:cubicBezTo>
                  <a:pt x="363" y="703"/>
                  <a:pt x="363" y="703"/>
                  <a:pt x="363" y="703"/>
                </a:cubicBezTo>
                <a:cubicBezTo>
                  <a:pt x="363" y="702"/>
                  <a:pt x="363" y="702"/>
                  <a:pt x="363" y="702"/>
                </a:cubicBezTo>
                <a:cubicBezTo>
                  <a:pt x="362" y="701"/>
                  <a:pt x="362" y="701"/>
                  <a:pt x="362" y="701"/>
                </a:cubicBezTo>
                <a:cubicBezTo>
                  <a:pt x="362" y="701"/>
                  <a:pt x="361" y="700"/>
                  <a:pt x="361" y="700"/>
                </a:cubicBezTo>
                <a:cubicBezTo>
                  <a:pt x="361" y="699"/>
                  <a:pt x="362" y="700"/>
                  <a:pt x="362" y="699"/>
                </a:cubicBezTo>
                <a:cubicBezTo>
                  <a:pt x="363" y="699"/>
                  <a:pt x="363" y="698"/>
                  <a:pt x="364" y="698"/>
                </a:cubicBezTo>
                <a:cubicBezTo>
                  <a:pt x="364" y="699"/>
                  <a:pt x="364" y="699"/>
                  <a:pt x="364" y="700"/>
                </a:cubicBezTo>
                <a:cubicBezTo>
                  <a:pt x="364" y="701"/>
                  <a:pt x="364" y="701"/>
                  <a:pt x="364" y="702"/>
                </a:cubicBezTo>
                <a:cubicBezTo>
                  <a:pt x="365" y="702"/>
                  <a:pt x="365" y="702"/>
                  <a:pt x="365" y="702"/>
                </a:cubicBezTo>
                <a:cubicBezTo>
                  <a:pt x="366" y="702"/>
                  <a:pt x="366" y="703"/>
                  <a:pt x="366" y="703"/>
                </a:cubicBezTo>
                <a:cubicBezTo>
                  <a:pt x="366" y="704"/>
                  <a:pt x="365" y="704"/>
                  <a:pt x="365" y="704"/>
                </a:cubicBezTo>
                <a:cubicBezTo>
                  <a:pt x="365" y="704"/>
                  <a:pt x="365" y="705"/>
                  <a:pt x="365" y="705"/>
                </a:cubicBezTo>
                <a:cubicBezTo>
                  <a:pt x="364" y="706"/>
                  <a:pt x="364" y="706"/>
                  <a:pt x="364" y="706"/>
                </a:cubicBezTo>
                <a:cubicBezTo>
                  <a:pt x="364" y="707"/>
                  <a:pt x="365" y="707"/>
                  <a:pt x="364" y="707"/>
                </a:cubicBezTo>
                <a:cubicBezTo>
                  <a:pt x="364" y="708"/>
                  <a:pt x="364" y="708"/>
                  <a:pt x="364" y="708"/>
                </a:cubicBezTo>
                <a:cubicBezTo>
                  <a:pt x="364" y="708"/>
                  <a:pt x="365" y="708"/>
                  <a:pt x="365" y="709"/>
                </a:cubicBezTo>
                <a:cubicBezTo>
                  <a:pt x="365" y="709"/>
                  <a:pt x="364" y="710"/>
                  <a:pt x="364" y="710"/>
                </a:cubicBezTo>
                <a:cubicBezTo>
                  <a:pt x="364" y="710"/>
                  <a:pt x="365" y="711"/>
                  <a:pt x="365" y="711"/>
                </a:cubicBezTo>
                <a:cubicBezTo>
                  <a:pt x="365" y="711"/>
                  <a:pt x="365" y="712"/>
                  <a:pt x="365" y="712"/>
                </a:cubicBezTo>
                <a:cubicBezTo>
                  <a:pt x="364" y="713"/>
                  <a:pt x="364" y="714"/>
                  <a:pt x="363" y="714"/>
                </a:cubicBezTo>
                <a:cubicBezTo>
                  <a:pt x="363" y="714"/>
                  <a:pt x="362" y="714"/>
                  <a:pt x="362" y="715"/>
                </a:cubicBezTo>
                <a:cubicBezTo>
                  <a:pt x="362" y="715"/>
                  <a:pt x="362" y="715"/>
                  <a:pt x="361" y="715"/>
                </a:cubicBezTo>
                <a:cubicBezTo>
                  <a:pt x="361" y="716"/>
                  <a:pt x="360" y="715"/>
                  <a:pt x="359" y="716"/>
                </a:cubicBezTo>
                <a:cubicBezTo>
                  <a:pt x="359" y="716"/>
                  <a:pt x="359" y="717"/>
                  <a:pt x="358" y="717"/>
                </a:cubicBezTo>
                <a:cubicBezTo>
                  <a:pt x="358" y="716"/>
                  <a:pt x="358" y="716"/>
                  <a:pt x="358" y="716"/>
                </a:cubicBezTo>
                <a:cubicBezTo>
                  <a:pt x="358" y="715"/>
                  <a:pt x="358" y="714"/>
                  <a:pt x="359" y="713"/>
                </a:cubicBezTo>
                <a:cubicBezTo>
                  <a:pt x="359" y="713"/>
                  <a:pt x="359" y="713"/>
                  <a:pt x="359" y="713"/>
                </a:cubicBezTo>
                <a:cubicBezTo>
                  <a:pt x="360" y="713"/>
                  <a:pt x="359" y="714"/>
                  <a:pt x="359" y="714"/>
                </a:cubicBezTo>
                <a:cubicBezTo>
                  <a:pt x="360" y="715"/>
                  <a:pt x="360" y="715"/>
                  <a:pt x="360" y="714"/>
                </a:cubicBezTo>
                <a:cubicBezTo>
                  <a:pt x="360" y="714"/>
                  <a:pt x="360" y="714"/>
                  <a:pt x="361" y="713"/>
                </a:cubicBezTo>
                <a:cubicBezTo>
                  <a:pt x="361" y="713"/>
                  <a:pt x="361" y="713"/>
                  <a:pt x="362" y="713"/>
                </a:cubicBezTo>
                <a:cubicBezTo>
                  <a:pt x="362" y="713"/>
                  <a:pt x="362" y="712"/>
                  <a:pt x="362" y="712"/>
                </a:cubicBezTo>
                <a:cubicBezTo>
                  <a:pt x="363" y="712"/>
                  <a:pt x="363" y="711"/>
                  <a:pt x="363" y="710"/>
                </a:cubicBezTo>
                <a:cubicBezTo>
                  <a:pt x="362" y="710"/>
                  <a:pt x="362" y="710"/>
                  <a:pt x="362" y="709"/>
                </a:cubicBezTo>
                <a:cubicBezTo>
                  <a:pt x="362" y="709"/>
                  <a:pt x="362" y="709"/>
                  <a:pt x="362" y="708"/>
                </a:cubicBezTo>
                <a:cubicBezTo>
                  <a:pt x="362" y="708"/>
                  <a:pt x="362" y="707"/>
                  <a:pt x="362" y="707"/>
                </a:cubicBezTo>
                <a:cubicBezTo>
                  <a:pt x="362" y="707"/>
                  <a:pt x="362" y="707"/>
                  <a:pt x="363" y="707"/>
                </a:cubicBezTo>
                <a:cubicBezTo>
                  <a:pt x="363" y="707"/>
                  <a:pt x="363" y="707"/>
                  <a:pt x="363" y="707"/>
                </a:cubicBezTo>
                <a:cubicBezTo>
                  <a:pt x="364" y="707"/>
                  <a:pt x="363" y="706"/>
                  <a:pt x="363" y="705"/>
                </a:cubicBezTo>
                <a:cubicBezTo>
                  <a:pt x="363" y="705"/>
                  <a:pt x="363" y="704"/>
                  <a:pt x="363" y="704"/>
                </a:cubicBezTo>
                <a:cubicBezTo>
                  <a:pt x="362" y="704"/>
                  <a:pt x="362" y="705"/>
                  <a:pt x="362" y="705"/>
                </a:cubicBezTo>
                <a:cubicBezTo>
                  <a:pt x="362" y="706"/>
                  <a:pt x="362" y="706"/>
                  <a:pt x="361" y="706"/>
                </a:cubicBezTo>
                <a:cubicBezTo>
                  <a:pt x="361" y="706"/>
                  <a:pt x="361" y="707"/>
                  <a:pt x="361" y="707"/>
                </a:cubicBezTo>
                <a:cubicBezTo>
                  <a:pt x="361" y="707"/>
                  <a:pt x="361" y="706"/>
                  <a:pt x="361" y="706"/>
                </a:cubicBezTo>
                <a:cubicBezTo>
                  <a:pt x="361" y="705"/>
                  <a:pt x="361" y="705"/>
                  <a:pt x="362" y="705"/>
                </a:cubicBezTo>
                <a:cubicBezTo>
                  <a:pt x="362" y="704"/>
                  <a:pt x="361" y="704"/>
                  <a:pt x="361" y="704"/>
                </a:cubicBezTo>
                <a:cubicBezTo>
                  <a:pt x="361" y="704"/>
                  <a:pt x="360" y="703"/>
                  <a:pt x="360" y="702"/>
                </a:cubicBezTo>
                <a:cubicBezTo>
                  <a:pt x="360" y="702"/>
                  <a:pt x="360" y="701"/>
                  <a:pt x="359" y="702"/>
                </a:cubicBezTo>
                <a:cubicBezTo>
                  <a:pt x="359" y="702"/>
                  <a:pt x="360" y="703"/>
                  <a:pt x="359" y="703"/>
                </a:cubicBezTo>
                <a:cubicBezTo>
                  <a:pt x="359" y="703"/>
                  <a:pt x="358" y="703"/>
                  <a:pt x="358" y="703"/>
                </a:cubicBezTo>
                <a:cubicBezTo>
                  <a:pt x="358" y="703"/>
                  <a:pt x="357" y="702"/>
                  <a:pt x="357" y="702"/>
                </a:cubicBezTo>
                <a:cubicBezTo>
                  <a:pt x="357" y="701"/>
                  <a:pt x="357" y="701"/>
                  <a:pt x="356" y="701"/>
                </a:cubicBezTo>
                <a:cubicBezTo>
                  <a:pt x="355" y="701"/>
                  <a:pt x="354" y="701"/>
                  <a:pt x="353" y="701"/>
                </a:cubicBezTo>
                <a:cubicBezTo>
                  <a:pt x="352" y="701"/>
                  <a:pt x="352" y="701"/>
                  <a:pt x="351" y="701"/>
                </a:cubicBezTo>
                <a:cubicBezTo>
                  <a:pt x="350" y="701"/>
                  <a:pt x="349" y="701"/>
                  <a:pt x="348" y="701"/>
                </a:cubicBezTo>
                <a:cubicBezTo>
                  <a:pt x="348" y="701"/>
                  <a:pt x="348" y="700"/>
                  <a:pt x="347" y="700"/>
                </a:cubicBezTo>
                <a:cubicBezTo>
                  <a:pt x="347" y="700"/>
                  <a:pt x="347" y="700"/>
                  <a:pt x="346" y="700"/>
                </a:cubicBezTo>
                <a:cubicBezTo>
                  <a:pt x="345" y="700"/>
                  <a:pt x="345" y="700"/>
                  <a:pt x="344" y="700"/>
                </a:cubicBezTo>
                <a:cubicBezTo>
                  <a:pt x="343" y="699"/>
                  <a:pt x="343" y="699"/>
                  <a:pt x="342" y="699"/>
                </a:cubicBezTo>
                <a:cubicBezTo>
                  <a:pt x="341" y="698"/>
                  <a:pt x="340" y="699"/>
                  <a:pt x="340" y="698"/>
                </a:cubicBezTo>
                <a:cubicBezTo>
                  <a:pt x="339" y="698"/>
                  <a:pt x="338" y="697"/>
                  <a:pt x="338" y="698"/>
                </a:cubicBezTo>
                <a:cubicBezTo>
                  <a:pt x="337" y="698"/>
                  <a:pt x="338" y="699"/>
                  <a:pt x="338" y="700"/>
                </a:cubicBezTo>
                <a:cubicBezTo>
                  <a:pt x="338" y="701"/>
                  <a:pt x="338" y="703"/>
                  <a:pt x="338" y="704"/>
                </a:cubicBezTo>
                <a:cubicBezTo>
                  <a:pt x="339" y="704"/>
                  <a:pt x="339" y="705"/>
                  <a:pt x="339" y="705"/>
                </a:cubicBezTo>
                <a:cubicBezTo>
                  <a:pt x="339" y="706"/>
                  <a:pt x="340" y="706"/>
                  <a:pt x="340" y="707"/>
                </a:cubicBezTo>
                <a:cubicBezTo>
                  <a:pt x="340" y="707"/>
                  <a:pt x="340" y="708"/>
                  <a:pt x="341" y="708"/>
                </a:cubicBezTo>
                <a:cubicBezTo>
                  <a:pt x="341" y="709"/>
                  <a:pt x="341" y="709"/>
                  <a:pt x="341" y="710"/>
                </a:cubicBezTo>
                <a:cubicBezTo>
                  <a:pt x="342" y="710"/>
                  <a:pt x="342" y="711"/>
                  <a:pt x="342" y="711"/>
                </a:cubicBezTo>
                <a:cubicBezTo>
                  <a:pt x="342" y="712"/>
                  <a:pt x="343" y="712"/>
                  <a:pt x="343" y="713"/>
                </a:cubicBezTo>
                <a:cubicBezTo>
                  <a:pt x="343" y="714"/>
                  <a:pt x="343" y="714"/>
                  <a:pt x="344" y="715"/>
                </a:cubicBezTo>
                <a:cubicBezTo>
                  <a:pt x="344" y="716"/>
                  <a:pt x="344" y="717"/>
                  <a:pt x="344" y="718"/>
                </a:cubicBezTo>
                <a:cubicBezTo>
                  <a:pt x="344" y="718"/>
                  <a:pt x="344" y="719"/>
                  <a:pt x="344" y="718"/>
                </a:cubicBezTo>
                <a:cubicBezTo>
                  <a:pt x="345" y="718"/>
                  <a:pt x="344" y="718"/>
                  <a:pt x="344" y="717"/>
                </a:cubicBezTo>
                <a:cubicBezTo>
                  <a:pt x="345" y="717"/>
                  <a:pt x="346" y="718"/>
                  <a:pt x="346" y="718"/>
                </a:cubicBezTo>
                <a:cubicBezTo>
                  <a:pt x="347" y="718"/>
                  <a:pt x="347" y="718"/>
                  <a:pt x="347" y="718"/>
                </a:cubicBezTo>
                <a:cubicBezTo>
                  <a:pt x="347" y="718"/>
                  <a:pt x="347" y="719"/>
                  <a:pt x="347" y="719"/>
                </a:cubicBezTo>
                <a:cubicBezTo>
                  <a:pt x="347" y="719"/>
                  <a:pt x="346" y="719"/>
                  <a:pt x="346" y="719"/>
                </a:cubicBezTo>
                <a:cubicBezTo>
                  <a:pt x="346" y="719"/>
                  <a:pt x="345" y="719"/>
                  <a:pt x="345" y="719"/>
                </a:cubicBezTo>
                <a:cubicBezTo>
                  <a:pt x="345" y="719"/>
                  <a:pt x="345" y="719"/>
                  <a:pt x="345" y="719"/>
                </a:cubicBezTo>
                <a:cubicBezTo>
                  <a:pt x="344" y="719"/>
                  <a:pt x="344" y="720"/>
                  <a:pt x="344" y="720"/>
                </a:cubicBezTo>
                <a:cubicBezTo>
                  <a:pt x="345" y="721"/>
                  <a:pt x="345" y="721"/>
                  <a:pt x="346" y="721"/>
                </a:cubicBezTo>
                <a:cubicBezTo>
                  <a:pt x="346" y="721"/>
                  <a:pt x="348" y="721"/>
                  <a:pt x="348" y="722"/>
                </a:cubicBezTo>
                <a:cubicBezTo>
                  <a:pt x="348" y="722"/>
                  <a:pt x="347" y="722"/>
                  <a:pt x="347" y="722"/>
                </a:cubicBezTo>
                <a:cubicBezTo>
                  <a:pt x="347" y="722"/>
                  <a:pt x="347" y="722"/>
                  <a:pt x="347" y="722"/>
                </a:cubicBezTo>
                <a:cubicBezTo>
                  <a:pt x="347" y="722"/>
                  <a:pt x="347" y="723"/>
                  <a:pt x="347" y="723"/>
                </a:cubicBezTo>
                <a:cubicBezTo>
                  <a:pt x="347" y="723"/>
                  <a:pt x="347" y="723"/>
                  <a:pt x="347" y="723"/>
                </a:cubicBezTo>
                <a:cubicBezTo>
                  <a:pt x="347" y="723"/>
                  <a:pt x="347" y="723"/>
                  <a:pt x="347" y="723"/>
                </a:cubicBezTo>
                <a:cubicBezTo>
                  <a:pt x="347" y="723"/>
                  <a:pt x="347" y="724"/>
                  <a:pt x="347" y="724"/>
                </a:cubicBezTo>
                <a:cubicBezTo>
                  <a:pt x="347" y="724"/>
                  <a:pt x="347" y="725"/>
                  <a:pt x="347" y="725"/>
                </a:cubicBezTo>
                <a:cubicBezTo>
                  <a:pt x="347" y="725"/>
                  <a:pt x="347" y="725"/>
                  <a:pt x="347" y="726"/>
                </a:cubicBezTo>
                <a:cubicBezTo>
                  <a:pt x="346" y="726"/>
                  <a:pt x="346" y="727"/>
                  <a:pt x="346" y="726"/>
                </a:cubicBezTo>
                <a:cubicBezTo>
                  <a:pt x="346" y="726"/>
                  <a:pt x="346" y="726"/>
                  <a:pt x="346" y="725"/>
                </a:cubicBezTo>
                <a:cubicBezTo>
                  <a:pt x="346" y="725"/>
                  <a:pt x="346" y="725"/>
                  <a:pt x="346" y="725"/>
                </a:cubicBezTo>
                <a:cubicBezTo>
                  <a:pt x="346" y="724"/>
                  <a:pt x="346" y="723"/>
                  <a:pt x="345" y="723"/>
                </a:cubicBezTo>
                <a:cubicBezTo>
                  <a:pt x="345" y="723"/>
                  <a:pt x="345" y="724"/>
                  <a:pt x="345" y="725"/>
                </a:cubicBezTo>
                <a:cubicBezTo>
                  <a:pt x="345" y="725"/>
                  <a:pt x="345" y="726"/>
                  <a:pt x="345" y="726"/>
                </a:cubicBezTo>
                <a:cubicBezTo>
                  <a:pt x="345" y="727"/>
                  <a:pt x="345" y="728"/>
                  <a:pt x="346" y="728"/>
                </a:cubicBezTo>
                <a:cubicBezTo>
                  <a:pt x="346" y="728"/>
                  <a:pt x="347" y="728"/>
                  <a:pt x="347" y="728"/>
                </a:cubicBezTo>
                <a:cubicBezTo>
                  <a:pt x="348" y="728"/>
                  <a:pt x="348" y="728"/>
                  <a:pt x="349" y="728"/>
                </a:cubicBezTo>
                <a:cubicBezTo>
                  <a:pt x="349" y="728"/>
                  <a:pt x="349" y="729"/>
                  <a:pt x="350" y="729"/>
                </a:cubicBezTo>
                <a:cubicBezTo>
                  <a:pt x="351" y="729"/>
                  <a:pt x="351" y="729"/>
                  <a:pt x="352" y="729"/>
                </a:cubicBezTo>
                <a:cubicBezTo>
                  <a:pt x="352" y="729"/>
                  <a:pt x="353" y="729"/>
                  <a:pt x="353" y="729"/>
                </a:cubicBezTo>
                <a:cubicBezTo>
                  <a:pt x="354" y="729"/>
                  <a:pt x="354" y="729"/>
                  <a:pt x="354" y="729"/>
                </a:cubicBezTo>
                <a:cubicBezTo>
                  <a:pt x="353" y="730"/>
                  <a:pt x="353" y="729"/>
                  <a:pt x="352" y="730"/>
                </a:cubicBezTo>
                <a:cubicBezTo>
                  <a:pt x="352" y="730"/>
                  <a:pt x="352" y="730"/>
                  <a:pt x="351" y="730"/>
                </a:cubicBezTo>
                <a:cubicBezTo>
                  <a:pt x="350" y="730"/>
                  <a:pt x="350" y="730"/>
                  <a:pt x="349" y="730"/>
                </a:cubicBezTo>
                <a:cubicBezTo>
                  <a:pt x="349" y="730"/>
                  <a:pt x="348" y="730"/>
                  <a:pt x="347" y="729"/>
                </a:cubicBezTo>
                <a:cubicBezTo>
                  <a:pt x="347" y="729"/>
                  <a:pt x="347" y="728"/>
                  <a:pt x="346" y="729"/>
                </a:cubicBezTo>
                <a:cubicBezTo>
                  <a:pt x="346" y="729"/>
                  <a:pt x="346" y="729"/>
                  <a:pt x="346" y="730"/>
                </a:cubicBezTo>
                <a:cubicBezTo>
                  <a:pt x="346" y="731"/>
                  <a:pt x="346" y="731"/>
                  <a:pt x="346" y="732"/>
                </a:cubicBezTo>
                <a:cubicBezTo>
                  <a:pt x="346" y="733"/>
                  <a:pt x="346" y="734"/>
                  <a:pt x="346" y="735"/>
                </a:cubicBezTo>
                <a:cubicBezTo>
                  <a:pt x="346" y="736"/>
                  <a:pt x="346" y="737"/>
                  <a:pt x="346" y="737"/>
                </a:cubicBezTo>
                <a:cubicBezTo>
                  <a:pt x="346" y="738"/>
                  <a:pt x="346" y="739"/>
                  <a:pt x="346" y="740"/>
                </a:cubicBezTo>
                <a:cubicBezTo>
                  <a:pt x="346" y="741"/>
                  <a:pt x="346" y="742"/>
                  <a:pt x="346" y="743"/>
                </a:cubicBezTo>
                <a:cubicBezTo>
                  <a:pt x="346" y="744"/>
                  <a:pt x="346" y="746"/>
                  <a:pt x="346" y="748"/>
                </a:cubicBezTo>
                <a:cubicBezTo>
                  <a:pt x="345" y="749"/>
                  <a:pt x="346" y="750"/>
                  <a:pt x="345" y="751"/>
                </a:cubicBezTo>
                <a:cubicBezTo>
                  <a:pt x="345" y="752"/>
                  <a:pt x="345" y="753"/>
                  <a:pt x="345" y="754"/>
                </a:cubicBezTo>
                <a:cubicBezTo>
                  <a:pt x="345" y="756"/>
                  <a:pt x="345" y="759"/>
                  <a:pt x="344" y="762"/>
                </a:cubicBezTo>
                <a:cubicBezTo>
                  <a:pt x="344" y="762"/>
                  <a:pt x="344" y="763"/>
                  <a:pt x="344" y="764"/>
                </a:cubicBezTo>
                <a:cubicBezTo>
                  <a:pt x="344" y="765"/>
                  <a:pt x="344" y="766"/>
                  <a:pt x="343" y="767"/>
                </a:cubicBezTo>
                <a:cubicBezTo>
                  <a:pt x="343" y="767"/>
                  <a:pt x="343" y="768"/>
                  <a:pt x="343" y="768"/>
                </a:cubicBezTo>
                <a:cubicBezTo>
                  <a:pt x="343" y="769"/>
                  <a:pt x="344" y="768"/>
                  <a:pt x="344" y="769"/>
                </a:cubicBezTo>
                <a:cubicBezTo>
                  <a:pt x="344" y="769"/>
                  <a:pt x="343" y="770"/>
                  <a:pt x="343" y="770"/>
                </a:cubicBezTo>
                <a:cubicBezTo>
                  <a:pt x="342" y="771"/>
                  <a:pt x="342" y="771"/>
                  <a:pt x="341" y="772"/>
                </a:cubicBezTo>
                <a:cubicBezTo>
                  <a:pt x="341" y="773"/>
                  <a:pt x="341" y="773"/>
                  <a:pt x="340" y="774"/>
                </a:cubicBezTo>
                <a:cubicBezTo>
                  <a:pt x="340" y="775"/>
                  <a:pt x="340" y="776"/>
                  <a:pt x="340" y="777"/>
                </a:cubicBezTo>
                <a:cubicBezTo>
                  <a:pt x="340" y="777"/>
                  <a:pt x="340" y="777"/>
                  <a:pt x="341" y="778"/>
                </a:cubicBezTo>
                <a:cubicBezTo>
                  <a:pt x="341" y="778"/>
                  <a:pt x="341" y="778"/>
                  <a:pt x="341" y="779"/>
                </a:cubicBezTo>
                <a:cubicBezTo>
                  <a:pt x="342" y="779"/>
                  <a:pt x="342" y="780"/>
                  <a:pt x="341" y="780"/>
                </a:cubicBezTo>
                <a:cubicBezTo>
                  <a:pt x="341" y="781"/>
                  <a:pt x="341" y="781"/>
                  <a:pt x="341" y="782"/>
                </a:cubicBezTo>
                <a:cubicBezTo>
                  <a:pt x="341" y="783"/>
                  <a:pt x="342" y="783"/>
                  <a:pt x="342" y="784"/>
                </a:cubicBezTo>
                <a:cubicBezTo>
                  <a:pt x="342" y="785"/>
                  <a:pt x="342" y="786"/>
                  <a:pt x="342" y="787"/>
                </a:cubicBezTo>
                <a:cubicBezTo>
                  <a:pt x="343" y="787"/>
                  <a:pt x="343" y="787"/>
                  <a:pt x="344" y="788"/>
                </a:cubicBezTo>
                <a:cubicBezTo>
                  <a:pt x="344" y="789"/>
                  <a:pt x="344" y="789"/>
                  <a:pt x="344" y="790"/>
                </a:cubicBezTo>
                <a:cubicBezTo>
                  <a:pt x="344" y="790"/>
                  <a:pt x="344" y="791"/>
                  <a:pt x="344" y="791"/>
                </a:cubicBezTo>
                <a:cubicBezTo>
                  <a:pt x="344" y="793"/>
                  <a:pt x="344" y="795"/>
                  <a:pt x="344" y="796"/>
                </a:cubicBezTo>
                <a:cubicBezTo>
                  <a:pt x="344" y="797"/>
                  <a:pt x="344" y="798"/>
                  <a:pt x="344" y="799"/>
                </a:cubicBezTo>
                <a:cubicBezTo>
                  <a:pt x="344" y="800"/>
                  <a:pt x="343" y="801"/>
                  <a:pt x="344" y="801"/>
                </a:cubicBezTo>
                <a:cubicBezTo>
                  <a:pt x="344" y="802"/>
                  <a:pt x="343" y="803"/>
                  <a:pt x="343" y="804"/>
                </a:cubicBezTo>
                <a:cubicBezTo>
                  <a:pt x="344" y="804"/>
                  <a:pt x="344" y="804"/>
                  <a:pt x="344" y="804"/>
                </a:cubicBezTo>
                <a:cubicBezTo>
                  <a:pt x="344" y="804"/>
                  <a:pt x="344" y="804"/>
                  <a:pt x="344" y="805"/>
                </a:cubicBezTo>
                <a:cubicBezTo>
                  <a:pt x="343" y="805"/>
                  <a:pt x="343" y="805"/>
                  <a:pt x="343" y="806"/>
                </a:cubicBezTo>
                <a:cubicBezTo>
                  <a:pt x="342" y="807"/>
                  <a:pt x="342" y="808"/>
                  <a:pt x="342" y="808"/>
                </a:cubicBezTo>
                <a:cubicBezTo>
                  <a:pt x="342" y="810"/>
                  <a:pt x="343" y="811"/>
                  <a:pt x="344" y="812"/>
                </a:cubicBezTo>
                <a:cubicBezTo>
                  <a:pt x="344" y="813"/>
                  <a:pt x="345" y="814"/>
                  <a:pt x="345" y="814"/>
                </a:cubicBezTo>
                <a:cubicBezTo>
                  <a:pt x="346" y="815"/>
                  <a:pt x="346" y="816"/>
                  <a:pt x="346" y="816"/>
                </a:cubicBezTo>
                <a:cubicBezTo>
                  <a:pt x="347" y="817"/>
                  <a:pt x="347" y="817"/>
                  <a:pt x="348" y="818"/>
                </a:cubicBezTo>
                <a:cubicBezTo>
                  <a:pt x="348" y="819"/>
                  <a:pt x="349" y="820"/>
                  <a:pt x="349" y="821"/>
                </a:cubicBezTo>
                <a:cubicBezTo>
                  <a:pt x="349" y="822"/>
                  <a:pt x="348" y="822"/>
                  <a:pt x="348" y="823"/>
                </a:cubicBezTo>
                <a:cubicBezTo>
                  <a:pt x="348" y="824"/>
                  <a:pt x="349" y="825"/>
                  <a:pt x="349" y="826"/>
                </a:cubicBezTo>
                <a:cubicBezTo>
                  <a:pt x="350" y="828"/>
                  <a:pt x="349" y="829"/>
                  <a:pt x="350" y="831"/>
                </a:cubicBezTo>
                <a:cubicBezTo>
                  <a:pt x="350" y="831"/>
                  <a:pt x="351" y="831"/>
                  <a:pt x="351" y="831"/>
                </a:cubicBezTo>
                <a:cubicBezTo>
                  <a:pt x="351" y="832"/>
                  <a:pt x="351" y="832"/>
                  <a:pt x="352" y="832"/>
                </a:cubicBezTo>
                <a:cubicBezTo>
                  <a:pt x="352" y="833"/>
                  <a:pt x="353" y="834"/>
                  <a:pt x="353" y="834"/>
                </a:cubicBezTo>
                <a:cubicBezTo>
                  <a:pt x="353" y="835"/>
                  <a:pt x="354" y="836"/>
                  <a:pt x="354" y="836"/>
                </a:cubicBezTo>
                <a:cubicBezTo>
                  <a:pt x="355" y="836"/>
                  <a:pt x="355" y="836"/>
                  <a:pt x="355" y="837"/>
                </a:cubicBezTo>
                <a:cubicBezTo>
                  <a:pt x="355" y="837"/>
                  <a:pt x="355" y="837"/>
                  <a:pt x="356" y="838"/>
                </a:cubicBezTo>
                <a:cubicBezTo>
                  <a:pt x="356" y="838"/>
                  <a:pt x="356" y="839"/>
                  <a:pt x="357" y="839"/>
                </a:cubicBezTo>
                <a:cubicBezTo>
                  <a:pt x="357" y="840"/>
                  <a:pt x="357" y="840"/>
                  <a:pt x="358" y="840"/>
                </a:cubicBezTo>
                <a:cubicBezTo>
                  <a:pt x="358" y="841"/>
                  <a:pt x="358" y="841"/>
                  <a:pt x="358" y="841"/>
                </a:cubicBezTo>
                <a:cubicBezTo>
                  <a:pt x="358" y="842"/>
                  <a:pt x="358" y="841"/>
                  <a:pt x="358" y="841"/>
                </a:cubicBezTo>
                <a:cubicBezTo>
                  <a:pt x="358" y="841"/>
                  <a:pt x="359" y="841"/>
                  <a:pt x="359" y="841"/>
                </a:cubicBezTo>
                <a:cubicBezTo>
                  <a:pt x="359" y="841"/>
                  <a:pt x="359" y="842"/>
                  <a:pt x="360" y="842"/>
                </a:cubicBezTo>
                <a:cubicBezTo>
                  <a:pt x="360" y="842"/>
                  <a:pt x="360" y="842"/>
                  <a:pt x="361" y="843"/>
                </a:cubicBezTo>
                <a:cubicBezTo>
                  <a:pt x="361" y="843"/>
                  <a:pt x="361" y="843"/>
                  <a:pt x="362" y="843"/>
                </a:cubicBezTo>
                <a:cubicBezTo>
                  <a:pt x="362" y="843"/>
                  <a:pt x="362" y="844"/>
                  <a:pt x="363" y="844"/>
                </a:cubicBezTo>
                <a:cubicBezTo>
                  <a:pt x="364" y="844"/>
                  <a:pt x="364" y="843"/>
                  <a:pt x="364" y="843"/>
                </a:cubicBezTo>
                <a:cubicBezTo>
                  <a:pt x="364" y="842"/>
                  <a:pt x="364" y="842"/>
                  <a:pt x="364" y="842"/>
                </a:cubicBezTo>
                <a:cubicBezTo>
                  <a:pt x="364" y="842"/>
                  <a:pt x="363" y="841"/>
                  <a:pt x="363" y="841"/>
                </a:cubicBezTo>
                <a:cubicBezTo>
                  <a:pt x="363" y="841"/>
                  <a:pt x="363" y="841"/>
                  <a:pt x="364" y="841"/>
                </a:cubicBezTo>
                <a:cubicBezTo>
                  <a:pt x="364" y="840"/>
                  <a:pt x="364" y="840"/>
                  <a:pt x="364" y="840"/>
                </a:cubicBezTo>
                <a:cubicBezTo>
                  <a:pt x="364" y="840"/>
                  <a:pt x="365" y="840"/>
                  <a:pt x="365" y="840"/>
                </a:cubicBezTo>
                <a:cubicBezTo>
                  <a:pt x="365" y="840"/>
                  <a:pt x="366" y="841"/>
                  <a:pt x="366" y="841"/>
                </a:cubicBezTo>
                <a:cubicBezTo>
                  <a:pt x="367" y="841"/>
                  <a:pt x="368" y="841"/>
                  <a:pt x="368" y="840"/>
                </a:cubicBezTo>
                <a:cubicBezTo>
                  <a:pt x="369" y="839"/>
                  <a:pt x="370" y="840"/>
                  <a:pt x="370" y="840"/>
                </a:cubicBezTo>
                <a:cubicBezTo>
                  <a:pt x="371" y="841"/>
                  <a:pt x="371" y="841"/>
                  <a:pt x="371" y="841"/>
                </a:cubicBezTo>
                <a:cubicBezTo>
                  <a:pt x="372" y="841"/>
                  <a:pt x="372" y="840"/>
                  <a:pt x="372" y="840"/>
                </a:cubicBezTo>
                <a:cubicBezTo>
                  <a:pt x="372" y="841"/>
                  <a:pt x="371" y="841"/>
                  <a:pt x="371" y="841"/>
                </a:cubicBezTo>
                <a:cubicBezTo>
                  <a:pt x="370" y="841"/>
                  <a:pt x="369" y="841"/>
                  <a:pt x="368" y="841"/>
                </a:cubicBezTo>
                <a:cubicBezTo>
                  <a:pt x="368" y="841"/>
                  <a:pt x="367" y="841"/>
                  <a:pt x="366" y="841"/>
                </a:cubicBezTo>
                <a:cubicBezTo>
                  <a:pt x="365" y="841"/>
                  <a:pt x="365" y="841"/>
                  <a:pt x="365" y="841"/>
                </a:cubicBezTo>
                <a:cubicBezTo>
                  <a:pt x="365" y="842"/>
                  <a:pt x="365" y="842"/>
                  <a:pt x="365" y="842"/>
                </a:cubicBezTo>
                <a:cubicBezTo>
                  <a:pt x="364" y="842"/>
                  <a:pt x="364" y="843"/>
                  <a:pt x="364" y="843"/>
                </a:cubicBezTo>
                <a:cubicBezTo>
                  <a:pt x="364" y="843"/>
                  <a:pt x="365" y="843"/>
                  <a:pt x="365" y="843"/>
                </a:cubicBezTo>
                <a:cubicBezTo>
                  <a:pt x="365" y="844"/>
                  <a:pt x="365" y="844"/>
                  <a:pt x="365" y="844"/>
                </a:cubicBezTo>
                <a:cubicBezTo>
                  <a:pt x="365" y="844"/>
                  <a:pt x="365" y="844"/>
                  <a:pt x="365" y="845"/>
                </a:cubicBezTo>
                <a:cubicBezTo>
                  <a:pt x="366" y="845"/>
                  <a:pt x="366" y="845"/>
                  <a:pt x="366" y="846"/>
                </a:cubicBezTo>
                <a:cubicBezTo>
                  <a:pt x="366" y="846"/>
                  <a:pt x="366" y="846"/>
                  <a:pt x="366" y="847"/>
                </a:cubicBezTo>
                <a:cubicBezTo>
                  <a:pt x="367" y="847"/>
                  <a:pt x="367" y="847"/>
                  <a:pt x="367" y="847"/>
                </a:cubicBezTo>
                <a:cubicBezTo>
                  <a:pt x="367" y="848"/>
                  <a:pt x="368" y="848"/>
                  <a:pt x="367" y="848"/>
                </a:cubicBezTo>
                <a:cubicBezTo>
                  <a:pt x="367" y="848"/>
                  <a:pt x="367" y="848"/>
                  <a:pt x="367" y="848"/>
                </a:cubicBezTo>
                <a:cubicBezTo>
                  <a:pt x="366" y="847"/>
                  <a:pt x="365" y="847"/>
                  <a:pt x="365" y="846"/>
                </a:cubicBezTo>
                <a:cubicBezTo>
                  <a:pt x="365" y="846"/>
                  <a:pt x="365" y="846"/>
                  <a:pt x="365" y="845"/>
                </a:cubicBezTo>
                <a:cubicBezTo>
                  <a:pt x="365" y="845"/>
                  <a:pt x="365" y="845"/>
                  <a:pt x="365" y="844"/>
                </a:cubicBezTo>
                <a:cubicBezTo>
                  <a:pt x="364" y="844"/>
                  <a:pt x="364" y="844"/>
                  <a:pt x="364" y="844"/>
                </a:cubicBezTo>
                <a:cubicBezTo>
                  <a:pt x="363" y="845"/>
                  <a:pt x="363" y="845"/>
                  <a:pt x="363" y="845"/>
                </a:cubicBezTo>
                <a:cubicBezTo>
                  <a:pt x="363" y="846"/>
                  <a:pt x="363" y="847"/>
                  <a:pt x="363" y="847"/>
                </a:cubicBezTo>
                <a:cubicBezTo>
                  <a:pt x="363" y="848"/>
                  <a:pt x="363" y="849"/>
                  <a:pt x="364" y="849"/>
                </a:cubicBezTo>
                <a:cubicBezTo>
                  <a:pt x="364" y="850"/>
                  <a:pt x="364" y="851"/>
                  <a:pt x="364" y="851"/>
                </a:cubicBezTo>
                <a:cubicBezTo>
                  <a:pt x="364" y="852"/>
                  <a:pt x="365" y="852"/>
                  <a:pt x="365" y="852"/>
                </a:cubicBezTo>
                <a:cubicBezTo>
                  <a:pt x="365" y="853"/>
                  <a:pt x="365" y="853"/>
                  <a:pt x="366" y="853"/>
                </a:cubicBezTo>
                <a:cubicBezTo>
                  <a:pt x="366" y="854"/>
                  <a:pt x="367" y="854"/>
                  <a:pt x="367" y="854"/>
                </a:cubicBezTo>
                <a:cubicBezTo>
                  <a:pt x="368" y="854"/>
                  <a:pt x="368" y="855"/>
                  <a:pt x="368" y="855"/>
                </a:cubicBezTo>
                <a:cubicBezTo>
                  <a:pt x="369" y="855"/>
                  <a:pt x="369" y="855"/>
                  <a:pt x="370" y="855"/>
                </a:cubicBezTo>
                <a:cubicBezTo>
                  <a:pt x="370" y="855"/>
                  <a:pt x="370" y="855"/>
                  <a:pt x="370" y="856"/>
                </a:cubicBezTo>
                <a:cubicBezTo>
                  <a:pt x="370" y="856"/>
                  <a:pt x="371" y="856"/>
                  <a:pt x="371" y="856"/>
                </a:cubicBezTo>
                <a:cubicBezTo>
                  <a:pt x="371" y="857"/>
                  <a:pt x="371" y="858"/>
                  <a:pt x="371" y="858"/>
                </a:cubicBezTo>
                <a:cubicBezTo>
                  <a:pt x="371" y="859"/>
                  <a:pt x="371" y="859"/>
                  <a:pt x="371" y="859"/>
                </a:cubicBezTo>
                <a:cubicBezTo>
                  <a:pt x="370" y="859"/>
                  <a:pt x="370" y="859"/>
                  <a:pt x="370" y="859"/>
                </a:cubicBezTo>
                <a:cubicBezTo>
                  <a:pt x="369" y="860"/>
                  <a:pt x="370" y="861"/>
                  <a:pt x="370" y="861"/>
                </a:cubicBezTo>
                <a:cubicBezTo>
                  <a:pt x="370" y="862"/>
                  <a:pt x="370" y="862"/>
                  <a:pt x="370" y="863"/>
                </a:cubicBezTo>
                <a:cubicBezTo>
                  <a:pt x="370" y="864"/>
                  <a:pt x="371" y="864"/>
                  <a:pt x="371" y="865"/>
                </a:cubicBezTo>
                <a:cubicBezTo>
                  <a:pt x="372" y="865"/>
                  <a:pt x="372" y="866"/>
                  <a:pt x="373" y="866"/>
                </a:cubicBezTo>
                <a:cubicBezTo>
                  <a:pt x="373" y="867"/>
                  <a:pt x="373" y="868"/>
                  <a:pt x="374" y="868"/>
                </a:cubicBezTo>
                <a:cubicBezTo>
                  <a:pt x="374" y="869"/>
                  <a:pt x="375" y="869"/>
                  <a:pt x="375" y="870"/>
                </a:cubicBezTo>
                <a:cubicBezTo>
                  <a:pt x="376" y="871"/>
                  <a:pt x="377" y="872"/>
                  <a:pt x="378" y="873"/>
                </a:cubicBezTo>
                <a:cubicBezTo>
                  <a:pt x="379" y="874"/>
                  <a:pt x="379" y="874"/>
                  <a:pt x="380" y="875"/>
                </a:cubicBezTo>
                <a:cubicBezTo>
                  <a:pt x="380" y="875"/>
                  <a:pt x="380" y="875"/>
                  <a:pt x="380" y="875"/>
                </a:cubicBezTo>
                <a:cubicBezTo>
                  <a:pt x="381" y="876"/>
                  <a:pt x="381" y="876"/>
                  <a:pt x="381" y="876"/>
                </a:cubicBezTo>
                <a:cubicBezTo>
                  <a:pt x="381" y="877"/>
                  <a:pt x="382" y="878"/>
                  <a:pt x="382" y="878"/>
                </a:cubicBezTo>
                <a:cubicBezTo>
                  <a:pt x="383" y="879"/>
                  <a:pt x="383" y="879"/>
                  <a:pt x="384" y="880"/>
                </a:cubicBezTo>
                <a:cubicBezTo>
                  <a:pt x="384" y="880"/>
                  <a:pt x="384" y="881"/>
                  <a:pt x="384" y="882"/>
                </a:cubicBezTo>
                <a:cubicBezTo>
                  <a:pt x="384" y="883"/>
                  <a:pt x="384" y="884"/>
                  <a:pt x="384" y="884"/>
                </a:cubicBezTo>
                <a:cubicBezTo>
                  <a:pt x="384" y="885"/>
                  <a:pt x="384" y="886"/>
                  <a:pt x="385" y="887"/>
                </a:cubicBezTo>
                <a:cubicBezTo>
                  <a:pt x="385" y="887"/>
                  <a:pt x="386" y="887"/>
                  <a:pt x="386" y="887"/>
                </a:cubicBezTo>
                <a:cubicBezTo>
                  <a:pt x="386" y="887"/>
                  <a:pt x="387" y="887"/>
                  <a:pt x="387" y="887"/>
                </a:cubicBezTo>
                <a:cubicBezTo>
                  <a:pt x="388" y="888"/>
                  <a:pt x="389" y="888"/>
                  <a:pt x="389" y="888"/>
                </a:cubicBezTo>
                <a:cubicBezTo>
                  <a:pt x="390" y="888"/>
                  <a:pt x="391" y="888"/>
                  <a:pt x="392" y="888"/>
                </a:cubicBezTo>
                <a:cubicBezTo>
                  <a:pt x="392" y="888"/>
                  <a:pt x="393" y="888"/>
                  <a:pt x="393" y="888"/>
                </a:cubicBezTo>
                <a:cubicBezTo>
                  <a:pt x="394" y="889"/>
                  <a:pt x="394" y="889"/>
                  <a:pt x="395" y="889"/>
                </a:cubicBezTo>
                <a:cubicBezTo>
                  <a:pt x="395" y="888"/>
                  <a:pt x="396" y="888"/>
                  <a:pt x="397" y="889"/>
                </a:cubicBezTo>
                <a:cubicBezTo>
                  <a:pt x="397" y="889"/>
                  <a:pt x="398" y="889"/>
                  <a:pt x="399" y="890"/>
                </a:cubicBezTo>
                <a:cubicBezTo>
                  <a:pt x="399" y="890"/>
                  <a:pt x="400" y="890"/>
                  <a:pt x="400" y="891"/>
                </a:cubicBezTo>
                <a:cubicBezTo>
                  <a:pt x="401" y="891"/>
                  <a:pt x="401" y="891"/>
                  <a:pt x="402" y="892"/>
                </a:cubicBezTo>
                <a:cubicBezTo>
                  <a:pt x="402" y="892"/>
                  <a:pt x="402" y="892"/>
                  <a:pt x="403" y="892"/>
                </a:cubicBezTo>
                <a:cubicBezTo>
                  <a:pt x="403" y="892"/>
                  <a:pt x="403" y="893"/>
                  <a:pt x="404" y="893"/>
                </a:cubicBezTo>
                <a:cubicBezTo>
                  <a:pt x="404" y="893"/>
                  <a:pt x="404" y="894"/>
                  <a:pt x="405" y="894"/>
                </a:cubicBezTo>
                <a:cubicBezTo>
                  <a:pt x="406" y="894"/>
                  <a:pt x="407" y="893"/>
                  <a:pt x="407" y="893"/>
                </a:cubicBezTo>
                <a:cubicBezTo>
                  <a:pt x="408" y="893"/>
                  <a:pt x="408" y="894"/>
                  <a:pt x="409" y="895"/>
                </a:cubicBezTo>
                <a:cubicBezTo>
                  <a:pt x="409" y="895"/>
                  <a:pt x="408" y="896"/>
                  <a:pt x="409" y="896"/>
                </a:cubicBezTo>
                <a:cubicBezTo>
                  <a:pt x="409" y="896"/>
                  <a:pt x="409" y="896"/>
                  <a:pt x="409" y="897"/>
                </a:cubicBezTo>
                <a:cubicBezTo>
                  <a:pt x="410" y="897"/>
                  <a:pt x="410" y="897"/>
                  <a:pt x="410" y="897"/>
                </a:cubicBezTo>
                <a:cubicBezTo>
                  <a:pt x="410" y="897"/>
                  <a:pt x="411" y="897"/>
                  <a:pt x="411" y="897"/>
                </a:cubicBezTo>
                <a:cubicBezTo>
                  <a:pt x="411" y="897"/>
                  <a:pt x="411" y="897"/>
                  <a:pt x="411" y="897"/>
                </a:cubicBezTo>
                <a:cubicBezTo>
                  <a:pt x="412" y="897"/>
                  <a:pt x="412" y="897"/>
                  <a:pt x="413" y="897"/>
                </a:cubicBezTo>
                <a:cubicBezTo>
                  <a:pt x="414" y="898"/>
                  <a:pt x="414" y="898"/>
                  <a:pt x="414" y="899"/>
                </a:cubicBezTo>
                <a:cubicBezTo>
                  <a:pt x="415" y="899"/>
                  <a:pt x="416" y="899"/>
                  <a:pt x="416" y="900"/>
                </a:cubicBezTo>
                <a:cubicBezTo>
                  <a:pt x="417" y="900"/>
                  <a:pt x="417" y="900"/>
                  <a:pt x="417" y="900"/>
                </a:cubicBezTo>
                <a:cubicBezTo>
                  <a:pt x="418" y="900"/>
                  <a:pt x="418" y="900"/>
                  <a:pt x="418" y="901"/>
                </a:cubicBezTo>
                <a:cubicBezTo>
                  <a:pt x="418" y="901"/>
                  <a:pt x="419" y="901"/>
                  <a:pt x="419" y="901"/>
                </a:cubicBezTo>
                <a:cubicBezTo>
                  <a:pt x="419" y="902"/>
                  <a:pt x="420" y="903"/>
                  <a:pt x="420" y="903"/>
                </a:cubicBezTo>
                <a:cubicBezTo>
                  <a:pt x="421" y="903"/>
                  <a:pt x="421" y="904"/>
                  <a:pt x="421" y="904"/>
                </a:cubicBezTo>
                <a:cubicBezTo>
                  <a:pt x="421" y="904"/>
                  <a:pt x="421" y="905"/>
                  <a:pt x="421" y="905"/>
                </a:cubicBezTo>
                <a:cubicBezTo>
                  <a:pt x="421" y="906"/>
                  <a:pt x="422" y="906"/>
                  <a:pt x="422" y="906"/>
                </a:cubicBezTo>
                <a:cubicBezTo>
                  <a:pt x="422" y="906"/>
                  <a:pt x="422" y="907"/>
                  <a:pt x="422" y="907"/>
                </a:cubicBezTo>
                <a:cubicBezTo>
                  <a:pt x="422" y="907"/>
                  <a:pt x="422" y="907"/>
                  <a:pt x="422" y="908"/>
                </a:cubicBezTo>
                <a:cubicBezTo>
                  <a:pt x="423" y="908"/>
                  <a:pt x="423" y="909"/>
                  <a:pt x="423" y="910"/>
                </a:cubicBezTo>
                <a:cubicBezTo>
                  <a:pt x="423" y="911"/>
                  <a:pt x="424" y="911"/>
                  <a:pt x="424" y="912"/>
                </a:cubicBezTo>
                <a:cubicBezTo>
                  <a:pt x="424" y="912"/>
                  <a:pt x="425" y="913"/>
                  <a:pt x="425" y="914"/>
                </a:cubicBezTo>
                <a:cubicBezTo>
                  <a:pt x="425" y="915"/>
                  <a:pt x="425" y="915"/>
                  <a:pt x="426" y="916"/>
                </a:cubicBezTo>
                <a:cubicBezTo>
                  <a:pt x="426" y="917"/>
                  <a:pt x="427" y="917"/>
                  <a:pt x="427" y="918"/>
                </a:cubicBezTo>
                <a:cubicBezTo>
                  <a:pt x="427" y="918"/>
                  <a:pt x="427" y="919"/>
                  <a:pt x="428" y="919"/>
                </a:cubicBezTo>
                <a:cubicBezTo>
                  <a:pt x="428" y="920"/>
                  <a:pt x="428" y="920"/>
                  <a:pt x="428" y="920"/>
                </a:cubicBezTo>
                <a:cubicBezTo>
                  <a:pt x="428" y="921"/>
                  <a:pt x="428" y="921"/>
                  <a:pt x="428" y="921"/>
                </a:cubicBezTo>
                <a:cubicBezTo>
                  <a:pt x="429" y="922"/>
                  <a:pt x="429" y="922"/>
                  <a:pt x="429" y="923"/>
                </a:cubicBezTo>
                <a:cubicBezTo>
                  <a:pt x="429" y="923"/>
                  <a:pt x="429" y="923"/>
                  <a:pt x="429" y="924"/>
                </a:cubicBezTo>
                <a:cubicBezTo>
                  <a:pt x="429" y="924"/>
                  <a:pt x="429" y="924"/>
                  <a:pt x="429" y="925"/>
                </a:cubicBezTo>
                <a:cubicBezTo>
                  <a:pt x="430" y="926"/>
                  <a:pt x="431" y="928"/>
                  <a:pt x="432" y="929"/>
                </a:cubicBezTo>
                <a:cubicBezTo>
                  <a:pt x="432" y="930"/>
                  <a:pt x="432" y="930"/>
                  <a:pt x="432" y="931"/>
                </a:cubicBezTo>
                <a:cubicBezTo>
                  <a:pt x="432" y="931"/>
                  <a:pt x="433" y="931"/>
                  <a:pt x="433" y="931"/>
                </a:cubicBezTo>
                <a:cubicBezTo>
                  <a:pt x="433" y="932"/>
                  <a:pt x="434" y="932"/>
                  <a:pt x="434" y="933"/>
                </a:cubicBezTo>
                <a:cubicBezTo>
                  <a:pt x="435" y="933"/>
                  <a:pt x="435" y="933"/>
                  <a:pt x="435" y="933"/>
                </a:cubicBezTo>
                <a:cubicBezTo>
                  <a:pt x="436" y="934"/>
                  <a:pt x="436" y="935"/>
                  <a:pt x="436" y="936"/>
                </a:cubicBezTo>
                <a:cubicBezTo>
                  <a:pt x="437" y="936"/>
                  <a:pt x="437" y="937"/>
                  <a:pt x="437" y="938"/>
                </a:cubicBezTo>
                <a:cubicBezTo>
                  <a:pt x="437" y="938"/>
                  <a:pt x="436" y="939"/>
                  <a:pt x="437" y="940"/>
                </a:cubicBezTo>
                <a:cubicBezTo>
                  <a:pt x="437" y="940"/>
                  <a:pt x="437" y="939"/>
                  <a:pt x="437" y="939"/>
                </a:cubicBezTo>
                <a:cubicBezTo>
                  <a:pt x="438" y="938"/>
                  <a:pt x="438" y="939"/>
                  <a:pt x="438" y="939"/>
                </a:cubicBezTo>
                <a:cubicBezTo>
                  <a:pt x="438" y="940"/>
                  <a:pt x="439" y="940"/>
                  <a:pt x="439" y="941"/>
                </a:cubicBezTo>
                <a:cubicBezTo>
                  <a:pt x="439" y="942"/>
                  <a:pt x="439" y="943"/>
                  <a:pt x="439" y="944"/>
                </a:cubicBezTo>
                <a:cubicBezTo>
                  <a:pt x="439" y="944"/>
                  <a:pt x="439" y="945"/>
                  <a:pt x="440" y="946"/>
                </a:cubicBezTo>
                <a:cubicBezTo>
                  <a:pt x="440" y="947"/>
                  <a:pt x="441" y="947"/>
                  <a:pt x="442" y="948"/>
                </a:cubicBezTo>
                <a:cubicBezTo>
                  <a:pt x="442" y="948"/>
                  <a:pt x="442" y="949"/>
                  <a:pt x="443" y="949"/>
                </a:cubicBezTo>
                <a:cubicBezTo>
                  <a:pt x="444" y="950"/>
                  <a:pt x="445" y="950"/>
                  <a:pt x="445" y="950"/>
                </a:cubicBezTo>
                <a:cubicBezTo>
                  <a:pt x="446" y="951"/>
                  <a:pt x="446" y="952"/>
                  <a:pt x="447" y="952"/>
                </a:cubicBezTo>
                <a:cubicBezTo>
                  <a:pt x="448" y="952"/>
                  <a:pt x="449" y="952"/>
                  <a:pt x="450" y="953"/>
                </a:cubicBezTo>
                <a:cubicBezTo>
                  <a:pt x="450" y="953"/>
                  <a:pt x="450" y="953"/>
                  <a:pt x="451" y="954"/>
                </a:cubicBezTo>
                <a:cubicBezTo>
                  <a:pt x="451" y="954"/>
                  <a:pt x="452" y="954"/>
                  <a:pt x="452" y="955"/>
                </a:cubicBezTo>
                <a:cubicBezTo>
                  <a:pt x="452" y="955"/>
                  <a:pt x="453" y="956"/>
                  <a:pt x="454" y="957"/>
                </a:cubicBezTo>
                <a:cubicBezTo>
                  <a:pt x="454" y="957"/>
                  <a:pt x="455" y="958"/>
                  <a:pt x="455" y="959"/>
                </a:cubicBezTo>
                <a:cubicBezTo>
                  <a:pt x="456" y="959"/>
                  <a:pt x="456" y="959"/>
                  <a:pt x="456" y="959"/>
                </a:cubicBezTo>
                <a:cubicBezTo>
                  <a:pt x="456" y="960"/>
                  <a:pt x="457" y="960"/>
                  <a:pt x="457" y="961"/>
                </a:cubicBezTo>
                <a:cubicBezTo>
                  <a:pt x="458" y="961"/>
                  <a:pt x="458" y="961"/>
                  <a:pt x="458" y="962"/>
                </a:cubicBezTo>
                <a:cubicBezTo>
                  <a:pt x="458" y="962"/>
                  <a:pt x="458" y="963"/>
                  <a:pt x="458" y="963"/>
                </a:cubicBezTo>
                <a:cubicBezTo>
                  <a:pt x="459" y="964"/>
                  <a:pt x="459" y="965"/>
                  <a:pt x="458" y="965"/>
                </a:cubicBezTo>
                <a:cubicBezTo>
                  <a:pt x="458" y="966"/>
                  <a:pt x="458" y="966"/>
                  <a:pt x="458" y="966"/>
                </a:cubicBezTo>
                <a:cubicBezTo>
                  <a:pt x="458" y="967"/>
                  <a:pt x="458" y="968"/>
                  <a:pt x="458" y="968"/>
                </a:cubicBezTo>
                <a:cubicBezTo>
                  <a:pt x="458" y="969"/>
                  <a:pt x="458" y="969"/>
                  <a:pt x="458" y="969"/>
                </a:cubicBezTo>
                <a:cubicBezTo>
                  <a:pt x="457" y="970"/>
                  <a:pt x="457" y="970"/>
                  <a:pt x="457" y="970"/>
                </a:cubicBezTo>
                <a:cubicBezTo>
                  <a:pt x="457" y="970"/>
                  <a:pt x="458" y="970"/>
                  <a:pt x="458" y="970"/>
                </a:cubicBezTo>
                <a:cubicBezTo>
                  <a:pt x="458" y="971"/>
                  <a:pt x="458" y="971"/>
                  <a:pt x="458" y="971"/>
                </a:cubicBezTo>
                <a:cubicBezTo>
                  <a:pt x="458" y="972"/>
                  <a:pt x="458" y="972"/>
                  <a:pt x="458" y="973"/>
                </a:cubicBezTo>
                <a:cubicBezTo>
                  <a:pt x="458" y="973"/>
                  <a:pt x="459" y="973"/>
                  <a:pt x="459" y="972"/>
                </a:cubicBezTo>
                <a:cubicBezTo>
                  <a:pt x="459" y="972"/>
                  <a:pt x="460" y="972"/>
                  <a:pt x="460" y="972"/>
                </a:cubicBezTo>
                <a:cubicBezTo>
                  <a:pt x="460" y="972"/>
                  <a:pt x="460" y="971"/>
                  <a:pt x="460" y="971"/>
                </a:cubicBezTo>
                <a:cubicBezTo>
                  <a:pt x="461" y="971"/>
                  <a:pt x="461" y="972"/>
                  <a:pt x="461" y="973"/>
                </a:cubicBezTo>
                <a:cubicBezTo>
                  <a:pt x="461" y="973"/>
                  <a:pt x="462" y="974"/>
                  <a:pt x="462" y="975"/>
                </a:cubicBezTo>
                <a:cubicBezTo>
                  <a:pt x="462" y="975"/>
                  <a:pt x="461" y="976"/>
                  <a:pt x="461" y="975"/>
                </a:cubicBezTo>
                <a:cubicBezTo>
                  <a:pt x="461" y="975"/>
                  <a:pt x="461" y="974"/>
                  <a:pt x="461" y="974"/>
                </a:cubicBezTo>
                <a:cubicBezTo>
                  <a:pt x="460" y="973"/>
                  <a:pt x="459" y="974"/>
                  <a:pt x="458" y="973"/>
                </a:cubicBezTo>
                <a:cubicBezTo>
                  <a:pt x="457" y="973"/>
                  <a:pt x="457" y="972"/>
                  <a:pt x="457" y="972"/>
                </a:cubicBezTo>
                <a:cubicBezTo>
                  <a:pt x="456" y="971"/>
                  <a:pt x="455" y="972"/>
                  <a:pt x="454" y="972"/>
                </a:cubicBezTo>
                <a:cubicBezTo>
                  <a:pt x="454" y="973"/>
                  <a:pt x="453" y="972"/>
                  <a:pt x="452" y="972"/>
                </a:cubicBezTo>
                <a:cubicBezTo>
                  <a:pt x="451" y="972"/>
                  <a:pt x="451" y="972"/>
                  <a:pt x="450" y="972"/>
                </a:cubicBezTo>
                <a:cubicBezTo>
                  <a:pt x="449" y="972"/>
                  <a:pt x="449" y="972"/>
                  <a:pt x="449" y="971"/>
                </a:cubicBezTo>
                <a:cubicBezTo>
                  <a:pt x="448" y="971"/>
                  <a:pt x="448" y="971"/>
                  <a:pt x="448" y="971"/>
                </a:cubicBezTo>
                <a:cubicBezTo>
                  <a:pt x="448" y="972"/>
                  <a:pt x="448" y="973"/>
                  <a:pt x="449" y="973"/>
                </a:cubicBezTo>
                <a:cubicBezTo>
                  <a:pt x="449" y="974"/>
                  <a:pt x="450" y="974"/>
                  <a:pt x="451" y="975"/>
                </a:cubicBezTo>
                <a:cubicBezTo>
                  <a:pt x="452" y="976"/>
                  <a:pt x="454" y="977"/>
                  <a:pt x="455" y="979"/>
                </a:cubicBezTo>
                <a:cubicBezTo>
                  <a:pt x="455" y="979"/>
                  <a:pt x="456" y="980"/>
                  <a:pt x="457" y="980"/>
                </a:cubicBezTo>
                <a:cubicBezTo>
                  <a:pt x="457" y="980"/>
                  <a:pt x="458" y="981"/>
                  <a:pt x="458" y="981"/>
                </a:cubicBezTo>
                <a:cubicBezTo>
                  <a:pt x="459" y="981"/>
                  <a:pt x="459" y="982"/>
                  <a:pt x="460" y="982"/>
                </a:cubicBezTo>
                <a:cubicBezTo>
                  <a:pt x="460" y="983"/>
                  <a:pt x="461" y="983"/>
                  <a:pt x="462" y="984"/>
                </a:cubicBezTo>
                <a:cubicBezTo>
                  <a:pt x="463" y="984"/>
                  <a:pt x="463" y="984"/>
                  <a:pt x="464" y="985"/>
                </a:cubicBezTo>
                <a:cubicBezTo>
                  <a:pt x="465" y="985"/>
                  <a:pt x="466" y="984"/>
                  <a:pt x="466" y="984"/>
                </a:cubicBezTo>
                <a:cubicBezTo>
                  <a:pt x="467" y="984"/>
                  <a:pt x="467" y="984"/>
                  <a:pt x="468" y="984"/>
                </a:cubicBezTo>
                <a:cubicBezTo>
                  <a:pt x="468" y="984"/>
                  <a:pt x="468" y="983"/>
                  <a:pt x="468" y="983"/>
                </a:cubicBezTo>
                <a:cubicBezTo>
                  <a:pt x="469" y="983"/>
                  <a:pt x="469" y="985"/>
                  <a:pt x="469" y="985"/>
                </a:cubicBezTo>
                <a:cubicBezTo>
                  <a:pt x="470" y="986"/>
                  <a:pt x="471" y="986"/>
                  <a:pt x="471" y="986"/>
                </a:cubicBezTo>
                <a:cubicBezTo>
                  <a:pt x="472" y="987"/>
                  <a:pt x="473" y="988"/>
                  <a:pt x="473" y="988"/>
                </a:cubicBezTo>
                <a:cubicBezTo>
                  <a:pt x="474" y="990"/>
                  <a:pt x="476" y="990"/>
                  <a:pt x="478" y="991"/>
                </a:cubicBezTo>
                <a:cubicBezTo>
                  <a:pt x="478" y="992"/>
                  <a:pt x="479" y="992"/>
                  <a:pt x="479" y="993"/>
                </a:cubicBezTo>
                <a:cubicBezTo>
                  <a:pt x="480" y="993"/>
                  <a:pt x="480" y="994"/>
                  <a:pt x="481" y="995"/>
                </a:cubicBezTo>
                <a:cubicBezTo>
                  <a:pt x="481" y="995"/>
                  <a:pt x="481" y="996"/>
                  <a:pt x="481" y="996"/>
                </a:cubicBezTo>
                <a:cubicBezTo>
                  <a:pt x="481" y="997"/>
                  <a:pt x="481" y="997"/>
                  <a:pt x="481" y="997"/>
                </a:cubicBezTo>
                <a:cubicBezTo>
                  <a:pt x="481" y="998"/>
                  <a:pt x="481" y="999"/>
                  <a:pt x="482" y="1000"/>
                </a:cubicBezTo>
                <a:cubicBezTo>
                  <a:pt x="482" y="1001"/>
                  <a:pt x="482" y="1002"/>
                  <a:pt x="481" y="1003"/>
                </a:cubicBezTo>
                <a:cubicBezTo>
                  <a:pt x="481" y="1003"/>
                  <a:pt x="480" y="1004"/>
                  <a:pt x="480" y="1005"/>
                </a:cubicBezTo>
                <a:cubicBezTo>
                  <a:pt x="480" y="1006"/>
                  <a:pt x="480" y="1006"/>
                  <a:pt x="480" y="1007"/>
                </a:cubicBezTo>
                <a:cubicBezTo>
                  <a:pt x="479" y="1007"/>
                  <a:pt x="479" y="1008"/>
                  <a:pt x="479" y="1008"/>
                </a:cubicBezTo>
                <a:cubicBezTo>
                  <a:pt x="480" y="1008"/>
                  <a:pt x="480" y="1008"/>
                  <a:pt x="480" y="1009"/>
                </a:cubicBezTo>
                <a:cubicBezTo>
                  <a:pt x="481" y="1009"/>
                  <a:pt x="481" y="1010"/>
                  <a:pt x="481" y="1011"/>
                </a:cubicBezTo>
                <a:cubicBezTo>
                  <a:pt x="481" y="1011"/>
                  <a:pt x="481" y="1012"/>
                  <a:pt x="482" y="1011"/>
                </a:cubicBezTo>
                <a:cubicBezTo>
                  <a:pt x="482" y="1011"/>
                  <a:pt x="482" y="1010"/>
                  <a:pt x="482" y="1010"/>
                </a:cubicBezTo>
                <a:cubicBezTo>
                  <a:pt x="482" y="1009"/>
                  <a:pt x="481" y="1009"/>
                  <a:pt x="481" y="1008"/>
                </a:cubicBezTo>
                <a:cubicBezTo>
                  <a:pt x="481" y="1007"/>
                  <a:pt x="482" y="1008"/>
                  <a:pt x="482" y="1009"/>
                </a:cubicBezTo>
                <a:cubicBezTo>
                  <a:pt x="483" y="1009"/>
                  <a:pt x="483" y="1009"/>
                  <a:pt x="484" y="1010"/>
                </a:cubicBezTo>
                <a:cubicBezTo>
                  <a:pt x="485" y="1010"/>
                  <a:pt x="485" y="1011"/>
                  <a:pt x="486" y="1011"/>
                </a:cubicBezTo>
                <a:cubicBezTo>
                  <a:pt x="487" y="1012"/>
                  <a:pt x="489" y="1013"/>
                  <a:pt x="490" y="1014"/>
                </a:cubicBezTo>
                <a:cubicBezTo>
                  <a:pt x="491" y="1015"/>
                  <a:pt x="492" y="1016"/>
                  <a:pt x="494" y="1017"/>
                </a:cubicBezTo>
                <a:cubicBezTo>
                  <a:pt x="494" y="1018"/>
                  <a:pt x="495" y="1018"/>
                  <a:pt x="496" y="1019"/>
                </a:cubicBezTo>
                <a:cubicBezTo>
                  <a:pt x="496" y="1019"/>
                  <a:pt x="497" y="1020"/>
                  <a:pt x="498" y="1020"/>
                </a:cubicBezTo>
                <a:cubicBezTo>
                  <a:pt x="499" y="1021"/>
                  <a:pt x="501" y="1022"/>
                  <a:pt x="502" y="1024"/>
                </a:cubicBezTo>
                <a:cubicBezTo>
                  <a:pt x="503" y="1024"/>
                  <a:pt x="503" y="1025"/>
                  <a:pt x="504" y="1026"/>
                </a:cubicBezTo>
                <a:cubicBezTo>
                  <a:pt x="504" y="1026"/>
                  <a:pt x="504" y="1026"/>
                  <a:pt x="504" y="1027"/>
                </a:cubicBezTo>
                <a:cubicBezTo>
                  <a:pt x="504" y="1027"/>
                  <a:pt x="504" y="1028"/>
                  <a:pt x="505" y="1028"/>
                </a:cubicBezTo>
                <a:cubicBezTo>
                  <a:pt x="505" y="1029"/>
                  <a:pt x="506" y="1029"/>
                  <a:pt x="506" y="1030"/>
                </a:cubicBezTo>
                <a:cubicBezTo>
                  <a:pt x="506" y="1031"/>
                  <a:pt x="507" y="1032"/>
                  <a:pt x="507" y="1031"/>
                </a:cubicBezTo>
                <a:cubicBezTo>
                  <a:pt x="508" y="1030"/>
                  <a:pt x="508" y="1029"/>
                  <a:pt x="509" y="1029"/>
                </a:cubicBezTo>
                <a:cubicBezTo>
                  <a:pt x="510" y="1029"/>
                  <a:pt x="510" y="1029"/>
                  <a:pt x="511" y="1028"/>
                </a:cubicBezTo>
                <a:cubicBezTo>
                  <a:pt x="512" y="1027"/>
                  <a:pt x="513" y="1025"/>
                  <a:pt x="512" y="1024"/>
                </a:cubicBezTo>
                <a:cubicBezTo>
                  <a:pt x="511" y="1023"/>
                  <a:pt x="510" y="1023"/>
                  <a:pt x="510" y="1022"/>
                </a:cubicBezTo>
                <a:cubicBezTo>
                  <a:pt x="509" y="1021"/>
                  <a:pt x="509" y="1020"/>
                  <a:pt x="509" y="1018"/>
                </a:cubicBezTo>
                <a:cubicBezTo>
                  <a:pt x="508" y="1018"/>
                  <a:pt x="508" y="1018"/>
                  <a:pt x="507" y="1018"/>
                </a:cubicBezTo>
                <a:cubicBezTo>
                  <a:pt x="506" y="1017"/>
                  <a:pt x="505" y="1017"/>
                  <a:pt x="505" y="1017"/>
                </a:cubicBezTo>
                <a:cubicBezTo>
                  <a:pt x="504" y="1016"/>
                  <a:pt x="504" y="1015"/>
                  <a:pt x="504" y="1014"/>
                </a:cubicBezTo>
                <a:cubicBezTo>
                  <a:pt x="503" y="1014"/>
                  <a:pt x="503" y="1013"/>
                  <a:pt x="502" y="1014"/>
                </a:cubicBezTo>
                <a:cubicBezTo>
                  <a:pt x="502" y="1014"/>
                  <a:pt x="502" y="1015"/>
                  <a:pt x="502" y="1015"/>
                </a:cubicBezTo>
                <a:cubicBezTo>
                  <a:pt x="501" y="1016"/>
                  <a:pt x="500" y="1015"/>
                  <a:pt x="500" y="1015"/>
                </a:cubicBezTo>
                <a:cubicBezTo>
                  <a:pt x="499" y="1015"/>
                  <a:pt x="499" y="1015"/>
                  <a:pt x="499" y="1015"/>
                </a:cubicBezTo>
                <a:cubicBezTo>
                  <a:pt x="498" y="1015"/>
                  <a:pt x="498" y="1014"/>
                  <a:pt x="498" y="1014"/>
                </a:cubicBezTo>
                <a:cubicBezTo>
                  <a:pt x="498" y="1013"/>
                  <a:pt x="498" y="1012"/>
                  <a:pt x="498" y="1011"/>
                </a:cubicBezTo>
                <a:cubicBezTo>
                  <a:pt x="498" y="1011"/>
                  <a:pt x="498" y="1010"/>
                  <a:pt x="498" y="1009"/>
                </a:cubicBezTo>
                <a:cubicBezTo>
                  <a:pt x="498" y="1008"/>
                  <a:pt x="497" y="1007"/>
                  <a:pt x="497" y="1006"/>
                </a:cubicBezTo>
                <a:cubicBezTo>
                  <a:pt x="497" y="1005"/>
                  <a:pt x="496" y="1005"/>
                  <a:pt x="496" y="1004"/>
                </a:cubicBezTo>
                <a:cubicBezTo>
                  <a:pt x="495" y="1003"/>
                  <a:pt x="495" y="1003"/>
                  <a:pt x="495" y="1002"/>
                </a:cubicBezTo>
                <a:cubicBezTo>
                  <a:pt x="495" y="1001"/>
                  <a:pt x="494" y="1000"/>
                  <a:pt x="494" y="999"/>
                </a:cubicBezTo>
                <a:cubicBezTo>
                  <a:pt x="494" y="998"/>
                  <a:pt x="493" y="998"/>
                  <a:pt x="493" y="997"/>
                </a:cubicBezTo>
                <a:cubicBezTo>
                  <a:pt x="492" y="997"/>
                  <a:pt x="492" y="997"/>
                  <a:pt x="492" y="996"/>
                </a:cubicBezTo>
                <a:cubicBezTo>
                  <a:pt x="492" y="996"/>
                  <a:pt x="492" y="995"/>
                  <a:pt x="492" y="994"/>
                </a:cubicBezTo>
                <a:cubicBezTo>
                  <a:pt x="492" y="994"/>
                  <a:pt x="494" y="993"/>
                  <a:pt x="493" y="993"/>
                </a:cubicBezTo>
                <a:cubicBezTo>
                  <a:pt x="492" y="993"/>
                  <a:pt x="492" y="994"/>
                  <a:pt x="491" y="994"/>
                </a:cubicBezTo>
                <a:cubicBezTo>
                  <a:pt x="491" y="994"/>
                  <a:pt x="491" y="992"/>
                  <a:pt x="490" y="992"/>
                </a:cubicBezTo>
                <a:cubicBezTo>
                  <a:pt x="490" y="991"/>
                  <a:pt x="490" y="990"/>
                  <a:pt x="489" y="990"/>
                </a:cubicBezTo>
                <a:cubicBezTo>
                  <a:pt x="489" y="989"/>
                  <a:pt x="489" y="988"/>
                  <a:pt x="489" y="987"/>
                </a:cubicBezTo>
                <a:cubicBezTo>
                  <a:pt x="489" y="986"/>
                  <a:pt x="488" y="986"/>
                  <a:pt x="488" y="985"/>
                </a:cubicBezTo>
                <a:cubicBezTo>
                  <a:pt x="488" y="985"/>
                  <a:pt x="487" y="984"/>
                  <a:pt x="487" y="984"/>
                </a:cubicBezTo>
                <a:cubicBezTo>
                  <a:pt x="487" y="984"/>
                  <a:pt x="486" y="984"/>
                  <a:pt x="486" y="984"/>
                </a:cubicBezTo>
                <a:cubicBezTo>
                  <a:pt x="486" y="984"/>
                  <a:pt x="486" y="983"/>
                  <a:pt x="485" y="983"/>
                </a:cubicBezTo>
                <a:cubicBezTo>
                  <a:pt x="485" y="982"/>
                  <a:pt x="485" y="982"/>
                  <a:pt x="485" y="983"/>
                </a:cubicBezTo>
                <a:cubicBezTo>
                  <a:pt x="485" y="983"/>
                  <a:pt x="485" y="983"/>
                  <a:pt x="485" y="983"/>
                </a:cubicBezTo>
                <a:cubicBezTo>
                  <a:pt x="485" y="983"/>
                  <a:pt x="485" y="984"/>
                  <a:pt x="485" y="984"/>
                </a:cubicBezTo>
                <a:cubicBezTo>
                  <a:pt x="485" y="984"/>
                  <a:pt x="485" y="984"/>
                  <a:pt x="485" y="985"/>
                </a:cubicBezTo>
                <a:cubicBezTo>
                  <a:pt x="486" y="985"/>
                  <a:pt x="486" y="985"/>
                  <a:pt x="486" y="986"/>
                </a:cubicBezTo>
                <a:cubicBezTo>
                  <a:pt x="486" y="986"/>
                  <a:pt x="485" y="986"/>
                  <a:pt x="485" y="986"/>
                </a:cubicBezTo>
                <a:cubicBezTo>
                  <a:pt x="485" y="986"/>
                  <a:pt x="485" y="985"/>
                  <a:pt x="485" y="985"/>
                </a:cubicBezTo>
                <a:cubicBezTo>
                  <a:pt x="484" y="985"/>
                  <a:pt x="484" y="985"/>
                  <a:pt x="484" y="984"/>
                </a:cubicBezTo>
                <a:cubicBezTo>
                  <a:pt x="484" y="984"/>
                  <a:pt x="484" y="983"/>
                  <a:pt x="484" y="983"/>
                </a:cubicBezTo>
                <a:cubicBezTo>
                  <a:pt x="484" y="983"/>
                  <a:pt x="483" y="982"/>
                  <a:pt x="483" y="982"/>
                </a:cubicBezTo>
                <a:cubicBezTo>
                  <a:pt x="483" y="981"/>
                  <a:pt x="484" y="980"/>
                  <a:pt x="483" y="980"/>
                </a:cubicBezTo>
                <a:cubicBezTo>
                  <a:pt x="482" y="980"/>
                  <a:pt x="481" y="980"/>
                  <a:pt x="480" y="979"/>
                </a:cubicBezTo>
                <a:cubicBezTo>
                  <a:pt x="480" y="979"/>
                  <a:pt x="479" y="978"/>
                  <a:pt x="479" y="977"/>
                </a:cubicBezTo>
                <a:cubicBezTo>
                  <a:pt x="478" y="977"/>
                  <a:pt x="478" y="976"/>
                  <a:pt x="478" y="975"/>
                </a:cubicBezTo>
                <a:cubicBezTo>
                  <a:pt x="477" y="974"/>
                  <a:pt x="477" y="973"/>
                  <a:pt x="476" y="972"/>
                </a:cubicBezTo>
                <a:cubicBezTo>
                  <a:pt x="476" y="971"/>
                  <a:pt x="475" y="970"/>
                  <a:pt x="475" y="970"/>
                </a:cubicBezTo>
                <a:cubicBezTo>
                  <a:pt x="474" y="969"/>
                  <a:pt x="474" y="969"/>
                  <a:pt x="474" y="968"/>
                </a:cubicBezTo>
                <a:cubicBezTo>
                  <a:pt x="473" y="967"/>
                  <a:pt x="473" y="966"/>
                  <a:pt x="473" y="965"/>
                </a:cubicBezTo>
                <a:cubicBezTo>
                  <a:pt x="473" y="964"/>
                  <a:pt x="473" y="964"/>
                  <a:pt x="472" y="964"/>
                </a:cubicBezTo>
                <a:cubicBezTo>
                  <a:pt x="471" y="963"/>
                  <a:pt x="470" y="963"/>
                  <a:pt x="470" y="962"/>
                </a:cubicBezTo>
                <a:cubicBezTo>
                  <a:pt x="469" y="962"/>
                  <a:pt x="469" y="961"/>
                  <a:pt x="468" y="961"/>
                </a:cubicBezTo>
                <a:cubicBezTo>
                  <a:pt x="468" y="960"/>
                  <a:pt x="468" y="959"/>
                  <a:pt x="467" y="958"/>
                </a:cubicBezTo>
                <a:cubicBezTo>
                  <a:pt x="467" y="958"/>
                  <a:pt x="466" y="958"/>
                  <a:pt x="465" y="957"/>
                </a:cubicBezTo>
                <a:cubicBezTo>
                  <a:pt x="464" y="957"/>
                  <a:pt x="464" y="956"/>
                  <a:pt x="464" y="955"/>
                </a:cubicBezTo>
                <a:cubicBezTo>
                  <a:pt x="463" y="954"/>
                  <a:pt x="462" y="954"/>
                  <a:pt x="462" y="953"/>
                </a:cubicBezTo>
                <a:cubicBezTo>
                  <a:pt x="461" y="952"/>
                  <a:pt x="461" y="951"/>
                  <a:pt x="460" y="950"/>
                </a:cubicBezTo>
                <a:cubicBezTo>
                  <a:pt x="460" y="950"/>
                  <a:pt x="459" y="949"/>
                  <a:pt x="458" y="948"/>
                </a:cubicBezTo>
                <a:cubicBezTo>
                  <a:pt x="458" y="948"/>
                  <a:pt x="457" y="948"/>
                  <a:pt x="457" y="947"/>
                </a:cubicBezTo>
                <a:cubicBezTo>
                  <a:pt x="456" y="947"/>
                  <a:pt x="456" y="946"/>
                  <a:pt x="455" y="946"/>
                </a:cubicBezTo>
                <a:cubicBezTo>
                  <a:pt x="454" y="945"/>
                  <a:pt x="453" y="943"/>
                  <a:pt x="453" y="942"/>
                </a:cubicBezTo>
                <a:cubicBezTo>
                  <a:pt x="453" y="941"/>
                  <a:pt x="453" y="940"/>
                  <a:pt x="453" y="939"/>
                </a:cubicBezTo>
                <a:cubicBezTo>
                  <a:pt x="453" y="938"/>
                  <a:pt x="452" y="938"/>
                  <a:pt x="452" y="937"/>
                </a:cubicBezTo>
                <a:cubicBezTo>
                  <a:pt x="452" y="936"/>
                  <a:pt x="452" y="935"/>
                  <a:pt x="452" y="934"/>
                </a:cubicBezTo>
                <a:cubicBezTo>
                  <a:pt x="451" y="933"/>
                  <a:pt x="451" y="933"/>
                  <a:pt x="451" y="932"/>
                </a:cubicBezTo>
                <a:cubicBezTo>
                  <a:pt x="451" y="930"/>
                  <a:pt x="451" y="928"/>
                  <a:pt x="451" y="927"/>
                </a:cubicBezTo>
                <a:cubicBezTo>
                  <a:pt x="451" y="926"/>
                  <a:pt x="451" y="925"/>
                  <a:pt x="451" y="924"/>
                </a:cubicBezTo>
                <a:cubicBezTo>
                  <a:pt x="451" y="924"/>
                  <a:pt x="451" y="924"/>
                  <a:pt x="451" y="923"/>
                </a:cubicBezTo>
                <a:cubicBezTo>
                  <a:pt x="451" y="923"/>
                  <a:pt x="451" y="922"/>
                  <a:pt x="451" y="922"/>
                </a:cubicBezTo>
                <a:cubicBezTo>
                  <a:pt x="451" y="922"/>
                  <a:pt x="449" y="921"/>
                  <a:pt x="450" y="921"/>
                </a:cubicBezTo>
                <a:cubicBezTo>
                  <a:pt x="451" y="921"/>
                  <a:pt x="451" y="922"/>
                  <a:pt x="451" y="922"/>
                </a:cubicBezTo>
                <a:cubicBezTo>
                  <a:pt x="451" y="922"/>
                  <a:pt x="452" y="923"/>
                  <a:pt x="452" y="923"/>
                </a:cubicBezTo>
                <a:cubicBezTo>
                  <a:pt x="452" y="923"/>
                  <a:pt x="452" y="923"/>
                  <a:pt x="453" y="923"/>
                </a:cubicBezTo>
                <a:cubicBezTo>
                  <a:pt x="454" y="922"/>
                  <a:pt x="454" y="923"/>
                  <a:pt x="454" y="924"/>
                </a:cubicBezTo>
                <a:cubicBezTo>
                  <a:pt x="455" y="924"/>
                  <a:pt x="456" y="924"/>
                  <a:pt x="456" y="924"/>
                </a:cubicBezTo>
                <a:cubicBezTo>
                  <a:pt x="457" y="925"/>
                  <a:pt x="457" y="925"/>
                  <a:pt x="457" y="925"/>
                </a:cubicBezTo>
                <a:cubicBezTo>
                  <a:pt x="458" y="925"/>
                  <a:pt x="458" y="925"/>
                  <a:pt x="458" y="925"/>
                </a:cubicBezTo>
                <a:cubicBezTo>
                  <a:pt x="459" y="925"/>
                  <a:pt x="460" y="926"/>
                  <a:pt x="460" y="925"/>
                </a:cubicBezTo>
                <a:cubicBezTo>
                  <a:pt x="460" y="924"/>
                  <a:pt x="460" y="924"/>
                  <a:pt x="460" y="924"/>
                </a:cubicBezTo>
                <a:cubicBezTo>
                  <a:pt x="460" y="924"/>
                  <a:pt x="461" y="924"/>
                  <a:pt x="461" y="924"/>
                </a:cubicBezTo>
                <a:cubicBezTo>
                  <a:pt x="462" y="924"/>
                  <a:pt x="462" y="925"/>
                  <a:pt x="463" y="925"/>
                </a:cubicBezTo>
                <a:cubicBezTo>
                  <a:pt x="463" y="926"/>
                  <a:pt x="464" y="926"/>
                  <a:pt x="465" y="926"/>
                </a:cubicBezTo>
                <a:cubicBezTo>
                  <a:pt x="466" y="927"/>
                  <a:pt x="466" y="927"/>
                  <a:pt x="467" y="928"/>
                </a:cubicBezTo>
                <a:cubicBezTo>
                  <a:pt x="467" y="929"/>
                  <a:pt x="468" y="929"/>
                  <a:pt x="469" y="929"/>
                </a:cubicBezTo>
                <a:cubicBezTo>
                  <a:pt x="469" y="929"/>
                  <a:pt x="470" y="930"/>
                  <a:pt x="471" y="931"/>
                </a:cubicBezTo>
                <a:cubicBezTo>
                  <a:pt x="471" y="931"/>
                  <a:pt x="470" y="932"/>
                  <a:pt x="470" y="933"/>
                </a:cubicBezTo>
                <a:cubicBezTo>
                  <a:pt x="470" y="934"/>
                  <a:pt x="470" y="935"/>
                  <a:pt x="470" y="935"/>
                </a:cubicBezTo>
                <a:cubicBezTo>
                  <a:pt x="471" y="936"/>
                  <a:pt x="471" y="937"/>
                  <a:pt x="471" y="938"/>
                </a:cubicBezTo>
                <a:cubicBezTo>
                  <a:pt x="471" y="939"/>
                  <a:pt x="472" y="939"/>
                  <a:pt x="473" y="940"/>
                </a:cubicBezTo>
                <a:cubicBezTo>
                  <a:pt x="473" y="941"/>
                  <a:pt x="473" y="942"/>
                  <a:pt x="474" y="942"/>
                </a:cubicBezTo>
                <a:cubicBezTo>
                  <a:pt x="474" y="943"/>
                  <a:pt x="474" y="943"/>
                  <a:pt x="474" y="944"/>
                </a:cubicBezTo>
                <a:cubicBezTo>
                  <a:pt x="475" y="945"/>
                  <a:pt x="475" y="945"/>
                  <a:pt x="475" y="946"/>
                </a:cubicBezTo>
                <a:cubicBezTo>
                  <a:pt x="476" y="947"/>
                  <a:pt x="476" y="948"/>
                  <a:pt x="476" y="949"/>
                </a:cubicBezTo>
                <a:cubicBezTo>
                  <a:pt x="476" y="949"/>
                  <a:pt x="477" y="950"/>
                  <a:pt x="477" y="950"/>
                </a:cubicBezTo>
                <a:cubicBezTo>
                  <a:pt x="478" y="950"/>
                  <a:pt x="478" y="951"/>
                  <a:pt x="478" y="952"/>
                </a:cubicBezTo>
                <a:cubicBezTo>
                  <a:pt x="478" y="952"/>
                  <a:pt x="478" y="952"/>
                  <a:pt x="478" y="953"/>
                </a:cubicBezTo>
                <a:cubicBezTo>
                  <a:pt x="478" y="954"/>
                  <a:pt x="479" y="953"/>
                  <a:pt x="479" y="953"/>
                </a:cubicBezTo>
                <a:cubicBezTo>
                  <a:pt x="479" y="953"/>
                  <a:pt x="480" y="953"/>
                  <a:pt x="480" y="954"/>
                </a:cubicBezTo>
                <a:cubicBezTo>
                  <a:pt x="481" y="954"/>
                  <a:pt x="481" y="956"/>
                  <a:pt x="480" y="956"/>
                </a:cubicBezTo>
                <a:cubicBezTo>
                  <a:pt x="480" y="956"/>
                  <a:pt x="480" y="954"/>
                  <a:pt x="479" y="954"/>
                </a:cubicBezTo>
                <a:cubicBezTo>
                  <a:pt x="478" y="953"/>
                  <a:pt x="478" y="954"/>
                  <a:pt x="478" y="955"/>
                </a:cubicBezTo>
                <a:cubicBezTo>
                  <a:pt x="477" y="955"/>
                  <a:pt x="477" y="955"/>
                  <a:pt x="477" y="956"/>
                </a:cubicBezTo>
                <a:cubicBezTo>
                  <a:pt x="477" y="956"/>
                  <a:pt x="477" y="957"/>
                  <a:pt x="477" y="957"/>
                </a:cubicBezTo>
                <a:cubicBezTo>
                  <a:pt x="477" y="957"/>
                  <a:pt x="476" y="957"/>
                  <a:pt x="476" y="958"/>
                </a:cubicBezTo>
                <a:cubicBezTo>
                  <a:pt x="476" y="958"/>
                  <a:pt x="477" y="958"/>
                  <a:pt x="477" y="958"/>
                </a:cubicBezTo>
                <a:cubicBezTo>
                  <a:pt x="477" y="959"/>
                  <a:pt x="477" y="959"/>
                  <a:pt x="477" y="959"/>
                </a:cubicBezTo>
                <a:cubicBezTo>
                  <a:pt x="478" y="959"/>
                  <a:pt x="478" y="959"/>
                  <a:pt x="478" y="959"/>
                </a:cubicBezTo>
                <a:cubicBezTo>
                  <a:pt x="478" y="959"/>
                  <a:pt x="478" y="960"/>
                  <a:pt x="479" y="960"/>
                </a:cubicBezTo>
                <a:cubicBezTo>
                  <a:pt x="479" y="960"/>
                  <a:pt x="479" y="959"/>
                  <a:pt x="480" y="959"/>
                </a:cubicBezTo>
                <a:cubicBezTo>
                  <a:pt x="480" y="959"/>
                  <a:pt x="480" y="959"/>
                  <a:pt x="480" y="959"/>
                </a:cubicBezTo>
                <a:cubicBezTo>
                  <a:pt x="480" y="958"/>
                  <a:pt x="480" y="958"/>
                  <a:pt x="480" y="957"/>
                </a:cubicBezTo>
                <a:cubicBezTo>
                  <a:pt x="480" y="957"/>
                  <a:pt x="480" y="957"/>
                  <a:pt x="480" y="957"/>
                </a:cubicBezTo>
                <a:cubicBezTo>
                  <a:pt x="481" y="957"/>
                  <a:pt x="481" y="957"/>
                  <a:pt x="481" y="958"/>
                </a:cubicBezTo>
                <a:cubicBezTo>
                  <a:pt x="481" y="958"/>
                  <a:pt x="482" y="958"/>
                  <a:pt x="482" y="958"/>
                </a:cubicBezTo>
                <a:cubicBezTo>
                  <a:pt x="482" y="959"/>
                  <a:pt x="482" y="959"/>
                  <a:pt x="483" y="959"/>
                </a:cubicBezTo>
                <a:cubicBezTo>
                  <a:pt x="483" y="960"/>
                  <a:pt x="484" y="960"/>
                  <a:pt x="484" y="961"/>
                </a:cubicBezTo>
                <a:cubicBezTo>
                  <a:pt x="485" y="961"/>
                  <a:pt x="485" y="962"/>
                  <a:pt x="486" y="962"/>
                </a:cubicBezTo>
                <a:cubicBezTo>
                  <a:pt x="487" y="963"/>
                  <a:pt x="488" y="964"/>
                  <a:pt x="488" y="965"/>
                </a:cubicBezTo>
                <a:cubicBezTo>
                  <a:pt x="489" y="966"/>
                  <a:pt x="491" y="968"/>
                  <a:pt x="492" y="969"/>
                </a:cubicBezTo>
                <a:cubicBezTo>
                  <a:pt x="493" y="969"/>
                  <a:pt x="493" y="970"/>
                  <a:pt x="494" y="970"/>
                </a:cubicBezTo>
                <a:cubicBezTo>
                  <a:pt x="495" y="970"/>
                  <a:pt x="495" y="970"/>
                  <a:pt x="496" y="970"/>
                </a:cubicBezTo>
                <a:cubicBezTo>
                  <a:pt x="496" y="970"/>
                  <a:pt x="497" y="971"/>
                  <a:pt x="497" y="971"/>
                </a:cubicBezTo>
                <a:cubicBezTo>
                  <a:pt x="498" y="971"/>
                  <a:pt x="498" y="971"/>
                  <a:pt x="499" y="971"/>
                </a:cubicBezTo>
                <a:cubicBezTo>
                  <a:pt x="499" y="971"/>
                  <a:pt x="498" y="972"/>
                  <a:pt x="498" y="973"/>
                </a:cubicBezTo>
                <a:cubicBezTo>
                  <a:pt x="498" y="973"/>
                  <a:pt x="498" y="974"/>
                  <a:pt x="498" y="975"/>
                </a:cubicBezTo>
                <a:cubicBezTo>
                  <a:pt x="499" y="976"/>
                  <a:pt x="499" y="976"/>
                  <a:pt x="500" y="977"/>
                </a:cubicBezTo>
                <a:cubicBezTo>
                  <a:pt x="500" y="978"/>
                  <a:pt x="500" y="978"/>
                  <a:pt x="501" y="979"/>
                </a:cubicBezTo>
                <a:cubicBezTo>
                  <a:pt x="502" y="979"/>
                  <a:pt x="502" y="980"/>
                  <a:pt x="503" y="980"/>
                </a:cubicBezTo>
                <a:cubicBezTo>
                  <a:pt x="504" y="980"/>
                  <a:pt x="505" y="980"/>
                  <a:pt x="506" y="980"/>
                </a:cubicBezTo>
                <a:cubicBezTo>
                  <a:pt x="506" y="981"/>
                  <a:pt x="506" y="982"/>
                  <a:pt x="506" y="982"/>
                </a:cubicBezTo>
                <a:cubicBezTo>
                  <a:pt x="507" y="983"/>
                  <a:pt x="507" y="984"/>
                  <a:pt x="508" y="984"/>
                </a:cubicBezTo>
                <a:cubicBezTo>
                  <a:pt x="509" y="984"/>
                  <a:pt x="509" y="984"/>
                  <a:pt x="510" y="984"/>
                </a:cubicBezTo>
                <a:cubicBezTo>
                  <a:pt x="511" y="985"/>
                  <a:pt x="512" y="985"/>
                  <a:pt x="512" y="986"/>
                </a:cubicBezTo>
                <a:cubicBezTo>
                  <a:pt x="513" y="986"/>
                  <a:pt x="514" y="988"/>
                  <a:pt x="515" y="989"/>
                </a:cubicBezTo>
                <a:cubicBezTo>
                  <a:pt x="515" y="990"/>
                  <a:pt x="514" y="990"/>
                  <a:pt x="514" y="990"/>
                </a:cubicBezTo>
                <a:cubicBezTo>
                  <a:pt x="513" y="991"/>
                  <a:pt x="513" y="992"/>
                  <a:pt x="513" y="993"/>
                </a:cubicBezTo>
                <a:cubicBezTo>
                  <a:pt x="513" y="993"/>
                  <a:pt x="512" y="993"/>
                  <a:pt x="512" y="994"/>
                </a:cubicBezTo>
                <a:cubicBezTo>
                  <a:pt x="512" y="994"/>
                  <a:pt x="512" y="995"/>
                  <a:pt x="512" y="995"/>
                </a:cubicBezTo>
                <a:cubicBezTo>
                  <a:pt x="512" y="995"/>
                  <a:pt x="511" y="997"/>
                  <a:pt x="512" y="997"/>
                </a:cubicBezTo>
                <a:cubicBezTo>
                  <a:pt x="512" y="997"/>
                  <a:pt x="512" y="996"/>
                  <a:pt x="513" y="997"/>
                </a:cubicBezTo>
                <a:cubicBezTo>
                  <a:pt x="513" y="997"/>
                  <a:pt x="513" y="998"/>
                  <a:pt x="513" y="998"/>
                </a:cubicBezTo>
                <a:cubicBezTo>
                  <a:pt x="513" y="998"/>
                  <a:pt x="514" y="998"/>
                  <a:pt x="514" y="998"/>
                </a:cubicBezTo>
                <a:cubicBezTo>
                  <a:pt x="515" y="998"/>
                  <a:pt x="515" y="999"/>
                  <a:pt x="516" y="999"/>
                </a:cubicBezTo>
                <a:cubicBezTo>
                  <a:pt x="516" y="999"/>
                  <a:pt x="516" y="998"/>
                  <a:pt x="517" y="998"/>
                </a:cubicBezTo>
                <a:cubicBezTo>
                  <a:pt x="517" y="998"/>
                  <a:pt x="517" y="998"/>
                  <a:pt x="517" y="999"/>
                </a:cubicBezTo>
                <a:cubicBezTo>
                  <a:pt x="517" y="999"/>
                  <a:pt x="517" y="999"/>
                  <a:pt x="517" y="999"/>
                </a:cubicBezTo>
                <a:cubicBezTo>
                  <a:pt x="517" y="1000"/>
                  <a:pt x="516" y="1000"/>
                  <a:pt x="517" y="1000"/>
                </a:cubicBezTo>
                <a:cubicBezTo>
                  <a:pt x="518" y="1000"/>
                  <a:pt x="519" y="1001"/>
                  <a:pt x="519" y="1001"/>
                </a:cubicBezTo>
                <a:cubicBezTo>
                  <a:pt x="520" y="1001"/>
                  <a:pt x="521" y="1001"/>
                  <a:pt x="522" y="1002"/>
                </a:cubicBezTo>
                <a:cubicBezTo>
                  <a:pt x="522" y="1002"/>
                  <a:pt x="523" y="1002"/>
                  <a:pt x="524" y="1003"/>
                </a:cubicBezTo>
                <a:cubicBezTo>
                  <a:pt x="524" y="1003"/>
                  <a:pt x="525" y="1004"/>
                  <a:pt x="526" y="1004"/>
                </a:cubicBezTo>
                <a:cubicBezTo>
                  <a:pt x="526" y="1005"/>
                  <a:pt x="527" y="1005"/>
                  <a:pt x="527" y="1005"/>
                </a:cubicBezTo>
                <a:cubicBezTo>
                  <a:pt x="527" y="1005"/>
                  <a:pt x="527" y="1005"/>
                  <a:pt x="528" y="1006"/>
                </a:cubicBezTo>
                <a:cubicBezTo>
                  <a:pt x="529" y="1007"/>
                  <a:pt x="529" y="1009"/>
                  <a:pt x="529" y="1010"/>
                </a:cubicBezTo>
                <a:cubicBezTo>
                  <a:pt x="529" y="1011"/>
                  <a:pt x="529" y="1011"/>
                  <a:pt x="530" y="1012"/>
                </a:cubicBezTo>
                <a:cubicBezTo>
                  <a:pt x="530" y="1012"/>
                  <a:pt x="531" y="1012"/>
                  <a:pt x="531" y="1012"/>
                </a:cubicBezTo>
                <a:cubicBezTo>
                  <a:pt x="532" y="1012"/>
                  <a:pt x="532" y="1012"/>
                  <a:pt x="532" y="1013"/>
                </a:cubicBezTo>
                <a:cubicBezTo>
                  <a:pt x="533" y="1013"/>
                  <a:pt x="533" y="1012"/>
                  <a:pt x="534" y="1012"/>
                </a:cubicBezTo>
                <a:cubicBezTo>
                  <a:pt x="534" y="1012"/>
                  <a:pt x="534" y="1013"/>
                  <a:pt x="534" y="1013"/>
                </a:cubicBezTo>
                <a:cubicBezTo>
                  <a:pt x="533" y="1013"/>
                  <a:pt x="533" y="1013"/>
                  <a:pt x="533" y="1013"/>
                </a:cubicBezTo>
                <a:cubicBezTo>
                  <a:pt x="533" y="1014"/>
                  <a:pt x="534" y="1015"/>
                  <a:pt x="535" y="1015"/>
                </a:cubicBezTo>
                <a:cubicBezTo>
                  <a:pt x="535" y="1016"/>
                  <a:pt x="536" y="1016"/>
                  <a:pt x="537" y="1016"/>
                </a:cubicBezTo>
                <a:cubicBezTo>
                  <a:pt x="537" y="1017"/>
                  <a:pt x="538" y="1017"/>
                  <a:pt x="539" y="1018"/>
                </a:cubicBezTo>
                <a:cubicBezTo>
                  <a:pt x="539" y="1019"/>
                  <a:pt x="540" y="1020"/>
                  <a:pt x="540" y="1020"/>
                </a:cubicBezTo>
                <a:cubicBezTo>
                  <a:pt x="541" y="1021"/>
                  <a:pt x="542" y="1021"/>
                  <a:pt x="542" y="1022"/>
                </a:cubicBezTo>
                <a:cubicBezTo>
                  <a:pt x="542" y="1023"/>
                  <a:pt x="543" y="1023"/>
                  <a:pt x="543" y="1024"/>
                </a:cubicBezTo>
                <a:cubicBezTo>
                  <a:pt x="544" y="1025"/>
                  <a:pt x="545" y="1026"/>
                  <a:pt x="546" y="1027"/>
                </a:cubicBezTo>
                <a:cubicBezTo>
                  <a:pt x="546" y="1027"/>
                  <a:pt x="547" y="1028"/>
                  <a:pt x="548" y="1029"/>
                </a:cubicBezTo>
                <a:cubicBezTo>
                  <a:pt x="548" y="1029"/>
                  <a:pt x="549" y="1030"/>
                  <a:pt x="549" y="1031"/>
                </a:cubicBezTo>
                <a:cubicBezTo>
                  <a:pt x="550" y="1032"/>
                  <a:pt x="551" y="1032"/>
                  <a:pt x="551" y="1033"/>
                </a:cubicBezTo>
                <a:cubicBezTo>
                  <a:pt x="552" y="1033"/>
                  <a:pt x="552" y="1034"/>
                  <a:pt x="553" y="1035"/>
                </a:cubicBezTo>
                <a:cubicBezTo>
                  <a:pt x="553" y="1035"/>
                  <a:pt x="554" y="1036"/>
                  <a:pt x="554" y="1036"/>
                </a:cubicBezTo>
                <a:cubicBezTo>
                  <a:pt x="555" y="1037"/>
                  <a:pt x="555" y="1038"/>
                  <a:pt x="555" y="1039"/>
                </a:cubicBezTo>
                <a:cubicBezTo>
                  <a:pt x="555" y="1040"/>
                  <a:pt x="555" y="1041"/>
                  <a:pt x="555" y="1042"/>
                </a:cubicBezTo>
                <a:cubicBezTo>
                  <a:pt x="555" y="1043"/>
                  <a:pt x="556" y="1043"/>
                  <a:pt x="556" y="1044"/>
                </a:cubicBezTo>
                <a:cubicBezTo>
                  <a:pt x="557" y="1045"/>
                  <a:pt x="557" y="1045"/>
                  <a:pt x="557" y="1046"/>
                </a:cubicBezTo>
                <a:cubicBezTo>
                  <a:pt x="558" y="1046"/>
                  <a:pt x="558" y="1047"/>
                  <a:pt x="558" y="1047"/>
                </a:cubicBezTo>
                <a:cubicBezTo>
                  <a:pt x="558" y="1047"/>
                  <a:pt x="558" y="1048"/>
                  <a:pt x="559" y="1048"/>
                </a:cubicBezTo>
                <a:cubicBezTo>
                  <a:pt x="559" y="1048"/>
                  <a:pt x="559" y="1048"/>
                  <a:pt x="559" y="1048"/>
                </a:cubicBezTo>
                <a:cubicBezTo>
                  <a:pt x="560" y="1049"/>
                  <a:pt x="560" y="1050"/>
                  <a:pt x="560" y="1050"/>
                </a:cubicBezTo>
                <a:cubicBezTo>
                  <a:pt x="559" y="1051"/>
                  <a:pt x="559" y="1051"/>
                  <a:pt x="559" y="1052"/>
                </a:cubicBezTo>
                <a:cubicBezTo>
                  <a:pt x="559" y="1052"/>
                  <a:pt x="558" y="1053"/>
                  <a:pt x="558" y="1053"/>
                </a:cubicBezTo>
                <a:cubicBezTo>
                  <a:pt x="558" y="1054"/>
                  <a:pt x="558" y="1055"/>
                  <a:pt x="558" y="1055"/>
                </a:cubicBezTo>
                <a:cubicBezTo>
                  <a:pt x="557" y="1056"/>
                  <a:pt x="556" y="1056"/>
                  <a:pt x="556" y="1056"/>
                </a:cubicBezTo>
                <a:cubicBezTo>
                  <a:pt x="557" y="1057"/>
                  <a:pt x="557" y="1057"/>
                  <a:pt x="558" y="1057"/>
                </a:cubicBezTo>
                <a:cubicBezTo>
                  <a:pt x="558" y="1057"/>
                  <a:pt x="558" y="1057"/>
                  <a:pt x="559" y="1057"/>
                </a:cubicBezTo>
                <a:cubicBezTo>
                  <a:pt x="559" y="1058"/>
                  <a:pt x="560" y="1059"/>
                  <a:pt x="560" y="1059"/>
                </a:cubicBezTo>
                <a:cubicBezTo>
                  <a:pt x="559" y="1059"/>
                  <a:pt x="559" y="1059"/>
                  <a:pt x="558" y="1059"/>
                </a:cubicBezTo>
                <a:cubicBezTo>
                  <a:pt x="558" y="1059"/>
                  <a:pt x="558" y="1059"/>
                  <a:pt x="557" y="1060"/>
                </a:cubicBezTo>
                <a:cubicBezTo>
                  <a:pt x="557" y="1060"/>
                  <a:pt x="556" y="1060"/>
                  <a:pt x="555" y="1060"/>
                </a:cubicBezTo>
                <a:cubicBezTo>
                  <a:pt x="555" y="1061"/>
                  <a:pt x="555" y="1062"/>
                  <a:pt x="555" y="1063"/>
                </a:cubicBezTo>
                <a:cubicBezTo>
                  <a:pt x="556" y="1063"/>
                  <a:pt x="556" y="1064"/>
                  <a:pt x="556" y="1064"/>
                </a:cubicBezTo>
                <a:cubicBezTo>
                  <a:pt x="556" y="1065"/>
                  <a:pt x="557" y="1066"/>
                  <a:pt x="558" y="1067"/>
                </a:cubicBezTo>
                <a:cubicBezTo>
                  <a:pt x="558" y="1067"/>
                  <a:pt x="559" y="1068"/>
                  <a:pt x="559" y="1069"/>
                </a:cubicBezTo>
                <a:cubicBezTo>
                  <a:pt x="559" y="1069"/>
                  <a:pt x="559" y="1070"/>
                  <a:pt x="560" y="1070"/>
                </a:cubicBezTo>
                <a:cubicBezTo>
                  <a:pt x="560" y="1071"/>
                  <a:pt x="560" y="1071"/>
                  <a:pt x="561" y="1071"/>
                </a:cubicBezTo>
                <a:cubicBezTo>
                  <a:pt x="562" y="1073"/>
                  <a:pt x="563" y="1073"/>
                  <a:pt x="564" y="1074"/>
                </a:cubicBezTo>
                <a:cubicBezTo>
                  <a:pt x="566" y="1075"/>
                  <a:pt x="567" y="1076"/>
                  <a:pt x="569" y="1077"/>
                </a:cubicBezTo>
                <a:cubicBezTo>
                  <a:pt x="570" y="1077"/>
                  <a:pt x="571" y="1077"/>
                  <a:pt x="572" y="1078"/>
                </a:cubicBezTo>
                <a:cubicBezTo>
                  <a:pt x="572" y="1078"/>
                  <a:pt x="573" y="1079"/>
                  <a:pt x="573" y="1079"/>
                </a:cubicBezTo>
                <a:cubicBezTo>
                  <a:pt x="573" y="1079"/>
                  <a:pt x="573" y="1079"/>
                  <a:pt x="573" y="1079"/>
                </a:cubicBezTo>
                <a:cubicBezTo>
                  <a:pt x="574" y="1079"/>
                  <a:pt x="574" y="1079"/>
                  <a:pt x="574" y="1079"/>
                </a:cubicBezTo>
                <a:cubicBezTo>
                  <a:pt x="574" y="1079"/>
                  <a:pt x="575" y="1080"/>
                  <a:pt x="575" y="1080"/>
                </a:cubicBezTo>
                <a:cubicBezTo>
                  <a:pt x="576" y="1081"/>
                  <a:pt x="576" y="1081"/>
                  <a:pt x="577" y="1082"/>
                </a:cubicBezTo>
                <a:cubicBezTo>
                  <a:pt x="578" y="1083"/>
                  <a:pt x="579" y="1085"/>
                  <a:pt x="580" y="1086"/>
                </a:cubicBezTo>
                <a:cubicBezTo>
                  <a:pt x="582" y="1087"/>
                  <a:pt x="584" y="1087"/>
                  <a:pt x="585" y="1087"/>
                </a:cubicBezTo>
                <a:cubicBezTo>
                  <a:pt x="586" y="1088"/>
                  <a:pt x="587" y="1088"/>
                  <a:pt x="588" y="1088"/>
                </a:cubicBezTo>
                <a:cubicBezTo>
                  <a:pt x="588" y="1088"/>
                  <a:pt x="589" y="1088"/>
                  <a:pt x="589" y="1089"/>
                </a:cubicBezTo>
                <a:cubicBezTo>
                  <a:pt x="590" y="1089"/>
                  <a:pt x="590" y="1089"/>
                  <a:pt x="591" y="1090"/>
                </a:cubicBezTo>
                <a:cubicBezTo>
                  <a:pt x="592" y="1090"/>
                  <a:pt x="592" y="1090"/>
                  <a:pt x="592" y="1090"/>
                </a:cubicBezTo>
                <a:cubicBezTo>
                  <a:pt x="593" y="1090"/>
                  <a:pt x="594" y="1091"/>
                  <a:pt x="594" y="1091"/>
                </a:cubicBezTo>
                <a:cubicBezTo>
                  <a:pt x="595" y="1090"/>
                  <a:pt x="596" y="1090"/>
                  <a:pt x="597" y="1090"/>
                </a:cubicBezTo>
                <a:cubicBezTo>
                  <a:pt x="597" y="1090"/>
                  <a:pt x="598" y="1090"/>
                  <a:pt x="598" y="1091"/>
                </a:cubicBezTo>
                <a:cubicBezTo>
                  <a:pt x="599" y="1091"/>
                  <a:pt x="599" y="1091"/>
                  <a:pt x="600" y="1092"/>
                </a:cubicBezTo>
                <a:cubicBezTo>
                  <a:pt x="601" y="1092"/>
                  <a:pt x="601" y="1093"/>
                  <a:pt x="602" y="1093"/>
                </a:cubicBezTo>
                <a:cubicBezTo>
                  <a:pt x="602" y="1094"/>
                  <a:pt x="603" y="1094"/>
                  <a:pt x="604" y="1095"/>
                </a:cubicBezTo>
                <a:cubicBezTo>
                  <a:pt x="604" y="1095"/>
                  <a:pt x="605" y="1096"/>
                  <a:pt x="605" y="1096"/>
                </a:cubicBezTo>
                <a:cubicBezTo>
                  <a:pt x="606" y="1097"/>
                  <a:pt x="607" y="1097"/>
                  <a:pt x="608" y="1097"/>
                </a:cubicBezTo>
                <a:cubicBezTo>
                  <a:pt x="608" y="1098"/>
                  <a:pt x="609" y="1098"/>
                  <a:pt x="610" y="1098"/>
                </a:cubicBezTo>
                <a:cubicBezTo>
                  <a:pt x="610" y="1099"/>
                  <a:pt x="611" y="1099"/>
                  <a:pt x="611" y="1099"/>
                </a:cubicBezTo>
                <a:cubicBezTo>
                  <a:pt x="611" y="1099"/>
                  <a:pt x="612" y="1099"/>
                  <a:pt x="612" y="1099"/>
                </a:cubicBezTo>
                <a:cubicBezTo>
                  <a:pt x="613" y="1099"/>
                  <a:pt x="613" y="1100"/>
                  <a:pt x="613" y="1100"/>
                </a:cubicBezTo>
                <a:cubicBezTo>
                  <a:pt x="614" y="1100"/>
                  <a:pt x="614" y="1100"/>
                  <a:pt x="615" y="1100"/>
                </a:cubicBezTo>
                <a:cubicBezTo>
                  <a:pt x="616" y="1101"/>
                  <a:pt x="617" y="1101"/>
                  <a:pt x="618" y="1101"/>
                </a:cubicBezTo>
                <a:cubicBezTo>
                  <a:pt x="619" y="1102"/>
                  <a:pt x="621" y="1103"/>
                  <a:pt x="622" y="1104"/>
                </a:cubicBezTo>
                <a:cubicBezTo>
                  <a:pt x="624" y="1104"/>
                  <a:pt x="625" y="1105"/>
                  <a:pt x="627" y="1105"/>
                </a:cubicBezTo>
                <a:cubicBezTo>
                  <a:pt x="629" y="1106"/>
                  <a:pt x="631" y="1106"/>
                  <a:pt x="632" y="1107"/>
                </a:cubicBezTo>
                <a:cubicBezTo>
                  <a:pt x="633" y="1107"/>
                  <a:pt x="634" y="1107"/>
                  <a:pt x="635" y="1108"/>
                </a:cubicBezTo>
                <a:cubicBezTo>
                  <a:pt x="635" y="1108"/>
                  <a:pt x="636" y="1109"/>
                  <a:pt x="636" y="1109"/>
                </a:cubicBezTo>
                <a:cubicBezTo>
                  <a:pt x="636" y="1109"/>
                  <a:pt x="637" y="1109"/>
                  <a:pt x="637" y="1110"/>
                </a:cubicBezTo>
                <a:cubicBezTo>
                  <a:pt x="638" y="1110"/>
                  <a:pt x="640" y="1110"/>
                  <a:pt x="641" y="1111"/>
                </a:cubicBezTo>
                <a:cubicBezTo>
                  <a:pt x="641" y="1111"/>
                  <a:pt x="642" y="1112"/>
                  <a:pt x="643" y="1112"/>
                </a:cubicBezTo>
                <a:cubicBezTo>
                  <a:pt x="644" y="1112"/>
                  <a:pt x="644" y="1112"/>
                  <a:pt x="645" y="1113"/>
                </a:cubicBezTo>
                <a:cubicBezTo>
                  <a:pt x="646" y="1113"/>
                  <a:pt x="646" y="1114"/>
                  <a:pt x="647" y="1114"/>
                </a:cubicBezTo>
                <a:cubicBezTo>
                  <a:pt x="648" y="1114"/>
                  <a:pt x="649" y="1114"/>
                  <a:pt x="650" y="1114"/>
                </a:cubicBezTo>
                <a:cubicBezTo>
                  <a:pt x="651" y="1114"/>
                  <a:pt x="652" y="1114"/>
                  <a:pt x="652" y="1114"/>
                </a:cubicBezTo>
                <a:cubicBezTo>
                  <a:pt x="653" y="1114"/>
                  <a:pt x="653" y="1115"/>
                  <a:pt x="654" y="1116"/>
                </a:cubicBezTo>
                <a:cubicBezTo>
                  <a:pt x="656" y="1116"/>
                  <a:pt x="657" y="1117"/>
                  <a:pt x="659" y="1117"/>
                </a:cubicBezTo>
                <a:cubicBezTo>
                  <a:pt x="660" y="1117"/>
                  <a:pt x="660" y="1117"/>
                  <a:pt x="661" y="1117"/>
                </a:cubicBezTo>
                <a:cubicBezTo>
                  <a:pt x="662" y="1117"/>
                  <a:pt x="662" y="1117"/>
                  <a:pt x="663" y="1116"/>
                </a:cubicBezTo>
                <a:cubicBezTo>
                  <a:pt x="663" y="1116"/>
                  <a:pt x="664" y="1116"/>
                  <a:pt x="664" y="1116"/>
                </a:cubicBezTo>
                <a:cubicBezTo>
                  <a:pt x="665" y="1116"/>
                  <a:pt x="665" y="1115"/>
                  <a:pt x="666" y="1115"/>
                </a:cubicBezTo>
                <a:cubicBezTo>
                  <a:pt x="667" y="1115"/>
                  <a:pt x="667" y="1114"/>
                  <a:pt x="668" y="1114"/>
                </a:cubicBezTo>
                <a:cubicBezTo>
                  <a:pt x="669" y="1114"/>
                  <a:pt x="670" y="1114"/>
                  <a:pt x="671" y="1113"/>
                </a:cubicBezTo>
                <a:cubicBezTo>
                  <a:pt x="673" y="1112"/>
                  <a:pt x="674" y="1110"/>
                  <a:pt x="677" y="1111"/>
                </a:cubicBezTo>
                <a:cubicBezTo>
                  <a:pt x="677" y="1111"/>
                  <a:pt x="679" y="1111"/>
                  <a:pt x="678" y="1110"/>
                </a:cubicBezTo>
                <a:cubicBezTo>
                  <a:pt x="678" y="1110"/>
                  <a:pt x="677" y="1110"/>
                  <a:pt x="676" y="1110"/>
                </a:cubicBezTo>
                <a:cubicBezTo>
                  <a:pt x="676" y="1110"/>
                  <a:pt x="676" y="1110"/>
                  <a:pt x="677" y="1109"/>
                </a:cubicBezTo>
                <a:cubicBezTo>
                  <a:pt x="677" y="1109"/>
                  <a:pt x="677" y="1109"/>
                  <a:pt x="678" y="1109"/>
                </a:cubicBezTo>
                <a:cubicBezTo>
                  <a:pt x="679" y="1108"/>
                  <a:pt x="678" y="1110"/>
                  <a:pt x="679" y="1110"/>
                </a:cubicBezTo>
                <a:cubicBezTo>
                  <a:pt x="680" y="1110"/>
                  <a:pt x="680" y="1109"/>
                  <a:pt x="681" y="1109"/>
                </a:cubicBezTo>
                <a:cubicBezTo>
                  <a:pt x="681" y="1110"/>
                  <a:pt x="679" y="1110"/>
                  <a:pt x="679" y="1111"/>
                </a:cubicBezTo>
                <a:cubicBezTo>
                  <a:pt x="680" y="1111"/>
                  <a:pt x="681" y="1110"/>
                  <a:pt x="682" y="1110"/>
                </a:cubicBezTo>
                <a:cubicBezTo>
                  <a:pt x="682" y="1110"/>
                  <a:pt x="683" y="1111"/>
                  <a:pt x="683" y="1111"/>
                </a:cubicBezTo>
                <a:cubicBezTo>
                  <a:pt x="684" y="1111"/>
                  <a:pt x="684" y="1111"/>
                  <a:pt x="685" y="1111"/>
                </a:cubicBezTo>
                <a:cubicBezTo>
                  <a:pt x="685" y="1111"/>
                  <a:pt x="685" y="1111"/>
                  <a:pt x="686" y="1111"/>
                </a:cubicBezTo>
                <a:cubicBezTo>
                  <a:pt x="686" y="1112"/>
                  <a:pt x="688" y="1113"/>
                  <a:pt x="687" y="1112"/>
                </a:cubicBezTo>
                <a:cubicBezTo>
                  <a:pt x="687" y="1112"/>
                  <a:pt x="686" y="1111"/>
                  <a:pt x="686" y="1111"/>
                </a:cubicBezTo>
                <a:cubicBezTo>
                  <a:pt x="685" y="1110"/>
                  <a:pt x="684" y="1111"/>
                  <a:pt x="684" y="1110"/>
                </a:cubicBezTo>
                <a:cubicBezTo>
                  <a:pt x="685" y="1109"/>
                  <a:pt x="686" y="1111"/>
                  <a:pt x="687" y="1111"/>
                </a:cubicBezTo>
                <a:cubicBezTo>
                  <a:pt x="688" y="1112"/>
                  <a:pt x="688" y="1112"/>
                  <a:pt x="689" y="1112"/>
                </a:cubicBezTo>
                <a:cubicBezTo>
                  <a:pt x="689" y="1113"/>
                  <a:pt x="689" y="1113"/>
                  <a:pt x="690" y="1113"/>
                </a:cubicBezTo>
                <a:cubicBezTo>
                  <a:pt x="690" y="1114"/>
                  <a:pt x="691" y="1114"/>
                  <a:pt x="691" y="1114"/>
                </a:cubicBezTo>
                <a:cubicBezTo>
                  <a:pt x="692" y="1115"/>
                  <a:pt x="693" y="1116"/>
                  <a:pt x="693" y="1116"/>
                </a:cubicBezTo>
                <a:cubicBezTo>
                  <a:pt x="694" y="1117"/>
                  <a:pt x="695" y="1117"/>
                  <a:pt x="695" y="1117"/>
                </a:cubicBezTo>
                <a:cubicBezTo>
                  <a:pt x="696" y="1118"/>
                  <a:pt x="696" y="1118"/>
                  <a:pt x="697" y="1119"/>
                </a:cubicBezTo>
                <a:cubicBezTo>
                  <a:pt x="698" y="1120"/>
                  <a:pt x="698" y="1120"/>
                  <a:pt x="699" y="1121"/>
                </a:cubicBezTo>
                <a:cubicBezTo>
                  <a:pt x="699" y="1121"/>
                  <a:pt x="700" y="1122"/>
                  <a:pt x="700" y="1122"/>
                </a:cubicBezTo>
                <a:cubicBezTo>
                  <a:pt x="702" y="1122"/>
                  <a:pt x="702" y="1124"/>
                  <a:pt x="703" y="1125"/>
                </a:cubicBezTo>
                <a:cubicBezTo>
                  <a:pt x="704" y="1126"/>
                  <a:pt x="704" y="1126"/>
                  <a:pt x="705" y="1127"/>
                </a:cubicBezTo>
                <a:cubicBezTo>
                  <a:pt x="705" y="1127"/>
                  <a:pt x="705" y="1127"/>
                  <a:pt x="706" y="1128"/>
                </a:cubicBezTo>
                <a:cubicBezTo>
                  <a:pt x="706" y="1128"/>
                  <a:pt x="706" y="1128"/>
                  <a:pt x="706" y="1129"/>
                </a:cubicBezTo>
                <a:cubicBezTo>
                  <a:pt x="707" y="1129"/>
                  <a:pt x="707" y="1129"/>
                  <a:pt x="707" y="1129"/>
                </a:cubicBezTo>
                <a:cubicBezTo>
                  <a:pt x="708" y="1130"/>
                  <a:pt x="708" y="1130"/>
                  <a:pt x="708" y="1130"/>
                </a:cubicBezTo>
                <a:cubicBezTo>
                  <a:pt x="709" y="1131"/>
                  <a:pt x="709" y="1131"/>
                  <a:pt x="710" y="1131"/>
                </a:cubicBezTo>
                <a:cubicBezTo>
                  <a:pt x="711" y="1132"/>
                  <a:pt x="712" y="1133"/>
                  <a:pt x="713" y="1134"/>
                </a:cubicBezTo>
                <a:cubicBezTo>
                  <a:pt x="714" y="1135"/>
                  <a:pt x="714" y="1135"/>
                  <a:pt x="715" y="1135"/>
                </a:cubicBezTo>
                <a:cubicBezTo>
                  <a:pt x="716" y="1136"/>
                  <a:pt x="717" y="1136"/>
                  <a:pt x="718" y="1136"/>
                </a:cubicBezTo>
                <a:cubicBezTo>
                  <a:pt x="719" y="1136"/>
                  <a:pt x="720" y="1137"/>
                  <a:pt x="722" y="1137"/>
                </a:cubicBezTo>
                <a:cubicBezTo>
                  <a:pt x="724" y="1137"/>
                  <a:pt x="725" y="1137"/>
                  <a:pt x="727" y="1137"/>
                </a:cubicBezTo>
                <a:cubicBezTo>
                  <a:pt x="728" y="1137"/>
                  <a:pt x="729" y="1137"/>
                  <a:pt x="729" y="1138"/>
                </a:cubicBezTo>
                <a:cubicBezTo>
                  <a:pt x="730" y="1138"/>
                  <a:pt x="730" y="1139"/>
                  <a:pt x="731" y="1139"/>
                </a:cubicBezTo>
                <a:cubicBezTo>
                  <a:pt x="732" y="1139"/>
                  <a:pt x="733" y="1139"/>
                  <a:pt x="733" y="1140"/>
                </a:cubicBezTo>
                <a:cubicBezTo>
                  <a:pt x="734" y="1140"/>
                  <a:pt x="735" y="1140"/>
                  <a:pt x="736" y="1141"/>
                </a:cubicBezTo>
                <a:cubicBezTo>
                  <a:pt x="736" y="1141"/>
                  <a:pt x="737" y="1142"/>
                  <a:pt x="738" y="1142"/>
                </a:cubicBezTo>
                <a:cubicBezTo>
                  <a:pt x="739" y="1142"/>
                  <a:pt x="740" y="1142"/>
                  <a:pt x="741" y="1143"/>
                </a:cubicBezTo>
                <a:cubicBezTo>
                  <a:pt x="742" y="1143"/>
                  <a:pt x="743" y="1143"/>
                  <a:pt x="744" y="1144"/>
                </a:cubicBezTo>
                <a:cubicBezTo>
                  <a:pt x="745" y="1144"/>
                  <a:pt x="745" y="1144"/>
                  <a:pt x="746" y="1145"/>
                </a:cubicBezTo>
                <a:cubicBezTo>
                  <a:pt x="747" y="1145"/>
                  <a:pt x="747" y="1145"/>
                  <a:pt x="748" y="1145"/>
                </a:cubicBezTo>
                <a:cubicBezTo>
                  <a:pt x="749" y="1145"/>
                  <a:pt x="750" y="1145"/>
                  <a:pt x="751" y="1145"/>
                </a:cubicBezTo>
                <a:cubicBezTo>
                  <a:pt x="752" y="1145"/>
                  <a:pt x="752" y="1146"/>
                  <a:pt x="753" y="1146"/>
                </a:cubicBezTo>
                <a:cubicBezTo>
                  <a:pt x="754" y="1146"/>
                  <a:pt x="755" y="1146"/>
                  <a:pt x="756" y="1146"/>
                </a:cubicBezTo>
                <a:cubicBezTo>
                  <a:pt x="757" y="1146"/>
                  <a:pt x="758" y="1146"/>
                  <a:pt x="758" y="1144"/>
                </a:cubicBezTo>
                <a:cubicBezTo>
                  <a:pt x="758" y="1144"/>
                  <a:pt x="758" y="1143"/>
                  <a:pt x="759" y="1143"/>
                </a:cubicBezTo>
                <a:cubicBezTo>
                  <a:pt x="759" y="1143"/>
                  <a:pt x="760" y="1142"/>
                  <a:pt x="761" y="1143"/>
                </a:cubicBezTo>
                <a:cubicBezTo>
                  <a:pt x="761" y="1143"/>
                  <a:pt x="762" y="1143"/>
                  <a:pt x="762" y="1143"/>
                </a:cubicBezTo>
                <a:cubicBezTo>
                  <a:pt x="763" y="1143"/>
                  <a:pt x="763" y="1143"/>
                  <a:pt x="763" y="1144"/>
                </a:cubicBezTo>
                <a:cubicBezTo>
                  <a:pt x="763" y="1144"/>
                  <a:pt x="762" y="1144"/>
                  <a:pt x="762" y="1144"/>
                </a:cubicBezTo>
                <a:cubicBezTo>
                  <a:pt x="762" y="1144"/>
                  <a:pt x="762" y="1145"/>
                  <a:pt x="762" y="1145"/>
                </a:cubicBezTo>
                <a:cubicBezTo>
                  <a:pt x="762" y="1145"/>
                  <a:pt x="762" y="1145"/>
                  <a:pt x="762" y="1145"/>
                </a:cubicBezTo>
                <a:cubicBezTo>
                  <a:pt x="763" y="1145"/>
                  <a:pt x="763" y="1146"/>
                  <a:pt x="763" y="1146"/>
                </a:cubicBezTo>
                <a:cubicBezTo>
                  <a:pt x="763" y="1146"/>
                  <a:pt x="763" y="1146"/>
                  <a:pt x="764" y="1146"/>
                </a:cubicBezTo>
                <a:cubicBezTo>
                  <a:pt x="764" y="1147"/>
                  <a:pt x="764" y="1147"/>
                  <a:pt x="764" y="1147"/>
                </a:cubicBezTo>
                <a:cubicBezTo>
                  <a:pt x="764" y="1148"/>
                  <a:pt x="765" y="1148"/>
                  <a:pt x="764" y="1148"/>
                </a:cubicBezTo>
                <a:cubicBezTo>
                  <a:pt x="764" y="1149"/>
                  <a:pt x="764" y="1149"/>
                  <a:pt x="764" y="1149"/>
                </a:cubicBezTo>
                <a:cubicBezTo>
                  <a:pt x="763" y="1149"/>
                  <a:pt x="763" y="1148"/>
                  <a:pt x="763" y="1148"/>
                </a:cubicBezTo>
                <a:cubicBezTo>
                  <a:pt x="763" y="1148"/>
                  <a:pt x="763" y="1148"/>
                  <a:pt x="763" y="1148"/>
                </a:cubicBezTo>
                <a:cubicBezTo>
                  <a:pt x="762" y="1148"/>
                  <a:pt x="762" y="1147"/>
                  <a:pt x="762" y="1147"/>
                </a:cubicBezTo>
                <a:cubicBezTo>
                  <a:pt x="762" y="1147"/>
                  <a:pt x="761" y="1147"/>
                  <a:pt x="761" y="1147"/>
                </a:cubicBezTo>
                <a:cubicBezTo>
                  <a:pt x="761" y="1148"/>
                  <a:pt x="760" y="1148"/>
                  <a:pt x="760" y="1148"/>
                </a:cubicBezTo>
                <a:cubicBezTo>
                  <a:pt x="760" y="1148"/>
                  <a:pt x="760" y="1149"/>
                  <a:pt x="761" y="1150"/>
                </a:cubicBezTo>
                <a:cubicBezTo>
                  <a:pt x="761" y="1150"/>
                  <a:pt x="761" y="1150"/>
                  <a:pt x="762" y="1150"/>
                </a:cubicBezTo>
                <a:cubicBezTo>
                  <a:pt x="762" y="1150"/>
                  <a:pt x="762" y="1151"/>
                  <a:pt x="762" y="1151"/>
                </a:cubicBezTo>
                <a:cubicBezTo>
                  <a:pt x="763" y="1151"/>
                  <a:pt x="763" y="1151"/>
                  <a:pt x="763" y="1151"/>
                </a:cubicBezTo>
                <a:cubicBezTo>
                  <a:pt x="764" y="1152"/>
                  <a:pt x="764" y="1153"/>
                  <a:pt x="765" y="1153"/>
                </a:cubicBezTo>
                <a:cubicBezTo>
                  <a:pt x="766" y="1154"/>
                  <a:pt x="767" y="1155"/>
                  <a:pt x="769" y="1156"/>
                </a:cubicBezTo>
                <a:cubicBezTo>
                  <a:pt x="769" y="1156"/>
                  <a:pt x="770" y="1156"/>
                  <a:pt x="770" y="1157"/>
                </a:cubicBezTo>
                <a:cubicBezTo>
                  <a:pt x="771" y="1158"/>
                  <a:pt x="771" y="1159"/>
                  <a:pt x="771" y="1159"/>
                </a:cubicBezTo>
                <a:cubicBezTo>
                  <a:pt x="772" y="1161"/>
                  <a:pt x="773" y="1162"/>
                  <a:pt x="774" y="1163"/>
                </a:cubicBezTo>
                <a:cubicBezTo>
                  <a:pt x="774" y="1163"/>
                  <a:pt x="775" y="1164"/>
                  <a:pt x="775" y="1164"/>
                </a:cubicBezTo>
                <a:cubicBezTo>
                  <a:pt x="775" y="1164"/>
                  <a:pt x="776" y="1164"/>
                  <a:pt x="776" y="1164"/>
                </a:cubicBezTo>
                <a:cubicBezTo>
                  <a:pt x="777" y="1165"/>
                  <a:pt x="777" y="1166"/>
                  <a:pt x="778" y="1166"/>
                </a:cubicBezTo>
                <a:cubicBezTo>
                  <a:pt x="778" y="1167"/>
                  <a:pt x="779" y="1167"/>
                  <a:pt x="780" y="1167"/>
                </a:cubicBezTo>
                <a:cubicBezTo>
                  <a:pt x="780" y="1168"/>
                  <a:pt x="780" y="1168"/>
                  <a:pt x="780" y="1168"/>
                </a:cubicBezTo>
                <a:cubicBezTo>
                  <a:pt x="781" y="1168"/>
                  <a:pt x="781" y="1169"/>
                  <a:pt x="781" y="1169"/>
                </a:cubicBezTo>
                <a:cubicBezTo>
                  <a:pt x="781" y="1169"/>
                  <a:pt x="781" y="1169"/>
                  <a:pt x="782" y="1169"/>
                </a:cubicBezTo>
                <a:cubicBezTo>
                  <a:pt x="782" y="1170"/>
                  <a:pt x="782" y="1170"/>
                  <a:pt x="782" y="1170"/>
                </a:cubicBezTo>
                <a:cubicBezTo>
                  <a:pt x="782" y="1171"/>
                  <a:pt x="781" y="1171"/>
                  <a:pt x="780" y="1172"/>
                </a:cubicBezTo>
                <a:cubicBezTo>
                  <a:pt x="780" y="1172"/>
                  <a:pt x="780" y="1172"/>
                  <a:pt x="780" y="1172"/>
                </a:cubicBezTo>
                <a:cubicBezTo>
                  <a:pt x="780" y="1173"/>
                  <a:pt x="780" y="1172"/>
                  <a:pt x="781" y="1172"/>
                </a:cubicBezTo>
                <a:cubicBezTo>
                  <a:pt x="781" y="1173"/>
                  <a:pt x="781" y="1173"/>
                  <a:pt x="781" y="1173"/>
                </a:cubicBezTo>
                <a:cubicBezTo>
                  <a:pt x="782" y="1173"/>
                  <a:pt x="782" y="1173"/>
                  <a:pt x="783" y="1173"/>
                </a:cubicBezTo>
                <a:cubicBezTo>
                  <a:pt x="783" y="1174"/>
                  <a:pt x="783" y="1175"/>
                  <a:pt x="783" y="1175"/>
                </a:cubicBezTo>
                <a:cubicBezTo>
                  <a:pt x="783" y="1176"/>
                  <a:pt x="782" y="1176"/>
                  <a:pt x="781" y="1177"/>
                </a:cubicBezTo>
                <a:cubicBezTo>
                  <a:pt x="781" y="1177"/>
                  <a:pt x="782" y="1178"/>
                  <a:pt x="782" y="1179"/>
                </a:cubicBezTo>
                <a:cubicBezTo>
                  <a:pt x="782" y="1180"/>
                  <a:pt x="782" y="1180"/>
                  <a:pt x="782" y="1181"/>
                </a:cubicBezTo>
                <a:cubicBezTo>
                  <a:pt x="782" y="1181"/>
                  <a:pt x="782" y="1182"/>
                  <a:pt x="782" y="1183"/>
                </a:cubicBezTo>
                <a:cubicBezTo>
                  <a:pt x="783" y="1183"/>
                  <a:pt x="783" y="1183"/>
                  <a:pt x="784" y="1184"/>
                </a:cubicBezTo>
                <a:cubicBezTo>
                  <a:pt x="785" y="1184"/>
                  <a:pt x="785" y="1184"/>
                  <a:pt x="786" y="1185"/>
                </a:cubicBezTo>
                <a:cubicBezTo>
                  <a:pt x="787" y="1185"/>
                  <a:pt x="787" y="1185"/>
                  <a:pt x="788" y="1186"/>
                </a:cubicBezTo>
                <a:cubicBezTo>
                  <a:pt x="788" y="1186"/>
                  <a:pt x="789" y="1187"/>
                  <a:pt x="789" y="1188"/>
                </a:cubicBezTo>
                <a:cubicBezTo>
                  <a:pt x="790" y="1188"/>
                  <a:pt x="790" y="1186"/>
                  <a:pt x="790" y="1186"/>
                </a:cubicBezTo>
                <a:cubicBezTo>
                  <a:pt x="790" y="1186"/>
                  <a:pt x="791" y="1185"/>
                  <a:pt x="791" y="1185"/>
                </a:cubicBezTo>
                <a:cubicBezTo>
                  <a:pt x="791" y="1185"/>
                  <a:pt x="792" y="1185"/>
                  <a:pt x="792" y="1185"/>
                </a:cubicBezTo>
                <a:cubicBezTo>
                  <a:pt x="792" y="1184"/>
                  <a:pt x="791" y="1184"/>
                  <a:pt x="790" y="1184"/>
                </a:cubicBezTo>
                <a:cubicBezTo>
                  <a:pt x="789" y="1183"/>
                  <a:pt x="789" y="1183"/>
                  <a:pt x="789" y="1182"/>
                </a:cubicBezTo>
                <a:cubicBezTo>
                  <a:pt x="789" y="1182"/>
                  <a:pt x="788" y="1181"/>
                  <a:pt x="788" y="1180"/>
                </a:cubicBezTo>
                <a:cubicBezTo>
                  <a:pt x="788" y="1180"/>
                  <a:pt x="788" y="1180"/>
                  <a:pt x="789" y="1180"/>
                </a:cubicBezTo>
                <a:cubicBezTo>
                  <a:pt x="789" y="1181"/>
                  <a:pt x="789" y="1181"/>
                  <a:pt x="790" y="1181"/>
                </a:cubicBezTo>
                <a:cubicBezTo>
                  <a:pt x="791" y="1181"/>
                  <a:pt x="791" y="1181"/>
                  <a:pt x="792" y="1182"/>
                </a:cubicBezTo>
                <a:cubicBezTo>
                  <a:pt x="792" y="1182"/>
                  <a:pt x="793" y="1182"/>
                  <a:pt x="794" y="1183"/>
                </a:cubicBezTo>
                <a:cubicBezTo>
                  <a:pt x="794" y="1184"/>
                  <a:pt x="794" y="1184"/>
                  <a:pt x="794" y="1185"/>
                </a:cubicBezTo>
                <a:cubicBezTo>
                  <a:pt x="794" y="1186"/>
                  <a:pt x="794" y="1187"/>
                  <a:pt x="795" y="1187"/>
                </a:cubicBezTo>
                <a:cubicBezTo>
                  <a:pt x="796" y="1187"/>
                  <a:pt x="796" y="1188"/>
                  <a:pt x="797" y="1188"/>
                </a:cubicBezTo>
                <a:cubicBezTo>
                  <a:pt x="798" y="1188"/>
                  <a:pt x="798" y="1188"/>
                  <a:pt x="799" y="1188"/>
                </a:cubicBezTo>
                <a:cubicBezTo>
                  <a:pt x="800" y="1189"/>
                  <a:pt x="800" y="1189"/>
                  <a:pt x="801" y="1190"/>
                </a:cubicBezTo>
                <a:cubicBezTo>
                  <a:pt x="802" y="1190"/>
                  <a:pt x="802" y="1190"/>
                  <a:pt x="803" y="1191"/>
                </a:cubicBezTo>
                <a:cubicBezTo>
                  <a:pt x="803" y="1191"/>
                  <a:pt x="804" y="1191"/>
                  <a:pt x="804" y="1192"/>
                </a:cubicBezTo>
                <a:cubicBezTo>
                  <a:pt x="805" y="1192"/>
                  <a:pt x="806" y="1193"/>
                  <a:pt x="806" y="1194"/>
                </a:cubicBezTo>
                <a:cubicBezTo>
                  <a:pt x="806" y="1195"/>
                  <a:pt x="806" y="1195"/>
                  <a:pt x="806" y="1196"/>
                </a:cubicBezTo>
                <a:cubicBezTo>
                  <a:pt x="806" y="1196"/>
                  <a:pt x="806" y="1197"/>
                  <a:pt x="806" y="1197"/>
                </a:cubicBezTo>
                <a:cubicBezTo>
                  <a:pt x="805" y="1197"/>
                  <a:pt x="805" y="1197"/>
                  <a:pt x="805" y="1198"/>
                </a:cubicBezTo>
                <a:cubicBezTo>
                  <a:pt x="805" y="1199"/>
                  <a:pt x="806" y="1199"/>
                  <a:pt x="806" y="1200"/>
                </a:cubicBezTo>
                <a:cubicBezTo>
                  <a:pt x="807" y="1200"/>
                  <a:pt x="807" y="1200"/>
                  <a:pt x="808" y="1201"/>
                </a:cubicBezTo>
                <a:cubicBezTo>
                  <a:pt x="808" y="1201"/>
                  <a:pt x="809" y="1201"/>
                  <a:pt x="809" y="1201"/>
                </a:cubicBezTo>
                <a:cubicBezTo>
                  <a:pt x="809" y="1201"/>
                  <a:pt x="810" y="1201"/>
                  <a:pt x="810" y="1201"/>
                </a:cubicBezTo>
                <a:cubicBezTo>
                  <a:pt x="811" y="1201"/>
                  <a:pt x="809" y="1200"/>
                  <a:pt x="809" y="1200"/>
                </a:cubicBezTo>
                <a:cubicBezTo>
                  <a:pt x="809" y="1199"/>
                  <a:pt x="809" y="1199"/>
                  <a:pt x="809" y="1199"/>
                </a:cubicBezTo>
                <a:cubicBezTo>
                  <a:pt x="809" y="1198"/>
                  <a:pt x="808" y="1198"/>
                  <a:pt x="808" y="1198"/>
                </a:cubicBezTo>
                <a:cubicBezTo>
                  <a:pt x="808" y="1197"/>
                  <a:pt x="810" y="1198"/>
                  <a:pt x="811" y="1198"/>
                </a:cubicBezTo>
                <a:cubicBezTo>
                  <a:pt x="811" y="1198"/>
                  <a:pt x="811" y="1198"/>
                  <a:pt x="811" y="1198"/>
                </a:cubicBezTo>
                <a:cubicBezTo>
                  <a:pt x="811" y="1198"/>
                  <a:pt x="811" y="1198"/>
                  <a:pt x="812" y="1198"/>
                </a:cubicBezTo>
                <a:cubicBezTo>
                  <a:pt x="812" y="1199"/>
                  <a:pt x="812" y="1199"/>
                  <a:pt x="812" y="1200"/>
                </a:cubicBezTo>
                <a:cubicBezTo>
                  <a:pt x="812" y="1200"/>
                  <a:pt x="812" y="1200"/>
                  <a:pt x="812" y="1201"/>
                </a:cubicBezTo>
                <a:cubicBezTo>
                  <a:pt x="812" y="1202"/>
                  <a:pt x="812" y="1202"/>
                  <a:pt x="813" y="1203"/>
                </a:cubicBezTo>
                <a:cubicBezTo>
                  <a:pt x="813" y="1203"/>
                  <a:pt x="813" y="1204"/>
                  <a:pt x="814" y="1204"/>
                </a:cubicBezTo>
                <a:cubicBezTo>
                  <a:pt x="814" y="1205"/>
                  <a:pt x="814" y="1205"/>
                  <a:pt x="814" y="1205"/>
                </a:cubicBezTo>
                <a:cubicBezTo>
                  <a:pt x="814" y="1206"/>
                  <a:pt x="814" y="1206"/>
                  <a:pt x="814" y="1206"/>
                </a:cubicBezTo>
                <a:cubicBezTo>
                  <a:pt x="815" y="1206"/>
                  <a:pt x="814" y="1205"/>
                  <a:pt x="815" y="1205"/>
                </a:cubicBezTo>
                <a:cubicBezTo>
                  <a:pt x="815" y="1204"/>
                  <a:pt x="815" y="1204"/>
                  <a:pt x="816" y="1204"/>
                </a:cubicBezTo>
                <a:cubicBezTo>
                  <a:pt x="816" y="1203"/>
                  <a:pt x="816" y="1202"/>
                  <a:pt x="817" y="1202"/>
                </a:cubicBezTo>
                <a:cubicBezTo>
                  <a:pt x="817" y="1202"/>
                  <a:pt x="818" y="1202"/>
                  <a:pt x="819" y="1202"/>
                </a:cubicBezTo>
                <a:cubicBezTo>
                  <a:pt x="820" y="1202"/>
                  <a:pt x="820" y="1201"/>
                  <a:pt x="821" y="1202"/>
                </a:cubicBezTo>
                <a:cubicBezTo>
                  <a:pt x="823" y="1202"/>
                  <a:pt x="822" y="1203"/>
                  <a:pt x="822" y="1203"/>
                </a:cubicBezTo>
                <a:cubicBezTo>
                  <a:pt x="823" y="1204"/>
                  <a:pt x="824" y="1203"/>
                  <a:pt x="825" y="1203"/>
                </a:cubicBezTo>
                <a:cubicBezTo>
                  <a:pt x="826" y="1202"/>
                  <a:pt x="826" y="1203"/>
                  <a:pt x="826" y="1204"/>
                </a:cubicBezTo>
                <a:cubicBezTo>
                  <a:pt x="827" y="1204"/>
                  <a:pt x="827" y="1203"/>
                  <a:pt x="827" y="1203"/>
                </a:cubicBezTo>
                <a:cubicBezTo>
                  <a:pt x="828" y="1203"/>
                  <a:pt x="828" y="1204"/>
                  <a:pt x="828" y="1204"/>
                </a:cubicBezTo>
                <a:cubicBezTo>
                  <a:pt x="828" y="1205"/>
                  <a:pt x="828" y="1205"/>
                  <a:pt x="829" y="1205"/>
                </a:cubicBezTo>
                <a:cubicBezTo>
                  <a:pt x="829" y="1206"/>
                  <a:pt x="829" y="1206"/>
                  <a:pt x="829" y="1206"/>
                </a:cubicBezTo>
                <a:cubicBezTo>
                  <a:pt x="829" y="1207"/>
                  <a:pt x="829" y="1207"/>
                  <a:pt x="830" y="1207"/>
                </a:cubicBezTo>
                <a:cubicBezTo>
                  <a:pt x="830" y="1207"/>
                  <a:pt x="830" y="1208"/>
                  <a:pt x="830" y="1208"/>
                </a:cubicBezTo>
                <a:cubicBezTo>
                  <a:pt x="830" y="1208"/>
                  <a:pt x="831" y="1209"/>
                  <a:pt x="831" y="1209"/>
                </a:cubicBezTo>
                <a:cubicBezTo>
                  <a:pt x="831" y="1209"/>
                  <a:pt x="831" y="1209"/>
                  <a:pt x="831" y="1209"/>
                </a:cubicBezTo>
                <a:cubicBezTo>
                  <a:pt x="832" y="1209"/>
                  <a:pt x="832" y="1209"/>
                  <a:pt x="832" y="1209"/>
                </a:cubicBezTo>
                <a:cubicBezTo>
                  <a:pt x="833" y="1209"/>
                  <a:pt x="833" y="1209"/>
                  <a:pt x="833" y="1209"/>
                </a:cubicBezTo>
                <a:cubicBezTo>
                  <a:pt x="833" y="1210"/>
                  <a:pt x="833" y="1210"/>
                  <a:pt x="833" y="1210"/>
                </a:cubicBezTo>
                <a:cubicBezTo>
                  <a:pt x="834" y="1210"/>
                  <a:pt x="834" y="1210"/>
                  <a:pt x="834" y="1209"/>
                </a:cubicBezTo>
                <a:cubicBezTo>
                  <a:pt x="834" y="1209"/>
                  <a:pt x="833" y="1208"/>
                  <a:pt x="834" y="1207"/>
                </a:cubicBezTo>
                <a:cubicBezTo>
                  <a:pt x="834" y="1207"/>
                  <a:pt x="835" y="1207"/>
                  <a:pt x="835" y="1207"/>
                </a:cubicBezTo>
                <a:cubicBezTo>
                  <a:pt x="836" y="1207"/>
                  <a:pt x="836" y="1208"/>
                  <a:pt x="836" y="1208"/>
                </a:cubicBezTo>
                <a:cubicBezTo>
                  <a:pt x="836" y="1209"/>
                  <a:pt x="836" y="1209"/>
                  <a:pt x="836" y="1209"/>
                </a:cubicBezTo>
                <a:cubicBezTo>
                  <a:pt x="836" y="1209"/>
                  <a:pt x="836" y="1210"/>
                  <a:pt x="836" y="1210"/>
                </a:cubicBezTo>
                <a:cubicBezTo>
                  <a:pt x="837" y="1211"/>
                  <a:pt x="837" y="1211"/>
                  <a:pt x="837" y="1212"/>
                </a:cubicBezTo>
                <a:cubicBezTo>
                  <a:pt x="838" y="1212"/>
                  <a:pt x="837" y="1213"/>
                  <a:pt x="837" y="1213"/>
                </a:cubicBezTo>
                <a:cubicBezTo>
                  <a:pt x="837" y="1215"/>
                  <a:pt x="837" y="1215"/>
                  <a:pt x="838" y="1215"/>
                </a:cubicBezTo>
                <a:cubicBezTo>
                  <a:pt x="839" y="1215"/>
                  <a:pt x="840" y="1214"/>
                  <a:pt x="841" y="1214"/>
                </a:cubicBezTo>
                <a:cubicBezTo>
                  <a:pt x="841" y="1214"/>
                  <a:pt x="842" y="1213"/>
                  <a:pt x="843" y="1213"/>
                </a:cubicBezTo>
                <a:cubicBezTo>
                  <a:pt x="843" y="1213"/>
                  <a:pt x="844" y="1213"/>
                  <a:pt x="845" y="1212"/>
                </a:cubicBezTo>
                <a:cubicBezTo>
                  <a:pt x="845" y="1212"/>
                  <a:pt x="846" y="1212"/>
                  <a:pt x="846" y="1212"/>
                </a:cubicBezTo>
                <a:cubicBezTo>
                  <a:pt x="846" y="1212"/>
                  <a:pt x="847" y="1212"/>
                  <a:pt x="847" y="1212"/>
                </a:cubicBezTo>
                <a:cubicBezTo>
                  <a:pt x="848" y="1211"/>
                  <a:pt x="847" y="1210"/>
                  <a:pt x="847" y="1210"/>
                </a:cubicBezTo>
                <a:cubicBezTo>
                  <a:pt x="846" y="1210"/>
                  <a:pt x="846" y="1209"/>
                  <a:pt x="845" y="1208"/>
                </a:cubicBezTo>
                <a:cubicBezTo>
                  <a:pt x="845" y="1207"/>
                  <a:pt x="845" y="1207"/>
                  <a:pt x="844" y="1206"/>
                </a:cubicBezTo>
                <a:cubicBezTo>
                  <a:pt x="843" y="1206"/>
                  <a:pt x="843" y="1205"/>
                  <a:pt x="842" y="1204"/>
                </a:cubicBezTo>
                <a:cubicBezTo>
                  <a:pt x="842" y="1204"/>
                  <a:pt x="842" y="1203"/>
                  <a:pt x="843" y="1202"/>
                </a:cubicBezTo>
                <a:cubicBezTo>
                  <a:pt x="844" y="1202"/>
                  <a:pt x="844" y="1203"/>
                  <a:pt x="845" y="1202"/>
                </a:cubicBezTo>
                <a:cubicBezTo>
                  <a:pt x="846" y="1202"/>
                  <a:pt x="847" y="1201"/>
                  <a:pt x="847" y="1201"/>
                </a:cubicBezTo>
                <a:cubicBezTo>
                  <a:pt x="847" y="1201"/>
                  <a:pt x="848" y="1201"/>
                  <a:pt x="848" y="1200"/>
                </a:cubicBezTo>
                <a:cubicBezTo>
                  <a:pt x="849" y="1200"/>
                  <a:pt x="849" y="1200"/>
                  <a:pt x="849" y="1200"/>
                </a:cubicBezTo>
                <a:cubicBezTo>
                  <a:pt x="850" y="1199"/>
                  <a:pt x="850" y="1199"/>
                  <a:pt x="850" y="1199"/>
                </a:cubicBezTo>
                <a:cubicBezTo>
                  <a:pt x="850" y="1198"/>
                  <a:pt x="850" y="1198"/>
                  <a:pt x="850" y="1198"/>
                </a:cubicBezTo>
                <a:cubicBezTo>
                  <a:pt x="850" y="1198"/>
                  <a:pt x="850" y="1197"/>
                  <a:pt x="850" y="1197"/>
                </a:cubicBezTo>
                <a:cubicBezTo>
                  <a:pt x="850" y="1196"/>
                  <a:pt x="850" y="1196"/>
                  <a:pt x="851" y="1195"/>
                </a:cubicBezTo>
                <a:cubicBezTo>
                  <a:pt x="852" y="1195"/>
                  <a:pt x="852" y="1195"/>
                  <a:pt x="853" y="1194"/>
                </a:cubicBezTo>
                <a:cubicBezTo>
                  <a:pt x="853" y="1194"/>
                  <a:pt x="854" y="1194"/>
                  <a:pt x="854" y="1194"/>
                </a:cubicBezTo>
                <a:cubicBezTo>
                  <a:pt x="855" y="1194"/>
                  <a:pt x="855" y="1194"/>
                  <a:pt x="855" y="1194"/>
                </a:cubicBezTo>
                <a:cubicBezTo>
                  <a:pt x="856" y="1194"/>
                  <a:pt x="857" y="1193"/>
                  <a:pt x="858" y="1194"/>
                </a:cubicBezTo>
                <a:cubicBezTo>
                  <a:pt x="858" y="1194"/>
                  <a:pt x="858" y="1194"/>
                  <a:pt x="858" y="1194"/>
                </a:cubicBezTo>
                <a:cubicBezTo>
                  <a:pt x="859" y="1195"/>
                  <a:pt x="859" y="1195"/>
                  <a:pt x="859" y="1195"/>
                </a:cubicBezTo>
                <a:cubicBezTo>
                  <a:pt x="860" y="1195"/>
                  <a:pt x="860" y="1195"/>
                  <a:pt x="861" y="1196"/>
                </a:cubicBezTo>
                <a:cubicBezTo>
                  <a:pt x="861" y="1196"/>
                  <a:pt x="861" y="1196"/>
                  <a:pt x="862" y="1196"/>
                </a:cubicBezTo>
                <a:cubicBezTo>
                  <a:pt x="862" y="1196"/>
                  <a:pt x="862" y="1197"/>
                  <a:pt x="862" y="1197"/>
                </a:cubicBezTo>
                <a:cubicBezTo>
                  <a:pt x="862" y="1197"/>
                  <a:pt x="863" y="1197"/>
                  <a:pt x="863" y="1197"/>
                </a:cubicBezTo>
                <a:cubicBezTo>
                  <a:pt x="863" y="1197"/>
                  <a:pt x="863" y="1197"/>
                  <a:pt x="863" y="1198"/>
                </a:cubicBezTo>
                <a:cubicBezTo>
                  <a:pt x="864" y="1198"/>
                  <a:pt x="864" y="1198"/>
                  <a:pt x="864" y="1198"/>
                </a:cubicBezTo>
                <a:cubicBezTo>
                  <a:pt x="864" y="1198"/>
                  <a:pt x="865" y="1199"/>
                  <a:pt x="865" y="1200"/>
                </a:cubicBezTo>
                <a:cubicBezTo>
                  <a:pt x="865" y="1200"/>
                  <a:pt x="865" y="1201"/>
                  <a:pt x="865" y="1201"/>
                </a:cubicBezTo>
                <a:cubicBezTo>
                  <a:pt x="865" y="1202"/>
                  <a:pt x="866" y="1201"/>
                  <a:pt x="866" y="1201"/>
                </a:cubicBezTo>
                <a:cubicBezTo>
                  <a:pt x="866" y="1200"/>
                  <a:pt x="866" y="1199"/>
                  <a:pt x="867" y="1199"/>
                </a:cubicBezTo>
                <a:cubicBezTo>
                  <a:pt x="867" y="1199"/>
                  <a:pt x="868" y="1200"/>
                  <a:pt x="867" y="1201"/>
                </a:cubicBezTo>
                <a:cubicBezTo>
                  <a:pt x="867" y="1201"/>
                  <a:pt x="867" y="1201"/>
                  <a:pt x="868" y="1201"/>
                </a:cubicBezTo>
                <a:cubicBezTo>
                  <a:pt x="868" y="1201"/>
                  <a:pt x="868" y="1201"/>
                  <a:pt x="868" y="1200"/>
                </a:cubicBezTo>
                <a:cubicBezTo>
                  <a:pt x="869" y="1200"/>
                  <a:pt x="870" y="1200"/>
                  <a:pt x="870" y="1201"/>
                </a:cubicBezTo>
                <a:cubicBezTo>
                  <a:pt x="870" y="1201"/>
                  <a:pt x="871" y="1201"/>
                  <a:pt x="871" y="1202"/>
                </a:cubicBezTo>
                <a:cubicBezTo>
                  <a:pt x="871" y="1202"/>
                  <a:pt x="871" y="1202"/>
                  <a:pt x="872" y="1202"/>
                </a:cubicBezTo>
                <a:cubicBezTo>
                  <a:pt x="872" y="1203"/>
                  <a:pt x="871" y="1203"/>
                  <a:pt x="871" y="1203"/>
                </a:cubicBezTo>
                <a:cubicBezTo>
                  <a:pt x="870" y="1203"/>
                  <a:pt x="869" y="1202"/>
                  <a:pt x="869" y="1201"/>
                </a:cubicBezTo>
                <a:cubicBezTo>
                  <a:pt x="869" y="1201"/>
                  <a:pt x="869" y="1201"/>
                  <a:pt x="868" y="1201"/>
                </a:cubicBezTo>
                <a:cubicBezTo>
                  <a:pt x="868" y="1201"/>
                  <a:pt x="868" y="1202"/>
                  <a:pt x="868" y="1202"/>
                </a:cubicBezTo>
                <a:cubicBezTo>
                  <a:pt x="867" y="1203"/>
                  <a:pt x="867" y="1203"/>
                  <a:pt x="866" y="1203"/>
                </a:cubicBezTo>
                <a:cubicBezTo>
                  <a:pt x="866" y="1204"/>
                  <a:pt x="865" y="1204"/>
                  <a:pt x="866" y="1205"/>
                </a:cubicBezTo>
                <a:cubicBezTo>
                  <a:pt x="866" y="1206"/>
                  <a:pt x="866" y="1206"/>
                  <a:pt x="866" y="1206"/>
                </a:cubicBezTo>
                <a:cubicBezTo>
                  <a:pt x="866" y="1207"/>
                  <a:pt x="866" y="1207"/>
                  <a:pt x="866" y="1208"/>
                </a:cubicBezTo>
                <a:cubicBezTo>
                  <a:pt x="866" y="1208"/>
                  <a:pt x="867" y="1209"/>
                  <a:pt x="867" y="1209"/>
                </a:cubicBezTo>
                <a:cubicBezTo>
                  <a:pt x="868" y="1210"/>
                  <a:pt x="868" y="1211"/>
                  <a:pt x="869" y="1211"/>
                </a:cubicBezTo>
                <a:cubicBezTo>
                  <a:pt x="869" y="1212"/>
                  <a:pt x="870" y="1213"/>
                  <a:pt x="870" y="1213"/>
                </a:cubicBezTo>
                <a:cubicBezTo>
                  <a:pt x="870" y="1213"/>
                  <a:pt x="871" y="1213"/>
                  <a:pt x="871" y="1214"/>
                </a:cubicBezTo>
                <a:cubicBezTo>
                  <a:pt x="871" y="1214"/>
                  <a:pt x="871" y="1214"/>
                  <a:pt x="871" y="1214"/>
                </a:cubicBezTo>
                <a:cubicBezTo>
                  <a:pt x="872" y="1215"/>
                  <a:pt x="872" y="1215"/>
                  <a:pt x="873" y="1216"/>
                </a:cubicBezTo>
                <a:cubicBezTo>
                  <a:pt x="873" y="1217"/>
                  <a:pt x="873" y="1217"/>
                  <a:pt x="874" y="1218"/>
                </a:cubicBezTo>
                <a:cubicBezTo>
                  <a:pt x="874" y="1218"/>
                  <a:pt x="875" y="1218"/>
                  <a:pt x="875" y="1218"/>
                </a:cubicBezTo>
                <a:cubicBezTo>
                  <a:pt x="875" y="1219"/>
                  <a:pt x="875" y="1220"/>
                  <a:pt x="876" y="1220"/>
                </a:cubicBezTo>
                <a:cubicBezTo>
                  <a:pt x="877" y="1220"/>
                  <a:pt x="877" y="1220"/>
                  <a:pt x="877" y="1221"/>
                </a:cubicBezTo>
                <a:cubicBezTo>
                  <a:pt x="878" y="1221"/>
                  <a:pt x="878" y="1222"/>
                  <a:pt x="877" y="1223"/>
                </a:cubicBezTo>
                <a:cubicBezTo>
                  <a:pt x="877" y="1224"/>
                  <a:pt x="877" y="1224"/>
                  <a:pt x="876" y="1225"/>
                </a:cubicBezTo>
                <a:cubicBezTo>
                  <a:pt x="876" y="1225"/>
                  <a:pt x="876" y="1226"/>
                  <a:pt x="877" y="1227"/>
                </a:cubicBezTo>
                <a:cubicBezTo>
                  <a:pt x="877" y="1228"/>
                  <a:pt x="877" y="1228"/>
                  <a:pt x="878" y="1229"/>
                </a:cubicBezTo>
                <a:cubicBezTo>
                  <a:pt x="878" y="1230"/>
                  <a:pt x="879" y="1230"/>
                  <a:pt x="879" y="1231"/>
                </a:cubicBezTo>
                <a:cubicBezTo>
                  <a:pt x="879" y="1231"/>
                  <a:pt x="879" y="1231"/>
                  <a:pt x="879" y="1232"/>
                </a:cubicBezTo>
                <a:cubicBezTo>
                  <a:pt x="878" y="1232"/>
                  <a:pt x="878" y="1232"/>
                  <a:pt x="878" y="1232"/>
                </a:cubicBezTo>
                <a:cubicBezTo>
                  <a:pt x="877" y="1233"/>
                  <a:pt x="877" y="1233"/>
                  <a:pt x="877" y="1233"/>
                </a:cubicBezTo>
                <a:cubicBezTo>
                  <a:pt x="877" y="1233"/>
                  <a:pt x="876" y="1233"/>
                  <a:pt x="876" y="1234"/>
                </a:cubicBezTo>
                <a:cubicBezTo>
                  <a:pt x="876" y="1235"/>
                  <a:pt x="877" y="1235"/>
                  <a:pt x="877" y="1236"/>
                </a:cubicBezTo>
                <a:cubicBezTo>
                  <a:pt x="878" y="1237"/>
                  <a:pt x="878" y="1239"/>
                  <a:pt x="878" y="1240"/>
                </a:cubicBezTo>
                <a:cubicBezTo>
                  <a:pt x="878" y="1241"/>
                  <a:pt x="878" y="1242"/>
                  <a:pt x="878" y="1243"/>
                </a:cubicBezTo>
                <a:cubicBezTo>
                  <a:pt x="878" y="1244"/>
                  <a:pt x="878" y="1245"/>
                  <a:pt x="878" y="1246"/>
                </a:cubicBezTo>
                <a:cubicBezTo>
                  <a:pt x="878" y="1246"/>
                  <a:pt x="877" y="1247"/>
                  <a:pt x="877" y="1247"/>
                </a:cubicBezTo>
                <a:cubicBezTo>
                  <a:pt x="878" y="1248"/>
                  <a:pt x="878" y="1248"/>
                  <a:pt x="878" y="1248"/>
                </a:cubicBezTo>
                <a:cubicBezTo>
                  <a:pt x="879" y="1248"/>
                  <a:pt x="879" y="1249"/>
                  <a:pt x="878" y="1249"/>
                </a:cubicBezTo>
                <a:cubicBezTo>
                  <a:pt x="878" y="1249"/>
                  <a:pt x="877" y="1249"/>
                  <a:pt x="877" y="1250"/>
                </a:cubicBezTo>
                <a:cubicBezTo>
                  <a:pt x="877" y="1250"/>
                  <a:pt x="877" y="1251"/>
                  <a:pt x="877" y="1251"/>
                </a:cubicBezTo>
                <a:cubicBezTo>
                  <a:pt x="878" y="1251"/>
                  <a:pt x="879" y="1250"/>
                  <a:pt x="879" y="1251"/>
                </a:cubicBezTo>
                <a:cubicBezTo>
                  <a:pt x="880" y="1251"/>
                  <a:pt x="879" y="1252"/>
                  <a:pt x="880" y="1252"/>
                </a:cubicBezTo>
                <a:cubicBezTo>
                  <a:pt x="880" y="1253"/>
                  <a:pt x="880" y="1253"/>
                  <a:pt x="881" y="1253"/>
                </a:cubicBezTo>
                <a:cubicBezTo>
                  <a:pt x="881" y="1254"/>
                  <a:pt x="880" y="1255"/>
                  <a:pt x="880" y="1255"/>
                </a:cubicBezTo>
                <a:cubicBezTo>
                  <a:pt x="879" y="1256"/>
                  <a:pt x="879" y="1257"/>
                  <a:pt x="878" y="1258"/>
                </a:cubicBezTo>
                <a:cubicBezTo>
                  <a:pt x="878" y="1258"/>
                  <a:pt x="878" y="1259"/>
                  <a:pt x="877" y="1259"/>
                </a:cubicBezTo>
                <a:cubicBezTo>
                  <a:pt x="877" y="1260"/>
                  <a:pt x="877" y="1261"/>
                  <a:pt x="876" y="1261"/>
                </a:cubicBezTo>
                <a:cubicBezTo>
                  <a:pt x="875" y="1261"/>
                  <a:pt x="874" y="1261"/>
                  <a:pt x="874" y="1262"/>
                </a:cubicBezTo>
                <a:cubicBezTo>
                  <a:pt x="874" y="1262"/>
                  <a:pt x="874" y="1263"/>
                  <a:pt x="874" y="1263"/>
                </a:cubicBezTo>
                <a:cubicBezTo>
                  <a:pt x="874" y="1263"/>
                  <a:pt x="874" y="1264"/>
                  <a:pt x="874" y="1264"/>
                </a:cubicBezTo>
                <a:cubicBezTo>
                  <a:pt x="874" y="1265"/>
                  <a:pt x="873" y="1266"/>
                  <a:pt x="873" y="1266"/>
                </a:cubicBezTo>
                <a:cubicBezTo>
                  <a:pt x="872" y="1267"/>
                  <a:pt x="871" y="1267"/>
                  <a:pt x="871" y="1268"/>
                </a:cubicBezTo>
                <a:cubicBezTo>
                  <a:pt x="869" y="1268"/>
                  <a:pt x="867" y="1268"/>
                  <a:pt x="866" y="1269"/>
                </a:cubicBezTo>
                <a:cubicBezTo>
                  <a:pt x="865" y="1269"/>
                  <a:pt x="864" y="1269"/>
                  <a:pt x="864" y="1270"/>
                </a:cubicBezTo>
                <a:cubicBezTo>
                  <a:pt x="863" y="1271"/>
                  <a:pt x="862" y="1272"/>
                  <a:pt x="862" y="1273"/>
                </a:cubicBezTo>
                <a:cubicBezTo>
                  <a:pt x="862" y="1273"/>
                  <a:pt x="863" y="1273"/>
                  <a:pt x="863" y="1273"/>
                </a:cubicBezTo>
                <a:cubicBezTo>
                  <a:pt x="863" y="1274"/>
                  <a:pt x="863" y="1274"/>
                  <a:pt x="864" y="1274"/>
                </a:cubicBezTo>
                <a:cubicBezTo>
                  <a:pt x="864" y="1275"/>
                  <a:pt x="864" y="1276"/>
                  <a:pt x="863" y="1277"/>
                </a:cubicBezTo>
                <a:cubicBezTo>
                  <a:pt x="863" y="1277"/>
                  <a:pt x="862" y="1277"/>
                  <a:pt x="861" y="1277"/>
                </a:cubicBezTo>
                <a:cubicBezTo>
                  <a:pt x="861" y="1278"/>
                  <a:pt x="860" y="1278"/>
                  <a:pt x="860" y="1278"/>
                </a:cubicBezTo>
                <a:cubicBezTo>
                  <a:pt x="860" y="1278"/>
                  <a:pt x="859" y="1278"/>
                  <a:pt x="859" y="1278"/>
                </a:cubicBezTo>
                <a:cubicBezTo>
                  <a:pt x="858" y="1278"/>
                  <a:pt x="858" y="1278"/>
                  <a:pt x="859" y="1279"/>
                </a:cubicBezTo>
                <a:cubicBezTo>
                  <a:pt x="859" y="1279"/>
                  <a:pt x="859" y="1279"/>
                  <a:pt x="859" y="1279"/>
                </a:cubicBezTo>
                <a:cubicBezTo>
                  <a:pt x="859" y="1279"/>
                  <a:pt x="859" y="1279"/>
                  <a:pt x="860" y="1279"/>
                </a:cubicBezTo>
                <a:cubicBezTo>
                  <a:pt x="860" y="1279"/>
                  <a:pt x="860" y="1279"/>
                  <a:pt x="861" y="1279"/>
                </a:cubicBezTo>
                <a:cubicBezTo>
                  <a:pt x="861" y="1280"/>
                  <a:pt x="861" y="1280"/>
                  <a:pt x="861" y="1281"/>
                </a:cubicBezTo>
                <a:cubicBezTo>
                  <a:pt x="861" y="1281"/>
                  <a:pt x="860" y="1282"/>
                  <a:pt x="860" y="1283"/>
                </a:cubicBezTo>
                <a:cubicBezTo>
                  <a:pt x="860" y="1284"/>
                  <a:pt x="859" y="1283"/>
                  <a:pt x="858" y="1284"/>
                </a:cubicBezTo>
                <a:cubicBezTo>
                  <a:pt x="857" y="1284"/>
                  <a:pt x="857" y="1285"/>
                  <a:pt x="856" y="1285"/>
                </a:cubicBezTo>
                <a:cubicBezTo>
                  <a:pt x="855" y="1285"/>
                  <a:pt x="854" y="1285"/>
                  <a:pt x="853" y="1285"/>
                </a:cubicBezTo>
                <a:cubicBezTo>
                  <a:pt x="852" y="1285"/>
                  <a:pt x="852" y="1287"/>
                  <a:pt x="851" y="1287"/>
                </a:cubicBezTo>
                <a:cubicBezTo>
                  <a:pt x="851" y="1287"/>
                  <a:pt x="850" y="1287"/>
                  <a:pt x="850" y="1287"/>
                </a:cubicBezTo>
                <a:cubicBezTo>
                  <a:pt x="849" y="1287"/>
                  <a:pt x="849" y="1287"/>
                  <a:pt x="849" y="1287"/>
                </a:cubicBezTo>
                <a:cubicBezTo>
                  <a:pt x="848" y="1287"/>
                  <a:pt x="848" y="1287"/>
                  <a:pt x="847" y="1287"/>
                </a:cubicBezTo>
                <a:cubicBezTo>
                  <a:pt x="847" y="1288"/>
                  <a:pt x="846" y="1288"/>
                  <a:pt x="846" y="1289"/>
                </a:cubicBezTo>
                <a:cubicBezTo>
                  <a:pt x="847" y="1289"/>
                  <a:pt x="847" y="1289"/>
                  <a:pt x="847" y="1290"/>
                </a:cubicBezTo>
                <a:cubicBezTo>
                  <a:pt x="847" y="1290"/>
                  <a:pt x="847" y="1291"/>
                  <a:pt x="847" y="1291"/>
                </a:cubicBezTo>
                <a:cubicBezTo>
                  <a:pt x="847" y="1292"/>
                  <a:pt x="847" y="1292"/>
                  <a:pt x="847" y="1292"/>
                </a:cubicBezTo>
                <a:cubicBezTo>
                  <a:pt x="847" y="1293"/>
                  <a:pt x="847" y="1293"/>
                  <a:pt x="847" y="1294"/>
                </a:cubicBezTo>
                <a:cubicBezTo>
                  <a:pt x="847" y="1294"/>
                  <a:pt x="847" y="1294"/>
                  <a:pt x="847" y="1295"/>
                </a:cubicBezTo>
                <a:cubicBezTo>
                  <a:pt x="847" y="1295"/>
                  <a:pt x="847" y="1296"/>
                  <a:pt x="847" y="1296"/>
                </a:cubicBezTo>
                <a:cubicBezTo>
                  <a:pt x="846" y="1297"/>
                  <a:pt x="845" y="1297"/>
                  <a:pt x="845" y="1298"/>
                </a:cubicBezTo>
                <a:cubicBezTo>
                  <a:pt x="844" y="1298"/>
                  <a:pt x="844" y="1299"/>
                  <a:pt x="843" y="1300"/>
                </a:cubicBezTo>
                <a:cubicBezTo>
                  <a:pt x="843" y="1300"/>
                  <a:pt x="842" y="1301"/>
                  <a:pt x="842" y="1302"/>
                </a:cubicBezTo>
                <a:cubicBezTo>
                  <a:pt x="842" y="1303"/>
                  <a:pt x="843" y="1303"/>
                  <a:pt x="843" y="1304"/>
                </a:cubicBezTo>
                <a:cubicBezTo>
                  <a:pt x="843" y="1305"/>
                  <a:pt x="842" y="1305"/>
                  <a:pt x="842" y="1306"/>
                </a:cubicBezTo>
                <a:cubicBezTo>
                  <a:pt x="841" y="1307"/>
                  <a:pt x="840" y="1307"/>
                  <a:pt x="839" y="1308"/>
                </a:cubicBezTo>
                <a:cubicBezTo>
                  <a:pt x="839" y="1308"/>
                  <a:pt x="839" y="1308"/>
                  <a:pt x="838" y="1308"/>
                </a:cubicBezTo>
                <a:cubicBezTo>
                  <a:pt x="838" y="1308"/>
                  <a:pt x="837" y="1309"/>
                  <a:pt x="837" y="1309"/>
                </a:cubicBezTo>
                <a:cubicBezTo>
                  <a:pt x="837" y="1310"/>
                  <a:pt x="838" y="1311"/>
                  <a:pt x="838" y="1311"/>
                </a:cubicBezTo>
                <a:cubicBezTo>
                  <a:pt x="838" y="1312"/>
                  <a:pt x="839" y="1312"/>
                  <a:pt x="839" y="1313"/>
                </a:cubicBezTo>
                <a:cubicBezTo>
                  <a:pt x="839" y="1314"/>
                  <a:pt x="838" y="1314"/>
                  <a:pt x="838" y="1315"/>
                </a:cubicBezTo>
                <a:cubicBezTo>
                  <a:pt x="838" y="1316"/>
                  <a:pt x="838" y="1316"/>
                  <a:pt x="839" y="1317"/>
                </a:cubicBezTo>
                <a:cubicBezTo>
                  <a:pt x="839" y="1318"/>
                  <a:pt x="839" y="1319"/>
                  <a:pt x="839" y="1320"/>
                </a:cubicBezTo>
                <a:cubicBezTo>
                  <a:pt x="839" y="1321"/>
                  <a:pt x="839" y="1321"/>
                  <a:pt x="838" y="1322"/>
                </a:cubicBezTo>
                <a:cubicBezTo>
                  <a:pt x="837" y="1322"/>
                  <a:pt x="835" y="1321"/>
                  <a:pt x="836" y="1322"/>
                </a:cubicBezTo>
                <a:cubicBezTo>
                  <a:pt x="836" y="1323"/>
                  <a:pt x="837" y="1323"/>
                  <a:pt x="837" y="1323"/>
                </a:cubicBezTo>
                <a:cubicBezTo>
                  <a:pt x="837" y="1323"/>
                  <a:pt x="837" y="1324"/>
                  <a:pt x="838" y="1324"/>
                </a:cubicBezTo>
                <a:cubicBezTo>
                  <a:pt x="838" y="1324"/>
                  <a:pt x="839" y="1324"/>
                  <a:pt x="839" y="1324"/>
                </a:cubicBezTo>
                <a:cubicBezTo>
                  <a:pt x="839" y="1324"/>
                  <a:pt x="840" y="1324"/>
                  <a:pt x="840" y="1325"/>
                </a:cubicBezTo>
                <a:cubicBezTo>
                  <a:pt x="840" y="1325"/>
                  <a:pt x="841" y="1325"/>
                  <a:pt x="842" y="1326"/>
                </a:cubicBezTo>
                <a:cubicBezTo>
                  <a:pt x="842" y="1326"/>
                  <a:pt x="843" y="1328"/>
                  <a:pt x="844" y="1328"/>
                </a:cubicBezTo>
                <a:cubicBezTo>
                  <a:pt x="844" y="1328"/>
                  <a:pt x="844" y="1328"/>
                  <a:pt x="845" y="1328"/>
                </a:cubicBezTo>
                <a:cubicBezTo>
                  <a:pt x="845" y="1328"/>
                  <a:pt x="845" y="1328"/>
                  <a:pt x="845" y="1327"/>
                </a:cubicBezTo>
                <a:cubicBezTo>
                  <a:pt x="845" y="1327"/>
                  <a:pt x="844" y="1327"/>
                  <a:pt x="845" y="1327"/>
                </a:cubicBezTo>
                <a:cubicBezTo>
                  <a:pt x="845" y="1326"/>
                  <a:pt x="845" y="1327"/>
                  <a:pt x="846" y="1326"/>
                </a:cubicBezTo>
                <a:cubicBezTo>
                  <a:pt x="846" y="1326"/>
                  <a:pt x="846" y="1326"/>
                  <a:pt x="847" y="1325"/>
                </a:cubicBezTo>
                <a:cubicBezTo>
                  <a:pt x="847" y="1325"/>
                  <a:pt x="847" y="1325"/>
                  <a:pt x="847" y="1324"/>
                </a:cubicBezTo>
                <a:cubicBezTo>
                  <a:pt x="848" y="1324"/>
                  <a:pt x="848" y="1324"/>
                  <a:pt x="848" y="1325"/>
                </a:cubicBezTo>
                <a:cubicBezTo>
                  <a:pt x="848" y="1325"/>
                  <a:pt x="848" y="1326"/>
                  <a:pt x="847" y="1326"/>
                </a:cubicBezTo>
                <a:cubicBezTo>
                  <a:pt x="847" y="1326"/>
                  <a:pt x="846" y="1326"/>
                  <a:pt x="846" y="1327"/>
                </a:cubicBezTo>
                <a:cubicBezTo>
                  <a:pt x="847" y="1327"/>
                  <a:pt x="847" y="1327"/>
                  <a:pt x="847" y="1327"/>
                </a:cubicBezTo>
                <a:cubicBezTo>
                  <a:pt x="848" y="1327"/>
                  <a:pt x="848" y="1327"/>
                  <a:pt x="848" y="1327"/>
                </a:cubicBezTo>
                <a:cubicBezTo>
                  <a:pt x="848" y="1326"/>
                  <a:pt x="848" y="1326"/>
                  <a:pt x="849" y="1325"/>
                </a:cubicBezTo>
                <a:cubicBezTo>
                  <a:pt x="849" y="1325"/>
                  <a:pt x="849" y="1325"/>
                  <a:pt x="849" y="1324"/>
                </a:cubicBezTo>
                <a:cubicBezTo>
                  <a:pt x="849" y="1324"/>
                  <a:pt x="849" y="1323"/>
                  <a:pt x="850" y="1324"/>
                </a:cubicBezTo>
                <a:cubicBezTo>
                  <a:pt x="850" y="1324"/>
                  <a:pt x="850" y="1325"/>
                  <a:pt x="850" y="1325"/>
                </a:cubicBezTo>
                <a:cubicBezTo>
                  <a:pt x="850" y="1325"/>
                  <a:pt x="850" y="1325"/>
                  <a:pt x="850" y="1326"/>
                </a:cubicBezTo>
                <a:cubicBezTo>
                  <a:pt x="850" y="1326"/>
                  <a:pt x="850" y="1327"/>
                  <a:pt x="850" y="1327"/>
                </a:cubicBezTo>
                <a:cubicBezTo>
                  <a:pt x="850" y="1327"/>
                  <a:pt x="850" y="1328"/>
                  <a:pt x="850" y="1328"/>
                </a:cubicBezTo>
                <a:cubicBezTo>
                  <a:pt x="850" y="1328"/>
                  <a:pt x="850" y="1329"/>
                  <a:pt x="850" y="1329"/>
                </a:cubicBezTo>
                <a:cubicBezTo>
                  <a:pt x="849" y="1330"/>
                  <a:pt x="849" y="1330"/>
                  <a:pt x="849" y="1330"/>
                </a:cubicBezTo>
                <a:cubicBezTo>
                  <a:pt x="849" y="1331"/>
                  <a:pt x="849" y="1332"/>
                  <a:pt x="848" y="1333"/>
                </a:cubicBezTo>
                <a:cubicBezTo>
                  <a:pt x="848" y="1333"/>
                  <a:pt x="847" y="1334"/>
                  <a:pt x="847" y="1334"/>
                </a:cubicBezTo>
                <a:cubicBezTo>
                  <a:pt x="846" y="1334"/>
                  <a:pt x="846" y="1335"/>
                  <a:pt x="846" y="1335"/>
                </a:cubicBezTo>
                <a:cubicBezTo>
                  <a:pt x="845" y="1335"/>
                  <a:pt x="845" y="1335"/>
                  <a:pt x="844" y="1335"/>
                </a:cubicBezTo>
                <a:cubicBezTo>
                  <a:pt x="844" y="1335"/>
                  <a:pt x="843" y="1336"/>
                  <a:pt x="843" y="1337"/>
                </a:cubicBezTo>
                <a:cubicBezTo>
                  <a:pt x="842" y="1337"/>
                  <a:pt x="841" y="1337"/>
                  <a:pt x="841" y="1338"/>
                </a:cubicBezTo>
                <a:cubicBezTo>
                  <a:pt x="839" y="1339"/>
                  <a:pt x="838" y="1341"/>
                  <a:pt x="837" y="1342"/>
                </a:cubicBezTo>
                <a:cubicBezTo>
                  <a:pt x="836" y="1343"/>
                  <a:pt x="835" y="1343"/>
                  <a:pt x="835" y="1344"/>
                </a:cubicBezTo>
                <a:cubicBezTo>
                  <a:pt x="834" y="1345"/>
                  <a:pt x="834" y="1345"/>
                  <a:pt x="833" y="1346"/>
                </a:cubicBezTo>
                <a:cubicBezTo>
                  <a:pt x="832" y="1348"/>
                  <a:pt x="832" y="1349"/>
                  <a:pt x="833" y="1351"/>
                </a:cubicBezTo>
                <a:cubicBezTo>
                  <a:pt x="833" y="1352"/>
                  <a:pt x="833" y="1352"/>
                  <a:pt x="833" y="1353"/>
                </a:cubicBezTo>
                <a:cubicBezTo>
                  <a:pt x="834" y="1354"/>
                  <a:pt x="834" y="1355"/>
                  <a:pt x="834" y="1356"/>
                </a:cubicBezTo>
                <a:cubicBezTo>
                  <a:pt x="835" y="1357"/>
                  <a:pt x="835" y="1357"/>
                  <a:pt x="836" y="1358"/>
                </a:cubicBezTo>
                <a:cubicBezTo>
                  <a:pt x="836" y="1359"/>
                  <a:pt x="837" y="1360"/>
                  <a:pt x="837" y="1361"/>
                </a:cubicBezTo>
                <a:cubicBezTo>
                  <a:pt x="837" y="1361"/>
                  <a:pt x="838" y="1362"/>
                  <a:pt x="837" y="1363"/>
                </a:cubicBezTo>
                <a:cubicBezTo>
                  <a:pt x="837" y="1363"/>
                  <a:pt x="836" y="1364"/>
                  <a:pt x="836" y="1364"/>
                </a:cubicBezTo>
                <a:cubicBezTo>
                  <a:pt x="836" y="1365"/>
                  <a:pt x="835" y="1365"/>
                  <a:pt x="834" y="1366"/>
                </a:cubicBezTo>
                <a:cubicBezTo>
                  <a:pt x="834" y="1367"/>
                  <a:pt x="835" y="1367"/>
                  <a:pt x="835" y="1367"/>
                </a:cubicBezTo>
                <a:cubicBezTo>
                  <a:pt x="837" y="1368"/>
                  <a:pt x="838" y="1369"/>
                  <a:pt x="840" y="1369"/>
                </a:cubicBezTo>
                <a:cubicBezTo>
                  <a:pt x="841" y="1370"/>
                  <a:pt x="843" y="1371"/>
                  <a:pt x="844" y="1372"/>
                </a:cubicBezTo>
                <a:cubicBezTo>
                  <a:pt x="845" y="1372"/>
                  <a:pt x="845" y="1373"/>
                  <a:pt x="846" y="1373"/>
                </a:cubicBezTo>
                <a:cubicBezTo>
                  <a:pt x="847" y="1374"/>
                  <a:pt x="847" y="1374"/>
                  <a:pt x="848" y="1375"/>
                </a:cubicBezTo>
                <a:cubicBezTo>
                  <a:pt x="849" y="1376"/>
                  <a:pt x="850" y="1378"/>
                  <a:pt x="851" y="1379"/>
                </a:cubicBezTo>
                <a:cubicBezTo>
                  <a:pt x="851" y="1380"/>
                  <a:pt x="852" y="1381"/>
                  <a:pt x="852" y="1381"/>
                </a:cubicBezTo>
                <a:cubicBezTo>
                  <a:pt x="853" y="1382"/>
                  <a:pt x="853" y="1383"/>
                  <a:pt x="853" y="1384"/>
                </a:cubicBezTo>
                <a:cubicBezTo>
                  <a:pt x="854" y="1385"/>
                  <a:pt x="854" y="1385"/>
                  <a:pt x="855" y="1386"/>
                </a:cubicBezTo>
                <a:cubicBezTo>
                  <a:pt x="855" y="1387"/>
                  <a:pt x="855" y="1387"/>
                  <a:pt x="856" y="1388"/>
                </a:cubicBezTo>
                <a:cubicBezTo>
                  <a:pt x="856" y="1388"/>
                  <a:pt x="856" y="1388"/>
                  <a:pt x="857" y="1389"/>
                </a:cubicBezTo>
                <a:cubicBezTo>
                  <a:pt x="857" y="1390"/>
                  <a:pt x="858" y="1390"/>
                  <a:pt x="859" y="1391"/>
                </a:cubicBezTo>
                <a:cubicBezTo>
                  <a:pt x="860" y="1393"/>
                  <a:pt x="861" y="1394"/>
                  <a:pt x="861" y="1396"/>
                </a:cubicBezTo>
                <a:cubicBezTo>
                  <a:pt x="862" y="1397"/>
                  <a:pt x="862" y="1398"/>
                  <a:pt x="862" y="1399"/>
                </a:cubicBezTo>
                <a:cubicBezTo>
                  <a:pt x="863" y="1399"/>
                  <a:pt x="863" y="1400"/>
                  <a:pt x="863" y="1401"/>
                </a:cubicBezTo>
                <a:cubicBezTo>
                  <a:pt x="864" y="1402"/>
                  <a:pt x="864" y="1402"/>
                  <a:pt x="865" y="1403"/>
                </a:cubicBezTo>
                <a:cubicBezTo>
                  <a:pt x="865" y="1404"/>
                  <a:pt x="865" y="1404"/>
                  <a:pt x="865" y="1405"/>
                </a:cubicBezTo>
                <a:cubicBezTo>
                  <a:pt x="865" y="1405"/>
                  <a:pt x="866" y="1405"/>
                  <a:pt x="866" y="1406"/>
                </a:cubicBezTo>
                <a:cubicBezTo>
                  <a:pt x="867" y="1407"/>
                  <a:pt x="867" y="1409"/>
                  <a:pt x="868" y="1411"/>
                </a:cubicBezTo>
                <a:cubicBezTo>
                  <a:pt x="869" y="1411"/>
                  <a:pt x="869" y="1412"/>
                  <a:pt x="869" y="1413"/>
                </a:cubicBezTo>
                <a:cubicBezTo>
                  <a:pt x="869" y="1414"/>
                  <a:pt x="870" y="1415"/>
                  <a:pt x="870" y="1416"/>
                </a:cubicBezTo>
                <a:cubicBezTo>
                  <a:pt x="871" y="1417"/>
                  <a:pt x="871" y="1418"/>
                  <a:pt x="872" y="1419"/>
                </a:cubicBezTo>
                <a:cubicBezTo>
                  <a:pt x="873" y="1420"/>
                  <a:pt x="874" y="1421"/>
                  <a:pt x="874" y="1422"/>
                </a:cubicBezTo>
                <a:cubicBezTo>
                  <a:pt x="874" y="1423"/>
                  <a:pt x="874" y="1424"/>
                  <a:pt x="874" y="1424"/>
                </a:cubicBezTo>
                <a:cubicBezTo>
                  <a:pt x="874" y="1425"/>
                  <a:pt x="874" y="1425"/>
                  <a:pt x="875" y="1426"/>
                </a:cubicBezTo>
                <a:cubicBezTo>
                  <a:pt x="875" y="1427"/>
                  <a:pt x="876" y="1427"/>
                  <a:pt x="876" y="1428"/>
                </a:cubicBezTo>
                <a:cubicBezTo>
                  <a:pt x="877" y="1428"/>
                  <a:pt x="877" y="1429"/>
                  <a:pt x="878" y="1429"/>
                </a:cubicBezTo>
                <a:cubicBezTo>
                  <a:pt x="878" y="1430"/>
                  <a:pt x="879" y="1430"/>
                  <a:pt x="879" y="1431"/>
                </a:cubicBezTo>
                <a:cubicBezTo>
                  <a:pt x="880" y="1432"/>
                  <a:pt x="880" y="1433"/>
                  <a:pt x="880" y="1434"/>
                </a:cubicBezTo>
                <a:cubicBezTo>
                  <a:pt x="880" y="1434"/>
                  <a:pt x="880" y="1435"/>
                  <a:pt x="881" y="1436"/>
                </a:cubicBezTo>
                <a:cubicBezTo>
                  <a:pt x="881" y="1436"/>
                  <a:pt x="882" y="1437"/>
                  <a:pt x="882" y="1438"/>
                </a:cubicBezTo>
                <a:cubicBezTo>
                  <a:pt x="883" y="1439"/>
                  <a:pt x="884" y="1440"/>
                  <a:pt x="885" y="1442"/>
                </a:cubicBezTo>
                <a:cubicBezTo>
                  <a:pt x="886" y="1442"/>
                  <a:pt x="886" y="1443"/>
                  <a:pt x="887" y="1444"/>
                </a:cubicBezTo>
                <a:cubicBezTo>
                  <a:pt x="887" y="1444"/>
                  <a:pt x="887" y="1445"/>
                  <a:pt x="888" y="1446"/>
                </a:cubicBezTo>
                <a:cubicBezTo>
                  <a:pt x="888" y="1446"/>
                  <a:pt x="888" y="1446"/>
                  <a:pt x="888" y="1447"/>
                </a:cubicBezTo>
                <a:cubicBezTo>
                  <a:pt x="889" y="1447"/>
                  <a:pt x="889" y="1447"/>
                  <a:pt x="889" y="1448"/>
                </a:cubicBezTo>
                <a:cubicBezTo>
                  <a:pt x="889" y="1448"/>
                  <a:pt x="890" y="1449"/>
                  <a:pt x="890" y="1450"/>
                </a:cubicBezTo>
                <a:cubicBezTo>
                  <a:pt x="891" y="1451"/>
                  <a:pt x="891" y="1451"/>
                  <a:pt x="891" y="1452"/>
                </a:cubicBezTo>
                <a:cubicBezTo>
                  <a:pt x="891" y="1454"/>
                  <a:pt x="889" y="1455"/>
                  <a:pt x="889" y="1456"/>
                </a:cubicBezTo>
                <a:cubicBezTo>
                  <a:pt x="889" y="1457"/>
                  <a:pt x="889" y="1458"/>
                  <a:pt x="889" y="1459"/>
                </a:cubicBezTo>
                <a:cubicBezTo>
                  <a:pt x="890" y="1459"/>
                  <a:pt x="891" y="1460"/>
                  <a:pt x="891" y="1460"/>
                </a:cubicBezTo>
                <a:cubicBezTo>
                  <a:pt x="892" y="1461"/>
                  <a:pt x="892" y="1462"/>
                  <a:pt x="893" y="1462"/>
                </a:cubicBezTo>
                <a:cubicBezTo>
                  <a:pt x="893" y="1463"/>
                  <a:pt x="893" y="1464"/>
                  <a:pt x="893" y="1465"/>
                </a:cubicBezTo>
                <a:cubicBezTo>
                  <a:pt x="894" y="1465"/>
                  <a:pt x="894" y="1465"/>
                  <a:pt x="895" y="1466"/>
                </a:cubicBezTo>
                <a:cubicBezTo>
                  <a:pt x="896" y="1467"/>
                  <a:pt x="896" y="1467"/>
                  <a:pt x="897" y="1467"/>
                </a:cubicBezTo>
                <a:cubicBezTo>
                  <a:pt x="898" y="1467"/>
                  <a:pt x="899" y="1468"/>
                  <a:pt x="899" y="1468"/>
                </a:cubicBezTo>
                <a:cubicBezTo>
                  <a:pt x="900" y="1469"/>
                  <a:pt x="900" y="1470"/>
                  <a:pt x="901" y="1471"/>
                </a:cubicBezTo>
                <a:cubicBezTo>
                  <a:pt x="901" y="1471"/>
                  <a:pt x="902" y="1472"/>
                  <a:pt x="902" y="1472"/>
                </a:cubicBezTo>
                <a:cubicBezTo>
                  <a:pt x="903" y="1473"/>
                  <a:pt x="903" y="1474"/>
                  <a:pt x="904" y="1475"/>
                </a:cubicBezTo>
                <a:cubicBezTo>
                  <a:pt x="905" y="1475"/>
                  <a:pt x="905" y="1476"/>
                  <a:pt x="906" y="1476"/>
                </a:cubicBezTo>
                <a:cubicBezTo>
                  <a:pt x="908" y="1476"/>
                  <a:pt x="909" y="1477"/>
                  <a:pt x="910" y="1478"/>
                </a:cubicBezTo>
                <a:cubicBezTo>
                  <a:pt x="911" y="1478"/>
                  <a:pt x="911" y="1479"/>
                  <a:pt x="912" y="1479"/>
                </a:cubicBezTo>
                <a:cubicBezTo>
                  <a:pt x="913" y="1479"/>
                  <a:pt x="913" y="1480"/>
                  <a:pt x="914" y="1480"/>
                </a:cubicBezTo>
                <a:cubicBezTo>
                  <a:pt x="915" y="1481"/>
                  <a:pt x="915" y="1481"/>
                  <a:pt x="916" y="1482"/>
                </a:cubicBezTo>
                <a:cubicBezTo>
                  <a:pt x="916" y="1482"/>
                  <a:pt x="917" y="1482"/>
                  <a:pt x="917" y="1482"/>
                </a:cubicBezTo>
                <a:cubicBezTo>
                  <a:pt x="918" y="1483"/>
                  <a:pt x="919" y="1483"/>
                  <a:pt x="920" y="1484"/>
                </a:cubicBezTo>
                <a:cubicBezTo>
                  <a:pt x="921" y="1484"/>
                  <a:pt x="923" y="1485"/>
                  <a:pt x="924" y="1486"/>
                </a:cubicBezTo>
                <a:cubicBezTo>
                  <a:pt x="925" y="1486"/>
                  <a:pt x="925" y="1486"/>
                  <a:pt x="926" y="1486"/>
                </a:cubicBezTo>
                <a:cubicBezTo>
                  <a:pt x="926" y="1486"/>
                  <a:pt x="926" y="1486"/>
                  <a:pt x="927" y="1487"/>
                </a:cubicBezTo>
                <a:cubicBezTo>
                  <a:pt x="927" y="1487"/>
                  <a:pt x="928" y="1487"/>
                  <a:pt x="928" y="1487"/>
                </a:cubicBezTo>
                <a:cubicBezTo>
                  <a:pt x="929" y="1488"/>
                  <a:pt x="929" y="1488"/>
                  <a:pt x="930" y="1488"/>
                </a:cubicBezTo>
                <a:cubicBezTo>
                  <a:pt x="931" y="1488"/>
                  <a:pt x="931" y="1489"/>
                  <a:pt x="932" y="1489"/>
                </a:cubicBezTo>
                <a:cubicBezTo>
                  <a:pt x="932" y="1489"/>
                  <a:pt x="933" y="1489"/>
                  <a:pt x="933" y="1489"/>
                </a:cubicBezTo>
                <a:cubicBezTo>
                  <a:pt x="934" y="1490"/>
                  <a:pt x="934" y="1490"/>
                  <a:pt x="935" y="1490"/>
                </a:cubicBezTo>
                <a:cubicBezTo>
                  <a:pt x="936" y="1491"/>
                  <a:pt x="936" y="1491"/>
                  <a:pt x="937" y="1492"/>
                </a:cubicBezTo>
                <a:cubicBezTo>
                  <a:pt x="938" y="1492"/>
                  <a:pt x="938" y="1492"/>
                  <a:pt x="939" y="1493"/>
                </a:cubicBezTo>
                <a:cubicBezTo>
                  <a:pt x="940" y="1493"/>
                  <a:pt x="941" y="1494"/>
                  <a:pt x="941" y="1494"/>
                </a:cubicBezTo>
                <a:cubicBezTo>
                  <a:pt x="942" y="1495"/>
                  <a:pt x="943" y="1495"/>
                  <a:pt x="943" y="1496"/>
                </a:cubicBezTo>
                <a:cubicBezTo>
                  <a:pt x="944" y="1496"/>
                  <a:pt x="944" y="1496"/>
                  <a:pt x="945" y="1497"/>
                </a:cubicBezTo>
                <a:cubicBezTo>
                  <a:pt x="945" y="1497"/>
                  <a:pt x="945" y="1498"/>
                  <a:pt x="945" y="1499"/>
                </a:cubicBezTo>
                <a:cubicBezTo>
                  <a:pt x="945" y="1499"/>
                  <a:pt x="945" y="1500"/>
                  <a:pt x="946" y="1501"/>
                </a:cubicBezTo>
                <a:cubicBezTo>
                  <a:pt x="946" y="1501"/>
                  <a:pt x="947" y="1502"/>
                  <a:pt x="948" y="1502"/>
                </a:cubicBezTo>
                <a:cubicBezTo>
                  <a:pt x="949" y="1502"/>
                  <a:pt x="950" y="1502"/>
                  <a:pt x="950" y="1503"/>
                </a:cubicBezTo>
                <a:cubicBezTo>
                  <a:pt x="951" y="1503"/>
                  <a:pt x="951" y="1504"/>
                  <a:pt x="952" y="1504"/>
                </a:cubicBezTo>
                <a:cubicBezTo>
                  <a:pt x="952" y="1505"/>
                  <a:pt x="953" y="1505"/>
                  <a:pt x="954" y="1506"/>
                </a:cubicBezTo>
                <a:cubicBezTo>
                  <a:pt x="954" y="1506"/>
                  <a:pt x="955" y="1507"/>
                  <a:pt x="955" y="1507"/>
                </a:cubicBezTo>
                <a:cubicBezTo>
                  <a:pt x="956" y="1508"/>
                  <a:pt x="957" y="1508"/>
                  <a:pt x="957" y="1509"/>
                </a:cubicBezTo>
                <a:cubicBezTo>
                  <a:pt x="957" y="1509"/>
                  <a:pt x="957" y="1510"/>
                  <a:pt x="957" y="1511"/>
                </a:cubicBezTo>
                <a:cubicBezTo>
                  <a:pt x="957" y="1512"/>
                  <a:pt x="958" y="1513"/>
                  <a:pt x="958" y="1514"/>
                </a:cubicBezTo>
                <a:cubicBezTo>
                  <a:pt x="958" y="1514"/>
                  <a:pt x="958" y="1515"/>
                  <a:pt x="958" y="1516"/>
                </a:cubicBezTo>
                <a:cubicBezTo>
                  <a:pt x="958" y="1517"/>
                  <a:pt x="958" y="1518"/>
                  <a:pt x="959" y="1519"/>
                </a:cubicBezTo>
                <a:cubicBezTo>
                  <a:pt x="959" y="1520"/>
                  <a:pt x="959" y="1522"/>
                  <a:pt x="959" y="1524"/>
                </a:cubicBezTo>
                <a:cubicBezTo>
                  <a:pt x="959" y="1525"/>
                  <a:pt x="959" y="1526"/>
                  <a:pt x="959" y="1527"/>
                </a:cubicBezTo>
                <a:cubicBezTo>
                  <a:pt x="959" y="1528"/>
                  <a:pt x="959" y="1529"/>
                  <a:pt x="959" y="1530"/>
                </a:cubicBezTo>
                <a:cubicBezTo>
                  <a:pt x="959" y="1532"/>
                  <a:pt x="960" y="1533"/>
                  <a:pt x="960" y="1534"/>
                </a:cubicBezTo>
                <a:cubicBezTo>
                  <a:pt x="960" y="1535"/>
                  <a:pt x="960" y="1535"/>
                  <a:pt x="960" y="1536"/>
                </a:cubicBezTo>
                <a:cubicBezTo>
                  <a:pt x="960" y="1537"/>
                  <a:pt x="960" y="1537"/>
                  <a:pt x="960" y="1538"/>
                </a:cubicBezTo>
                <a:cubicBezTo>
                  <a:pt x="960" y="1539"/>
                  <a:pt x="960" y="1539"/>
                  <a:pt x="960" y="1540"/>
                </a:cubicBezTo>
                <a:cubicBezTo>
                  <a:pt x="960" y="1542"/>
                  <a:pt x="961" y="1544"/>
                  <a:pt x="961" y="1546"/>
                </a:cubicBezTo>
                <a:cubicBezTo>
                  <a:pt x="960" y="1548"/>
                  <a:pt x="960" y="1550"/>
                  <a:pt x="960" y="1552"/>
                </a:cubicBezTo>
                <a:cubicBezTo>
                  <a:pt x="959" y="1553"/>
                  <a:pt x="959" y="1555"/>
                  <a:pt x="959" y="1557"/>
                </a:cubicBezTo>
                <a:cubicBezTo>
                  <a:pt x="959" y="1558"/>
                  <a:pt x="959" y="1559"/>
                  <a:pt x="958" y="1560"/>
                </a:cubicBezTo>
                <a:cubicBezTo>
                  <a:pt x="958" y="1561"/>
                  <a:pt x="958" y="1563"/>
                  <a:pt x="957" y="1564"/>
                </a:cubicBezTo>
                <a:cubicBezTo>
                  <a:pt x="957" y="1564"/>
                  <a:pt x="956" y="1564"/>
                  <a:pt x="956" y="1564"/>
                </a:cubicBezTo>
                <a:cubicBezTo>
                  <a:pt x="955" y="1566"/>
                  <a:pt x="955" y="1567"/>
                  <a:pt x="955" y="1569"/>
                </a:cubicBezTo>
                <a:cubicBezTo>
                  <a:pt x="955" y="1569"/>
                  <a:pt x="955" y="1570"/>
                  <a:pt x="955" y="1570"/>
                </a:cubicBezTo>
                <a:cubicBezTo>
                  <a:pt x="955" y="1570"/>
                  <a:pt x="955" y="1570"/>
                  <a:pt x="956" y="1570"/>
                </a:cubicBezTo>
                <a:cubicBezTo>
                  <a:pt x="956" y="1570"/>
                  <a:pt x="956" y="1571"/>
                  <a:pt x="956" y="1571"/>
                </a:cubicBezTo>
                <a:cubicBezTo>
                  <a:pt x="956" y="1572"/>
                  <a:pt x="955" y="1573"/>
                  <a:pt x="955" y="1574"/>
                </a:cubicBezTo>
                <a:cubicBezTo>
                  <a:pt x="955" y="1575"/>
                  <a:pt x="955" y="1577"/>
                  <a:pt x="955" y="1579"/>
                </a:cubicBezTo>
                <a:cubicBezTo>
                  <a:pt x="955" y="1581"/>
                  <a:pt x="955" y="1585"/>
                  <a:pt x="956" y="1587"/>
                </a:cubicBezTo>
                <a:cubicBezTo>
                  <a:pt x="956" y="1588"/>
                  <a:pt x="956" y="1589"/>
                  <a:pt x="956" y="1589"/>
                </a:cubicBezTo>
                <a:cubicBezTo>
                  <a:pt x="956" y="1590"/>
                  <a:pt x="956" y="1591"/>
                  <a:pt x="956" y="1592"/>
                </a:cubicBezTo>
                <a:cubicBezTo>
                  <a:pt x="956" y="1593"/>
                  <a:pt x="955" y="1595"/>
                  <a:pt x="954" y="1596"/>
                </a:cubicBezTo>
                <a:cubicBezTo>
                  <a:pt x="953" y="1598"/>
                  <a:pt x="954" y="1600"/>
                  <a:pt x="954" y="1601"/>
                </a:cubicBezTo>
                <a:cubicBezTo>
                  <a:pt x="954" y="1602"/>
                  <a:pt x="954" y="1603"/>
                  <a:pt x="954" y="1604"/>
                </a:cubicBezTo>
                <a:cubicBezTo>
                  <a:pt x="954" y="1605"/>
                  <a:pt x="953" y="1606"/>
                  <a:pt x="953" y="1606"/>
                </a:cubicBezTo>
                <a:cubicBezTo>
                  <a:pt x="953" y="1607"/>
                  <a:pt x="953" y="1608"/>
                  <a:pt x="953" y="1608"/>
                </a:cubicBezTo>
                <a:cubicBezTo>
                  <a:pt x="953" y="1609"/>
                  <a:pt x="953" y="1609"/>
                  <a:pt x="953" y="1610"/>
                </a:cubicBezTo>
                <a:cubicBezTo>
                  <a:pt x="952" y="1610"/>
                  <a:pt x="952" y="1611"/>
                  <a:pt x="952" y="1612"/>
                </a:cubicBezTo>
                <a:cubicBezTo>
                  <a:pt x="951" y="1613"/>
                  <a:pt x="951" y="1614"/>
                  <a:pt x="951" y="1614"/>
                </a:cubicBezTo>
                <a:cubicBezTo>
                  <a:pt x="951" y="1616"/>
                  <a:pt x="951" y="1617"/>
                  <a:pt x="951" y="1618"/>
                </a:cubicBezTo>
                <a:cubicBezTo>
                  <a:pt x="951" y="1619"/>
                  <a:pt x="951" y="1619"/>
                  <a:pt x="951" y="1620"/>
                </a:cubicBezTo>
                <a:cubicBezTo>
                  <a:pt x="951" y="1621"/>
                  <a:pt x="950" y="1621"/>
                  <a:pt x="950" y="1622"/>
                </a:cubicBezTo>
                <a:cubicBezTo>
                  <a:pt x="949" y="1623"/>
                  <a:pt x="949" y="1624"/>
                  <a:pt x="949" y="1624"/>
                </a:cubicBezTo>
                <a:cubicBezTo>
                  <a:pt x="949" y="1625"/>
                  <a:pt x="949" y="1626"/>
                  <a:pt x="948" y="1627"/>
                </a:cubicBezTo>
                <a:cubicBezTo>
                  <a:pt x="948" y="1628"/>
                  <a:pt x="948" y="1628"/>
                  <a:pt x="948" y="1629"/>
                </a:cubicBezTo>
                <a:cubicBezTo>
                  <a:pt x="948" y="1630"/>
                  <a:pt x="948" y="1630"/>
                  <a:pt x="948" y="1631"/>
                </a:cubicBezTo>
                <a:cubicBezTo>
                  <a:pt x="947" y="1632"/>
                  <a:pt x="947" y="1633"/>
                  <a:pt x="946" y="1634"/>
                </a:cubicBezTo>
                <a:cubicBezTo>
                  <a:pt x="946" y="1635"/>
                  <a:pt x="945" y="1635"/>
                  <a:pt x="945" y="1636"/>
                </a:cubicBezTo>
                <a:cubicBezTo>
                  <a:pt x="944" y="1637"/>
                  <a:pt x="944" y="1637"/>
                  <a:pt x="945" y="1638"/>
                </a:cubicBezTo>
                <a:cubicBezTo>
                  <a:pt x="945" y="1639"/>
                  <a:pt x="945" y="1640"/>
                  <a:pt x="945" y="1641"/>
                </a:cubicBezTo>
                <a:cubicBezTo>
                  <a:pt x="946" y="1641"/>
                  <a:pt x="946" y="1642"/>
                  <a:pt x="947" y="1642"/>
                </a:cubicBezTo>
                <a:cubicBezTo>
                  <a:pt x="947" y="1644"/>
                  <a:pt x="947" y="1645"/>
                  <a:pt x="947" y="1646"/>
                </a:cubicBezTo>
                <a:cubicBezTo>
                  <a:pt x="947" y="1648"/>
                  <a:pt x="947" y="1649"/>
                  <a:pt x="946" y="1650"/>
                </a:cubicBezTo>
                <a:cubicBezTo>
                  <a:pt x="946" y="1651"/>
                  <a:pt x="946" y="1651"/>
                  <a:pt x="945" y="1651"/>
                </a:cubicBezTo>
                <a:cubicBezTo>
                  <a:pt x="945" y="1652"/>
                  <a:pt x="945" y="1652"/>
                  <a:pt x="944" y="1653"/>
                </a:cubicBezTo>
                <a:cubicBezTo>
                  <a:pt x="944" y="1653"/>
                  <a:pt x="943" y="1653"/>
                  <a:pt x="943" y="1654"/>
                </a:cubicBezTo>
                <a:cubicBezTo>
                  <a:pt x="943" y="1654"/>
                  <a:pt x="943" y="1655"/>
                  <a:pt x="943" y="1655"/>
                </a:cubicBezTo>
                <a:cubicBezTo>
                  <a:pt x="943" y="1656"/>
                  <a:pt x="943" y="1657"/>
                  <a:pt x="943" y="1658"/>
                </a:cubicBezTo>
                <a:cubicBezTo>
                  <a:pt x="943" y="1659"/>
                  <a:pt x="943" y="1659"/>
                  <a:pt x="943" y="1660"/>
                </a:cubicBezTo>
                <a:cubicBezTo>
                  <a:pt x="943" y="1661"/>
                  <a:pt x="943" y="1662"/>
                  <a:pt x="943" y="1663"/>
                </a:cubicBezTo>
                <a:cubicBezTo>
                  <a:pt x="943" y="1664"/>
                  <a:pt x="944" y="1666"/>
                  <a:pt x="944" y="1668"/>
                </a:cubicBezTo>
                <a:cubicBezTo>
                  <a:pt x="944" y="1670"/>
                  <a:pt x="944" y="1671"/>
                  <a:pt x="944" y="1673"/>
                </a:cubicBezTo>
                <a:cubicBezTo>
                  <a:pt x="944" y="1675"/>
                  <a:pt x="944" y="1677"/>
                  <a:pt x="945" y="1678"/>
                </a:cubicBezTo>
                <a:cubicBezTo>
                  <a:pt x="945" y="1679"/>
                  <a:pt x="946" y="1679"/>
                  <a:pt x="945" y="1680"/>
                </a:cubicBezTo>
                <a:cubicBezTo>
                  <a:pt x="945" y="1681"/>
                  <a:pt x="945" y="1682"/>
                  <a:pt x="945" y="1682"/>
                </a:cubicBezTo>
                <a:cubicBezTo>
                  <a:pt x="945" y="1683"/>
                  <a:pt x="945" y="1684"/>
                  <a:pt x="944" y="1684"/>
                </a:cubicBezTo>
                <a:cubicBezTo>
                  <a:pt x="944" y="1686"/>
                  <a:pt x="942" y="1687"/>
                  <a:pt x="942" y="1689"/>
                </a:cubicBezTo>
                <a:cubicBezTo>
                  <a:pt x="942" y="1690"/>
                  <a:pt x="942" y="1690"/>
                  <a:pt x="942" y="1691"/>
                </a:cubicBezTo>
                <a:cubicBezTo>
                  <a:pt x="942" y="1692"/>
                  <a:pt x="942" y="1693"/>
                  <a:pt x="942" y="1694"/>
                </a:cubicBezTo>
                <a:cubicBezTo>
                  <a:pt x="942" y="1695"/>
                  <a:pt x="942" y="1696"/>
                  <a:pt x="942" y="1697"/>
                </a:cubicBezTo>
                <a:cubicBezTo>
                  <a:pt x="941" y="1697"/>
                  <a:pt x="941" y="1698"/>
                  <a:pt x="940" y="1699"/>
                </a:cubicBezTo>
                <a:cubicBezTo>
                  <a:pt x="940" y="1700"/>
                  <a:pt x="939" y="1702"/>
                  <a:pt x="939" y="1703"/>
                </a:cubicBezTo>
                <a:cubicBezTo>
                  <a:pt x="939" y="1704"/>
                  <a:pt x="939" y="1705"/>
                  <a:pt x="938" y="1706"/>
                </a:cubicBezTo>
                <a:cubicBezTo>
                  <a:pt x="938" y="1707"/>
                  <a:pt x="938" y="1707"/>
                  <a:pt x="938" y="1708"/>
                </a:cubicBezTo>
                <a:cubicBezTo>
                  <a:pt x="937" y="1709"/>
                  <a:pt x="937" y="1710"/>
                  <a:pt x="937" y="1711"/>
                </a:cubicBezTo>
                <a:cubicBezTo>
                  <a:pt x="937" y="1712"/>
                  <a:pt x="936" y="1713"/>
                  <a:pt x="936" y="1713"/>
                </a:cubicBezTo>
                <a:cubicBezTo>
                  <a:pt x="936" y="1714"/>
                  <a:pt x="935" y="1715"/>
                  <a:pt x="935" y="1716"/>
                </a:cubicBezTo>
                <a:cubicBezTo>
                  <a:pt x="935" y="1716"/>
                  <a:pt x="934" y="1717"/>
                  <a:pt x="934" y="1718"/>
                </a:cubicBezTo>
                <a:cubicBezTo>
                  <a:pt x="933" y="1718"/>
                  <a:pt x="933" y="1719"/>
                  <a:pt x="932" y="1720"/>
                </a:cubicBezTo>
                <a:cubicBezTo>
                  <a:pt x="932" y="1720"/>
                  <a:pt x="932" y="1721"/>
                  <a:pt x="932" y="1721"/>
                </a:cubicBezTo>
                <a:cubicBezTo>
                  <a:pt x="931" y="1722"/>
                  <a:pt x="932" y="1722"/>
                  <a:pt x="932" y="1722"/>
                </a:cubicBezTo>
                <a:cubicBezTo>
                  <a:pt x="932" y="1724"/>
                  <a:pt x="931" y="1725"/>
                  <a:pt x="930" y="1726"/>
                </a:cubicBezTo>
                <a:cubicBezTo>
                  <a:pt x="930" y="1727"/>
                  <a:pt x="929" y="1728"/>
                  <a:pt x="929" y="1729"/>
                </a:cubicBezTo>
                <a:cubicBezTo>
                  <a:pt x="929" y="1730"/>
                  <a:pt x="928" y="1731"/>
                  <a:pt x="928" y="1733"/>
                </a:cubicBezTo>
                <a:cubicBezTo>
                  <a:pt x="928" y="1734"/>
                  <a:pt x="928" y="1735"/>
                  <a:pt x="927" y="1735"/>
                </a:cubicBezTo>
                <a:cubicBezTo>
                  <a:pt x="926" y="1735"/>
                  <a:pt x="926" y="1735"/>
                  <a:pt x="926" y="1736"/>
                </a:cubicBezTo>
                <a:cubicBezTo>
                  <a:pt x="925" y="1736"/>
                  <a:pt x="926" y="1737"/>
                  <a:pt x="926" y="1737"/>
                </a:cubicBezTo>
                <a:cubicBezTo>
                  <a:pt x="926" y="1738"/>
                  <a:pt x="926" y="1738"/>
                  <a:pt x="926" y="1739"/>
                </a:cubicBezTo>
                <a:cubicBezTo>
                  <a:pt x="926" y="1740"/>
                  <a:pt x="926" y="1741"/>
                  <a:pt x="925" y="1741"/>
                </a:cubicBezTo>
                <a:cubicBezTo>
                  <a:pt x="924" y="1741"/>
                  <a:pt x="924" y="1741"/>
                  <a:pt x="924" y="1741"/>
                </a:cubicBezTo>
                <a:cubicBezTo>
                  <a:pt x="923" y="1741"/>
                  <a:pt x="923" y="1741"/>
                  <a:pt x="922" y="1741"/>
                </a:cubicBezTo>
                <a:cubicBezTo>
                  <a:pt x="922" y="1742"/>
                  <a:pt x="921" y="1741"/>
                  <a:pt x="920" y="1741"/>
                </a:cubicBezTo>
                <a:cubicBezTo>
                  <a:pt x="920" y="1741"/>
                  <a:pt x="920" y="1742"/>
                  <a:pt x="920" y="1743"/>
                </a:cubicBezTo>
                <a:cubicBezTo>
                  <a:pt x="920" y="1744"/>
                  <a:pt x="920" y="1745"/>
                  <a:pt x="920" y="1745"/>
                </a:cubicBezTo>
                <a:cubicBezTo>
                  <a:pt x="919" y="1747"/>
                  <a:pt x="920" y="1748"/>
                  <a:pt x="921" y="1750"/>
                </a:cubicBezTo>
                <a:cubicBezTo>
                  <a:pt x="923" y="1753"/>
                  <a:pt x="921" y="1757"/>
                  <a:pt x="921" y="1760"/>
                </a:cubicBezTo>
                <a:cubicBezTo>
                  <a:pt x="921" y="1762"/>
                  <a:pt x="922" y="1764"/>
                  <a:pt x="923" y="1765"/>
                </a:cubicBezTo>
                <a:cubicBezTo>
                  <a:pt x="923" y="1766"/>
                  <a:pt x="923" y="1767"/>
                  <a:pt x="924" y="1768"/>
                </a:cubicBezTo>
                <a:cubicBezTo>
                  <a:pt x="924" y="1769"/>
                  <a:pt x="924" y="1769"/>
                  <a:pt x="925" y="1770"/>
                </a:cubicBezTo>
                <a:cubicBezTo>
                  <a:pt x="925" y="1771"/>
                  <a:pt x="925" y="1772"/>
                  <a:pt x="924" y="1772"/>
                </a:cubicBezTo>
                <a:cubicBezTo>
                  <a:pt x="924" y="1773"/>
                  <a:pt x="924" y="1773"/>
                  <a:pt x="924" y="1774"/>
                </a:cubicBezTo>
                <a:cubicBezTo>
                  <a:pt x="924" y="1774"/>
                  <a:pt x="924" y="1777"/>
                  <a:pt x="923" y="1777"/>
                </a:cubicBezTo>
                <a:cubicBezTo>
                  <a:pt x="923" y="1776"/>
                  <a:pt x="920" y="1777"/>
                  <a:pt x="920" y="1778"/>
                </a:cubicBezTo>
                <a:cubicBezTo>
                  <a:pt x="919" y="1779"/>
                  <a:pt x="919" y="1779"/>
                  <a:pt x="919" y="1780"/>
                </a:cubicBezTo>
                <a:cubicBezTo>
                  <a:pt x="919" y="1781"/>
                  <a:pt x="919" y="1782"/>
                  <a:pt x="919" y="1783"/>
                </a:cubicBezTo>
                <a:cubicBezTo>
                  <a:pt x="918" y="1784"/>
                  <a:pt x="918" y="1784"/>
                  <a:pt x="918" y="1785"/>
                </a:cubicBezTo>
                <a:cubicBezTo>
                  <a:pt x="918" y="1785"/>
                  <a:pt x="918" y="1786"/>
                  <a:pt x="918" y="1786"/>
                </a:cubicBezTo>
                <a:cubicBezTo>
                  <a:pt x="918" y="1787"/>
                  <a:pt x="918" y="1787"/>
                  <a:pt x="917" y="1788"/>
                </a:cubicBezTo>
                <a:cubicBezTo>
                  <a:pt x="917" y="1789"/>
                  <a:pt x="916" y="1790"/>
                  <a:pt x="916" y="1791"/>
                </a:cubicBezTo>
                <a:cubicBezTo>
                  <a:pt x="916" y="1791"/>
                  <a:pt x="916" y="1793"/>
                  <a:pt x="916" y="1793"/>
                </a:cubicBezTo>
                <a:cubicBezTo>
                  <a:pt x="917" y="1794"/>
                  <a:pt x="917" y="1794"/>
                  <a:pt x="917" y="1794"/>
                </a:cubicBezTo>
                <a:cubicBezTo>
                  <a:pt x="917" y="1795"/>
                  <a:pt x="917" y="1795"/>
                  <a:pt x="917" y="1796"/>
                </a:cubicBezTo>
                <a:cubicBezTo>
                  <a:pt x="917" y="1797"/>
                  <a:pt x="918" y="1797"/>
                  <a:pt x="918" y="1798"/>
                </a:cubicBezTo>
                <a:cubicBezTo>
                  <a:pt x="918" y="1798"/>
                  <a:pt x="918" y="1799"/>
                  <a:pt x="918" y="1799"/>
                </a:cubicBezTo>
                <a:cubicBezTo>
                  <a:pt x="918" y="1800"/>
                  <a:pt x="919" y="1800"/>
                  <a:pt x="920" y="1800"/>
                </a:cubicBezTo>
                <a:cubicBezTo>
                  <a:pt x="920" y="1801"/>
                  <a:pt x="920" y="1801"/>
                  <a:pt x="920" y="1801"/>
                </a:cubicBezTo>
                <a:cubicBezTo>
                  <a:pt x="919" y="1802"/>
                  <a:pt x="919" y="1802"/>
                  <a:pt x="919" y="1803"/>
                </a:cubicBezTo>
                <a:cubicBezTo>
                  <a:pt x="920" y="1803"/>
                  <a:pt x="920" y="1803"/>
                  <a:pt x="921" y="1803"/>
                </a:cubicBezTo>
                <a:cubicBezTo>
                  <a:pt x="921" y="1804"/>
                  <a:pt x="920" y="1803"/>
                  <a:pt x="919" y="1804"/>
                </a:cubicBezTo>
                <a:cubicBezTo>
                  <a:pt x="918" y="1804"/>
                  <a:pt x="918" y="1805"/>
                  <a:pt x="918" y="1804"/>
                </a:cubicBezTo>
                <a:cubicBezTo>
                  <a:pt x="917" y="1804"/>
                  <a:pt x="917" y="1804"/>
                  <a:pt x="917" y="1804"/>
                </a:cubicBezTo>
                <a:cubicBezTo>
                  <a:pt x="917" y="1804"/>
                  <a:pt x="917" y="1803"/>
                  <a:pt x="917" y="1803"/>
                </a:cubicBezTo>
                <a:cubicBezTo>
                  <a:pt x="917" y="1802"/>
                  <a:pt x="916" y="1803"/>
                  <a:pt x="916" y="1803"/>
                </a:cubicBezTo>
                <a:cubicBezTo>
                  <a:pt x="916" y="1804"/>
                  <a:pt x="915" y="1805"/>
                  <a:pt x="915" y="1805"/>
                </a:cubicBezTo>
                <a:cubicBezTo>
                  <a:pt x="915" y="1805"/>
                  <a:pt x="915" y="1806"/>
                  <a:pt x="915" y="1807"/>
                </a:cubicBezTo>
                <a:cubicBezTo>
                  <a:pt x="915" y="1808"/>
                  <a:pt x="914" y="1808"/>
                  <a:pt x="914" y="1809"/>
                </a:cubicBezTo>
                <a:cubicBezTo>
                  <a:pt x="913" y="1811"/>
                  <a:pt x="913" y="1813"/>
                  <a:pt x="913" y="1814"/>
                </a:cubicBezTo>
                <a:cubicBezTo>
                  <a:pt x="913" y="1815"/>
                  <a:pt x="914" y="1816"/>
                  <a:pt x="914" y="1816"/>
                </a:cubicBezTo>
                <a:cubicBezTo>
                  <a:pt x="914" y="1818"/>
                  <a:pt x="914" y="1821"/>
                  <a:pt x="912" y="1822"/>
                </a:cubicBezTo>
                <a:cubicBezTo>
                  <a:pt x="912" y="1822"/>
                  <a:pt x="911" y="1822"/>
                  <a:pt x="911" y="1823"/>
                </a:cubicBezTo>
                <a:cubicBezTo>
                  <a:pt x="911" y="1823"/>
                  <a:pt x="912" y="1823"/>
                  <a:pt x="912" y="1823"/>
                </a:cubicBezTo>
                <a:cubicBezTo>
                  <a:pt x="913" y="1823"/>
                  <a:pt x="913" y="1824"/>
                  <a:pt x="914" y="1824"/>
                </a:cubicBezTo>
                <a:cubicBezTo>
                  <a:pt x="915" y="1824"/>
                  <a:pt x="916" y="1825"/>
                  <a:pt x="917" y="1825"/>
                </a:cubicBezTo>
                <a:cubicBezTo>
                  <a:pt x="917" y="1826"/>
                  <a:pt x="918" y="1825"/>
                  <a:pt x="919" y="1825"/>
                </a:cubicBezTo>
                <a:cubicBezTo>
                  <a:pt x="920" y="1824"/>
                  <a:pt x="919" y="1823"/>
                  <a:pt x="919" y="1823"/>
                </a:cubicBezTo>
                <a:cubicBezTo>
                  <a:pt x="919" y="1822"/>
                  <a:pt x="918" y="1822"/>
                  <a:pt x="918" y="1822"/>
                </a:cubicBezTo>
                <a:cubicBezTo>
                  <a:pt x="919" y="1821"/>
                  <a:pt x="919" y="1821"/>
                  <a:pt x="919" y="1821"/>
                </a:cubicBezTo>
                <a:cubicBezTo>
                  <a:pt x="920" y="1821"/>
                  <a:pt x="921" y="1822"/>
                  <a:pt x="922" y="1821"/>
                </a:cubicBezTo>
                <a:cubicBezTo>
                  <a:pt x="922" y="1820"/>
                  <a:pt x="920" y="1819"/>
                  <a:pt x="920" y="1819"/>
                </a:cubicBezTo>
                <a:cubicBezTo>
                  <a:pt x="920" y="1818"/>
                  <a:pt x="921" y="1818"/>
                  <a:pt x="921" y="1818"/>
                </a:cubicBezTo>
                <a:cubicBezTo>
                  <a:pt x="921" y="1818"/>
                  <a:pt x="922" y="1818"/>
                  <a:pt x="922" y="1818"/>
                </a:cubicBezTo>
                <a:cubicBezTo>
                  <a:pt x="922" y="1817"/>
                  <a:pt x="922" y="1817"/>
                  <a:pt x="921" y="1817"/>
                </a:cubicBezTo>
                <a:cubicBezTo>
                  <a:pt x="921" y="1816"/>
                  <a:pt x="921" y="1816"/>
                  <a:pt x="920" y="1816"/>
                </a:cubicBezTo>
                <a:cubicBezTo>
                  <a:pt x="920" y="1816"/>
                  <a:pt x="920" y="1815"/>
                  <a:pt x="920" y="1815"/>
                </a:cubicBezTo>
                <a:cubicBezTo>
                  <a:pt x="919" y="1814"/>
                  <a:pt x="918" y="1814"/>
                  <a:pt x="918" y="1813"/>
                </a:cubicBezTo>
                <a:cubicBezTo>
                  <a:pt x="918" y="1813"/>
                  <a:pt x="918" y="1813"/>
                  <a:pt x="919" y="1813"/>
                </a:cubicBezTo>
                <a:cubicBezTo>
                  <a:pt x="919" y="1813"/>
                  <a:pt x="919" y="1813"/>
                  <a:pt x="920" y="1813"/>
                </a:cubicBezTo>
                <a:cubicBezTo>
                  <a:pt x="920" y="1813"/>
                  <a:pt x="920" y="1812"/>
                  <a:pt x="920" y="1812"/>
                </a:cubicBezTo>
                <a:cubicBezTo>
                  <a:pt x="920" y="1812"/>
                  <a:pt x="920" y="1811"/>
                  <a:pt x="920" y="1811"/>
                </a:cubicBezTo>
                <a:cubicBezTo>
                  <a:pt x="920" y="1810"/>
                  <a:pt x="921" y="1810"/>
                  <a:pt x="922" y="1810"/>
                </a:cubicBezTo>
                <a:cubicBezTo>
                  <a:pt x="923" y="1810"/>
                  <a:pt x="923" y="1809"/>
                  <a:pt x="923" y="1809"/>
                </a:cubicBezTo>
                <a:cubicBezTo>
                  <a:pt x="923" y="1808"/>
                  <a:pt x="921" y="1808"/>
                  <a:pt x="922" y="1807"/>
                </a:cubicBezTo>
                <a:cubicBezTo>
                  <a:pt x="922" y="1807"/>
                  <a:pt x="922" y="1807"/>
                  <a:pt x="922" y="1806"/>
                </a:cubicBezTo>
                <a:cubicBezTo>
                  <a:pt x="922" y="1806"/>
                  <a:pt x="922" y="1806"/>
                  <a:pt x="922" y="1806"/>
                </a:cubicBezTo>
                <a:cubicBezTo>
                  <a:pt x="922" y="1806"/>
                  <a:pt x="922" y="1806"/>
                  <a:pt x="922" y="1805"/>
                </a:cubicBezTo>
                <a:cubicBezTo>
                  <a:pt x="921" y="1805"/>
                  <a:pt x="921" y="1805"/>
                  <a:pt x="921" y="1805"/>
                </a:cubicBezTo>
                <a:cubicBezTo>
                  <a:pt x="921" y="1804"/>
                  <a:pt x="921" y="1803"/>
                  <a:pt x="922" y="1803"/>
                </a:cubicBezTo>
                <a:cubicBezTo>
                  <a:pt x="923" y="1803"/>
                  <a:pt x="926" y="1803"/>
                  <a:pt x="926" y="1802"/>
                </a:cubicBezTo>
                <a:cubicBezTo>
                  <a:pt x="926" y="1801"/>
                  <a:pt x="926" y="1801"/>
                  <a:pt x="926" y="1801"/>
                </a:cubicBezTo>
                <a:cubicBezTo>
                  <a:pt x="927" y="1800"/>
                  <a:pt x="927" y="1800"/>
                  <a:pt x="928" y="1801"/>
                </a:cubicBezTo>
                <a:cubicBezTo>
                  <a:pt x="928" y="1801"/>
                  <a:pt x="929" y="1801"/>
                  <a:pt x="930" y="1802"/>
                </a:cubicBezTo>
                <a:cubicBezTo>
                  <a:pt x="930" y="1802"/>
                  <a:pt x="931" y="1802"/>
                  <a:pt x="931" y="1802"/>
                </a:cubicBezTo>
                <a:cubicBezTo>
                  <a:pt x="932" y="1802"/>
                  <a:pt x="932" y="1802"/>
                  <a:pt x="932" y="1803"/>
                </a:cubicBezTo>
                <a:cubicBezTo>
                  <a:pt x="931" y="1803"/>
                  <a:pt x="931" y="1803"/>
                  <a:pt x="931" y="1803"/>
                </a:cubicBezTo>
                <a:cubicBezTo>
                  <a:pt x="930" y="1803"/>
                  <a:pt x="930" y="1804"/>
                  <a:pt x="930" y="1804"/>
                </a:cubicBezTo>
                <a:cubicBezTo>
                  <a:pt x="930" y="1804"/>
                  <a:pt x="928" y="1805"/>
                  <a:pt x="929" y="1805"/>
                </a:cubicBezTo>
                <a:cubicBezTo>
                  <a:pt x="929" y="1805"/>
                  <a:pt x="930" y="1805"/>
                  <a:pt x="930" y="1806"/>
                </a:cubicBezTo>
                <a:cubicBezTo>
                  <a:pt x="930" y="1806"/>
                  <a:pt x="930" y="1806"/>
                  <a:pt x="931" y="1806"/>
                </a:cubicBezTo>
                <a:cubicBezTo>
                  <a:pt x="932" y="1806"/>
                  <a:pt x="933" y="1806"/>
                  <a:pt x="933" y="1806"/>
                </a:cubicBezTo>
                <a:cubicBezTo>
                  <a:pt x="934" y="1807"/>
                  <a:pt x="934" y="1808"/>
                  <a:pt x="934" y="1809"/>
                </a:cubicBezTo>
                <a:cubicBezTo>
                  <a:pt x="934" y="1809"/>
                  <a:pt x="934" y="1810"/>
                  <a:pt x="934" y="1811"/>
                </a:cubicBezTo>
                <a:cubicBezTo>
                  <a:pt x="934" y="1811"/>
                  <a:pt x="935" y="1812"/>
                  <a:pt x="934" y="1812"/>
                </a:cubicBezTo>
                <a:cubicBezTo>
                  <a:pt x="934" y="1812"/>
                  <a:pt x="933" y="1812"/>
                  <a:pt x="933" y="1812"/>
                </a:cubicBezTo>
                <a:cubicBezTo>
                  <a:pt x="933" y="1812"/>
                  <a:pt x="933" y="1811"/>
                  <a:pt x="933" y="1811"/>
                </a:cubicBezTo>
                <a:cubicBezTo>
                  <a:pt x="933" y="1810"/>
                  <a:pt x="933" y="1810"/>
                  <a:pt x="933" y="1809"/>
                </a:cubicBezTo>
                <a:cubicBezTo>
                  <a:pt x="933" y="1809"/>
                  <a:pt x="932" y="1808"/>
                  <a:pt x="931" y="1809"/>
                </a:cubicBezTo>
                <a:cubicBezTo>
                  <a:pt x="931" y="1809"/>
                  <a:pt x="931" y="1809"/>
                  <a:pt x="930" y="1809"/>
                </a:cubicBezTo>
                <a:cubicBezTo>
                  <a:pt x="930" y="1809"/>
                  <a:pt x="929" y="1809"/>
                  <a:pt x="929" y="1810"/>
                </a:cubicBezTo>
                <a:cubicBezTo>
                  <a:pt x="929" y="1810"/>
                  <a:pt x="930" y="1810"/>
                  <a:pt x="930" y="1810"/>
                </a:cubicBezTo>
                <a:cubicBezTo>
                  <a:pt x="930" y="1810"/>
                  <a:pt x="930" y="1810"/>
                  <a:pt x="930" y="1811"/>
                </a:cubicBezTo>
                <a:cubicBezTo>
                  <a:pt x="930" y="1811"/>
                  <a:pt x="930" y="1811"/>
                  <a:pt x="931" y="1812"/>
                </a:cubicBezTo>
                <a:cubicBezTo>
                  <a:pt x="931" y="1812"/>
                  <a:pt x="931" y="1812"/>
                  <a:pt x="931" y="1813"/>
                </a:cubicBezTo>
                <a:cubicBezTo>
                  <a:pt x="931" y="1813"/>
                  <a:pt x="930" y="1813"/>
                  <a:pt x="930" y="1813"/>
                </a:cubicBezTo>
                <a:cubicBezTo>
                  <a:pt x="930" y="1813"/>
                  <a:pt x="929" y="1814"/>
                  <a:pt x="929" y="1814"/>
                </a:cubicBezTo>
                <a:cubicBezTo>
                  <a:pt x="929" y="1815"/>
                  <a:pt x="929" y="1816"/>
                  <a:pt x="929" y="1816"/>
                </a:cubicBezTo>
                <a:cubicBezTo>
                  <a:pt x="929" y="1816"/>
                  <a:pt x="929" y="1817"/>
                  <a:pt x="929" y="1817"/>
                </a:cubicBezTo>
                <a:cubicBezTo>
                  <a:pt x="929" y="1818"/>
                  <a:pt x="929" y="1818"/>
                  <a:pt x="930" y="1819"/>
                </a:cubicBezTo>
                <a:cubicBezTo>
                  <a:pt x="930" y="1819"/>
                  <a:pt x="930" y="1819"/>
                  <a:pt x="930" y="1820"/>
                </a:cubicBezTo>
                <a:cubicBezTo>
                  <a:pt x="930" y="1820"/>
                  <a:pt x="930" y="1820"/>
                  <a:pt x="929" y="1820"/>
                </a:cubicBezTo>
                <a:cubicBezTo>
                  <a:pt x="928" y="1821"/>
                  <a:pt x="929" y="1822"/>
                  <a:pt x="928" y="1823"/>
                </a:cubicBezTo>
                <a:cubicBezTo>
                  <a:pt x="928" y="1823"/>
                  <a:pt x="927" y="1824"/>
                  <a:pt x="927" y="1825"/>
                </a:cubicBezTo>
                <a:cubicBezTo>
                  <a:pt x="926" y="1825"/>
                  <a:pt x="926" y="1826"/>
                  <a:pt x="926" y="1827"/>
                </a:cubicBezTo>
                <a:cubicBezTo>
                  <a:pt x="927" y="1828"/>
                  <a:pt x="928" y="1828"/>
                  <a:pt x="927" y="1829"/>
                </a:cubicBezTo>
                <a:cubicBezTo>
                  <a:pt x="927" y="1829"/>
                  <a:pt x="927" y="1830"/>
                  <a:pt x="927" y="1830"/>
                </a:cubicBezTo>
                <a:cubicBezTo>
                  <a:pt x="928" y="1830"/>
                  <a:pt x="928" y="1829"/>
                  <a:pt x="928" y="1829"/>
                </a:cubicBezTo>
                <a:cubicBezTo>
                  <a:pt x="929" y="1829"/>
                  <a:pt x="930" y="1830"/>
                  <a:pt x="929" y="1831"/>
                </a:cubicBezTo>
                <a:cubicBezTo>
                  <a:pt x="928" y="1831"/>
                  <a:pt x="928" y="1830"/>
                  <a:pt x="928" y="1831"/>
                </a:cubicBezTo>
                <a:cubicBezTo>
                  <a:pt x="927" y="1831"/>
                  <a:pt x="927" y="1832"/>
                  <a:pt x="927" y="1832"/>
                </a:cubicBezTo>
                <a:cubicBezTo>
                  <a:pt x="927" y="1833"/>
                  <a:pt x="926" y="1833"/>
                  <a:pt x="926" y="1834"/>
                </a:cubicBezTo>
                <a:cubicBezTo>
                  <a:pt x="926" y="1835"/>
                  <a:pt x="926" y="1835"/>
                  <a:pt x="926" y="1835"/>
                </a:cubicBezTo>
                <a:cubicBezTo>
                  <a:pt x="925" y="1836"/>
                  <a:pt x="925" y="1835"/>
                  <a:pt x="925" y="1836"/>
                </a:cubicBezTo>
                <a:cubicBezTo>
                  <a:pt x="924" y="1836"/>
                  <a:pt x="925" y="1837"/>
                  <a:pt x="925" y="1837"/>
                </a:cubicBezTo>
                <a:cubicBezTo>
                  <a:pt x="925" y="1837"/>
                  <a:pt x="926" y="1837"/>
                  <a:pt x="926" y="1837"/>
                </a:cubicBezTo>
                <a:cubicBezTo>
                  <a:pt x="927" y="1837"/>
                  <a:pt x="927" y="1838"/>
                  <a:pt x="927" y="1838"/>
                </a:cubicBezTo>
                <a:cubicBezTo>
                  <a:pt x="928" y="1838"/>
                  <a:pt x="928" y="1838"/>
                  <a:pt x="928" y="1838"/>
                </a:cubicBezTo>
                <a:cubicBezTo>
                  <a:pt x="929" y="1839"/>
                  <a:pt x="929" y="1840"/>
                  <a:pt x="930" y="1840"/>
                </a:cubicBezTo>
                <a:cubicBezTo>
                  <a:pt x="930" y="1840"/>
                  <a:pt x="932" y="1840"/>
                  <a:pt x="931" y="1841"/>
                </a:cubicBezTo>
                <a:cubicBezTo>
                  <a:pt x="931" y="1841"/>
                  <a:pt x="931" y="1842"/>
                  <a:pt x="930" y="1842"/>
                </a:cubicBezTo>
                <a:cubicBezTo>
                  <a:pt x="930" y="1842"/>
                  <a:pt x="931" y="1843"/>
                  <a:pt x="931" y="1843"/>
                </a:cubicBezTo>
                <a:cubicBezTo>
                  <a:pt x="930" y="1844"/>
                  <a:pt x="929" y="1845"/>
                  <a:pt x="928" y="1845"/>
                </a:cubicBezTo>
                <a:cubicBezTo>
                  <a:pt x="927" y="1845"/>
                  <a:pt x="927" y="1846"/>
                  <a:pt x="926" y="1846"/>
                </a:cubicBezTo>
                <a:cubicBezTo>
                  <a:pt x="926" y="1847"/>
                  <a:pt x="925" y="1847"/>
                  <a:pt x="925" y="1847"/>
                </a:cubicBezTo>
                <a:cubicBezTo>
                  <a:pt x="926" y="1847"/>
                  <a:pt x="926" y="1846"/>
                  <a:pt x="927" y="1845"/>
                </a:cubicBezTo>
                <a:cubicBezTo>
                  <a:pt x="927" y="1845"/>
                  <a:pt x="928" y="1845"/>
                  <a:pt x="929" y="1844"/>
                </a:cubicBezTo>
                <a:cubicBezTo>
                  <a:pt x="929" y="1843"/>
                  <a:pt x="929" y="1843"/>
                  <a:pt x="929" y="1842"/>
                </a:cubicBezTo>
                <a:cubicBezTo>
                  <a:pt x="930" y="1842"/>
                  <a:pt x="931" y="1841"/>
                  <a:pt x="930" y="1840"/>
                </a:cubicBezTo>
                <a:cubicBezTo>
                  <a:pt x="929" y="1840"/>
                  <a:pt x="929" y="1840"/>
                  <a:pt x="928" y="1839"/>
                </a:cubicBezTo>
                <a:cubicBezTo>
                  <a:pt x="928" y="1839"/>
                  <a:pt x="928" y="1839"/>
                  <a:pt x="927" y="1839"/>
                </a:cubicBezTo>
                <a:cubicBezTo>
                  <a:pt x="927" y="1839"/>
                  <a:pt x="927" y="1839"/>
                  <a:pt x="926" y="1839"/>
                </a:cubicBezTo>
                <a:cubicBezTo>
                  <a:pt x="926" y="1839"/>
                  <a:pt x="926" y="1839"/>
                  <a:pt x="925" y="1839"/>
                </a:cubicBezTo>
                <a:cubicBezTo>
                  <a:pt x="924" y="1839"/>
                  <a:pt x="925" y="1840"/>
                  <a:pt x="925" y="1840"/>
                </a:cubicBezTo>
                <a:cubicBezTo>
                  <a:pt x="926" y="1841"/>
                  <a:pt x="925" y="1841"/>
                  <a:pt x="924" y="1842"/>
                </a:cubicBezTo>
                <a:cubicBezTo>
                  <a:pt x="924" y="1842"/>
                  <a:pt x="922" y="1842"/>
                  <a:pt x="922" y="1842"/>
                </a:cubicBezTo>
                <a:cubicBezTo>
                  <a:pt x="922" y="1843"/>
                  <a:pt x="923" y="1843"/>
                  <a:pt x="923" y="1843"/>
                </a:cubicBezTo>
                <a:cubicBezTo>
                  <a:pt x="923" y="1843"/>
                  <a:pt x="923" y="1843"/>
                  <a:pt x="923" y="1843"/>
                </a:cubicBezTo>
                <a:cubicBezTo>
                  <a:pt x="923" y="1844"/>
                  <a:pt x="923" y="1844"/>
                  <a:pt x="924" y="1844"/>
                </a:cubicBezTo>
                <a:cubicBezTo>
                  <a:pt x="924" y="1844"/>
                  <a:pt x="925" y="1844"/>
                  <a:pt x="924" y="1845"/>
                </a:cubicBezTo>
                <a:cubicBezTo>
                  <a:pt x="924" y="1845"/>
                  <a:pt x="924" y="1844"/>
                  <a:pt x="923" y="1845"/>
                </a:cubicBezTo>
                <a:cubicBezTo>
                  <a:pt x="923" y="1845"/>
                  <a:pt x="923" y="1845"/>
                  <a:pt x="923" y="1845"/>
                </a:cubicBezTo>
                <a:cubicBezTo>
                  <a:pt x="923" y="1846"/>
                  <a:pt x="923" y="1846"/>
                  <a:pt x="924" y="1846"/>
                </a:cubicBezTo>
                <a:cubicBezTo>
                  <a:pt x="924" y="1847"/>
                  <a:pt x="924" y="1846"/>
                  <a:pt x="924" y="1847"/>
                </a:cubicBezTo>
                <a:cubicBezTo>
                  <a:pt x="924" y="1848"/>
                  <a:pt x="923" y="1847"/>
                  <a:pt x="923" y="1848"/>
                </a:cubicBezTo>
                <a:cubicBezTo>
                  <a:pt x="923" y="1849"/>
                  <a:pt x="924" y="1849"/>
                  <a:pt x="924" y="1849"/>
                </a:cubicBezTo>
                <a:cubicBezTo>
                  <a:pt x="924" y="1850"/>
                  <a:pt x="923" y="1850"/>
                  <a:pt x="923" y="1851"/>
                </a:cubicBezTo>
                <a:cubicBezTo>
                  <a:pt x="923" y="1851"/>
                  <a:pt x="922" y="1851"/>
                  <a:pt x="922" y="1852"/>
                </a:cubicBezTo>
                <a:cubicBezTo>
                  <a:pt x="923" y="1852"/>
                  <a:pt x="923" y="1852"/>
                  <a:pt x="923" y="1851"/>
                </a:cubicBezTo>
                <a:cubicBezTo>
                  <a:pt x="924" y="1851"/>
                  <a:pt x="924" y="1851"/>
                  <a:pt x="924" y="1851"/>
                </a:cubicBezTo>
                <a:cubicBezTo>
                  <a:pt x="925" y="1851"/>
                  <a:pt x="926" y="1852"/>
                  <a:pt x="926" y="1853"/>
                </a:cubicBezTo>
                <a:cubicBezTo>
                  <a:pt x="926" y="1853"/>
                  <a:pt x="927" y="1853"/>
                  <a:pt x="928" y="1854"/>
                </a:cubicBezTo>
                <a:cubicBezTo>
                  <a:pt x="928" y="1854"/>
                  <a:pt x="929" y="1854"/>
                  <a:pt x="929" y="1854"/>
                </a:cubicBezTo>
                <a:cubicBezTo>
                  <a:pt x="929" y="1854"/>
                  <a:pt x="928" y="1854"/>
                  <a:pt x="928" y="1854"/>
                </a:cubicBezTo>
                <a:cubicBezTo>
                  <a:pt x="927" y="1853"/>
                  <a:pt x="926" y="1853"/>
                  <a:pt x="926" y="1853"/>
                </a:cubicBezTo>
                <a:cubicBezTo>
                  <a:pt x="925" y="1852"/>
                  <a:pt x="925" y="1851"/>
                  <a:pt x="924" y="1852"/>
                </a:cubicBezTo>
                <a:cubicBezTo>
                  <a:pt x="924" y="1853"/>
                  <a:pt x="924" y="1853"/>
                  <a:pt x="923" y="1853"/>
                </a:cubicBezTo>
                <a:cubicBezTo>
                  <a:pt x="923" y="1854"/>
                  <a:pt x="923" y="1854"/>
                  <a:pt x="922" y="1854"/>
                </a:cubicBezTo>
                <a:cubicBezTo>
                  <a:pt x="922" y="1854"/>
                  <a:pt x="922" y="1855"/>
                  <a:pt x="922" y="1855"/>
                </a:cubicBezTo>
                <a:cubicBezTo>
                  <a:pt x="922" y="1856"/>
                  <a:pt x="922" y="1856"/>
                  <a:pt x="922" y="1856"/>
                </a:cubicBezTo>
                <a:cubicBezTo>
                  <a:pt x="921" y="1857"/>
                  <a:pt x="921" y="1858"/>
                  <a:pt x="921" y="1859"/>
                </a:cubicBezTo>
                <a:cubicBezTo>
                  <a:pt x="921" y="1859"/>
                  <a:pt x="922" y="1858"/>
                  <a:pt x="922" y="1858"/>
                </a:cubicBezTo>
                <a:cubicBezTo>
                  <a:pt x="922" y="1857"/>
                  <a:pt x="922" y="1857"/>
                  <a:pt x="923" y="1857"/>
                </a:cubicBezTo>
                <a:cubicBezTo>
                  <a:pt x="923" y="1857"/>
                  <a:pt x="923" y="1857"/>
                  <a:pt x="923" y="1857"/>
                </a:cubicBezTo>
                <a:cubicBezTo>
                  <a:pt x="924" y="1856"/>
                  <a:pt x="925" y="1857"/>
                  <a:pt x="924" y="1857"/>
                </a:cubicBezTo>
                <a:cubicBezTo>
                  <a:pt x="923" y="1858"/>
                  <a:pt x="922" y="1857"/>
                  <a:pt x="922" y="1858"/>
                </a:cubicBezTo>
                <a:cubicBezTo>
                  <a:pt x="922" y="1859"/>
                  <a:pt x="922" y="1860"/>
                  <a:pt x="921" y="1860"/>
                </a:cubicBezTo>
                <a:cubicBezTo>
                  <a:pt x="921" y="1861"/>
                  <a:pt x="920" y="1861"/>
                  <a:pt x="920" y="1862"/>
                </a:cubicBezTo>
                <a:cubicBezTo>
                  <a:pt x="920" y="1863"/>
                  <a:pt x="920" y="1863"/>
                  <a:pt x="920" y="1864"/>
                </a:cubicBezTo>
                <a:cubicBezTo>
                  <a:pt x="920" y="1864"/>
                  <a:pt x="919" y="1867"/>
                  <a:pt x="920" y="1866"/>
                </a:cubicBezTo>
                <a:cubicBezTo>
                  <a:pt x="920" y="1866"/>
                  <a:pt x="920" y="1865"/>
                  <a:pt x="921" y="1865"/>
                </a:cubicBezTo>
                <a:cubicBezTo>
                  <a:pt x="921" y="1865"/>
                  <a:pt x="921" y="1866"/>
                  <a:pt x="921" y="1866"/>
                </a:cubicBezTo>
                <a:cubicBezTo>
                  <a:pt x="921" y="1867"/>
                  <a:pt x="921" y="1867"/>
                  <a:pt x="920" y="1868"/>
                </a:cubicBezTo>
                <a:cubicBezTo>
                  <a:pt x="919" y="1869"/>
                  <a:pt x="919" y="1869"/>
                  <a:pt x="918" y="1870"/>
                </a:cubicBezTo>
                <a:cubicBezTo>
                  <a:pt x="918" y="1870"/>
                  <a:pt x="917" y="1871"/>
                  <a:pt x="917" y="1870"/>
                </a:cubicBezTo>
                <a:cubicBezTo>
                  <a:pt x="917" y="1870"/>
                  <a:pt x="917" y="1869"/>
                  <a:pt x="917" y="1869"/>
                </a:cubicBezTo>
                <a:cubicBezTo>
                  <a:pt x="917" y="1868"/>
                  <a:pt x="918" y="1868"/>
                  <a:pt x="918" y="1867"/>
                </a:cubicBezTo>
                <a:cubicBezTo>
                  <a:pt x="919" y="1866"/>
                  <a:pt x="919" y="1864"/>
                  <a:pt x="918" y="1864"/>
                </a:cubicBezTo>
                <a:cubicBezTo>
                  <a:pt x="917" y="1864"/>
                  <a:pt x="916" y="1864"/>
                  <a:pt x="916" y="1865"/>
                </a:cubicBezTo>
                <a:cubicBezTo>
                  <a:pt x="916" y="1865"/>
                  <a:pt x="917" y="1865"/>
                  <a:pt x="917" y="1866"/>
                </a:cubicBezTo>
                <a:cubicBezTo>
                  <a:pt x="917" y="1866"/>
                  <a:pt x="916" y="1866"/>
                  <a:pt x="916" y="1866"/>
                </a:cubicBezTo>
                <a:cubicBezTo>
                  <a:pt x="915" y="1866"/>
                  <a:pt x="915" y="1865"/>
                  <a:pt x="915" y="1864"/>
                </a:cubicBezTo>
                <a:cubicBezTo>
                  <a:pt x="916" y="1864"/>
                  <a:pt x="917" y="1863"/>
                  <a:pt x="917" y="1862"/>
                </a:cubicBezTo>
                <a:cubicBezTo>
                  <a:pt x="916" y="1862"/>
                  <a:pt x="916" y="1862"/>
                  <a:pt x="916" y="1862"/>
                </a:cubicBezTo>
                <a:cubicBezTo>
                  <a:pt x="916" y="1862"/>
                  <a:pt x="916" y="1862"/>
                  <a:pt x="916" y="1861"/>
                </a:cubicBezTo>
                <a:cubicBezTo>
                  <a:pt x="915" y="1861"/>
                  <a:pt x="915" y="1861"/>
                  <a:pt x="915" y="1860"/>
                </a:cubicBezTo>
                <a:cubicBezTo>
                  <a:pt x="915" y="1860"/>
                  <a:pt x="915" y="1860"/>
                  <a:pt x="915" y="1859"/>
                </a:cubicBezTo>
                <a:cubicBezTo>
                  <a:pt x="914" y="1859"/>
                  <a:pt x="914" y="1859"/>
                  <a:pt x="914" y="1859"/>
                </a:cubicBezTo>
                <a:cubicBezTo>
                  <a:pt x="913" y="1859"/>
                  <a:pt x="913" y="1859"/>
                  <a:pt x="913" y="1859"/>
                </a:cubicBezTo>
                <a:cubicBezTo>
                  <a:pt x="912" y="1860"/>
                  <a:pt x="912" y="1859"/>
                  <a:pt x="912" y="1859"/>
                </a:cubicBezTo>
                <a:cubicBezTo>
                  <a:pt x="911" y="1859"/>
                  <a:pt x="911" y="1861"/>
                  <a:pt x="910" y="1861"/>
                </a:cubicBezTo>
                <a:cubicBezTo>
                  <a:pt x="910" y="1861"/>
                  <a:pt x="910" y="1860"/>
                  <a:pt x="910" y="1860"/>
                </a:cubicBezTo>
                <a:cubicBezTo>
                  <a:pt x="909" y="1859"/>
                  <a:pt x="909" y="1860"/>
                  <a:pt x="909" y="1860"/>
                </a:cubicBezTo>
                <a:cubicBezTo>
                  <a:pt x="908" y="1860"/>
                  <a:pt x="908" y="1860"/>
                  <a:pt x="908" y="1859"/>
                </a:cubicBezTo>
                <a:cubicBezTo>
                  <a:pt x="908" y="1859"/>
                  <a:pt x="907" y="1859"/>
                  <a:pt x="907" y="1859"/>
                </a:cubicBezTo>
                <a:cubicBezTo>
                  <a:pt x="906" y="1859"/>
                  <a:pt x="906" y="1860"/>
                  <a:pt x="905" y="1860"/>
                </a:cubicBezTo>
                <a:cubicBezTo>
                  <a:pt x="904" y="1860"/>
                  <a:pt x="904" y="1860"/>
                  <a:pt x="903" y="1860"/>
                </a:cubicBezTo>
                <a:cubicBezTo>
                  <a:pt x="903" y="1861"/>
                  <a:pt x="904" y="1861"/>
                  <a:pt x="904" y="1861"/>
                </a:cubicBezTo>
                <a:cubicBezTo>
                  <a:pt x="905" y="1861"/>
                  <a:pt x="905" y="1862"/>
                  <a:pt x="905" y="1862"/>
                </a:cubicBezTo>
                <a:cubicBezTo>
                  <a:pt x="905" y="1863"/>
                  <a:pt x="904" y="1862"/>
                  <a:pt x="904" y="1862"/>
                </a:cubicBezTo>
                <a:cubicBezTo>
                  <a:pt x="904" y="1862"/>
                  <a:pt x="903" y="1862"/>
                  <a:pt x="903" y="1863"/>
                </a:cubicBezTo>
                <a:cubicBezTo>
                  <a:pt x="903" y="1863"/>
                  <a:pt x="904" y="1863"/>
                  <a:pt x="904" y="1863"/>
                </a:cubicBezTo>
                <a:cubicBezTo>
                  <a:pt x="904" y="1864"/>
                  <a:pt x="905" y="1864"/>
                  <a:pt x="905" y="1863"/>
                </a:cubicBezTo>
                <a:cubicBezTo>
                  <a:pt x="906" y="1863"/>
                  <a:pt x="906" y="1863"/>
                  <a:pt x="906" y="1863"/>
                </a:cubicBezTo>
                <a:cubicBezTo>
                  <a:pt x="907" y="1862"/>
                  <a:pt x="906" y="1862"/>
                  <a:pt x="907" y="1862"/>
                </a:cubicBezTo>
                <a:cubicBezTo>
                  <a:pt x="907" y="1861"/>
                  <a:pt x="907" y="1861"/>
                  <a:pt x="907" y="1861"/>
                </a:cubicBezTo>
                <a:cubicBezTo>
                  <a:pt x="908" y="1862"/>
                  <a:pt x="907" y="1862"/>
                  <a:pt x="907" y="1863"/>
                </a:cubicBezTo>
                <a:cubicBezTo>
                  <a:pt x="907" y="1863"/>
                  <a:pt x="907" y="1864"/>
                  <a:pt x="906" y="1865"/>
                </a:cubicBezTo>
                <a:cubicBezTo>
                  <a:pt x="906" y="1865"/>
                  <a:pt x="905" y="1865"/>
                  <a:pt x="904" y="1865"/>
                </a:cubicBezTo>
                <a:cubicBezTo>
                  <a:pt x="904" y="1865"/>
                  <a:pt x="903" y="1865"/>
                  <a:pt x="903" y="1865"/>
                </a:cubicBezTo>
                <a:cubicBezTo>
                  <a:pt x="902" y="1866"/>
                  <a:pt x="903" y="1866"/>
                  <a:pt x="903" y="1866"/>
                </a:cubicBezTo>
                <a:cubicBezTo>
                  <a:pt x="904" y="1866"/>
                  <a:pt x="903" y="1867"/>
                  <a:pt x="903" y="1867"/>
                </a:cubicBezTo>
                <a:cubicBezTo>
                  <a:pt x="902" y="1867"/>
                  <a:pt x="902" y="1867"/>
                  <a:pt x="902" y="1867"/>
                </a:cubicBezTo>
                <a:cubicBezTo>
                  <a:pt x="901" y="1867"/>
                  <a:pt x="901" y="1868"/>
                  <a:pt x="900" y="1869"/>
                </a:cubicBezTo>
                <a:cubicBezTo>
                  <a:pt x="899" y="1869"/>
                  <a:pt x="898" y="1869"/>
                  <a:pt x="898" y="1870"/>
                </a:cubicBezTo>
                <a:cubicBezTo>
                  <a:pt x="897" y="1870"/>
                  <a:pt x="896" y="1871"/>
                  <a:pt x="896" y="1872"/>
                </a:cubicBezTo>
                <a:cubicBezTo>
                  <a:pt x="897" y="1873"/>
                  <a:pt x="897" y="1873"/>
                  <a:pt x="897" y="1874"/>
                </a:cubicBezTo>
                <a:cubicBezTo>
                  <a:pt x="898" y="1874"/>
                  <a:pt x="898" y="1875"/>
                  <a:pt x="899" y="1875"/>
                </a:cubicBezTo>
                <a:cubicBezTo>
                  <a:pt x="900" y="1875"/>
                  <a:pt x="901" y="1875"/>
                  <a:pt x="900" y="1874"/>
                </a:cubicBezTo>
                <a:cubicBezTo>
                  <a:pt x="900" y="1874"/>
                  <a:pt x="900" y="1873"/>
                  <a:pt x="900" y="1873"/>
                </a:cubicBezTo>
                <a:cubicBezTo>
                  <a:pt x="900" y="1872"/>
                  <a:pt x="900" y="1872"/>
                  <a:pt x="899" y="1872"/>
                </a:cubicBezTo>
                <a:cubicBezTo>
                  <a:pt x="899" y="1872"/>
                  <a:pt x="899" y="1871"/>
                  <a:pt x="899" y="1871"/>
                </a:cubicBezTo>
                <a:cubicBezTo>
                  <a:pt x="900" y="1871"/>
                  <a:pt x="900" y="1871"/>
                  <a:pt x="901" y="1871"/>
                </a:cubicBezTo>
                <a:cubicBezTo>
                  <a:pt x="902" y="1871"/>
                  <a:pt x="902" y="1871"/>
                  <a:pt x="903" y="1870"/>
                </a:cubicBezTo>
                <a:cubicBezTo>
                  <a:pt x="903" y="1870"/>
                  <a:pt x="904" y="1871"/>
                  <a:pt x="904" y="1872"/>
                </a:cubicBezTo>
                <a:cubicBezTo>
                  <a:pt x="904" y="1872"/>
                  <a:pt x="905" y="1873"/>
                  <a:pt x="905" y="1873"/>
                </a:cubicBezTo>
                <a:cubicBezTo>
                  <a:pt x="906" y="1873"/>
                  <a:pt x="906" y="1873"/>
                  <a:pt x="906" y="1873"/>
                </a:cubicBezTo>
                <a:cubicBezTo>
                  <a:pt x="907" y="1873"/>
                  <a:pt x="907" y="1874"/>
                  <a:pt x="907" y="1874"/>
                </a:cubicBezTo>
                <a:cubicBezTo>
                  <a:pt x="908" y="1874"/>
                  <a:pt x="908" y="1875"/>
                  <a:pt x="909" y="1875"/>
                </a:cubicBezTo>
                <a:cubicBezTo>
                  <a:pt x="910" y="1875"/>
                  <a:pt x="911" y="1875"/>
                  <a:pt x="910" y="1874"/>
                </a:cubicBezTo>
                <a:cubicBezTo>
                  <a:pt x="910" y="1874"/>
                  <a:pt x="909" y="1874"/>
                  <a:pt x="909" y="1873"/>
                </a:cubicBezTo>
                <a:cubicBezTo>
                  <a:pt x="910" y="1873"/>
                  <a:pt x="910" y="1873"/>
                  <a:pt x="911" y="1873"/>
                </a:cubicBezTo>
                <a:cubicBezTo>
                  <a:pt x="911" y="1873"/>
                  <a:pt x="911" y="1873"/>
                  <a:pt x="912" y="1873"/>
                </a:cubicBezTo>
                <a:cubicBezTo>
                  <a:pt x="912" y="1873"/>
                  <a:pt x="912" y="1873"/>
                  <a:pt x="913" y="1874"/>
                </a:cubicBezTo>
                <a:cubicBezTo>
                  <a:pt x="913" y="1874"/>
                  <a:pt x="913" y="1874"/>
                  <a:pt x="913" y="1874"/>
                </a:cubicBezTo>
                <a:cubicBezTo>
                  <a:pt x="914" y="1875"/>
                  <a:pt x="914" y="1875"/>
                  <a:pt x="914" y="1876"/>
                </a:cubicBezTo>
                <a:cubicBezTo>
                  <a:pt x="915" y="1876"/>
                  <a:pt x="915" y="1876"/>
                  <a:pt x="915" y="1876"/>
                </a:cubicBezTo>
                <a:cubicBezTo>
                  <a:pt x="915" y="1876"/>
                  <a:pt x="916" y="1876"/>
                  <a:pt x="916" y="1876"/>
                </a:cubicBezTo>
                <a:cubicBezTo>
                  <a:pt x="917" y="1877"/>
                  <a:pt x="917" y="1877"/>
                  <a:pt x="917" y="1878"/>
                </a:cubicBezTo>
                <a:cubicBezTo>
                  <a:pt x="916" y="1879"/>
                  <a:pt x="916" y="1879"/>
                  <a:pt x="915" y="1879"/>
                </a:cubicBezTo>
                <a:cubicBezTo>
                  <a:pt x="915" y="1880"/>
                  <a:pt x="915" y="1881"/>
                  <a:pt x="914" y="1881"/>
                </a:cubicBezTo>
                <a:cubicBezTo>
                  <a:pt x="914" y="1880"/>
                  <a:pt x="914" y="1880"/>
                  <a:pt x="914" y="1879"/>
                </a:cubicBezTo>
                <a:cubicBezTo>
                  <a:pt x="914" y="1879"/>
                  <a:pt x="913" y="1880"/>
                  <a:pt x="913" y="1880"/>
                </a:cubicBezTo>
                <a:cubicBezTo>
                  <a:pt x="912" y="1880"/>
                  <a:pt x="909" y="1882"/>
                  <a:pt x="910" y="1883"/>
                </a:cubicBezTo>
                <a:cubicBezTo>
                  <a:pt x="911" y="1883"/>
                  <a:pt x="911" y="1883"/>
                  <a:pt x="911" y="1883"/>
                </a:cubicBezTo>
                <a:cubicBezTo>
                  <a:pt x="912" y="1884"/>
                  <a:pt x="912" y="1885"/>
                  <a:pt x="913" y="1885"/>
                </a:cubicBezTo>
                <a:cubicBezTo>
                  <a:pt x="913" y="1885"/>
                  <a:pt x="914" y="1885"/>
                  <a:pt x="914" y="1885"/>
                </a:cubicBezTo>
                <a:cubicBezTo>
                  <a:pt x="915" y="1885"/>
                  <a:pt x="915" y="1885"/>
                  <a:pt x="915" y="1885"/>
                </a:cubicBezTo>
                <a:cubicBezTo>
                  <a:pt x="914" y="1885"/>
                  <a:pt x="914" y="1885"/>
                  <a:pt x="914" y="1885"/>
                </a:cubicBezTo>
                <a:cubicBezTo>
                  <a:pt x="913" y="1885"/>
                  <a:pt x="913" y="1885"/>
                  <a:pt x="913" y="1886"/>
                </a:cubicBezTo>
                <a:cubicBezTo>
                  <a:pt x="913" y="1887"/>
                  <a:pt x="913" y="1886"/>
                  <a:pt x="913" y="1886"/>
                </a:cubicBezTo>
                <a:cubicBezTo>
                  <a:pt x="912" y="1886"/>
                  <a:pt x="912" y="1886"/>
                  <a:pt x="912" y="1885"/>
                </a:cubicBezTo>
                <a:cubicBezTo>
                  <a:pt x="912" y="1885"/>
                  <a:pt x="911" y="1884"/>
                  <a:pt x="910" y="1885"/>
                </a:cubicBezTo>
                <a:cubicBezTo>
                  <a:pt x="910" y="1885"/>
                  <a:pt x="909" y="1886"/>
                  <a:pt x="909" y="1886"/>
                </a:cubicBezTo>
                <a:cubicBezTo>
                  <a:pt x="908" y="1886"/>
                  <a:pt x="907" y="1886"/>
                  <a:pt x="908" y="1887"/>
                </a:cubicBezTo>
                <a:cubicBezTo>
                  <a:pt x="908" y="1887"/>
                  <a:pt x="908" y="1887"/>
                  <a:pt x="909" y="1887"/>
                </a:cubicBezTo>
                <a:cubicBezTo>
                  <a:pt x="909" y="1887"/>
                  <a:pt x="909" y="1887"/>
                  <a:pt x="909" y="1887"/>
                </a:cubicBezTo>
                <a:cubicBezTo>
                  <a:pt x="909" y="1888"/>
                  <a:pt x="909" y="1887"/>
                  <a:pt x="910" y="1887"/>
                </a:cubicBezTo>
                <a:cubicBezTo>
                  <a:pt x="910" y="1887"/>
                  <a:pt x="911" y="1887"/>
                  <a:pt x="911" y="1887"/>
                </a:cubicBezTo>
                <a:cubicBezTo>
                  <a:pt x="912" y="1887"/>
                  <a:pt x="912" y="1887"/>
                  <a:pt x="913" y="1887"/>
                </a:cubicBezTo>
                <a:cubicBezTo>
                  <a:pt x="913" y="1887"/>
                  <a:pt x="913" y="1887"/>
                  <a:pt x="913" y="1887"/>
                </a:cubicBezTo>
                <a:cubicBezTo>
                  <a:pt x="914" y="1888"/>
                  <a:pt x="914" y="1887"/>
                  <a:pt x="914" y="1888"/>
                </a:cubicBezTo>
                <a:cubicBezTo>
                  <a:pt x="914" y="1888"/>
                  <a:pt x="913" y="1888"/>
                  <a:pt x="913" y="1888"/>
                </a:cubicBezTo>
                <a:cubicBezTo>
                  <a:pt x="912" y="1888"/>
                  <a:pt x="912" y="1888"/>
                  <a:pt x="911" y="1888"/>
                </a:cubicBezTo>
                <a:cubicBezTo>
                  <a:pt x="911" y="1889"/>
                  <a:pt x="910" y="1889"/>
                  <a:pt x="911" y="1889"/>
                </a:cubicBezTo>
                <a:cubicBezTo>
                  <a:pt x="911" y="1890"/>
                  <a:pt x="911" y="1890"/>
                  <a:pt x="911" y="1890"/>
                </a:cubicBezTo>
                <a:cubicBezTo>
                  <a:pt x="912" y="1890"/>
                  <a:pt x="913" y="1890"/>
                  <a:pt x="914" y="1890"/>
                </a:cubicBezTo>
                <a:cubicBezTo>
                  <a:pt x="914" y="1890"/>
                  <a:pt x="914" y="1890"/>
                  <a:pt x="915" y="1890"/>
                </a:cubicBezTo>
                <a:cubicBezTo>
                  <a:pt x="915" y="1890"/>
                  <a:pt x="916" y="1890"/>
                  <a:pt x="916" y="1890"/>
                </a:cubicBezTo>
                <a:cubicBezTo>
                  <a:pt x="916" y="1890"/>
                  <a:pt x="916" y="1890"/>
                  <a:pt x="917" y="1890"/>
                </a:cubicBezTo>
                <a:cubicBezTo>
                  <a:pt x="917" y="1890"/>
                  <a:pt x="917" y="1890"/>
                  <a:pt x="917" y="1890"/>
                </a:cubicBezTo>
                <a:cubicBezTo>
                  <a:pt x="918" y="1890"/>
                  <a:pt x="918" y="1890"/>
                  <a:pt x="918" y="1890"/>
                </a:cubicBezTo>
                <a:cubicBezTo>
                  <a:pt x="919" y="1889"/>
                  <a:pt x="919" y="1889"/>
                  <a:pt x="918" y="1889"/>
                </a:cubicBezTo>
                <a:cubicBezTo>
                  <a:pt x="918" y="1889"/>
                  <a:pt x="916" y="1889"/>
                  <a:pt x="917" y="1888"/>
                </a:cubicBezTo>
                <a:cubicBezTo>
                  <a:pt x="917" y="1888"/>
                  <a:pt x="918" y="1888"/>
                  <a:pt x="918" y="1888"/>
                </a:cubicBezTo>
                <a:cubicBezTo>
                  <a:pt x="919" y="1887"/>
                  <a:pt x="919" y="1887"/>
                  <a:pt x="919" y="1886"/>
                </a:cubicBezTo>
                <a:cubicBezTo>
                  <a:pt x="919" y="1886"/>
                  <a:pt x="919" y="1885"/>
                  <a:pt x="919" y="1885"/>
                </a:cubicBezTo>
                <a:cubicBezTo>
                  <a:pt x="920" y="1885"/>
                  <a:pt x="919" y="1887"/>
                  <a:pt x="919" y="1888"/>
                </a:cubicBezTo>
                <a:cubicBezTo>
                  <a:pt x="920" y="1888"/>
                  <a:pt x="920" y="1888"/>
                  <a:pt x="920" y="1888"/>
                </a:cubicBezTo>
                <a:cubicBezTo>
                  <a:pt x="920" y="1889"/>
                  <a:pt x="920" y="1889"/>
                  <a:pt x="921" y="1889"/>
                </a:cubicBezTo>
                <a:cubicBezTo>
                  <a:pt x="921" y="1890"/>
                  <a:pt x="921" y="1889"/>
                  <a:pt x="922" y="1890"/>
                </a:cubicBezTo>
                <a:cubicBezTo>
                  <a:pt x="922" y="1890"/>
                  <a:pt x="920" y="1890"/>
                  <a:pt x="920" y="1890"/>
                </a:cubicBezTo>
                <a:cubicBezTo>
                  <a:pt x="920" y="1891"/>
                  <a:pt x="920" y="1891"/>
                  <a:pt x="921" y="1891"/>
                </a:cubicBezTo>
                <a:cubicBezTo>
                  <a:pt x="921" y="1891"/>
                  <a:pt x="921" y="1891"/>
                  <a:pt x="921" y="1892"/>
                </a:cubicBezTo>
                <a:cubicBezTo>
                  <a:pt x="921" y="1893"/>
                  <a:pt x="922" y="1892"/>
                  <a:pt x="923" y="1893"/>
                </a:cubicBezTo>
                <a:cubicBezTo>
                  <a:pt x="923" y="1893"/>
                  <a:pt x="924" y="1893"/>
                  <a:pt x="924" y="1892"/>
                </a:cubicBezTo>
                <a:cubicBezTo>
                  <a:pt x="924" y="1893"/>
                  <a:pt x="924" y="1894"/>
                  <a:pt x="923" y="1893"/>
                </a:cubicBezTo>
                <a:cubicBezTo>
                  <a:pt x="922" y="1893"/>
                  <a:pt x="922" y="1893"/>
                  <a:pt x="922" y="1893"/>
                </a:cubicBezTo>
                <a:cubicBezTo>
                  <a:pt x="922" y="1893"/>
                  <a:pt x="921" y="1893"/>
                  <a:pt x="921" y="1893"/>
                </a:cubicBezTo>
                <a:cubicBezTo>
                  <a:pt x="920" y="1893"/>
                  <a:pt x="920" y="1892"/>
                  <a:pt x="920" y="1892"/>
                </a:cubicBezTo>
                <a:cubicBezTo>
                  <a:pt x="919" y="1892"/>
                  <a:pt x="918" y="1892"/>
                  <a:pt x="918" y="1891"/>
                </a:cubicBezTo>
                <a:cubicBezTo>
                  <a:pt x="916" y="1891"/>
                  <a:pt x="915" y="1890"/>
                  <a:pt x="913" y="1890"/>
                </a:cubicBezTo>
                <a:cubicBezTo>
                  <a:pt x="912" y="1890"/>
                  <a:pt x="912" y="1890"/>
                  <a:pt x="911" y="1890"/>
                </a:cubicBezTo>
                <a:cubicBezTo>
                  <a:pt x="911" y="1890"/>
                  <a:pt x="910" y="1890"/>
                  <a:pt x="910" y="1890"/>
                </a:cubicBezTo>
                <a:cubicBezTo>
                  <a:pt x="910" y="1890"/>
                  <a:pt x="910" y="1890"/>
                  <a:pt x="910" y="1891"/>
                </a:cubicBezTo>
                <a:cubicBezTo>
                  <a:pt x="909" y="1891"/>
                  <a:pt x="909" y="1891"/>
                  <a:pt x="909" y="1891"/>
                </a:cubicBezTo>
                <a:cubicBezTo>
                  <a:pt x="909" y="1891"/>
                  <a:pt x="909" y="1891"/>
                  <a:pt x="909" y="1892"/>
                </a:cubicBezTo>
                <a:cubicBezTo>
                  <a:pt x="909" y="1892"/>
                  <a:pt x="910" y="1892"/>
                  <a:pt x="910" y="1892"/>
                </a:cubicBezTo>
                <a:cubicBezTo>
                  <a:pt x="911" y="1892"/>
                  <a:pt x="911" y="1893"/>
                  <a:pt x="912" y="1893"/>
                </a:cubicBezTo>
                <a:cubicBezTo>
                  <a:pt x="912" y="1894"/>
                  <a:pt x="912" y="1894"/>
                  <a:pt x="912" y="1894"/>
                </a:cubicBezTo>
                <a:cubicBezTo>
                  <a:pt x="912" y="1895"/>
                  <a:pt x="912" y="1895"/>
                  <a:pt x="913" y="1895"/>
                </a:cubicBezTo>
                <a:cubicBezTo>
                  <a:pt x="913" y="1896"/>
                  <a:pt x="913" y="1895"/>
                  <a:pt x="914" y="1896"/>
                </a:cubicBezTo>
                <a:cubicBezTo>
                  <a:pt x="914" y="1896"/>
                  <a:pt x="915" y="1896"/>
                  <a:pt x="915" y="1896"/>
                </a:cubicBezTo>
                <a:cubicBezTo>
                  <a:pt x="915" y="1896"/>
                  <a:pt x="916" y="1896"/>
                  <a:pt x="916" y="1897"/>
                </a:cubicBezTo>
                <a:cubicBezTo>
                  <a:pt x="917" y="1897"/>
                  <a:pt x="916" y="1897"/>
                  <a:pt x="916" y="1898"/>
                </a:cubicBezTo>
                <a:cubicBezTo>
                  <a:pt x="916" y="1898"/>
                  <a:pt x="917" y="1899"/>
                  <a:pt x="916" y="1899"/>
                </a:cubicBezTo>
                <a:cubicBezTo>
                  <a:pt x="915" y="1899"/>
                  <a:pt x="915" y="1899"/>
                  <a:pt x="915" y="1898"/>
                </a:cubicBezTo>
                <a:cubicBezTo>
                  <a:pt x="915" y="1898"/>
                  <a:pt x="914" y="1897"/>
                  <a:pt x="913" y="1897"/>
                </a:cubicBezTo>
                <a:cubicBezTo>
                  <a:pt x="913" y="1898"/>
                  <a:pt x="913" y="1898"/>
                  <a:pt x="913" y="1898"/>
                </a:cubicBezTo>
                <a:cubicBezTo>
                  <a:pt x="912" y="1899"/>
                  <a:pt x="912" y="1899"/>
                  <a:pt x="912" y="1899"/>
                </a:cubicBezTo>
                <a:cubicBezTo>
                  <a:pt x="912" y="1900"/>
                  <a:pt x="912" y="1900"/>
                  <a:pt x="912" y="1901"/>
                </a:cubicBezTo>
                <a:cubicBezTo>
                  <a:pt x="912" y="1901"/>
                  <a:pt x="913" y="1901"/>
                  <a:pt x="912" y="1902"/>
                </a:cubicBezTo>
                <a:cubicBezTo>
                  <a:pt x="912" y="1902"/>
                  <a:pt x="912" y="1902"/>
                  <a:pt x="911" y="1902"/>
                </a:cubicBezTo>
                <a:cubicBezTo>
                  <a:pt x="911" y="1902"/>
                  <a:pt x="911" y="1903"/>
                  <a:pt x="911" y="1903"/>
                </a:cubicBezTo>
                <a:cubicBezTo>
                  <a:pt x="911" y="1903"/>
                  <a:pt x="911" y="1904"/>
                  <a:pt x="911" y="1904"/>
                </a:cubicBezTo>
                <a:cubicBezTo>
                  <a:pt x="911" y="1904"/>
                  <a:pt x="910" y="1904"/>
                  <a:pt x="910" y="1904"/>
                </a:cubicBezTo>
                <a:cubicBezTo>
                  <a:pt x="910" y="1903"/>
                  <a:pt x="911" y="1902"/>
                  <a:pt x="910" y="1901"/>
                </a:cubicBezTo>
                <a:cubicBezTo>
                  <a:pt x="910" y="1901"/>
                  <a:pt x="909" y="1901"/>
                  <a:pt x="909" y="1901"/>
                </a:cubicBezTo>
                <a:cubicBezTo>
                  <a:pt x="908" y="1901"/>
                  <a:pt x="909" y="1900"/>
                  <a:pt x="909" y="1900"/>
                </a:cubicBezTo>
                <a:cubicBezTo>
                  <a:pt x="910" y="1900"/>
                  <a:pt x="910" y="1900"/>
                  <a:pt x="910" y="1899"/>
                </a:cubicBezTo>
                <a:cubicBezTo>
                  <a:pt x="910" y="1899"/>
                  <a:pt x="910" y="1899"/>
                  <a:pt x="910" y="1898"/>
                </a:cubicBezTo>
                <a:cubicBezTo>
                  <a:pt x="909" y="1898"/>
                  <a:pt x="909" y="1898"/>
                  <a:pt x="909" y="1897"/>
                </a:cubicBezTo>
                <a:cubicBezTo>
                  <a:pt x="909" y="1897"/>
                  <a:pt x="909" y="1897"/>
                  <a:pt x="909" y="1896"/>
                </a:cubicBezTo>
                <a:cubicBezTo>
                  <a:pt x="909" y="1896"/>
                  <a:pt x="909" y="1896"/>
                  <a:pt x="909" y="1895"/>
                </a:cubicBezTo>
                <a:cubicBezTo>
                  <a:pt x="909" y="1895"/>
                  <a:pt x="908" y="1895"/>
                  <a:pt x="908" y="1894"/>
                </a:cubicBezTo>
                <a:cubicBezTo>
                  <a:pt x="908" y="1894"/>
                  <a:pt x="908" y="1892"/>
                  <a:pt x="908" y="1892"/>
                </a:cubicBezTo>
                <a:cubicBezTo>
                  <a:pt x="908" y="1892"/>
                  <a:pt x="907" y="1893"/>
                  <a:pt x="907" y="1893"/>
                </a:cubicBezTo>
                <a:cubicBezTo>
                  <a:pt x="907" y="1893"/>
                  <a:pt x="906" y="1893"/>
                  <a:pt x="906" y="1894"/>
                </a:cubicBezTo>
                <a:cubicBezTo>
                  <a:pt x="907" y="1894"/>
                  <a:pt x="907" y="1894"/>
                  <a:pt x="907" y="1894"/>
                </a:cubicBezTo>
                <a:cubicBezTo>
                  <a:pt x="907" y="1894"/>
                  <a:pt x="907" y="1895"/>
                  <a:pt x="907" y="1895"/>
                </a:cubicBezTo>
                <a:cubicBezTo>
                  <a:pt x="907" y="1895"/>
                  <a:pt x="907" y="1896"/>
                  <a:pt x="907" y="1896"/>
                </a:cubicBezTo>
                <a:cubicBezTo>
                  <a:pt x="907" y="1896"/>
                  <a:pt x="907" y="1897"/>
                  <a:pt x="907" y="1897"/>
                </a:cubicBezTo>
                <a:cubicBezTo>
                  <a:pt x="907" y="1897"/>
                  <a:pt x="907" y="1897"/>
                  <a:pt x="906" y="1897"/>
                </a:cubicBezTo>
                <a:cubicBezTo>
                  <a:pt x="906" y="1897"/>
                  <a:pt x="906" y="1896"/>
                  <a:pt x="906" y="1896"/>
                </a:cubicBezTo>
                <a:cubicBezTo>
                  <a:pt x="905" y="1896"/>
                  <a:pt x="905" y="1896"/>
                  <a:pt x="905" y="1897"/>
                </a:cubicBezTo>
                <a:cubicBezTo>
                  <a:pt x="905" y="1897"/>
                  <a:pt x="904" y="1898"/>
                  <a:pt x="904" y="1899"/>
                </a:cubicBezTo>
                <a:cubicBezTo>
                  <a:pt x="905" y="1899"/>
                  <a:pt x="906" y="1900"/>
                  <a:pt x="906" y="1900"/>
                </a:cubicBezTo>
                <a:cubicBezTo>
                  <a:pt x="906" y="1900"/>
                  <a:pt x="907" y="1899"/>
                  <a:pt x="907" y="1900"/>
                </a:cubicBezTo>
                <a:cubicBezTo>
                  <a:pt x="908" y="1900"/>
                  <a:pt x="907" y="1900"/>
                  <a:pt x="907" y="1901"/>
                </a:cubicBezTo>
                <a:cubicBezTo>
                  <a:pt x="906" y="1901"/>
                  <a:pt x="906" y="1901"/>
                  <a:pt x="906" y="1901"/>
                </a:cubicBezTo>
                <a:cubicBezTo>
                  <a:pt x="905" y="1901"/>
                  <a:pt x="905" y="1901"/>
                  <a:pt x="905" y="1902"/>
                </a:cubicBezTo>
                <a:cubicBezTo>
                  <a:pt x="904" y="1902"/>
                  <a:pt x="904" y="1903"/>
                  <a:pt x="905" y="1904"/>
                </a:cubicBezTo>
                <a:cubicBezTo>
                  <a:pt x="905" y="1904"/>
                  <a:pt x="905" y="1904"/>
                  <a:pt x="905" y="1904"/>
                </a:cubicBezTo>
                <a:cubicBezTo>
                  <a:pt x="905" y="1905"/>
                  <a:pt x="905" y="1905"/>
                  <a:pt x="906" y="1906"/>
                </a:cubicBezTo>
                <a:cubicBezTo>
                  <a:pt x="906" y="1906"/>
                  <a:pt x="907" y="1906"/>
                  <a:pt x="907" y="1907"/>
                </a:cubicBezTo>
                <a:cubicBezTo>
                  <a:pt x="907" y="1908"/>
                  <a:pt x="906" y="1908"/>
                  <a:pt x="906" y="1909"/>
                </a:cubicBezTo>
                <a:cubicBezTo>
                  <a:pt x="906" y="1909"/>
                  <a:pt x="906" y="1909"/>
                  <a:pt x="906" y="1910"/>
                </a:cubicBezTo>
                <a:cubicBezTo>
                  <a:pt x="906" y="1910"/>
                  <a:pt x="907" y="1910"/>
                  <a:pt x="907" y="1911"/>
                </a:cubicBezTo>
                <a:cubicBezTo>
                  <a:pt x="906" y="1910"/>
                  <a:pt x="906" y="1910"/>
                  <a:pt x="906" y="1909"/>
                </a:cubicBezTo>
                <a:cubicBezTo>
                  <a:pt x="906" y="1908"/>
                  <a:pt x="906" y="1908"/>
                  <a:pt x="906" y="1907"/>
                </a:cubicBezTo>
                <a:cubicBezTo>
                  <a:pt x="906" y="1906"/>
                  <a:pt x="906" y="1906"/>
                  <a:pt x="905" y="1906"/>
                </a:cubicBezTo>
                <a:cubicBezTo>
                  <a:pt x="905" y="1905"/>
                  <a:pt x="904" y="1906"/>
                  <a:pt x="904" y="1906"/>
                </a:cubicBezTo>
                <a:cubicBezTo>
                  <a:pt x="903" y="1906"/>
                  <a:pt x="902" y="1906"/>
                  <a:pt x="902" y="1906"/>
                </a:cubicBezTo>
                <a:cubicBezTo>
                  <a:pt x="902" y="1906"/>
                  <a:pt x="902" y="1907"/>
                  <a:pt x="902" y="1907"/>
                </a:cubicBezTo>
                <a:cubicBezTo>
                  <a:pt x="902" y="1908"/>
                  <a:pt x="903" y="1908"/>
                  <a:pt x="904" y="1908"/>
                </a:cubicBezTo>
                <a:cubicBezTo>
                  <a:pt x="904" y="1909"/>
                  <a:pt x="903" y="1910"/>
                  <a:pt x="903" y="1910"/>
                </a:cubicBezTo>
                <a:cubicBezTo>
                  <a:pt x="902" y="1910"/>
                  <a:pt x="902" y="1909"/>
                  <a:pt x="901" y="1909"/>
                </a:cubicBezTo>
                <a:cubicBezTo>
                  <a:pt x="901" y="1909"/>
                  <a:pt x="901" y="1910"/>
                  <a:pt x="900" y="1910"/>
                </a:cubicBezTo>
                <a:cubicBezTo>
                  <a:pt x="900" y="1909"/>
                  <a:pt x="900" y="1909"/>
                  <a:pt x="899" y="1910"/>
                </a:cubicBezTo>
                <a:cubicBezTo>
                  <a:pt x="899" y="1910"/>
                  <a:pt x="899" y="1910"/>
                  <a:pt x="900" y="1911"/>
                </a:cubicBezTo>
                <a:cubicBezTo>
                  <a:pt x="900" y="1911"/>
                  <a:pt x="900" y="1911"/>
                  <a:pt x="900" y="1912"/>
                </a:cubicBezTo>
                <a:cubicBezTo>
                  <a:pt x="900" y="1912"/>
                  <a:pt x="900" y="1913"/>
                  <a:pt x="900" y="1913"/>
                </a:cubicBezTo>
                <a:cubicBezTo>
                  <a:pt x="901" y="1913"/>
                  <a:pt x="901" y="1914"/>
                  <a:pt x="901" y="1914"/>
                </a:cubicBezTo>
                <a:cubicBezTo>
                  <a:pt x="901" y="1914"/>
                  <a:pt x="902" y="1915"/>
                  <a:pt x="902" y="1915"/>
                </a:cubicBezTo>
                <a:cubicBezTo>
                  <a:pt x="902" y="1916"/>
                  <a:pt x="902" y="1916"/>
                  <a:pt x="903" y="1917"/>
                </a:cubicBezTo>
                <a:cubicBezTo>
                  <a:pt x="903" y="1918"/>
                  <a:pt x="904" y="1918"/>
                  <a:pt x="905" y="1917"/>
                </a:cubicBezTo>
                <a:cubicBezTo>
                  <a:pt x="905" y="1916"/>
                  <a:pt x="905" y="1915"/>
                  <a:pt x="905" y="1915"/>
                </a:cubicBezTo>
                <a:cubicBezTo>
                  <a:pt x="905" y="1914"/>
                  <a:pt x="905" y="1914"/>
                  <a:pt x="905" y="1913"/>
                </a:cubicBezTo>
                <a:cubicBezTo>
                  <a:pt x="905" y="1913"/>
                  <a:pt x="904" y="1913"/>
                  <a:pt x="905" y="1913"/>
                </a:cubicBezTo>
                <a:cubicBezTo>
                  <a:pt x="906" y="1913"/>
                  <a:pt x="906" y="1913"/>
                  <a:pt x="906" y="1913"/>
                </a:cubicBezTo>
                <a:cubicBezTo>
                  <a:pt x="906" y="1913"/>
                  <a:pt x="907" y="1914"/>
                  <a:pt x="907" y="1914"/>
                </a:cubicBezTo>
                <a:cubicBezTo>
                  <a:pt x="907" y="1914"/>
                  <a:pt x="907" y="1914"/>
                  <a:pt x="907" y="1914"/>
                </a:cubicBezTo>
                <a:cubicBezTo>
                  <a:pt x="906" y="1915"/>
                  <a:pt x="906" y="1914"/>
                  <a:pt x="906" y="1915"/>
                </a:cubicBezTo>
                <a:cubicBezTo>
                  <a:pt x="906" y="1916"/>
                  <a:pt x="907" y="1916"/>
                  <a:pt x="907" y="1917"/>
                </a:cubicBezTo>
                <a:cubicBezTo>
                  <a:pt x="907" y="1917"/>
                  <a:pt x="907" y="1917"/>
                  <a:pt x="906" y="1918"/>
                </a:cubicBezTo>
                <a:cubicBezTo>
                  <a:pt x="906" y="1918"/>
                  <a:pt x="906" y="1918"/>
                  <a:pt x="906" y="1919"/>
                </a:cubicBezTo>
                <a:cubicBezTo>
                  <a:pt x="906" y="1919"/>
                  <a:pt x="908" y="1918"/>
                  <a:pt x="908" y="1919"/>
                </a:cubicBezTo>
                <a:cubicBezTo>
                  <a:pt x="908" y="1919"/>
                  <a:pt x="908" y="1919"/>
                  <a:pt x="908" y="1919"/>
                </a:cubicBezTo>
                <a:cubicBezTo>
                  <a:pt x="907" y="1920"/>
                  <a:pt x="905" y="1920"/>
                  <a:pt x="907" y="1920"/>
                </a:cubicBezTo>
                <a:cubicBezTo>
                  <a:pt x="907" y="1921"/>
                  <a:pt x="908" y="1921"/>
                  <a:pt x="909" y="1921"/>
                </a:cubicBezTo>
                <a:cubicBezTo>
                  <a:pt x="910" y="1920"/>
                  <a:pt x="910" y="1920"/>
                  <a:pt x="910" y="1919"/>
                </a:cubicBezTo>
                <a:cubicBezTo>
                  <a:pt x="911" y="1918"/>
                  <a:pt x="911" y="1918"/>
                  <a:pt x="911" y="1917"/>
                </a:cubicBezTo>
                <a:cubicBezTo>
                  <a:pt x="911" y="1916"/>
                  <a:pt x="911" y="1915"/>
                  <a:pt x="911" y="1914"/>
                </a:cubicBezTo>
                <a:cubicBezTo>
                  <a:pt x="911" y="1914"/>
                  <a:pt x="910" y="1914"/>
                  <a:pt x="910" y="1913"/>
                </a:cubicBezTo>
                <a:cubicBezTo>
                  <a:pt x="910" y="1912"/>
                  <a:pt x="911" y="1912"/>
                  <a:pt x="911" y="1912"/>
                </a:cubicBezTo>
                <a:cubicBezTo>
                  <a:pt x="911" y="1912"/>
                  <a:pt x="910" y="1911"/>
                  <a:pt x="910" y="1911"/>
                </a:cubicBezTo>
                <a:cubicBezTo>
                  <a:pt x="910" y="1911"/>
                  <a:pt x="911" y="1910"/>
                  <a:pt x="911" y="1911"/>
                </a:cubicBezTo>
                <a:cubicBezTo>
                  <a:pt x="911" y="1911"/>
                  <a:pt x="911" y="1911"/>
                  <a:pt x="911" y="1911"/>
                </a:cubicBezTo>
                <a:cubicBezTo>
                  <a:pt x="912" y="1911"/>
                  <a:pt x="912" y="1912"/>
                  <a:pt x="912" y="1912"/>
                </a:cubicBezTo>
                <a:cubicBezTo>
                  <a:pt x="912" y="1912"/>
                  <a:pt x="912" y="1913"/>
                  <a:pt x="913" y="1913"/>
                </a:cubicBezTo>
                <a:cubicBezTo>
                  <a:pt x="913" y="1913"/>
                  <a:pt x="914" y="1913"/>
                  <a:pt x="914" y="1913"/>
                </a:cubicBezTo>
                <a:cubicBezTo>
                  <a:pt x="914" y="1913"/>
                  <a:pt x="914" y="1912"/>
                  <a:pt x="914" y="1912"/>
                </a:cubicBezTo>
                <a:cubicBezTo>
                  <a:pt x="914" y="1911"/>
                  <a:pt x="915" y="1911"/>
                  <a:pt x="915" y="1911"/>
                </a:cubicBezTo>
                <a:cubicBezTo>
                  <a:pt x="915" y="1910"/>
                  <a:pt x="914" y="1910"/>
                  <a:pt x="914" y="1910"/>
                </a:cubicBezTo>
                <a:cubicBezTo>
                  <a:pt x="914" y="1909"/>
                  <a:pt x="915" y="1908"/>
                  <a:pt x="916" y="1908"/>
                </a:cubicBezTo>
                <a:cubicBezTo>
                  <a:pt x="916" y="1907"/>
                  <a:pt x="915" y="1905"/>
                  <a:pt x="916" y="1906"/>
                </a:cubicBezTo>
                <a:cubicBezTo>
                  <a:pt x="917" y="1906"/>
                  <a:pt x="916" y="1907"/>
                  <a:pt x="916" y="1908"/>
                </a:cubicBezTo>
                <a:cubicBezTo>
                  <a:pt x="916" y="1909"/>
                  <a:pt x="916" y="1909"/>
                  <a:pt x="916" y="1910"/>
                </a:cubicBezTo>
                <a:cubicBezTo>
                  <a:pt x="915" y="1911"/>
                  <a:pt x="915" y="1912"/>
                  <a:pt x="915" y="1912"/>
                </a:cubicBezTo>
                <a:cubicBezTo>
                  <a:pt x="915" y="1913"/>
                  <a:pt x="915" y="1913"/>
                  <a:pt x="915" y="1913"/>
                </a:cubicBezTo>
                <a:cubicBezTo>
                  <a:pt x="916" y="1912"/>
                  <a:pt x="917" y="1912"/>
                  <a:pt x="916" y="1913"/>
                </a:cubicBezTo>
                <a:cubicBezTo>
                  <a:pt x="916" y="1913"/>
                  <a:pt x="915" y="1913"/>
                  <a:pt x="914" y="1913"/>
                </a:cubicBezTo>
                <a:cubicBezTo>
                  <a:pt x="914" y="1913"/>
                  <a:pt x="913" y="1914"/>
                  <a:pt x="913" y="1915"/>
                </a:cubicBezTo>
                <a:cubicBezTo>
                  <a:pt x="912" y="1915"/>
                  <a:pt x="912" y="1916"/>
                  <a:pt x="913" y="1916"/>
                </a:cubicBezTo>
                <a:cubicBezTo>
                  <a:pt x="913" y="1916"/>
                  <a:pt x="914" y="1916"/>
                  <a:pt x="913" y="1916"/>
                </a:cubicBezTo>
                <a:cubicBezTo>
                  <a:pt x="913" y="1917"/>
                  <a:pt x="912" y="1917"/>
                  <a:pt x="912" y="1917"/>
                </a:cubicBezTo>
                <a:cubicBezTo>
                  <a:pt x="912" y="1918"/>
                  <a:pt x="913" y="1918"/>
                  <a:pt x="913" y="1918"/>
                </a:cubicBezTo>
                <a:cubicBezTo>
                  <a:pt x="914" y="1919"/>
                  <a:pt x="914" y="1919"/>
                  <a:pt x="915" y="1919"/>
                </a:cubicBezTo>
                <a:cubicBezTo>
                  <a:pt x="915" y="1920"/>
                  <a:pt x="916" y="1919"/>
                  <a:pt x="916" y="1919"/>
                </a:cubicBezTo>
                <a:cubicBezTo>
                  <a:pt x="917" y="1918"/>
                  <a:pt x="917" y="1919"/>
                  <a:pt x="916" y="1920"/>
                </a:cubicBezTo>
                <a:cubicBezTo>
                  <a:pt x="916" y="1920"/>
                  <a:pt x="916" y="1920"/>
                  <a:pt x="916" y="1921"/>
                </a:cubicBezTo>
                <a:cubicBezTo>
                  <a:pt x="915" y="1921"/>
                  <a:pt x="915" y="1920"/>
                  <a:pt x="915" y="1920"/>
                </a:cubicBezTo>
                <a:cubicBezTo>
                  <a:pt x="914" y="1920"/>
                  <a:pt x="914" y="1920"/>
                  <a:pt x="914" y="1920"/>
                </a:cubicBezTo>
                <a:cubicBezTo>
                  <a:pt x="914" y="1919"/>
                  <a:pt x="914" y="1919"/>
                  <a:pt x="913" y="1919"/>
                </a:cubicBezTo>
                <a:cubicBezTo>
                  <a:pt x="912" y="1919"/>
                  <a:pt x="912" y="1920"/>
                  <a:pt x="912" y="1920"/>
                </a:cubicBezTo>
                <a:cubicBezTo>
                  <a:pt x="912" y="1921"/>
                  <a:pt x="913" y="1921"/>
                  <a:pt x="913" y="1921"/>
                </a:cubicBezTo>
                <a:cubicBezTo>
                  <a:pt x="913" y="1921"/>
                  <a:pt x="913" y="1922"/>
                  <a:pt x="913" y="1922"/>
                </a:cubicBezTo>
                <a:cubicBezTo>
                  <a:pt x="913" y="1922"/>
                  <a:pt x="914" y="1923"/>
                  <a:pt x="914" y="1923"/>
                </a:cubicBezTo>
                <a:cubicBezTo>
                  <a:pt x="914" y="1923"/>
                  <a:pt x="914" y="1924"/>
                  <a:pt x="914" y="1923"/>
                </a:cubicBezTo>
                <a:cubicBezTo>
                  <a:pt x="914" y="1923"/>
                  <a:pt x="913" y="1923"/>
                  <a:pt x="913" y="1923"/>
                </a:cubicBezTo>
                <a:cubicBezTo>
                  <a:pt x="913" y="1922"/>
                  <a:pt x="913" y="1922"/>
                  <a:pt x="912" y="1922"/>
                </a:cubicBezTo>
                <a:cubicBezTo>
                  <a:pt x="912" y="1921"/>
                  <a:pt x="911" y="1921"/>
                  <a:pt x="911" y="1921"/>
                </a:cubicBezTo>
                <a:cubicBezTo>
                  <a:pt x="910" y="1922"/>
                  <a:pt x="910" y="1922"/>
                  <a:pt x="910" y="1922"/>
                </a:cubicBezTo>
                <a:cubicBezTo>
                  <a:pt x="910" y="1923"/>
                  <a:pt x="909" y="1923"/>
                  <a:pt x="909" y="1923"/>
                </a:cubicBezTo>
                <a:cubicBezTo>
                  <a:pt x="909" y="1923"/>
                  <a:pt x="908" y="1923"/>
                  <a:pt x="908" y="1923"/>
                </a:cubicBezTo>
                <a:cubicBezTo>
                  <a:pt x="908" y="1923"/>
                  <a:pt x="909" y="1924"/>
                  <a:pt x="909" y="1924"/>
                </a:cubicBezTo>
                <a:cubicBezTo>
                  <a:pt x="909" y="1924"/>
                  <a:pt x="909" y="1924"/>
                  <a:pt x="909" y="1924"/>
                </a:cubicBezTo>
                <a:cubicBezTo>
                  <a:pt x="910" y="1925"/>
                  <a:pt x="911" y="1925"/>
                  <a:pt x="911" y="1925"/>
                </a:cubicBezTo>
                <a:cubicBezTo>
                  <a:pt x="912" y="1926"/>
                  <a:pt x="913" y="1926"/>
                  <a:pt x="914" y="1926"/>
                </a:cubicBezTo>
                <a:cubicBezTo>
                  <a:pt x="914" y="1926"/>
                  <a:pt x="914" y="1927"/>
                  <a:pt x="915" y="1927"/>
                </a:cubicBezTo>
                <a:cubicBezTo>
                  <a:pt x="915" y="1927"/>
                  <a:pt x="916" y="1926"/>
                  <a:pt x="916" y="1927"/>
                </a:cubicBezTo>
                <a:cubicBezTo>
                  <a:pt x="916" y="1927"/>
                  <a:pt x="916" y="1928"/>
                  <a:pt x="916" y="1928"/>
                </a:cubicBezTo>
                <a:cubicBezTo>
                  <a:pt x="916" y="1928"/>
                  <a:pt x="916" y="1927"/>
                  <a:pt x="915" y="1928"/>
                </a:cubicBezTo>
                <a:cubicBezTo>
                  <a:pt x="915" y="1928"/>
                  <a:pt x="915" y="1929"/>
                  <a:pt x="914" y="1928"/>
                </a:cubicBezTo>
                <a:cubicBezTo>
                  <a:pt x="914" y="1928"/>
                  <a:pt x="914" y="1928"/>
                  <a:pt x="914" y="1927"/>
                </a:cubicBezTo>
                <a:cubicBezTo>
                  <a:pt x="913" y="1927"/>
                  <a:pt x="913" y="1927"/>
                  <a:pt x="913" y="1928"/>
                </a:cubicBezTo>
                <a:cubicBezTo>
                  <a:pt x="913" y="1928"/>
                  <a:pt x="913" y="1928"/>
                  <a:pt x="913" y="1929"/>
                </a:cubicBezTo>
                <a:cubicBezTo>
                  <a:pt x="914" y="1929"/>
                  <a:pt x="914" y="1929"/>
                  <a:pt x="914" y="1930"/>
                </a:cubicBezTo>
                <a:cubicBezTo>
                  <a:pt x="914" y="1930"/>
                  <a:pt x="914" y="1930"/>
                  <a:pt x="914" y="1931"/>
                </a:cubicBezTo>
                <a:cubicBezTo>
                  <a:pt x="915" y="1932"/>
                  <a:pt x="916" y="1933"/>
                  <a:pt x="917" y="1932"/>
                </a:cubicBezTo>
                <a:cubicBezTo>
                  <a:pt x="918" y="1932"/>
                  <a:pt x="918" y="1931"/>
                  <a:pt x="918" y="1931"/>
                </a:cubicBezTo>
                <a:cubicBezTo>
                  <a:pt x="919" y="1930"/>
                  <a:pt x="919" y="1929"/>
                  <a:pt x="919" y="1928"/>
                </a:cubicBezTo>
                <a:cubicBezTo>
                  <a:pt x="919" y="1928"/>
                  <a:pt x="919" y="1928"/>
                  <a:pt x="919" y="1927"/>
                </a:cubicBezTo>
                <a:cubicBezTo>
                  <a:pt x="919" y="1927"/>
                  <a:pt x="920" y="1927"/>
                  <a:pt x="919" y="1928"/>
                </a:cubicBezTo>
                <a:cubicBezTo>
                  <a:pt x="919" y="1928"/>
                  <a:pt x="919" y="1928"/>
                  <a:pt x="919" y="1929"/>
                </a:cubicBezTo>
                <a:cubicBezTo>
                  <a:pt x="919" y="1929"/>
                  <a:pt x="919" y="1929"/>
                  <a:pt x="920" y="1929"/>
                </a:cubicBezTo>
                <a:cubicBezTo>
                  <a:pt x="920" y="1929"/>
                  <a:pt x="920" y="1930"/>
                  <a:pt x="920" y="1930"/>
                </a:cubicBezTo>
                <a:cubicBezTo>
                  <a:pt x="919" y="1930"/>
                  <a:pt x="919" y="1930"/>
                  <a:pt x="919" y="1930"/>
                </a:cubicBezTo>
                <a:cubicBezTo>
                  <a:pt x="919" y="1931"/>
                  <a:pt x="919" y="1931"/>
                  <a:pt x="919" y="1931"/>
                </a:cubicBezTo>
                <a:cubicBezTo>
                  <a:pt x="919" y="1932"/>
                  <a:pt x="919" y="1932"/>
                  <a:pt x="919" y="1932"/>
                </a:cubicBezTo>
                <a:cubicBezTo>
                  <a:pt x="919" y="1933"/>
                  <a:pt x="919" y="1935"/>
                  <a:pt x="918" y="1934"/>
                </a:cubicBezTo>
                <a:cubicBezTo>
                  <a:pt x="918" y="1934"/>
                  <a:pt x="918" y="1933"/>
                  <a:pt x="917" y="1933"/>
                </a:cubicBezTo>
                <a:cubicBezTo>
                  <a:pt x="917" y="1933"/>
                  <a:pt x="916" y="1933"/>
                  <a:pt x="916" y="1933"/>
                </a:cubicBezTo>
                <a:cubicBezTo>
                  <a:pt x="915" y="1933"/>
                  <a:pt x="915" y="1933"/>
                  <a:pt x="915" y="1934"/>
                </a:cubicBezTo>
                <a:cubicBezTo>
                  <a:pt x="914" y="1934"/>
                  <a:pt x="914" y="1934"/>
                  <a:pt x="914" y="1934"/>
                </a:cubicBezTo>
                <a:cubicBezTo>
                  <a:pt x="913" y="1934"/>
                  <a:pt x="913" y="1936"/>
                  <a:pt x="913" y="1936"/>
                </a:cubicBezTo>
                <a:cubicBezTo>
                  <a:pt x="914" y="1937"/>
                  <a:pt x="914" y="1937"/>
                  <a:pt x="914" y="1937"/>
                </a:cubicBezTo>
                <a:cubicBezTo>
                  <a:pt x="914" y="1938"/>
                  <a:pt x="914" y="1938"/>
                  <a:pt x="915" y="1938"/>
                </a:cubicBezTo>
                <a:cubicBezTo>
                  <a:pt x="915" y="1938"/>
                  <a:pt x="915" y="1938"/>
                  <a:pt x="916" y="1938"/>
                </a:cubicBezTo>
                <a:cubicBezTo>
                  <a:pt x="917" y="1938"/>
                  <a:pt x="916" y="1938"/>
                  <a:pt x="917" y="1939"/>
                </a:cubicBezTo>
                <a:cubicBezTo>
                  <a:pt x="917" y="1939"/>
                  <a:pt x="917" y="1939"/>
                  <a:pt x="918" y="1938"/>
                </a:cubicBezTo>
                <a:cubicBezTo>
                  <a:pt x="918" y="1938"/>
                  <a:pt x="918" y="1938"/>
                  <a:pt x="919" y="1938"/>
                </a:cubicBezTo>
                <a:cubicBezTo>
                  <a:pt x="919" y="1938"/>
                  <a:pt x="918" y="1939"/>
                  <a:pt x="918" y="1939"/>
                </a:cubicBezTo>
                <a:cubicBezTo>
                  <a:pt x="918" y="1939"/>
                  <a:pt x="919" y="1939"/>
                  <a:pt x="919" y="1939"/>
                </a:cubicBezTo>
                <a:cubicBezTo>
                  <a:pt x="919" y="1940"/>
                  <a:pt x="919" y="1940"/>
                  <a:pt x="919" y="1940"/>
                </a:cubicBezTo>
                <a:cubicBezTo>
                  <a:pt x="919" y="1940"/>
                  <a:pt x="919" y="1941"/>
                  <a:pt x="919" y="1941"/>
                </a:cubicBezTo>
                <a:cubicBezTo>
                  <a:pt x="919" y="1941"/>
                  <a:pt x="920" y="1941"/>
                  <a:pt x="920" y="1942"/>
                </a:cubicBezTo>
                <a:cubicBezTo>
                  <a:pt x="920" y="1942"/>
                  <a:pt x="920" y="1944"/>
                  <a:pt x="920" y="1943"/>
                </a:cubicBezTo>
                <a:cubicBezTo>
                  <a:pt x="920" y="1943"/>
                  <a:pt x="920" y="1943"/>
                  <a:pt x="920" y="1942"/>
                </a:cubicBezTo>
                <a:cubicBezTo>
                  <a:pt x="919" y="1942"/>
                  <a:pt x="919" y="1942"/>
                  <a:pt x="919" y="1942"/>
                </a:cubicBezTo>
                <a:cubicBezTo>
                  <a:pt x="919" y="1941"/>
                  <a:pt x="918" y="1941"/>
                  <a:pt x="918" y="1941"/>
                </a:cubicBezTo>
                <a:cubicBezTo>
                  <a:pt x="918" y="1941"/>
                  <a:pt x="918" y="1941"/>
                  <a:pt x="918" y="1942"/>
                </a:cubicBezTo>
                <a:cubicBezTo>
                  <a:pt x="917" y="1943"/>
                  <a:pt x="917" y="1943"/>
                  <a:pt x="917" y="1944"/>
                </a:cubicBezTo>
                <a:cubicBezTo>
                  <a:pt x="917" y="1944"/>
                  <a:pt x="917" y="1945"/>
                  <a:pt x="918" y="1945"/>
                </a:cubicBezTo>
                <a:cubicBezTo>
                  <a:pt x="918" y="1945"/>
                  <a:pt x="918" y="1945"/>
                  <a:pt x="918" y="1946"/>
                </a:cubicBezTo>
                <a:cubicBezTo>
                  <a:pt x="919" y="1946"/>
                  <a:pt x="919" y="1947"/>
                  <a:pt x="919" y="1947"/>
                </a:cubicBezTo>
                <a:cubicBezTo>
                  <a:pt x="920" y="1947"/>
                  <a:pt x="920" y="1945"/>
                  <a:pt x="921" y="1945"/>
                </a:cubicBezTo>
                <a:cubicBezTo>
                  <a:pt x="921" y="1946"/>
                  <a:pt x="921" y="1946"/>
                  <a:pt x="921" y="1947"/>
                </a:cubicBezTo>
                <a:cubicBezTo>
                  <a:pt x="921" y="1947"/>
                  <a:pt x="922" y="1948"/>
                  <a:pt x="921" y="1948"/>
                </a:cubicBezTo>
                <a:cubicBezTo>
                  <a:pt x="921" y="1948"/>
                  <a:pt x="921" y="1948"/>
                  <a:pt x="920" y="1949"/>
                </a:cubicBezTo>
                <a:cubicBezTo>
                  <a:pt x="920" y="1949"/>
                  <a:pt x="920" y="1949"/>
                  <a:pt x="920" y="1950"/>
                </a:cubicBezTo>
                <a:cubicBezTo>
                  <a:pt x="920" y="1950"/>
                  <a:pt x="922" y="1951"/>
                  <a:pt x="922" y="1951"/>
                </a:cubicBezTo>
                <a:cubicBezTo>
                  <a:pt x="921" y="1951"/>
                  <a:pt x="920" y="1950"/>
                  <a:pt x="919" y="1951"/>
                </a:cubicBezTo>
                <a:cubicBezTo>
                  <a:pt x="919" y="1951"/>
                  <a:pt x="920" y="1952"/>
                  <a:pt x="919" y="1952"/>
                </a:cubicBezTo>
                <a:cubicBezTo>
                  <a:pt x="918" y="1951"/>
                  <a:pt x="918" y="1951"/>
                  <a:pt x="918" y="1951"/>
                </a:cubicBezTo>
                <a:cubicBezTo>
                  <a:pt x="918" y="1950"/>
                  <a:pt x="917" y="1949"/>
                  <a:pt x="916" y="1949"/>
                </a:cubicBezTo>
                <a:cubicBezTo>
                  <a:pt x="916" y="1949"/>
                  <a:pt x="916" y="1949"/>
                  <a:pt x="915" y="1949"/>
                </a:cubicBezTo>
                <a:cubicBezTo>
                  <a:pt x="915" y="1949"/>
                  <a:pt x="915" y="1948"/>
                  <a:pt x="914" y="1948"/>
                </a:cubicBezTo>
                <a:cubicBezTo>
                  <a:pt x="914" y="1948"/>
                  <a:pt x="913" y="1948"/>
                  <a:pt x="912" y="1947"/>
                </a:cubicBezTo>
                <a:cubicBezTo>
                  <a:pt x="912" y="1947"/>
                  <a:pt x="912" y="1946"/>
                  <a:pt x="911" y="1946"/>
                </a:cubicBezTo>
                <a:cubicBezTo>
                  <a:pt x="911" y="1946"/>
                  <a:pt x="912" y="1947"/>
                  <a:pt x="912" y="1947"/>
                </a:cubicBezTo>
                <a:cubicBezTo>
                  <a:pt x="913" y="1948"/>
                  <a:pt x="913" y="1949"/>
                  <a:pt x="914" y="1949"/>
                </a:cubicBezTo>
                <a:cubicBezTo>
                  <a:pt x="914" y="1949"/>
                  <a:pt x="915" y="1949"/>
                  <a:pt x="916" y="1950"/>
                </a:cubicBezTo>
                <a:cubicBezTo>
                  <a:pt x="916" y="1950"/>
                  <a:pt x="917" y="1951"/>
                  <a:pt x="918" y="1951"/>
                </a:cubicBezTo>
                <a:cubicBezTo>
                  <a:pt x="918" y="1952"/>
                  <a:pt x="918" y="1952"/>
                  <a:pt x="919" y="1952"/>
                </a:cubicBezTo>
                <a:cubicBezTo>
                  <a:pt x="919" y="1952"/>
                  <a:pt x="920" y="1952"/>
                  <a:pt x="920" y="1953"/>
                </a:cubicBezTo>
                <a:cubicBezTo>
                  <a:pt x="921" y="1953"/>
                  <a:pt x="921" y="1953"/>
                  <a:pt x="921" y="1954"/>
                </a:cubicBezTo>
                <a:cubicBezTo>
                  <a:pt x="921" y="1954"/>
                  <a:pt x="921" y="1955"/>
                  <a:pt x="920" y="1956"/>
                </a:cubicBezTo>
                <a:cubicBezTo>
                  <a:pt x="920" y="1956"/>
                  <a:pt x="920" y="1956"/>
                  <a:pt x="920" y="1956"/>
                </a:cubicBezTo>
                <a:cubicBezTo>
                  <a:pt x="920" y="1956"/>
                  <a:pt x="920" y="1957"/>
                  <a:pt x="919" y="1957"/>
                </a:cubicBezTo>
                <a:cubicBezTo>
                  <a:pt x="919" y="1957"/>
                  <a:pt x="919" y="1957"/>
                  <a:pt x="918" y="1957"/>
                </a:cubicBezTo>
                <a:cubicBezTo>
                  <a:pt x="918" y="1957"/>
                  <a:pt x="918" y="1957"/>
                  <a:pt x="918" y="1957"/>
                </a:cubicBezTo>
                <a:cubicBezTo>
                  <a:pt x="917" y="1958"/>
                  <a:pt x="917" y="1958"/>
                  <a:pt x="917" y="1958"/>
                </a:cubicBezTo>
                <a:cubicBezTo>
                  <a:pt x="916" y="1958"/>
                  <a:pt x="916" y="1958"/>
                  <a:pt x="916" y="1958"/>
                </a:cubicBezTo>
                <a:cubicBezTo>
                  <a:pt x="916" y="1959"/>
                  <a:pt x="917" y="1958"/>
                  <a:pt x="917" y="1960"/>
                </a:cubicBezTo>
                <a:cubicBezTo>
                  <a:pt x="917" y="1960"/>
                  <a:pt x="917" y="1962"/>
                  <a:pt x="917" y="1962"/>
                </a:cubicBezTo>
                <a:cubicBezTo>
                  <a:pt x="918" y="1962"/>
                  <a:pt x="918" y="1961"/>
                  <a:pt x="918" y="1961"/>
                </a:cubicBezTo>
                <a:cubicBezTo>
                  <a:pt x="918" y="1961"/>
                  <a:pt x="919" y="1961"/>
                  <a:pt x="919" y="1960"/>
                </a:cubicBezTo>
                <a:cubicBezTo>
                  <a:pt x="919" y="1960"/>
                  <a:pt x="919" y="1959"/>
                  <a:pt x="919" y="1959"/>
                </a:cubicBezTo>
                <a:cubicBezTo>
                  <a:pt x="919" y="1959"/>
                  <a:pt x="919" y="1958"/>
                  <a:pt x="919" y="1958"/>
                </a:cubicBezTo>
                <a:cubicBezTo>
                  <a:pt x="920" y="1958"/>
                  <a:pt x="919" y="1957"/>
                  <a:pt x="920" y="1957"/>
                </a:cubicBezTo>
                <a:cubicBezTo>
                  <a:pt x="920" y="1957"/>
                  <a:pt x="921" y="1957"/>
                  <a:pt x="921" y="1957"/>
                </a:cubicBezTo>
                <a:cubicBezTo>
                  <a:pt x="921" y="1958"/>
                  <a:pt x="920" y="1958"/>
                  <a:pt x="920" y="1959"/>
                </a:cubicBezTo>
                <a:cubicBezTo>
                  <a:pt x="920" y="1959"/>
                  <a:pt x="920" y="1959"/>
                  <a:pt x="920" y="1960"/>
                </a:cubicBezTo>
                <a:cubicBezTo>
                  <a:pt x="920" y="1960"/>
                  <a:pt x="920" y="1961"/>
                  <a:pt x="920" y="1961"/>
                </a:cubicBezTo>
                <a:cubicBezTo>
                  <a:pt x="920" y="1961"/>
                  <a:pt x="920" y="1962"/>
                  <a:pt x="921" y="1962"/>
                </a:cubicBezTo>
                <a:cubicBezTo>
                  <a:pt x="921" y="1962"/>
                  <a:pt x="921" y="1961"/>
                  <a:pt x="922" y="1960"/>
                </a:cubicBezTo>
                <a:cubicBezTo>
                  <a:pt x="922" y="1960"/>
                  <a:pt x="922" y="1960"/>
                  <a:pt x="922" y="1960"/>
                </a:cubicBezTo>
                <a:cubicBezTo>
                  <a:pt x="923" y="1960"/>
                  <a:pt x="923" y="1959"/>
                  <a:pt x="923" y="1959"/>
                </a:cubicBezTo>
                <a:cubicBezTo>
                  <a:pt x="923" y="1959"/>
                  <a:pt x="923" y="1959"/>
                  <a:pt x="923" y="1959"/>
                </a:cubicBezTo>
                <a:cubicBezTo>
                  <a:pt x="924" y="1959"/>
                  <a:pt x="923" y="1959"/>
                  <a:pt x="924" y="1959"/>
                </a:cubicBezTo>
                <a:cubicBezTo>
                  <a:pt x="924" y="1961"/>
                  <a:pt x="925" y="1960"/>
                  <a:pt x="925" y="1959"/>
                </a:cubicBezTo>
                <a:cubicBezTo>
                  <a:pt x="925" y="1959"/>
                  <a:pt x="925" y="1959"/>
                  <a:pt x="926" y="1959"/>
                </a:cubicBezTo>
                <a:cubicBezTo>
                  <a:pt x="926" y="1958"/>
                  <a:pt x="927" y="1958"/>
                  <a:pt x="927" y="1958"/>
                </a:cubicBezTo>
                <a:cubicBezTo>
                  <a:pt x="927" y="1958"/>
                  <a:pt x="927" y="1957"/>
                  <a:pt x="927" y="1957"/>
                </a:cubicBezTo>
                <a:cubicBezTo>
                  <a:pt x="928" y="1958"/>
                  <a:pt x="927" y="1958"/>
                  <a:pt x="927" y="1958"/>
                </a:cubicBezTo>
                <a:cubicBezTo>
                  <a:pt x="927" y="1959"/>
                  <a:pt x="927" y="1959"/>
                  <a:pt x="926" y="1959"/>
                </a:cubicBezTo>
                <a:cubicBezTo>
                  <a:pt x="926" y="1959"/>
                  <a:pt x="926" y="1960"/>
                  <a:pt x="925" y="1960"/>
                </a:cubicBezTo>
                <a:cubicBezTo>
                  <a:pt x="925" y="1960"/>
                  <a:pt x="925" y="1960"/>
                  <a:pt x="925" y="1960"/>
                </a:cubicBezTo>
                <a:cubicBezTo>
                  <a:pt x="925" y="1961"/>
                  <a:pt x="925" y="1961"/>
                  <a:pt x="925" y="1962"/>
                </a:cubicBezTo>
                <a:cubicBezTo>
                  <a:pt x="924" y="1962"/>
                  <a:pt x="923" y="1962"/>
                  <a:pt x="922" y="1962"/>
                </a:cubicBezTo>
                <a:cubicBezTo>
                  <a:pt x="922" y="1962"/>
                  <a:pt x="921" y="1962"/>
                  <a:pt x="921" y="1962"/>
                </a:cubicBezTo>
                <a:cubicBezTo>
                  <a:pt x="921" y="1963"/>
                  <a:pt x="922" y="1963"/>
                  <a:pt x="922" y="1963"/>
                </a:cubicBezTo>
                <a:cubicBezTo>
                  <a:pt x="923" y="1963"/>
                  <a:pt x="923" y="1963"/>
                  <a:pt x="923" y="1963"/>
                </a:cubicBezTo>
                <a:cubicBezTo>
                  <a:pt x="924" y="1963"/>
                  <a:pt x="924" y="1964"/>
                  <a:pt x="924" y="1964"/>
                </a:cubicBezTo>
                <a:cubicBezTo>
                  <a:pt x="924" y="1964"/>
                  <a:pt x="925" y="1964"/>
                  <a:pt x="924" y="1965"/>
                </a:cubicBezTo>
                <a:cubicBezTo>
                  <a:pt x="924" y="1965"/>
                  <a:pt x="924" y="1965"/>
                  <a:pt x="923" y="1965"/>
                </a:cubicBezTo>
                <a:cubicBezTo>
                  <a:pt x="923" y="1965"/>
                  <a:pt x="922" y="1965"/>
                  <a:pt x="922" y="1965"/>
                </a:cubicBezTo>
                <a:cubicBezTo>
                  <a:pt x="922" y="1966"/>
                  <a:pt x="923" y="1966"/>
                  <a:pt x="923" y="1966"/>
                </a:cubicBezTo>
                <a:cubicBezTo>
                  <a:pt x="923" y="1966"/>
                  <a:pt x="924" y="1967"/>
                  <a:pt x="924" y="1967"/>
                </a:cubicBezTo>
                <a:cubicBezTo>
                  <a:pt x="924" y="1967"/>
                  <a:pt x="925" y="1967"/>
                  <a:pt x="925" y="1967"/>
                </a:cubicBezTo>
                <a:cubicBezTo>
                  <a:pt x="926" y="1967"/>
                  <a:pt x="926" y="1967"/>
                  <a:pt x="926" y="1967"/>
                </a:cubicBezTo>
                <a:cubicBezTo>
                  <a:pt x="927" y="1967"/>
                  <a:pt x="927" y="1967"/>
                  <a:pt x="927" y="1966"/>
                </a:cubicBezTo>
                <a:cubicBezTo>
                  <a:pt x="928" y="1966"/>
                  <a:pt x="928" y="1967"/>
                  <a:pt x="928" y="1968"/>
                </a:cubicBezTo>
                <a:cubicBezTo>
                  <a:pt x="928" y="1968"/>
                  <a:pt x="926" y="1968"/>
                  <a:pt x="926" y="1968"/>
                </a:cubicBezTo>
                <a:cubicBezTo>
                  <a:pt x="925" y="1968"/>
                  <a:pt x="925" y="1968"/>
                  <a:pt x="925" y="1968"/>
                </a:cubicBezTo>
                <a:cubicBezTo>
                  <a:pt x="923" y="1968"/>
                  <a:pt x="925" y="1969"/>
                  <a:pt x="925" y="1969"/>
                </a:cubicBezTo>
                <a:cubicBezTo>
                  <a:pt x="926" y="1970"/>
                  <a:pt x="927" y="1970"/>
                  <a:pt x="927" y="1970"/>
                </a:cubicBezTo>
                <a:cubicBezTo>
                  <a:pt x="928" y="1971"/>
                  <a:pt x="928" y="1971"/>
                  <a:pt x="929" y="1971"/>
                </a:cubicBezTo>
                <a:cubicBezTo>
                  <a:pt x="929" y="1972"/>
                  <a:pt x="930" y="1972"/>
                  <a:pt x="930" y="1973"/>
                </a:cubicBezTo>
                <a:cubicBezTo>
                  <a:pt x="931" y="1973"/>
                  <a:pt x="932" y="1973"/>
                  <a:pt x="933" y="1974"/>
                </a:cubicBezTo>
                <a:cubicBezTo>
                  <a:pt x="933" y="1974"/>
                  <a:pt x="934" y="1974"/>
                  <a:pt x="934" y="1974"/>
                </a:cubicBezTo>
                <a:cubicBezTo>
                  <a:pt x="935" y="1974"/>
                  <a:pt x="934" y="1973"/>
                  <a:pt x="934" y="1972"/>
                </a:cubicBezTo>
                <a:cubicBezTo>
                  <a:pt x="934" y="1972"/>
                  <a:pt x="934" y="1972"/>
                  <a:pt x="933" y="1972"/>
                </a:cubicBezTo>
                <a:cubicBezTo>
                  <a:pt x="933" y="1972"/>
                  <a:pt x="932" y="1972"/>
                  <a:pt x="932" y="1971"/>
                </a:cubicBezTo>
                <a:cubicBezTo>
                  <a:pt x="932" y="1971"/>
                  <a:pt x="933" y="1971"/>
                  <a:pt x="933" y="1971"/>
                </a:cubicBezTo>
                <a:cubicBezTo>
                  <a:pt x="933" y="1970"/>
                  <a:pt x="933" y="1970"/>
                  <a:pt x="934" y="1970"/>
                </a:cubicBezTo>
                <a:cubicBezTo>
                  <a:pt x="934" y="1969"/>
                  <a:pt x="934" y="1969"/>
                  <a:pt x="935" y="1969"/>
                </a:cubicBezTo>
                <a:cubicBezTo>
                  <a:pt x="935" y="1969"/>
                  <a:pt x="935" y="1969"/>
                  <a:pt x="935" y="1968"/>
                </a:cubicBezTo>
                <a:cubicBezTo>
                  <a:pt x="935" y="1968"/>
                  <a:pt x="935" y="1968"/>
                  <a:pt x="936" y="1968"/>
                </a:cubicBezTo>
                <a:cubicBezTo>
                  <a:pt x="936" y="1967"/>
                  <a:pt x="935" y="1967"/>
                  <a:pt x="935" y="1967"/>
                </a:cubicBezTo>
                <a:cubicBezTo>
                  <a:pt x="935" y="1966"/>
                  <a:pt x="937" y="1967"/>
                  <a:pt x="937" y="1968"/>
                </a:cubicBezTo>
                <a:cubicBezTo>
                  <a:pt x="938" y="1968"/>
                  <a:pt x="938" y="1968"/>
                  <a:pt x="939" y="1968"/>
                </a:cubicBezTo>
                <a:cubicBezTo>
                  <a:pt x="939" y="1967"/>
                  <a:pt x="939" y="1967"/>
                  <a:pt x="940" y="1966"/>
                </a:cubicBezTo>
                <a:cubicBezTo>
                  <a:pt x="941" y="1965"/>
                  <a:pt x="942" y="1964"/>
                  <a:pt x="944" y="1964"/>
                </a:cubicBezTo>
                <a:cubicBezTo>
                  <a:pt x="944" y="1963"/>
                  <a:pt x="945" y="1963"/>
                  <a:pt x="946" y="1963"/>
                </a:cubicBezTo>
                <a:cubicBezTo>
                  <a:pt x="946" y="1963"/>
                  <a:pt x="947" y="1963"/>
                  <a:pt x="947" y="1963"/>
                </a:cubicBezTo>
                <a:cubicBezTo>
                  <a:pt x="948" y="1963"/>
                  <a:pt x="948" y="1963"/>
                  <a:pt x="948" y="1963"/>
                </a:cubicBezTo>
                <a:cubicBezTo>
                  <a:pt x="949" y="1964"/>
                  <a:pt x="948" y="1964"/>
                  <a:pt x="948" y="1965"/>
                </a:cubicBezTo>
                <a:cubicBezTo>
                  <a:pt x="947" y="1965"/>
                  <a:pt x="947" y="1966"/>
                  <a:pt x="946" y="1966"/>
                </a:cubicBezTo>
                <a:cubicBezTo>
                  <a:pt x="946" y="1967"/>
                  <a:pt x="945" y="1968"/>
                  <a:pt x="945" y="1968"/>
                </a:cubicBezTo>
                <a:cubicBezTo>
                  <a:pt x="944" y="1968"/>
                  <a:pt x="943" y="1968"/>
                  <a:pt x="942" y="1968"/>
                </a:cubicBezTo>
                <a:cubicBezTo>
                  <a:pt x="942" y="1969"/>
                  <a:pt x="941" y="1970"/>
                  <a:pt x="941" y="1970"/>
                </a:cubicBezTo>
                <a:cubicBezTo>
                  <a:pt x="940" y="1970"/>
                  <a:pt x="940" y="1969"/>
                  <a:pt x="940" y="1969"/>
                </a:cubicBezTo>
                <a:cubicBezTo>
                  <a:pt x="940" y="1969"/>
                  <a:pt x="939" y="1969"/>
                  <a:pt x="939" y="1969"/>
                </a:cubicBezTo>
                <a:cubicBezTo>
                  <a:pt x="938" y="1969"/>
                  <a:pt x="939" y="1970"/>
                  <a:pt x="939" y="1971"/>
                </a:cubicBezTo>
                <a:cubicBezTo>
                  <a:pt x="938" y="1971"/>
                  <a:pt x="938" y="1972"/>
                  <a:pt x="937" y="1972"/>
                </a:cubicBezTo>
                <a:cubicBezTo>
                  <a:pt x="937" y="1972"/>
                  <a:pt x="938" y="1971"/>
                  <a:pt x="938" y="1971"/>
                </a:cubicBezTo>
                <a:cubicBezTo>
                  <a:pt x="937" y="1970"/>
                  <a:pt x="937" y="1970"/>
                  <a:pt x="937" y="1970"/>
                </a:cubicBezTo>
                <a:cubicBezTo>
                  <a:pt x="937" y="1969"/>
                  <a:pt x="937" y="1970"/>
                  <a:pt x="937" y="1969"/>
                </a:cubicBezTo>
                <a:cubicBezTo>
                  <a:pt x="936" y="1969"/>
                  <a:pt x="937" y="1969"/>
                  <a:pt x="937" y="1968"/>
                </a:cubicBezTo>
                <a:cubicBezTo>
                  <a:pt x="937" y="1968"/>
                  <a:pt x="936" y="1968"/>
                  <a:pt x="935" y="1968"/>
                </a:cubicBezTo>
                <a:cubicBezTo>
                  <a:pt x="935" y="1969"/>
                  <a:pt x="936" y="1969"/>
                  <a:pt x="935" y="1969"/>
                </a:cubicBezTo>
                <a:cubicBezTo>
                  <a:pt x="934" y="1970"/>
                  <a:pt x="934" y="1971"/>
                  <a:pt x="935" y="1972"/>
                </a:cubicBezTo>
                <a:cubicBezTo>
                  <a:pt x="935" y="1973"/>
                  <a:pt x="935" y="1973"/>
                  <a:pt x="936" y="1974"/>
                </a:cubicBezTo>
                <a:cubicBezTo>
                  <a:pt x="936" y="1975"/>
                  <a:pt x="936" y="1975"/>
                  <a:pt x="937" y="1976"/>
                </a:cubicBezTo>
                <a:cubicBezTo>
                  <a:pt x="938" y="1976"/>
                  <a:pt x="938" y="1976"/>
                  <a:pt x="939" y="1976"/>
                </a:cubicBezTo>
                <a:cubicBezTo>
                  <a:pt x="940" y="1977"/>
                  <a:pt x="941" y="1977"/>
                  <a:pt x="941" y="1977"/>
                </a:cubicBezTo>
                <a:cubicBezTo>
                  <a:pt x="943" y="1978"/>
                  <a:pt x="944" y="1979"/>
                  <a:pt x="945" y="1979"/>
                </a:cubicBezTo>
                <a:cubicBezTo>
                  <a:pt x="948" y="1980"/>
                  <a:pt x="950" y="1978"/>
                  <a:pt x="951" y="1976"/>
                </a:cubicBezTo>
                <a:cubicBezTo>
                  <a:pt x="951" y="1975"/>
                  <a:pt x="951" y="1974"/>
                  <a:pt x="951" y="1973"/>
                </a:cubicBezTo>
                <a:cubicBezTo>
                  <a:pt x="951" y="1973"/>
                  <a:pt x="950" y="1972"/>
                  <a:pt x="950" y="1971"/>
                </a:cubicBezTo>
                <a:cubicBezTo>
                  <a:pt x="950" y="1970"/>
                  <a:pt x="951" y="1969"/>
                  <a:pt x="951" y="1969"/>
                </a:cubicBezTo>
                <a:cubicBezTo>
                  <a:pt x="952" y="1968"/>
                  <a:pt x="951" y="1967"/>
                  <a:pt x="952" y="1966"/>
                </a:cubicBezTo>
                <a:cubicBezTo>
                  <a:pt x="952" y="1966"/>
                  <a:pt x="952" y="1965"/>
                  <a:pt x="952" y="1965"/>
                </a:cubicBezTo>
                <a:cubicBezTo>
                  <a:pt x="952" y="1965"/>
                  <a:pt x="952" y="1964"/>
                  <a:pt x="952" y="1964"/>
                </a:cubicBezTo>
                <a:cubicBezTo>
                  <a:pt x="953" y="1963"/>
                  <a:pt x="952" y="1962"/>
                  <a:pt x="952" y="1962"/>
                </a:cubicBezTo>
                <a:cubicBezTo>
                  <a:pt x="953" y="1961"/>
                  <a:pt x="954" y="1961"/>
                  <a:pt x="954" y="1961"/>
                </a:cubicBezTo>
                <a:cubicBezTo>
                  <a:pt x="956" y="1961"/>
                  <a:pt x="957" y="1960"/>
                  <a:pt x="958" y="1960"/>
                </a:cubicBezTo>
                <a:cubicBezTo>
                  <a:pt x="959" y="1960"/>
                  <a:pt x="959" y="1960"/>
                  <a:pt x="960" y="1960"/>
                </a:cubicBezTo>
                <a:cubicBezTo>
                  <a:pt x="961" y="1960"/>
                  <a:pt x="962" y="1959"/>
                  <a:pt x="963" y="1959"/>
                </a:cubicBezTo>
                <a:cubicBezTo>
                  <a:pt x="965" y="1959"/>
                  <a:pt x="966" y="1958"/>
                  <a:pt x="967" y="1957"/>
                </a:cubicBezTo>
                <a:cubicBezTo>
                  <a:pt x="968" y="1955"/>
                  <a:pt x="969" y="1954"/>
                  <a:pt x="971" y="1954"/>
                </a:cubicBezTo>
                <a:cubicBezTo>
                  <a:pt x="971" y="1954"/>
                  <a:pt x="972" y="1954"/>
                  <a:pt x="972" y="1954"/>
                </a:cubicBezTo>
                <a:cubicBezTo>
                  <a:pt x="973" y="1954"/>
                  <a:pt x="974" y="1955"/>
                  <a:pt x="974" y="1955"/>
                </a:cubicBezTo>
                <a:cubicBezTo>
                  <a:pt x="975" y="1955"/>
                  <a:pt x="976" y="1955"/>
                  <a:pt x="977" y="1955"/>
                </a:cubicBezTo>
                <a:cubicBezTo>
                  <a:pt x="977" y="1955"/>
                  <a:pt x="977" y="1955"/>
                  <a:pt x="978" y="1955"/>
                </a:cubicBezTo>
                <a:cubicBezTo>
                  <a:pt x="978" y="1956"/>
                  <a:pt x="979" y="1956"/>
                  <a:pt x="979" y="1956"/>
                </a:cubicBezTo>
                <a:cubicBezTo>
                  <a:pt x="980" y="1956"/>
                  <a:pt x="978" y="1954"/>
                  <a:pt x="978" y="1954"/>
                </a:cubicBezTo>
                <a:cubicBezTo>
                  <a:pt x="978" y="1953"/>
                  <a:pt x="978" y="1953"/>
                  <a:pt x="977" y="1952"/>
                </a:cubicBezTo>
                <a:cubicBezTo>
                  <a:pt x="977" y="1951"/>
                  <a:pt x="976" y="1951"/>
                  <a:pt x="976" y="1950"/>
                </a:cubicBezTo>
                <a:cubicBezTo>
                  <a:pt x="976" y="1949"/>
                  <a:pt x="975" y="1948"/>
                  <a:pt x="975" y="1947"/>
                </a:cubicBezTo>
                <a:cubicBezTo>
                  <a:pt x="975" y="1947"/>
                  <a:pt x="974" y="1947"/>
                  <a:pt x="974" y="1946"/>
                </a:cubicBezTo>
                <a:cubicBezTo>
                  <a:pt x="974" y="1946"/>
                  <a:pt x="974" y="1945"/>
                  <a:pt x="973" y="1945"/>
                </a:cubicBezTo>
                <a:cubicBezTo>
                  <a:pt x="973" y="1944"/>
                  <a:pt x="972" y="1945"/>
                  <a:pt x="972" y="1945"/>
                </a:cubicBezTo>
                <a:cubicBezTo>
                  <a:pt x="971" y="1945"/>
                  <a:pt x="970" y="1944"/>
                  <a:pt x="970" y="1944"/>
                </a:cubicBezTo>
                <a:cubicBezTo>
                  <a:pt x="969" y="1944"/>
                  <a:pt x="969" y="1944"/>
                  <a:pt x="968" y="1943"/>
                </a:cubicBezTo>
                <a:cubicBezTo>
                  <a:pt x="969" y="1943"/>
                  <a:pt x="970" y="1943"/>
                  <a:pt x="970" y="1944"/>
                </a:cubicBezTo>
                <a:cubicBezTo>
                  <a:pt x="971" y="1944"/>
                  <a:pt x="971" y="1944"/>
                  <a:pt x="971" y="1944"/>
                </a:cubicBezTo>
                <a:cubicBezTo>
                  <a:pt x="972" y="1944"/>
                  <a:pt x="973" y="1944"/>
                  <a:pt x="973" y="1944"/>
                </a:cubicBezTo>
                <a:cubicBezTo>
                  <a:pt x="973" y="1944"/>
                  <a:pt x="973" y="1943"/>
                  <a:pt x="973" y="1943"/>
                </a:cubicBezTo>
                <a:cubicBezTo>
                  <a:pt x="973" y="1943"/>
                  <a:pt x="973" y="1942"/>
                  <a:pt x="973" y="1942"/>
                </a:cubicBezTo>
                <a:cubicBezTo>
                  <a:pt x="972" y="1941"/>
                  <a:pt x="972" y="1940"/>
                  <a:pt x="972" y="1940"/>
                </a:cubicBezTo>
                <a:cubicBezTo>
                  <a:pt x="972" y="1939"/>
                  <a:pt x="972" y="1938"/>
                  <a:pt x="972" y="1937"/>
                </a:cubicBezTo>
                <a:cubicBezTo>
                  <a:pt x="971" y="1937"/>
                  <a:pt x="971" y="1936"/>
                  <a:pt x="971" y="1935"/>
                </a:cubicBezTo>
                <a:cubicBezTo>
                  <a:pt x="971" y="1935"/>
                  <a:pt x="971" y="1934"/>
                  <a:pt x="971" y="1933"/>
                </a:cubicBezTo>
                <a:cubicBezTo>
                  <a:pt x="971" y="1932"/>
                  <a:pt x="971" y="1931"/>
                  <a:pt x="971" y="1930"/>
                </a:cubicBezTo>
                <a:cubicBezTo>
                  <a:pt x="972" y="1930"/>
                  <a:pt x="972" y="1929"/>
                  <a:pt x="973" y="1928"/>
                </a:cubicBezTo>
                <a:cubicBezTo>
                  <a:pt x="973" y="1927"/>
                  <a:pt x="973" y="1926"/>
                  <a:pt x="974" y="1926"/>
                </a:cubicBezTo>
                <a:cubicBezTo>
                  <a:pt x="975" y="1925"/>
                  <a:pt x="975" y="1925"/>
                  <a:pt x="976" y="1924"/>
                </a:cubicBezTo>
                <a:cubicBezTo>
                  <a:pt x="977" y="1924"/>
                  <a:pt x="978" y="1923"/>
                  <a:pt x="978" y="1923"/>
                </a:cubicBezTo>
                <a:cubicBezTo>
                  <a:pt x="979" y="1923"/>
                  <a:pt x="980" y="1923"/>
                  <a:pt x="980" y="1922"/>
                </a:cubicBezTo>
                <a:cubicBezTo>
                  <a:pt x="980" y="1922"/>
                  <a:pt x="979" y="1922"/>
                  <a:pt x="979" y="1921"/>
                </a:cubicBezTo>
                <a:cubicBezTo>
                  <a:pt x="979" y="1921"/>
                  <a:pt x="979" y="1920"/>
                  <a:pt x="978" y="1920"/>
                </a:cubicBezTo>
                <a:cubicBezTo>
                  <a:pt x="978" y="1920"/>
                  <a:pt x="978" y="1920"/>
                  <a:pt x="977" y="1919"/>
                </a:cubicBezTo>
                <a:cubicBezTo>
                  <a:pt x="977" y="1919"/>
                  <a:pt x="977" y="1919"/>
                  <a:pt x="977" y="1919"/>
                </a:cubicBezTo>
                <a:cubicBezTo>
                  <a:pt x="977" y="1919"/>
                  <a:pt x="977" y="1919"/>
                  <a:pt x="977" y="1918"/>
                </a:cubicBezTo>
                <a:cubicBezTo>
                  <a:pt x="977" y="1918"/>
                  <a:pt x="978" y="1918"/>
                  <a:pt x="978" y="1919"/>
                </a:cubicBezTo>
                <a:cubicBezTo>
                  <a:pt x="979" y="1919"/>
                  <a:pt x="978" y="1919"/>
                  <a:pt x="979" y="1920"/>
                </a:cubicBezTo>
                <a:cubicBezTo>
                  <a:pt x="979" y="1920"/>
                  <a:pt x="979" y="1920"/>
                  <a:pt x="979" y="1920"/>
                </a:cubicBezTo>
                <a:cubicBezTo>
                  <a:pt x="980" y="1921"/>
                  <a:pt x="979" y="1921"/>
                  <a:pt x="980" y="1921"/>
                </a:cubicBezTo>
                <a:cubicBezTo>
                  <a:pt x="980" y="1922"/>
                  <a:pt x="981" y="1922"/>
                  <a:pt x="981" y="1921"/>
                </a:cubicBezTo>
                <a:cubicBezTo>
                  <a:pt x="982" y="1921"/>
                  <a:pt x="982" y="1921"/>
                  <a:pt x="983" y="1921"/>
                </a:cubicBezTo>
                <a:cubicBezTo>
                  <a:pt x="984" y="1921"/>
                  <a:pt x="984" y="1920"/>
                  <a:pt x="985" y="1920"/>
                </a:cubicBezTo>
                <a:cubicBezTo>
                  <a:pt x="987" y="1919"/>
                  <a:pt x="987" y="1917"/>
                  <a:pt x="988" y="1916"/>
                </a:cubicBezTo>
                <a:cubicBezTo>
                  <a:pt x="988" y="1915"/>
                  <a:pt x="988" y="1914"/>
                  <a:pt x="988" y="1913"/>
                </a:cubicBezTo>
                <a:cubicBezTo>
                  <a:pt x="988" y="1913"/>
                  <a:pt x="989" y="1910"/>
                  <a:pt x="988" y="1910"/>
                </a:cubicBezTo>
                <a:cubicBezTo>
                  <a:pt x="988" y="1909"/>
                  <a:pt x="988" y="1910"/>
                  <a:pt x="988" y="1909"/>
                </a:cubicBezTo>
                <a:cubicBezTo>
                  <a:pt x="987" y="1909"/>
                  <a:pt x="988" y="1909"/>
                  <a:pt x="988" y="1908"/>
                </a:cubicBezTo>
                <a:cubicBezTo>
                  <a:pt x="988" y="1908"/>
                  <a:pt x="989" y="1908"/>
                  <a:pt x="989" y="1907"/>
                </a:cubicBezTo>
                <a:cubicBezTo>
                  <a:pt x="989" y="1907"/>
                  <a:pt x="990" y="1906"/>
                  <a:pt x="990" y="1905"/>
                </a:cubicBezTo>
                <a:cubicBezTo>
                  <a:pt x="992" y="1903"/>
                  <a:pt x="995" y="1900"/>
                  <a:pt x="998" y="1898"/>
                </a:cubicBezTo>
                <a:cubicBezTo>
                  <a:pt x="999" y="1898"/>
                  <a:pt x="1000" y="1897"/>
                  <a:pt x="1001" y="1897"/>
                </a:cubicBezTo>
                <a:cubicBezTo>
                  <a:pt x="1001" y="1896"/>
                  <a:pt x="1002" y="1896"/>
                  <a:pt x="1003" y="1895"/>
                </a:cubicBezTo>
                <a:cubicBezTo>
                  <a:pt x="1004" y="1895"/>
                  <a:pt x="1005" y="1895"/>
                  <a:pt x="1005" y="1894"/>
                </a:cubicBezTo>
                <a:cubicBezTo>
                  <a:pt x="1006" y="1893"/>
                  <a:pt x="1007" y="1893"/>
                  <a:pt x="1008" y="1892"/>
                </a:cubicBezTo>
                <a:cubicBezTo>
                  <a:pt x="1009" y="1891"/>
                  <a:pt x="1009" y="1891"/>
                  <a:pt x="1009" y="1891"/>
                </a:cubicBezTo>
                <a:cubicBezTo>
                  <a:pt x="1010" y="1890"/>
                  <a:pt x="1010" y="1890"/>
                  <a:pt x="1009" y="1889"/>
                </a:cubicBezTo>
                <a:cubicBezTo>
                  <a:pt x="1008" y="1889"/>
                  <a:pt x="1008" y="1888"/>
                  <a:pt x="1008" y="1887"/>
                </a:cubicBezTo>
                <a:cubicBezTo>
                  <a:pt x="1009" y="1886"/>
                  <a:pt x="1010" y="1886"/>
                  <a:pt x="1010" y="1885"/>
                </a:cubicBezTo>
                <a:cubicBezTo>
                  <a:pt x="1010" y="1884"/>
                  <a:pt x="1010" y="1884"/>
                  <a:pt x="1010" y="1883"/>
                </a:cubicBezTo>
                <a:cubicBezTo>
                  <a:pt x="1010" y="1882"/>
                  <a:pt x="1010" y="1882"/>
                  <a:pt x="1010" y="1881"/>
                </a:cubicBezTo>
                <a:cubicBezTo>
                  <a:pt x="1010" y="1881"/>
                  <a:pt x="1010" y="1881"/>
                  <a:pt x="1010" y="1880"/>
                </a:cubicBezTo>
                <a:cubicBezTo>
                  <a:pt x="1010" y="1880"/>
                  <a:pt x="1010" y="1879"/>
                  <a:pt x="1010" y="1879"/>
                </a:cubicBezTo>
                <a:cubicBezTo>
                  <a:pt x="1009" y="1878"/>
                  <a:pt x="1008" y="1878"/>
                  <a:pt x="1007" y="1878"/>
                </a:cubicBezTo>
                <a:cubicBezTo>
                  <a:pt x="1007" y="1878"/>
                  <a:pt x="1006" y="1878"/>
                  <a:pt x="1005" y="1878"/>
                </a:cubicBezTo>
                <a:cubicBezTo>
                  <a:pt x="1003" y="1877"/>
                  <a:pt x="1002" y="1877"/>
                  <a:pt x="1000" y="1876"/>
                </a:cubicBezTo>
                <a:cubicBezTo>
                  <a:pt x="1000" y="1876"/>
                  <a:pt x="999" y="1876"/>
                  <a:pt x="999" y="1876"/>
                </a:cubicBezTo>
                <a:cubicBezTo>
                  <a:pt x="998" y="1876"/>
                  <a:pt x="998" y="1875"/>
                  <a:pt x="998" y="1875"/>
                </a:cubicBezTo>
                <a:cubicBezTo>
                  <a:pt x="997" y="1875"/>
                  <a:pt x="996" y="1874"/>
                  <a:pt x="995" y="1873"/>
                </a:cubicBezTo>
                <a:cubicBezTo>
                  <a:pt x="995" y="1873"/>
                  <a:pt x="994" y="1873"/>
                  <a:pt x="993" y="1872"/>
                </a:cubicBezTo>
                <a:cubicBezTo>
                  <a:pt x="993" y="1872"/>
                  <a:pt x="992" y="1871"/>
                  <a:pt x="991" y="1870"/>
                </a:cubicBezTo>
                <a:cubicBezTo>
                  <a:pt x="990" y="1869"/>
                  <a:pt x="989" y="1867"/>
                  <a:pt x="989" y="1866"/>
                </a:cubicBezTo>
                <a:cubicBezTo>
                  <a:pt x="989" y="1863"/>
                  <a:pt x="990" y="1861"/>
                  <a:pt x="991" y="1859"/>
                </a:cubicBezTo>
                <a:cubicBezTo>
                  <a:pt x="992" y="1858"/>
                  <a:pt x="992" y="1857"/>
                  <a:pt x="993" y="1856"/>
                </a:cubicBezTo>
                <a:cubicBezTo>
                  <a:pt x="993" y="1856"/>
                  <a:pt x="993" y="1855"/>
                  <a:pt x="994" y="1854"/>
                </a:cubicBezTo>
                <a:cubicBezTo>
                  <a:pt x="995" y="1853"/>
                  <a:pt x="995" y="1853"/>
                  <a:pt x="996" y="1852"/>
                </a:cubicBezTo>
                <a:cubicBezTo>
                  <a:pt x="996" y="1851"/>
                  <a:pt x="997" y="1851"/>
                  <a:pt x="998" y="1851"/>
                </a:cubicBezTo>
                <a:cubicBezTo>
                  <a:pt x="999" y="1850"/>
                  <a:pt x="1000" y="1850"/>
                  <a:pt x="1000" y="1849"/>
                </a:cubicBezTo>
                <a:cubicBezTo>
                  <a:pt x="1001" y="1849"/>
                  <a:pt x="1002" y="1848"/>
                  <a:pt x="1003" y="1848"/>
                </a:cubicBezTo>
                <a:cubicBezTo>
                  <a:pt x="1004" y="1847"/>
                  <a:pt x="1006" y="1847"/>
                  <a:pt x="1007" y="1847"/>
                </a:cubicBezTo>
                <a:cubicBezTo>
                  <a:pt x="1008" y="1847"/>
                  <a:pt x="1008" y="1848"/>
                  <a:pt x="1009" y="1848"/>
                </a:cubicBezTo>
                <a:cubicBezTo>
                  <a:pt x="1009" y="1848"/>
                  <a:pt x="1010" y="1848"/>
                  <a:pt x="1011" y="1848"/>
                </a:cubicBezTo>
                <a:cubicBezTo>
                  <a:pt x="1012" y="1848"/>
                  <a:pt x="1013" y="1846"/>
                  <a:pt x="1012" y="1845"/>
                </a:cubicBezTo>
                <a:cubicBezTo>
                  <a:pt x="1012" y="1845"/>
                  <a:pt x="1011" y="1844"/>
                  <a:pt x="1011" y="1844"/>
                </a:cubicBezTo>
                <a:cubicBezTo>
                  <a:pt x="1011" y="1843"/>
                  <a:pt x="1012" y="1843"/>
                  <a:pt x="1012" y="1842"/>
                </a:cubicBezTo>
                <a:cubicBezTo>
                  <a:pt x="1013" y="1842"/>
                  <a:pt x="1013" y="1841"/>
                  <a:pt x="1014" y="1841"/>
                </a:cubicBezTo>
                <a:cubicBezTo>
                  <a:pt x="1014" y="1840"/>
                  <a:pt x="1015" y="1840"/>
                  <a:pt x="1015" y="1839"/>
                </a:cubicBezTo>
                <a:cubicBezTo>
                  <a:pt x="1016" y="1839"/>
                  <a:pt x="1016" y="1838"/>
                  <a:pt x="1016" y="1837"/>
                </a:cubicBezTo>
                <a:cubicBezTo>
                  <a:pt x="1016" y="1836"/>
                  <a:pt x="1016" y="1835"/>
                  <a:pt x="1016" y="1834"/>
                </a:cubicBezTo>
                <a:cubicBezTo>
                  <a:pt x="1016" y="1834"/>
                  <a:pt x="1016" y="1832"/>
                  <a:pt x="1015" y="1832"/>
                </a:cubicBezTo>
                <a:cubicBezTo>
                  <a:pt x="1015" y="1831"/>
                  <a:pt x="1015" y="1831"/>
                  <a:pt x="1015" y="1831"/>
                </a:cubicBezTo>
                <a:cubicBezTo>
                  <a:pt x="1015" y="1830"/>
                  <a:pt x="1016" y="1829"/>
                  <a:pt x="1016" y="1829"/>
                </a:cubicBezTo>
                <a:cubicBezTo>
                  <a:pt x="1016" y="1828"/>
                  <a:pt x="1016" y="1827"/>
                  <a:pt x="1017" y="1826"/>
                </a:cubicBezTo>
                <a:cubicBezTo>
                  <a:pt x="1017" y="1826"/>
                  <a:pt x="1017" y="1826"/>
                  <a:pt x="1017" y="1825"/>
                </a:cubicBezTo>
                <a:cubicBezTo>
                  <a:pt x="1019" y="1824"/>
                  <a:pt x="1020" y="1822"/>
                  <a:pt x="1022" y="1821"/>
                </a:cubicBezTo>
                <a:cubicBezTo>
                  <a:pt x="1023" y="1821"/>
                  <a:pt x="1024" y="1821"/>
                  <a:pt x="1024" y="1820"/>
                </a:cubicBezTo>
                <a:cubicBezTo>
                  <a:pt x="1025" y="1820"/>
                  <a:pt x="1027" y="1820"/>
                  <a:pt x="1027" y="1819"/>
                </a:cubicBezTo>
                <a:cubicBezTo>
                  <a:pt x="1026" y="1819"/>
                  <a:pt x="1026" y="1819"/>
                  <a:pt x="1026" y="1819"/>
                </a:cubicBezTo>
                <a:cubicBezTo>
                  <a:pt x="1025" y="1819"/>
                  <a:pt x="1025" y="1819"/>
                  <a:pt x="1024" y="1819"/>
                </a:cubicBezTo>
                <a:cubicBezTo>
                  <a:pt x="1024" y="1819"/>
                  <a:pt x="1023" y="1819"/>
                  <a:pt x="1022" y="1818"/>
                </a:cubicBezTo>
                <a:cubicBezTo>
                  <a:pt x="1022" y="1818"/>
                  <a:pt x="1021" y="1817"/>
                  <a:pt x="1020" y="1817"/>
                </a:cubicBezTo>
                <a:cubicBezTo>
                  <a:pt x="1019" y="1817"/>
                  <a:pt x="1019" y="1816"/>
                  <a:pt x="1019" y="1815"/>
                </a:cubicBezTo>
                <a:cubicBezTo>
                  <a:pt x="1020" y="1815"/>
                  <a:pt x="1020" y="1814"/>
                  <a:pt x="1021" y="1814"/>
                </a:cubicBezTo>
                <a:cubicBezTo>
                  <a:pt x="1022" y="1814"/>
                  <a:pt x="1022" y="1813"/>
                  <a:pt x="1023" y="1813"/>
                </a:cubicBezTo>
                <a:cubicBezTo>
                  <a:pt x="1024" y="1813"/>
                  <a:pt x="1024" y="1813"/>
                  <a:pt x="1025" y="1813"/>
                </a:cubicBezTo>
                <a:cubicBezTo>
                  <a:pt x="1026" y="1812"/>
                  <a:pt x="1026" y="1813"/>
                  <a:pt x="1027" y="1813"/>
                </a:cubicBezTo>
                <a:cubicBezTo>
                  <a:pt x="1027" y="1814"/>
                  <a:pt x="1027" y="1814"/>
                  <a:pt x="1027" y="1814"/>
                </a:cubicBezTo>
                <a:cubicBezTo>
                  <a:pt x="1027" y="1815"/>
                  <a:pt x="1027" y="1815"/>
                  <a:pt x="1027" y="1815"/>
                </a:cubicBezTo>
                <a:cubicBezTo>
                  <a:pt x="1028" y="1816"/>
                  <a:pt x="1029" y="1816"/>
                  <a:pt x="1030" y="1816"/>
                </a:cubicBezTo>
                <a:cubicBezTo>
                  <a:pt x="1031" y="1816"/>
                  <a:pt x="1031" y="1816"/>
                  <a:pt x="1032" y="1816"/>
                </a:cubicBezTo>
                <a:cubicBezTo>
                  <a:pt x="1033" y="1817"/>
                  <a:pt x="1034" y="1817"/>
                  <a:pt x="1034" y="1816"/>
                </a:cubicBezTo>
                <a:cubicBezTo>
                  <a:pt x="1035" y="1815"/>
                  <a:pt x="1035" y="1813"/>
                  <a:pt x="1035" y="1811"/>
                </a:cubicBezTo>
                <a:cubicBezTo>
                  <a:pt x="1035" y="1811"/>
                  <a:pt x="1034" y="1810"/>
                  <a:pt x="1034" y="1809"/>
                </a:cubicBezTo>
                <a:cubicBezTo>
                  <a:pt x="1034" y="1808"/>
                  <a:pt x="1033" y="1808"/>
                  <a:pt x="1032" y="1807"/>
                </a:cubicBezTo>
                <a:cubicBezTo>
                  <a:pt x="1032" y="1807"/>
                  <a:pt x="1031" y="1808"/>
                  <a:pt x="1030" y="1808"/>
                </a:cubicBezTo>
                <a:cubicBezTo>
                  <a:pt x="1030" y="1808"/>
                  <a:pt x="1029" y="1808"/>
                  <a:pt x="1029" y="1808"/>
                </a:cubicBezTo>
                <a:cubicBezTo>
                  <a:pt x="1028" y="1809"/>
                  <a:pt x="1028" y="1809"/>
                  <a:pt x="1028" y="1809"/>
                </a:cubicBezTo>
                <a:cubicBezTo>
                  <a:pt x="1027" y="1809"/>
                  <a:pt x="1027" y="1809"/>
                  <a:pt x="1027" y="1809"/>
                </a:cubicBezTo>
                <a:cubicBezTo>
                  <a:pt x="1026" y="1810"/>
                  <a:pt x="1027" y="1810"/>
                  <a:pt x="1027" y="1810"/>
                </a:cubicBezTo>
                <a:cubicBezTo>
                  <a:pt x="1028" y="1810"/>
                  <a:pt x="1029" y="1810"/>
                  <a:pt x="1029" y="1810"/>
                </a:cubicBezTo>
                <a:cubicBezTo>
                  <a:pt x="1030" y="1812"/>
                  <a:pt x="1029" y="1812"/>
                  <a:pt x="1028" y="1812"/>
                </a:cubicBezTo>
                <a:cubicBezTo>
                  <a:pt x="1027" y="1812"/>
                  <a:pt x="1027" y="1812"/>
                  <a:pt x="1027" y="1812"/>
                </a:cubicBezTo>
                <a:cubicBezTo>
                  <a:pt x="1026" y="1812"/>
                  <a:pt x="1026" y="1812"/>
                  <a:pt x="1026" y="1812"/>
                </a:cubicBezTo>
                <a:cubicBezTo>
                  <a:pt x="1025" y="1812"/>
                  <a:pt x="1025" y="1812"/>
                  <a:pt x="1025" y="1812"/>
                </a:cubicBezTo>
                <a:cubicBezTo>
                  <a:pt x="1024" y="1812"/>
                  <a:pt x="1024" y="1812"/>
                  <a:pt x="1024" y="1812"/>
                </a:cubicBezTo>
                <a:cubicBezTo>
                  <a:pt x="1023" y="1811"/>
                  <a:pt x="1023" y="1811"/>
                  <a:pt x="1022" y="1810"/>
                </a:cubicBezTo>
                <a:cubicBezTo>
                  <a:pt x="1022" y="1810"/>
                  <a:pt x="1022" y="1809"/>
                  <a:pt x="1021" y="1809"/>
                </a:cubicBezTo>
                <a:cubicBezTo>
                  <a:pt x="1020" y="1808"/>
                  <a:pt x="1018" y="1807"/>
                  <a:pt x="1018" y="1805"/>
                </a:cubicBezTo>
                <a:cubicBezTo>
                  <a:pt x="1018" y="1804"/>
                  <a:pt x="1018" y="1803"/>
                  <a:pt x="1018" y="1803"/>
                </a:cubicBezTo>
                <a:cubicBezTo>
                  <a:pt x="1019" y="1801"/>
                  <a:pt x="1019" y="1799"/>
                  <a:pt x="1019" y="1798"/>
                </a:cubicBezTo>
                <a:cubicBezTo>
                  <a:pt x="1019" y="1797"/>
                  <a:pt x="1019" y="1797"/>
                  <a:pt x="1018" y="1796"/>
                </a:cubicBezTo>
                <a:cubicBezTo>
                  <a:pt x="1018" y="1795"/>
                  <a:pt x="1018" y="1795"/>
                  <a:pt x="1017" y="1794"/>
                </a:cubicBezTo>
                <a:cubicBezTo>
                  <a:pt x="1017" y="1793"/>
                  <a:pt x="1017" y="1792"/>
                  <a:pt x="1017" y="1791"/>
                </a:cubicBezTo>
                <a:cubicBezTo>
                  <a:pt x="1017" y="1790"/>
                  <a:pt x="1018" y="1790"/>
                  <a:pt x="1019" y="1789"/>
                </a:cubicBezTo>
                <a:cubicBezTo>
                  <a:pt x="1019" y="1789"/>
                  <a:pt x="1020" y="1788"/>
                  <a:pt x="1021" y="1788"/>
                </a:cubicBezTo>
                <a:cubicBezTo>
                  <a:pt x="1022" y="1789"/>
                  <a:pt x="1020" y="1789"/>
                  <a:pt x="1020" y="1790"/>
                </a:cubicBezTo>
                <a:cubicBezTo>
                  <a:pt x="1020" y="1790"/>
                  <a:pt x="1020" y="1790"/>
                  <a:pt x="1020" y="1790"/>
                </a:cubicBezTo>
                <a:cubicBezTo>
                  <a:pt x="1024" y="1790"/>
                  <a:pt x="1027" y="1792"/>
                  <a:pt x="1030" y="1793"/>
                </a:cubicBezTo>
                <a:cubicBezTo>
                  <a:pt x="1031" y="1794"/>
                  <a:pt x="1033" y="1794"/>
                  <a:pt x="1035" y="1794"/>
                </a:cubicBezTo>
                <a:cubicBezTo>
                  <a:pt x="1037" y="1795"/>
                  <a:pt x="1039" y="1795"/>
                  <a:pt x="1040" y="1795"/>
                </a:cubicBezTo>
                <a:cubicBezTo>
                  <a:pt x="1041" y="1794"/>
                  <a:pt x="1042" y="1794"/>
                  <a:pt x="1043" y="1794"/>
                </a:cubicBezTo>
                <a:cubicBezTo>
                  <a:pt x="1044" y="1793"/>
                  <a:pt x="1044" y="1793"/>
                  <a:pt x="1045" y="1792"/>
                </a:cubicBezTo>
                <a:cubicBezTo>
                  <a:pt x="1046" y="1792"/>
                  <a:pt x="1047" y="1792"/>
                  <a:pt x="1048" y="1791"/>
                </a:cubicBezTo>
                <a:cubicBezTo>
                  <a:pt x="1048" y="1791"/>
                  <a:pt x="1049" y="1791"/>
                  <a:pt x="1049" y="1790"/>
                </a:cubicBezTo>
                <a:cubicBezTo>
                  <a:pt x="1049" y="1790"/>
                  <a:pt x="1050" y="1789"/>
                  <a:pt x="1050" y="1789"/>
                </a:cubicBezTo>
                <a:cubicBezTo>
                  <a:pt x="1051" y="1788"/>
                  <a:pt x="1051" y="1788"/>
                  <a:pt x="1050" y="1787"/>
                </a:cubicBezTo>
                <a:cubicBezTo>
                  <a:pt x="1050" y="1786"/>
                  <a:pt x="1049" y="1786"/>
                  <a:pt x="1049" y="1786"/>
                </a:cubicBezTo>
                <a:cubicBezTo>
                  <a:pt x="1049" y="1785"/>
                  <a:pt x="1049" y="1785"/>
                  <a:pt x="1048" y="1784"/>
                </a:cubicBezTo>
                <a:cubicBezTo>
                  <a:pt x="1048" y="1783"/>
                  <a:pt x="1048" y="1783"/>
                  <a:pt x="1048" y="1782"/>
                </a:cubicBezTo>
                <a:cubicBezTo>
                  <a:pt x="1048" y="1782"/>
                  <a:pt x="1049" y="1781"/>
                  <a:pt x="1049" y="1781"/>
                </a:cubicBezTo>
                <a:cubicBezTo>
                  <a:pt x="1049" y="1780"/>
                  <a:pt x="1049" y="1780"/>
                  <a:pt x="1049" y="1780"/>
                </a:cubicBezTo>
                <a:cubicBezTo>
                  <a:pt x="1049" y="1779"/>
                  <a:pt x="1049" y="1778"/>
                  <a:pt x="1050" y="1777"/>
                </a:cubicBezTo>
                <a:cubicBezTo>
                  <a:pt x="1050" y="1777"/>
                  <a:pt x="1050" y="1777"/>
                  <a:pt x="1050" y="1776"/>
                </a:cubicBezTo>
                <a:cubicBezTo>
                  <a:pt x="1051" y="1776"/>
                  <a:pt x="1051" y="1776"/>
                  <a:pt x="1051" y="1775"/>
                </a:cubicBezTo>
                <a:cubicBezTo>
                  <a:pt x="1051" y="1775"/>
                  <a:pt x="1051" y="1775"/>
                  <a:pt x="1051" y="1774"/>
                </a:cubicBezTo>
                <a:cubicBezTo>
                  <a:pt x="1052" y="1773"/>
                  <a:pt x="1053" y="1773"/>
                  <a:pt x="1052" y="1772"/>
                </a:cubicBezTo>
                <a:cubicBezTo>
                  <a:pt x="1052" y="1771"/>
                  <a:pt x="1051" y="1771"/>
                  <a:pt x="1051" y="1771"/>
                </a:cubicBezTo>
                <a:cubicBezTo>
                  <a:pt x="1051" y="1771"/>
                  <a:pt x="1052" y="1771"/>
                  <a:pt x="1052" y="1771"/>
                </a:cubicBezTo>
                <a:cubicBezTo>
                  <a:pt x="1052" y="1771"/>
                  <a:pt x="1053" y="1771"/>
                  <a:pt x="1052" y="1770"/>
                </a:cubicBezTo>
                <a:cubicBezTo>
                  <a:pt x="1052" y="1770"/>
                  <a:pt x="1052" y="1769"/>
                  <a:pt x="1052" y="1769"/>
                </a:cubicBezTo>
                <a:cubicBezTo>
                  <a:pt x="1051" y="1769"/>
                  <a:pt x="1050" y="1769"/>
                  <a:pt x="1049" y="1768"/>
                </a:cubicBezTo>
                <a:cubicBezTo>
                  <a:pt x="1049" y="1768"/>
                  <a:pt x="1049" y="1767"/>
                  <a:pt x="1049" y="1766"/>
                </a:cubicBezTo>
                <a:cubicBezTo>
                  <a:pt x="1049" y="1765"/>
                  <a:pt x="1049" y="1765"/>
                  <a:pt x="1049" y="1764"/>
                </a:cubicBezTo>
                <a:cubicBezTo>
                  <a:pt x="1049" y="1763"/>
                  <a:pt x="1050" y="1763"/>
                  <a:pt x="1050" y="1763"/>
                </a:cubicBezTo>
                <a:cubicBezTo>
                  <a:pt x="1051" y="1763"/>
                  <a:pt x="1051" y="1763"/>
                  <a:pt x="1051" y="1763"/>
                </a:cubicBezTo>
                <a:cubicBezTo>
                  <a:pt x="1052" y="1763"/>
                  <a:pt x="1052" y="1763"/>
                  <a:pt x="1053" y="1764"/>
                </a:cubicBezTo>
                <a:cubicBezTo>
                  <a:pt x="1054" y="1764"/>
                  <a:pt x="1056" y="1764"/>
                  <a:pt x="1058" y="1764"/>
                </a:cubicBezTo>
                <a:cubicBezTo>
                  <a:pt x="1058" y="1764"/>
                  <a:pt x="1059" y="1765"/>
                  <a:pt x="1060" y="1765"/>
                </a:cubicBezTo>
                <a:cubicBezTo>
                  <a:pt x="1061" y="1765"/>
                  <a:pt x="1062" y="1765"/>
                  <a:pt x="1063" y="1765"/>
                </a:cubicBezTo>
                <a:cubicBezTo>
                  <a:pt x="1065" y="1765"/>
                  <a:pt x="1066" y="1765"/>
                  <a:pt x="1068" y="1765"/>
                </a:cubicBezTo>
                <a:cubicBezTo>
                  <a:pt x="1069" y="1765"/>
                  <a:pt x="1070" y="1765"/>
                  <a:pt x="1071" y="1764"/>
                </a:cubicBezTo>
                <a:cubicBezTo>
                  <a:pt x="1072" y="1764"/>
                  <a:pt x="1073" y="1764"/>
                  <a:pt x="1074" y="1764"/>
                </a:cubicBezTo>
                <a:cubicBezTo>
                  <a:pt x="1075" y="1764"/>
                  <a:pt x="1076" y="1764"/>
                  <a:pt x="1077" y="1764"/>
                </a:cubicBezTo>
                <a:cubicBezTo>
                  <a:pt x="1078" y="1763"/>
                  <a:pt x="1079" y="1763"/>
                  <a:pt x="1080" y="1763"/>
                </a:cubicBezTo>
                <a:cubicBezTo>
                  <a:pt x="1081" y="1762"/>
                  <a:pt x="1083" y="1762"/>
                  <a:pt x="1084" y="1762"/>
                </a:cubicBezTo>
                <a:cubicBezTo>
                  <a:pt x="1086" y="1761"/>
                  <a:pt x="1088" y="1761"/>
                  <a:pt x="1090" y="1760"/>
                </a:cubicBezTo>
                <a:cubicBezTo>
                  <a:pt x="1092" y="1759"/>
                  <a:pt x="1094" y="1759"/>
                  <a:pt x="1096" y="1758"/>
                </a:cubicBezTo>
                <a:cubicBezTo>
                  <a:pt x="1097" y="1757"/>
                  <a:pt x="1099" y="1757"/>
                  <a:pt x="1100" y="1756"/>
                </a:cubicBezTo>
                <a:cubicBezTo>
                  <a:pt x="1100" y="1756"/>
                  <a:pt x="1101" y="1756"/>
                  <a:pt x="1101" y="1755"/>
                </a:cubicBezTo>
                <a:cubicBezTo>
                  <a:pt x="1101" y="1755"/>
                  <a:pt x="1102" y="1755"/>
                  <a:pt x="1102" y="1754"/>
                </a:cubicBezTo>
                <a:cubicBezTo>
                  <a:pt x="1103" y="1753"/>
                  <a:pt x="1103" y="1753"/>
                  <a:pt x="1104" y="1752"/>
                </a:cubicBezTo>
                <a:cubicBezTo>
                  <a:pt x="1104" y="1751"/>
                  <a:pt x="1105" y="1750"/>
                  <a:pt x="1106" y="1749"/>
                </a:cubicBezTo>
                <a:cubicBezTo>
                  <a:pt x="1106" y="1749"/>
                  <a:pt x="1107" y="1748"/>
                  <a:pt x="1107" y="1747"/>
                </a:cubicBezTo>
                <a:cubicBezTo>
                  <a:pt x="1108" y="1746"/>
                  <a:pt x="1109" y="1744"/>
                  <a:pt x="1110" y="1743"/>
                </a:cubicBezTo>
                <a:cubicBezTo>
                  <a:pt x="1110" y="1743"/>
                  <a:pt x="1111" y="1742"/>
                  <a:pt x="1111" y="1742"/>
                </a:cubicBezTo>
                <a:cubicBezTo>
                  <a:pt x="1111" y="1741"/>
                  <a:pt x="1112" y="1741"/>
                  <a:pt x="1112" y="1740"/>
                </a:cubicBezTo>
                <a:cubicBezTo>
                  <a:pt x="1112" y="1740"/>
                  <a:pt x="1113" y="1739"/>
                  <a:pt x="1113" y="1739"/>
                </a:cubicBezTo>
                <a:cubicBezTo>
                  <a:pt x="1114" y="1738"/>
                  <a:pt x="1114" y="1736"/>
                  <a:pt x="1114" y="1734"/>
                </a:cubicBezTo>
                <a:cubicBezTo>
                  <a:pt x="1114" y="1733"/>
                  <a:pt x="1114" y="1733"/>
                  <a:pt x="1113" y="1732"/>
                </a:cubicBezTo>
                <a:cubicBezTo>
                  <a:pt x="1113" y="1732"/>
                  <a:pt x="1113" y="1731"/>
                  <a:pt x="1113" y="1731"/>
                </a:cubicBezTo>
                <a:cubicBezTo>
                  <a:pt x="1113" y="1730"/>
                  <a:pt x="1113" y="1729"/>
                  <a:pt x="1113" y="1729"/>
                </a:cubicBezTo>
                <a:cubicBezTo>
                  <a:pt x="1112" y="1730"/>
                  <a:pt x="1112" y="1730"/>
                  <a:pt x="1112" y="1730"/>
                </a:cubicBezTo>
                <a:cubicBezTo>
                  <a:pt x="1111" y="1731"/>
                  <a:pt x="1109" y="1730"/>
                  <a:pt x="1108" y="1729"/>
                </a:cubicBezTo>
                <a:cubicBezTo>
                  <a:pt x="1107" y="1728"/>
                  <a:pt x="1107" y="1727"/>
                  <a:pt x="1107" y="1727"/>
                </a:cubicBezTo>
                <a:cubicBezTo>
                  <a:pt x="1107" y="1726"/>
                  <a:pt x="1106" y="1726"/>
                  <a:pt x="1106" y="1725"/>
                </a:cubicBezTo>
                <a:cubicBezTo>
                  <a:pt x="1106" y="1724"/>
                  <a:pt x="1106" y="1723"/>
                  <a:pt x="1106" y="1722"/>
                </a:cubicBezTo>
                <a:cubicBezTo>
                  <a:pt x="1107" y="1721"/>
                  <a:pt x="1108" y="1720"/>
                  <a:pt x="1108" y="1719"/>
                </a:cubicBezTo>
                <a:cubicBezTo>
                  <a:pt x="1109" y="1718"/>
                  <a:pt x="1107" y="1716"/>
                  <a:pt x="1106" y="1715"/>
                </a:cubicBezTo>
                <a:cubicBezTo>
                  <a:pt x="1105" y="1714"/>
                  <a:pt x="1104" y="1713"/>
                  <a:pt x="1103" y="1713"/>
                </a:cubicBezTo>
                <a:cubicBezTo>
                  <a:pt x="1102" y="1712"/>
                  <a:pt x="1101" y="1712"/>
                  <a:pt x="1101" y="1712"/>
                </a:cubicBezTo>
                <a:cubicBezTo>
                  <a:pt x="1100" y="1711"/>
                  <a:pt x="1099" y="1711"/>
                  <a:pt x="1098" y="1710"/>
                </a:cubicBezTo>
                <a:cubicBezTo>
                  <a:pt x="1097" y="1709"/>
                  <a:pt x="1095" y="1709"/>
                  <a:pt x="1094" y="1708"/>
                </a:cubicBezTo>
                <a:cubicBezTo>
                  <a:pt x="1093" y="1707"/>
                  <a:pt x="1093" y="1705"/>
                  <a:pt x="1093" y="1704"/>
                </a:cubicBezTo>
                <a:cubicBezTo>
                  <a:pt x="1093" y="1702"/>
                  <a:pt x="1094" y="1700"/>
                  <a:pt x="1093" y="1699"/>
                </a:cubicBezTo>
                <a:cubicBezTo>
                  <a:pt x="1095" y="1700"/>
                  <a:pt x="1096" y="1702"/>
                  <a:pt x="1097" y="1703"/>
                </a:cubicBezTo>
                <a:cubicBezTo>
                  <a:pt x="1098" y="1704"/>
                  <a:pt x="1099" y="1704"/>
                  <a:pt x="1099" y="1705"/>
                </a:cubicBezTo>
                <a:cubicBezTo>
                  <a:pt x="1100" y="1706"/>
                  <a:pt x="1100" y="1706"/>
                  <a:pt x="1101" y="1706"/>
                </a:cubicBezTo>
                <a:cubicBezTo>
                  <a:pt x="1102" y="1707"/>
                  <a:pt x="1102" y="1706"/>
                  <a:pt x="1103" y="1706"/>
                </a:cubicBezTo>
                <a:cubicBezTo>
                  <a:pt x="1104" y="1706"/>
                  <a:pt x="1105" y="1706"/>
                  <a:pt x="1105" y="1706"/>
                </a:cubicBezTo>
                <a:cubicBezTo>
                  <a:pt x="1106" y="1706"/>
                  <a:pt x="1107" y="1706"/>
                  <a:pt x="1107" y="1706"/>
                </a:cubicBezTo>
                <a:cubicBezTo>
                  <a:pt x="1108" y="1706"/>
                  <a:pt x="1109" y="1706"/>
                  <a:pt x="1109" y="1707"/>
                </a:cubicBezTo>
                <a:cubicBezTo>
                  <a:pt x="1110" y="1707"/>
                  <a:pt x="1111" y="1707"/>
                  <a:pt x="1111" y="1708"/>
                </a:cubicBezTo>
                <a:cubicBezTo>
                  <a:pt x="1113" y="1709"/>
                  <a:pt x="1114" y="1710"/>
                  <a:pt x="1116" y="1710"/>
                </a:cubicBezTo>
                <a:cubicBezTo>
                  <a:pt x="1117" y="1710"/>
                  <a:pt x="1117" y="1711"/>
                  <a:pt x="1118" y="1711"/>
                </a:cubicBezTo>
                <a:cubicBezTo>
                  <a:pt x="1119" y="1711"/>
                  <a:pt x="1120" y="1711"/>
                  <a:pt x="1120" y="1712"/>
                </a:cubicBezTo>
                <a:cubicBezTo>
                  <a:pt x="1123" y="1712"/>
                  <a:pt x="1124" y="1711"/>
                  <a:pt x="1126" y="1711"/>
                </a:cubicBezTo>
                <a:cubicBezTo>
                  <a:pt x="1127" y="1710"/>
                  <a:pt x="1128" y="1710"/>
                  <a:pt x="1129" y="1711"/>
                </a:cubicBezTo>
                <a:cubicBezTo>
                  <a:pt x="1129" y="1711"/>
                  <a:pt x="1130" y="1711"/>
                  <a:pt x="1131" y="1712"/>
                </a:cubicBezTo>
                <a:cubicBezTo>
                  <a:pt x="1132" y="1712"/>
                  <a:pt x="1132" y="1713"/>
                  <a:pt x="1133" y="1713"/>
                </a:cubicBezTo>
                <a:cubicBezTo>
                  <a:pt x="1134" y="1713"/>
                  <a:pt x="1134" y="1712"/>
                  <a:pt x="1135" y="1712"/>
                </a:cubicBezTo>
                <a:cubicBezTo>
                  <a:pt x="1136" y="1711"/>
                  <a:pt x="1138" y="1710"/>
                  <a:pt x="1140" y="1710"/>
                </a:cubicBezTo>
                <a:cubicBezTo>
                  <a:pt x="1140" y="1709"/>
                  <a:pt x="1140" y="1709"/>
                  <a:pt x="1141" y="1708"/>
                </a:cubicBezTo>
                <a:cubicBezTo>
                  <a:pt x="1141" y="1707"/>
                  <a:pt x="1143" y="1707"/>
                  <a:pt x="1143" y="1707"/>
                </a:cubicBezTo>
                <a:cubicBezTo>
                  <a:pt x="1144" y="1706"/>
                  <a:pt x="1145" y="1706"/>
                  <a:pt x="1146" y="1706"/>
                </a:cubicBezTo>
                <a:cubicBezTo>
                  <a:pt x="1147" y="1706"/>
                  <a:pt x="1147" y="1705"/>
                  <a:pt x="1147" y="1704"/>
                </a:cubicBezTo>
                <a:cubicBezTo>
                  <a:pt x="1147" y="1703"/>
                  <a:pt x="1148" y="1703"/>
                  <a:pt x="1148" y="1702"/>
                </a:cubicBezTo>
                <a:cubicBezTo>
                  <a:pt x="1149" y="1701"/>
                  <a:pt x="1150" y="1701"/>
                  <a:pt x="1150" y="1700"/>
                </a:cubicBezTo>
                <a:cubicBezTo>
                  <a:pt x="1150" y="1699"/>
                  <a:pt x="1150" y="1699"/>
                  <a:pt x="1150" y="1699"/>
                </a:cubicBezTo>
                <a:cubicBezTo>
                  <a:pt x="1151" y="1698"/>
                  <a:pt x="1151" y="1698"/>
                  <a:pt x="1151" y="1698"/>
                </a:cubicBezTo>
                <a:cubicBezTo>
                  <a:pt x="1151" y="1697"/>
                  <a:pt x="1151" y="1697"/>
                  <a:pt x="1151" y="1697"/>
                </a:cubicBezTo>
                <a:cubicBezTo>
                  <a:pt x="1151" y="1696"/>
                  <a:pt x="1152" y="1696"/>
                  <a:pt x="1152" y="1696"/>
                </a:cubicBezTo>
                <a:cubicBezTo>
                  <a:pt x="1153" y="1695"/>
                  <a:pt x="1154" y="1695"/>
                  <a:pt x="1155" y="1694"/>
                </a:cubicBezTo>
                <a:cubicBezTo>
                  <a:pt x="1155" y="1694"/>
                  <a:pt x="1156" y="1693"/>
                  <a:pt x="1156" y="1693"/>
                </a:cubicBezTo>
                <a:cubicBezTo>
                  <a:pt x="1157" y="1692"/>
                  <a:pt x="1158" y="1691"/>
                  <a:pt x="1159" y="1689"/>
                </a:cubicBezTo>
                <a:cubicBezTo>
                  <a:pt x="1160" y="1689"/>
                  <a:pt x="1160" y="1688"/>
                  <a:pt x="1160" y="1687"/>
                </a:cubicBezTo>
                <a:cubicBezTo>
                  <a:pt x="1161" y="1686"/>
                  <a:pt x="1161" y="1686"/>
                  <a:pt x="1161" y="1685"/>
                </a:cubicBezTo>
                <a:cubicBezTo>
                  <a:pt x="1161" y="1685"/>
                  <a:pt x="1162" y="1684"/>
                  <a:pt x="1162" y="1683"/>
                </a:cubicBezTo>
                <a:cubicBezTo>
                  <a:pt x="1162" y="1682"/>
                  <a:pt x="1163" y="1682"/>
                  <a:pt x="1163" y="1681"/>
                </a:cubicBezTo>
                <a:cubicBezTo>
                  <a:pt x="1164" y="1680"/>
                  <a:pt x="1165" y="1679"/>
                  <a:pt x="1165" y="1678"/>
                </a:cubicBezTo>
                <a:cubicBezTo>
                  <a:pt x="1166" y="1676"/>
                  <a:pt x="1167" y="1675"/>
                  <a:pt x="1169" y="1674"/>
                </a:cubicBezTo>
                <a:cubicBezTo>
                  <a:pt x="1170" y="1673"/>
                  <a:pt x="1171" y="1672"/>
                  <a:pt x="1173" y="1671"/>
                </a:cubicBezTo>
                <a:cubicBezTo>
                  <a:pt x="1173" y="1670"/>
                  <a:pt x="1174" y="1670"/>
                  <a:pt x="1175" y="1670"/>
                </a:cubicBezTo>
                <a:cubicBezTo>
                  <a:pt x="1176" y="1669"/>
                  <a:pt x="1176" y="1669"/>
                  <a:pt x="1177" y="1668"/>
                </a:cubicBezTo>
                <a:cubicBezTo>
                  <a:pt x="1177" y="1668"/>
                  <a:pt x="1178" y="1667"/>
                  <a:pt x="1179" y="1666"/>
                </a:cubicBezTo>
                <a:cubicBezTo>
                  <a:pt x="1179" y="1666"/>
                  <a:pt x="1180" y="1665"/>
                  <a:pt x="1180" y="1664"/>
                </a:cubicBezTo>
                <a:cubicBezTo>
                  <a:pt x="1182" y="1663"/>
                  <a:pt x="1183" y="1662"/>
                  <a:pt x="1183" y="1660"/>
                </a:cubicBezTo>
                <a:cubicBezTo>
                  <a:pt x="1184" y="1659"/>
                  <a:pt x="1184" y="1659"/>
                  <a:pt x="1185" y="1658"/>
                </a:cubicBezTo>
                <a:cubicBezTo>
                  <a:pt x="1185" y="1658"/>
                  <a:pt x="1185" y="1657"/>
                  <a:pt x="1185" y="1657"/>
                </a:cubicBezTo>
                <a:cubicBezTo>
                  <a:pt x="1186" y="1656"/>
                  <a:pt x="1186" y="1656"/>
                  <a:pt x="1186" y="1655"/>
                </a:cubicBezTo>
                <a:cubicBezTo>
                  <a:pt x="1187" y="1654"/>
                  <a:pt x="1187" y="1654"/>
                  <a:pt x="1187" y="1653"/>
                </a:cubicBezTo>
                <a:cubicBezTo>
                  <a:pt x="1188" y="1652"/>
                  <a:pt x="1188" y="1651"/>
                  <a:pt x="1189" y="1651"/>
                </a:cubicBezTo>
                <a:cubicBezTo>
                  <a:pt x="1189" y="1650"/>
                  <a:pt x="1189" y="1649"/>
                  <a:pt x="1189" y="1648"/>
                </a:cubicBezTo>
                <a:cubicBezTo>
                  <a:pt x="1190" y="1647"/>
                  <a:pt x="1191" y="1645"/>
                  <a:pt x="1192" y="1643"/>
                </a:cubicBezTo>
                <a:cubicBezTo>
                  <a:pt x="1193" y="1642"/>
                  <a:pt x="1194" y="1641"/>
                  <a:pt x="1195" y="1639"/>
                </a:cubicBezTo>
                <a:cubicBezTo>
                  <a:pt x="1197" y="1638"/>
                  <a:pt x="1198" y="1637"/>
                  <a:pt x="1199" y="1636"/>
                </a:cubicBezTo>
                <a:cubicBezTo>
                  <a:pt x="1200" y="1636"/>
                  <a:pt x="1200" y="1635"/>
                  <a:pt x="1201" y="1634"/>
                </a:cubicBezTo>
                <a:cubicBezTo>
                  <a:pt x="1201" y="1634"/>
                  <a:pt x="1202" y="1633"/>
                  <a:pt x="1202" y="1633"/>
                </a:cubicBezTo>
                <a:cubicBezTo>
                  <a:pt x="1203" y="1633"/>
                  <a:pt x="1204" y="1632"/>
                  <a:pt x="1204" y="1631"/>
                </a:cubicBezTo>
                <a:cubicBezTo>
                  <a:pt x="1204" y="1631"/>
                  <a:pt x="1203" y="1631"/>
                  <a:pt x="1203" y="1630"/>
                </a:cubicBezTo>
                <a:cubicBezTo>
                  <a:pt x="1203" y="1630"/>
                  <a:pt x="1203" y="1629"/>
                  <a:pt x="1203" y="1630"/>
                </a:cubicBezTo>
                <a:cubicBezTo>
                  <a:pt x="1204" y="1630"/>
                  <a:pt x="1203" y="1631"/>
                  <a:pt x="1204" y="1630"/>
                </a:cubicBezTo>
                <a:cubicBezTo>
                  <a:pt x="1204" y="1630"/>
                  <a:pt x="1204" y="1629"/>
                  <a:pt x="1205" y="1628"/>
                </a:cubicBezTo>
                <a:cubicBezTo>
                  <a:pt x="1205" y="1628"/>
                  <a:pt x="1205" y="1627"/>
                  <a:pt x="1206" y="1626"/>
                </a:cubicBezTo>
                <a:cubicBezTo>
                  <a:pt x="1206" y="1625"/>
                  <a:pt x="1205" y="1625"/>
                  <a:pt x="1205" y="1624"/>
                </a:cubicBezTo>
                <a:cubicBezTo>
                  <a:pt x="1205" y="1624"/>
                  <a:pt x="1205" y="1624"/>
                  <a:pt x="1205" y="1623"/>
                </a:cubicBezTo>
                <a:cubicBezTo>
                  <a:pt x="1205" y="1623"/>
                  <a:pt x="1205" y="1623"/>
                  <a:pt x="1205" y="1622"/>
                </a:cubicBezTo>
                <a:cubicBezTo>
                  <a:pt x="1205" y="1622"/>
                  <a:pt x="1205" y="1621"/>
                  <a:pt x="1205" y="1621"/>
                </a:cubicBezTo>
                <a:cubicBezTo>
                  <a:pt x="1205" y="1620"/>
                  <a:pt x="1205" y="1619"/>
                  <a:pt x="1205" y="1618"/>
                </a:cubicBezTo>
                <a:cubicBezTo>
                  <a:pt x="1205" y="1617"/>
                  <a:pt x="1205" y="1616"/>
                  <a:pt x="1206" y="1616"/>
                </a:cubicBezTo>
                <a:cubicBezTo>
                  <a:pt x="1206" y="1615"/>
                  <a:pt x="1206" y="1615"/>
                  <a:pt x="1207" y="1615"/>
                </a:cubicBezTo>
                <a:cubicBezTo>
                  <a:pt x="1207" y="1614"/>
                  <a:pt x="1207" y="1614"/>
                  <a:pt x="1206" y="1614"/>
                </a:cubicBezTo>
                <a:cubicBezTo>
                  <a:pt x="1206" y="1614"/>
                  <a:pt x="1206" y="1613"/>
                  <a:pt x="1205" y="1613"/>
                </a:cubicBezTo>
                <a:cubicBezTo>
                  <a:pt x="1205" y="1612"/>
                  <a:pt x="1205" y="1612"/>
                  <a:pt x="1205" y="1612"/>
                </a:cubicBezTo>
                <a:cubicBezTo>
                  <a:pt x="1205" y="1611"/>
                  <a:pt x="1205" y="1610"/>
                  <a:pt x="1205" y="1609"/>
                </a:cubicBezTo>
                <a:cubicBezTo>
                  <a:pt x="1205" y="1608"/>
                  <a:pt x="1205" y="1607"/>
                  <a:pt x="1205" y="1607"/>
                </a:cubicBezTo>
                <a:cubicBezTo>
                  <a:pt x="1206" y="1606"/>
                  <a:pt x="1206" y="1606"/>
                  <a:pt x="1206" y="1605"/>
                </a:cubicBezTo>
                <a:cubicBezTo>
                  <a:pt x="1206" y="1605"/>
                  <a:pt x="1206" y="1605"/>
                  <a:pt x="1206" y="1604"/>
                </a:cubicBezTo>
                <a:cubicBezTo>
                  <a:pt x="1206" y="1604"/>
                  <a:pt x="1207" y="1602"/>
                  <a:pt x="1206" y="1602"/>
                </a:cubicBezTo>
                <a:cubicBezTo>
                  <a:pt x="1205" y="1602"/>
                  <a:pt x="1205" y="1604"/>
                  <a:pt x="1204" y="1603"/>
                </a:cubicBezTo>
                <a:cubicBezTo>
                  <a:pt x="1204" y="1603"/>
                  <a:pt x="1205" y="1602"/>
                  <a:pt x="1205" y="1601"/>
                </a:cubicBezTo>
                <a:cubicBezTo>
                  <a:pt x="1205" y="1601"/>
                  <a:pt x="1206" y="1600"/>
                  <a:pt x="1206" y="1599"/>
                </a:cubicBezTo>
                <a:cubicBezTo>
                  <a:pt x="1206" y="1599"/>
                  <a:pt x="1205" y="1598"/>
                  <a:pt x="1206" y="1598"/>
                </a:cubicBezTo>
                <a:cubicBezTo>
                  <a:pt x="1206" y="1598"/>
                  <a:pt x="1206" y="1598"/>
                  <a:pt x="1206" y="1597"/>
                </a:cubicBezTo>
                <a:cubicBezTo>
                  <a:pt x="1207" y="1597"/>
                  <a:pt x="1207" y="1597"/>
                  <a:pt x="1207" y="1596"/>
                </a:cubicBezTo>
                <a:cubicBezTo>
                  <a:pt x="1207" y="1596"/>
                  <a:pt x="1208" y="1596"/>
                  <a:pt x="1208" y="1596"/>
                </a:cubicBezTo>
                <a:cubicBezTo>
                  <a:pt x="1208" y="1596"/>
                  <a:pt x="1208" y="1595"/>
                  <a:pt x="1208" y="1595"/>
                </a:cubicBezTo>
                <a:cubicBezTo>
                  <a:pt x="1208" y="1595"/>
                  <a:pt x="1208" y="1595"/>
                  <a:pt x="1207" y="1595"/>
                </a:cubicBezTo>
                <a:cubicBezTo>
                  <a:pt x="1207" y="1595"/>
                  <a:pt x="1207" y="1594"/>
                  <a:pt x="1206" y="1594"/>
                </a:cubicBezTo>
                <a:cubicBezTo>
                  <a:pt x="1206" y="1594"/>
                  <a:pt x="1206" y="1594"/>
                  <a:pt x="1206" y="1594"/>
                </a:cubicBezTo>
                <a:cubicBezTo>
                  <a:pt x="1205" y="1594"/>
                  <a:pt x="1206" y="1593"/>
                  <a:pt x="1206" y="1593"/>
                </a:cubicBezTo>
                <a:cubicBezTo>
                  <a:pt x="1206" y="1593"/>
                  <a:pt x="1207" y="1592"/>
                  <a:pt x="1207" y="1592"/>
                </a:cubicBezTo>
                <a:cubicBezTo>
                  <a:pt x="1207" y="1592"/>
                  <a:pt x="1207" y="1592"/>
                  <a:pt x="1207" y="1591"/>
                </a:cubicBezTo>
                <a:cubicBezTo>
                  <a:pt x="1208" y="1591"/>
                  <a:pt x="1208" y="1591"/>
                  <a:pt x="1208" y="1592"/>
                </a:cubicBezTo>
                <a:cubicBezTo>
                  <a:pt x="1209" y="1592"/>
                  <a:pt x="1208" y="1592"/>
                  <a:pt x="1209" y="1592"/>
                </a:cubicBezTo>
                <a:cubicBezTo>
                  <a:pt x="1209" y="1592"/>
                  <a:pt x="1209" y="1592"/>
                  <a:pt x="1210" y="1592"/>
                </a:cubicBezTo>
                <a:cubicBezTo>
                  <a:pt x="1210" y="1592"/>
                  <a:pt x="1211" y="1592"/>
                  <a:pt x="1211" y="1592"/>
                </a:cubicBezTo>
                <a:cubicBezTo>
                  <a:pt x="1212" y="1591"/>
                  <a:pt x="1213" y="1591"/>
                  <a:pt x="1213" y="1590"/>
                </a:cubicBezTo>
                <a:cubicBezTo>
                  <a:pt x="1213" y="1590"/>
                  <a:pt x="1214" y="1590"/>
                  <a:pt x="1214" y="1589"/>
                </a:cubicBezTo>
                <a:cubicBezTo>
                  <a:pt x="1214" y="1589"/>
                  <a:pt x="1213" y="1589"/>
                  <a:pt x="1213" y="1589"/>
                </a:cubicBezTo>
                <a:cubicBezTo>
                  <a:pt x="1213" y="1588"/>
                  <a:pt x="1214" y="1587"/>
                  <a:pt x="1214" y="1587"/>
                </a:cubicBezTo>
                <a:cubicBezTo>
                  <a:pt x="1215" y="1586"/>
                  <a:pt x="1215" y="1586"/>
                  <a:pt x="1216" y="1585"/>
                </a:cubicBezTo>
                <a:cubicBezTo>
                  <a:pt x="1218" y="1584"/>
                  <a:pt x="1219" y="1583"/>
                  <a:pt x="1221" y="1583"/>
                </a:cubicBezTo>
                <a:cubicBezTo>
                  <a:pt x="1222" y="1582"/>
                  <a:pt x="1224" y="1581"/>
                  <a:pt x="1225" y="1580"/>
                </a:cubicBezTo>
                <a:cubicBezTo>
                  <a:pt x="1226" y="1579"/>
                  <a:pt x="1227" y="1579"/>
                  <a:pt x="1228" y="1578"/>
                </a:cubicBezTo>
                <a:cubicBezTo>
                  <a:pt x="1229" y="1578"/>
                  <a:pt x="1229" y="1577"/>
                  <a:pt x="1230" y="1577"/>
                </a:cubicBezTo>
                <a:cubicBezTo>
                  <a:pt x="1231" y="1577"/>
                  <a:pt x="1231" y="1576"/>
                  <a:pt x="1231" y="1576"/>
                </a:cubicBezTo>
                <a:cubicBezTo>
                  <a:pt x="1231" y="1575"/>
                  <a:pt x="1231" y="1575"/>
                  <a:pt x="1232" y="1575"/>
                </a:cubicBezTo>
                <a:cubicBezTo>
                  <a:pt x="1233" y="1575"/>
                  <a:pt x="1234" y="1574"/>
                  <a:pt x="1235" y="1574"/>
                </a:cubicBezTo>
                <a:cubicBezTo>
                  <a:pt x="1236" y="1573"/>
                  <a:pt x="1237" y="1573"/>
                  <a:pt x="1238" y="1573"/>
                </a:cubicBezTo>
                <a:cubicBezTo>
                  <a:pt x="1238" y="1573"/>
                  <a:pt x="1238" y="1574"/>
                  <a:pt x="1239" y="1574"/>
                </a:cubicBezTo>
                <a:cubicBezTo>
                  <a:pt x="1240" y="1574"/>
                  <a:pt x="1241" y="1573"/>
                  <a:pt x="1242" y="1574"/>
                </a:cubicBezTo>
                <a:cubicBezTo>
                  <a:pt x="1243" y="1575"/>
                  <a:pt x="1243" y="1576"/>
                  <a:pt x="1244" y="1575"/>
                </a:cubicBezTo>
                <a:cubicBezTo>
                  <a:pt x="1244" y="1575"/>
                  <a:pt x="1244" y="1574"/>
                  <a:pt x="1244" y="1573"/>
                </a:cubicBezTo>
                <a:cubicBezTo>
                  <a:pt x="1244" y="1573"/>
                  <a:pt x="1244" y="1573"/>
                  <a:pt x="1243" y="1573"/>
                </a:cubicBezTo>
                <a:cubicBezTo>
                  <a:pt x="1243" y="1573"/>
                  <a:pt x="1242" y="1573"/>
                  <a:pt x="1242" y="1572"/>
                </a:cubicBezTo>
                <a:cubicBezTo>
                  <a:pt x="1243" y="1572"/>
                  <a:pt x="1244" y="1572"/>
                  <a:pt x="1244" y="1571"/>
                </a:cubicBezTo>
                <a:cubicBezTo>
                  <a:pt x="1245" y="1571"/>
                  <a:pt x="1245" y="1570"/>
                  <a:pt x="1246" y="1570"/>
                </a:cubicBezTo>
                <a:cubicBezTo>
                  <a:pt x="1247" y="1570"/>
                  <a:pt x="1248" y="1570"/>
                  <a:pt x="1248" y="1569"/>
                </a:cubicBezTo>
                <a:cubicBezTo>
                  <a:pt x="1249" y="1569"/>
                  <a:pt x="1250" y="1568"/>
                  <a:pt x="1251" y="1568"/>
                </a:cubicBezTo>
                <a:cubicBezTo>
                  <a:pt x="1252" y="1568"/>
                  <a:pt x="1253" y="1568"/>
                  <a:pt x="1252" y="1567"/>
                </a:cubicBezTo>
                <a:cubicBezTo>
                  <a:pt x="1252" y="1566"/>
                  <a:pt x="1251" y="1566"/>
                  <a:pt x="1251" y="1565"/>
                </a:cubicBezTo>
                <a:cubicBezTo>
                  <a:pt x="1251" y="1565"/>
                  <a:pt x="1251" y="1564"/>
                  <a:pt x="1252" y="1564"/>
                </a:cubicBezTo>
                <a:cubicBezTo>
                  <a:pt x="1252" y="1564"/>
                  <a:pt x="1253" y="1563"/>
                  <a:pt x="1253" y="1563"/>
                </a:cubicBezTo>
                <a:cubicBezTo>
                  <a:pt x="1253" y="1563"/>
                  <a:pt x="1254" y="1563"/>
                  <a:pt x="1254" y="1563"/>
                </a:cubicBezTo>
                <a:cubicBezTo>
                  <a:pt x="1254" y="1563"/>
                  <a:pt x="1254" y="1563"/>
                  <a:pt x="1254" y="1564"/>
                </a:cubicBezTo>
                <a:cubicBezTo>
                  <a:pt x="1254" y="1564"/>
                  <a:pt x="1254" y="1564"/>
                  <a:pt x="1254" y="1564"/>
                </a:cubicBezTo>
                <a:cubicBezTo>
                  <a:pt x="1255" y="1564"/>
                  <a:pt x="1255" y="1564"/>
                  <a:pt x="1255" y="1564"/>
                </a:cubicBezTo>
                <a:cubicBezTo>
                  <a:pt x="1256" y="1564"/>
                  <a:pt x="1256" y="1564"/>
                  <a:pt x="1256" y="1564"/>
                </a:cubicBezTo>
                <a:cubicBezTo>
                  <a:pt x="1257" y="1565"/>
                  <a:pt x="1258" y="1563"/>
                  <a:pt x="1259" y="1563"/>
                </a:cubicBezTo>
                <a:cubicBezTo>
                  <a:pt x="1260" y="1563"/>
                  <a:pt x="1262" y="1563"/>
                  <a:pt x="1263" y="1563"/>
                </a:cubicBezTo>
                <a:cubicBezTo>
                  <a:pt x="1264" y="1563"/>
                  <a:pt x="1264" y="1563"/>
                  <a:pt x="1265" y="1564"/>
                </a:cubicBezTo>
                <a:cubicBezTo>
                  <a:pt x="1265" y="1564"/>
                  <a:pt x="1265" y="1564"/>
                  <a:pt x="1266" y="1564"/>
                </a:cubicBezTo>
                <a:cubicBezTo>
                  <a:pt x="1267" y="1564"/>
                  <a:pt x="1268" y="1564"/>
                  <a:pt x="1268" y="1563"/>
                </a:cubicBezTo>
                <a:cubicBezTo>
                  <a:pt x="1268" y="1562"/>
                  <a:pt x="1267" y="1563"/>
                  <a:pt x="1267" y="1562"/>
                </a:cubicBezTo>
                <a:cubicBezTo>
                  <a:pt x="1267" y="1562"/>
                  <a:pt x="1267" y="1562"/>
                  <a:pt x="1268" y="1561"/>
                </a:cubicBezTo>
                <a:cubicBezTo>
                  <a:pt x="1268" y="1561"/>
                  <a:pt x="1269" y="1559"/>
                  <a:pt x="1269" y="1560"/>
                </a:cubicBezTo>
                <a:cubicBezTo>
                  <a:pt x="1269" y="1560"/>
                  <a:pt x="1269" y="1561"/>
                  <a:pt x="1269" y="1561"/>
                </a:cubicBezTo>
                <a:cubicBezTo>
                  <a:pt x="1268" y="1561"/>
                  <a:pt x="1268" y="1562"/>
                  <a:pt x="1268" y="1562"/>
                </a:cubicBezTo>
                <a:cubicBezTo>
                  <a:pt x="1268" y="1563"/>
                  <a:pt x="1269" y="1562"/>
                  <a:pt x="1269" y="1562"/>
                </a:cubicBezTo>
                <a:cubicBezTo>
                  <a:pt x="1270" y="1562"/>
                  <a:pt x="1270" y="1563"/>
                  <a:pt x="1270" y="1563"/>
                </a:cubicBezTo>
                <a:cubicBezTo>
                  <a:pt x="1271" y="1563"/>
                  <a:pt x="1272" y="1563"/>
                  <a:pt x="1273" y="1563"/>
                </a:cubicBezTo>
                <a:cubicBezTo>
                  <a:pt x="1273" y="1563"/>
                  <a:pt x="1274" y="1564"/>
                  <a:pt x="1275" y="1564"/>
                </a:cubicBezTo>
                <a:cubicBezTo>
                  <a:pt x="1276" y="1564"/>
                  <a:pt x="1277" y="1564"/>
                  <a:pt x="1277" y="1564"/>
                </a:cubicBezTo>
                <a:cubicBezTo>
                  <a:pt x="1278" y="1564"/>
                  <a:pt x="1281" y="1564"/>
                  <a:pt x="1281" y="1563"/>
                </a:cubicBezTo>
                <a:cubicBezTo>
                  <a:pt x="1281" y="1563"/>
                  <a:pt x="1281" y="1562"/>
                  <a:pt x="1281" y="1562"/>
                </a:cubicBezTo>
                <a:cubicBezTo>
                  <a:pt x="1281" y="1562"/>
                  <a:pt x="1282" y="1562"/>
                  <a:pt x="1282" y="1562"/>
                </a:cubicBezTo>
                <a:cubicBezTo>
                  <a:pt x="1283" y="1561"/>
                  <a:pt x="1282" y="1561"/>
                  <a:pt x="1281" y="1561"/>
                </a:cubicBezTo>
                <a:cubicBezTo>
                  <a:pt x="1281" y="1560"/>
                  <a:pt x="1281" y="1559"/>
                  <a:pt x="1281" y="1559"/>
                </a:cubicBezTo>
                <a:cubicBezTo>
                  <a:pt x="1282" y="1557"/>
                  <a:pt x="1284" y="1557"/>
                  <a:pt x="1286" y="1556"/>
                </a:cubicBezTo>
                <a:cubicBezTo>
                  <a:pt x="1286" y="1555"/>
                  <a:pt x="1287" y="1555"/>
                  <a:pt x="1288" y="1554"/>
                </a:cubicBezTo>
                <a:cubicBezTo>
                  <a:pt x="1288" y="1554"/>
                  <a:pt x="1289" y="1554"/>
                  <a:pt x="1290" y="1553"/>
                </a:cubicBezTo>
                <a:cubicBezTo>
                  <a:pt x="1290" y="1553"/>
                  <a:pt x="1291" y="1553"/>
                  <a:pt x="1291" y="1553"/>
                </a:cubicBezTo>
                <a:cubicBezTo>
                  <a:pt x="1292" y="1552"/>
                  <a:pt x="1292" y="1552"/>
                  <a:pt x="1292" y="1551"/>
                </a:cubicBezTo>
                <a:cubicBezTo>
                  <a:pt x="1293" y="1551"/>
                  <a:pt x="1292" y="1550"/>
                  <a:pt x="1292" y="1550"/>
                </a:cubicBezTo>
                <a:cubicBezTo>
                  <a:pt x="1292" y="1549"/>
                  <a:pt x="1292" y="1548"/>
                  <a:pt x="1292" y="1547"/>
                </a:cubicBezTo>
                <a:cubicBezTo>
                  <a:pt x="1292" y="1546"/>
                  <a:pt x="1292" y="1546"/>
                  <a:pt x="1292" y="1545"/>
                </a:cubicBezTo>
                <a:cubicBezTo>
                  <a:pt x="1293" y="1544"/>
                  <a:pt x="1293" y="1544"/>
                  <a:pt x="1293" y="1543"/>
                </a:cubicBezTo>
                <a:cubicBezTo>
                  <a:pt x="1294" y="1542"/>
                  <a:pt x="1294" y="1541"/>
                  <a:pt x="1295" y="1540"/>
                </a:cubicBezTo>
                <a:cubicBezTo>
                  <a:pt x="1295" y="1539"/>
                  <a:pt x="1296" y="1538"/>
                  <a:pt x="1297" y="1537"/>
                </a:cubicBezTo>
                <a:cubicBezTo>
                  <a:pt x="1298" y="1536"/>
                  <a:pt x="1298" y="1536"/>
                  <a:pt x="1299" y="1535"/>
                </a:cubicBezTo>
                <a:cubicBezTo>
                  <a:pt x="1299" y="1535"/>
                  <a:pt x="1300" y="1534"/>
                  <a:pt x="1300" y="1533"/>
                </a:cubicBezTo>
                <a:cubicBezTo>
                  <a:pt x="1300" y="1533"/>
                  <a:pt x="1299" y="1532"/>
                  <a:pt x="1300" y="1532"/>
                </a:cubicBezTo>
                <a:cubicBezTo>
                  <a:pt x="1300" y="1531"/>
                  <a:pt x="1300" y="1532"/>
                  <a:pt x="1301" y="1531"/>
                </a:cubicBezTo>
                <a:cubicBezTo>
                  <a:pt x="1301" y="1531"/>
                  <a:pt x="1302" y="1531"/>
                  <a:pt x="1302" y="1530"/>
                </a:cubicBezTo>
                <a:cubicBezTo>
                  <a:pt x="1302" y="1529"/>
                  <a:pt x="1302" y="1529"/>
                  <a:pt x="1302" y="1528"/>
                </a:cubicBezTo>
                <a:cubicBezTo>
                  <a:pt x="1303" y="1527"/>
                  <a:pt x="1304" y="1527"/>
                  <a:pt x="1304" y="1526"/>
                </a:cubicBezTo>
                <a:cubicBezTo>
                  <a:pt x="1304" y="1526"/>
                  <a:pt x="1305" y="1525"/>
                  <a:pt x="1305" y="1525"/>
                </a:cubicBezTo>
                <a:cubicBezTo>
                  <a:pt x="1306" y="1524"/>
                  <a:pt x="1307" y="1523"/>
                  <a:pt x="1307" y="1521"/>
                </a:cubicBezTo>
                <a:cubicBezTo>
                  <a:pt x="1307" y="1520"/>
                  <a:pt x="1307" y="1520"/>
                  <a:pt x="1307" y="1519"/>
                </a:cubicBezTo>
                <a:cubicBezTo>
                  <a:pt x="1307" y="1517"/>
                  <a:pt x="1306" y="1515"/>
                  <a:pt x="1307" y="1514"/>
                </a:cubicBezTo>
                <a:cubicBezTo>
                  <a:pt x="1307" y="1513"/>
                  <a:pt x="1307" y="1512"/>
                  <a:pt x="1307" y="1511"/>
                </a:cubicBezTo>
                <a:cubicBezTo>
                  <a:pt x="1307" y="1510"/>
                  <a:pt x="1307" y="1509"/>
                  <a:pt x="1308" y="1509"/>
                </a:cubicBezTo>
                <a:cubicBezTo>
                  <a:pt x="1308" y="1508"/>
                  <a:pt x="1309" y="1507"/>
                  <a:pt x="1309" y="1506"/>
                </a:cubicBezTo>
                <a:cubicBezTo>
                  <a:pt x="1309" y="1506"/>
                  <a:pt x="1310" y="1506"/>
                  <a:pt x="1310" y="1505"/>
                </a:cubicBezTo>
                <a:cubicBezTo>
                  <a:pt x="1311" y="1504"/>
                  <a:pt x="1312" y="1503"/>
                  <a:pt x="1313" y="1502"/>
                </a:cubicBezTo>
                <a:cubicBezTo>
                  <a:pt x="1313" y="1502"/>
                  <a:pt x="1313" y="1501"/>
                  <a:pt x="1313" y="1501"/>
                </a:cubicBezTo>
                <a:cubicBezTo>
                  <a:pt x="1313" y="1500"/>
                  <a:pt x="1313" y="1500"/>
                  <a:pt x="1313" y="1499"/>
                </a:cubicBezTo>
                <a:cubicBezTo>
                  <a:pt x="1313" y="1498"/>
                  <a:pt x="1313" y="1497"/>
                  <a:pt x="1313" y="1496"/>
                </a:cubicBezTo>
                <a:cubicBezTo>
                  <a:pt x="1313" y="1495"/>
                  <a:pt x="1313" y="1494"/>
                  <a:pt x="1313" y="1494"/>
                </a:cubicBezTo>
                <a:cubicBezTo>
                  <a:pt x="1313" y="1493"/>
                  <a:pt x="1313" y="1492"/>
                  <a:pt x="1314" y="1491"/>
                </a:cubicBezTo>
                <a:cubicBezTo>
                  <a:pt x="1314" y="1490"/>
                  <a:pt x="1314" y="1489"/>
                  <a:pt x="1314" y="1488"/>
                </a:cubicBezTo>
                <a:cubicBezTo>
                  <a:pt x="1315" y="1487"/>
                  <a:pt x="1315" y="1486"/>
                  <a:pt x="1315" y="1485"/>
                </a:cubicBezTo>
                <a:cubicBezTo>
                  <a:pt x="1315" y="1484"/>
                  <a:pt x="1316" y="1483"/>
                  <a:pt x="1316" y="1482"/>
                </a:cubicBezTo>
                <a:cubicBezTo>
                  <a:pt x="1316" y="1481"/>
                  <a:pt x="1316" y="1480"/>
                  <a:pt x="1316" y="1480"/>
                </a:cubicBezTo>
                <a:cubicBezTo>
                  <a:pt x="1316" y="1478"/>
                  <a:pt x="1316" y="1477"/>
                  <a:pt x="1316" y="1475"/>
                </a:cubicBezTo>
                <a:cubicBezTo>
                  <a:pt x="1316" y="1474"/>
                  <a:pt x="1316" y="1473"/>
                  <a:pt x="1315" y="1472"/>
                </a:cubicBezTo>
                <a:cubicBezTo>
                  <a:pt x="1315" y="1471"/>
                  <a:pt x="1315" y="1470"/>
                  <a:pt x="1315" y="1469"/>
                </a:cubicBezTo>
                <a:cubicBezTo>
                  <a:pt x="1315" y="1467"/>
                  <a:pt x="1315" y="1465"/>
                  <a:pt x="1315" y="1464"/>
                </a:cubicBezTo>
                <a:cubicBezTo>
                  <a:pt x="1315" y="1461"/>
                  <a:pt x="1316" y="1459"/>
                  <a:pt x="1316" y="1457"/>
                </a:cubicBezTo>
                <a:cubicBezTo>
                  <a:pt x="1316" y="1457"/>
                  <a:pt x="1315" y="1457"/>
                  <a:pt x="1315" y="1456"/>
                </a:cubicBezTo>
                <a:cubicBezTo>
                  <a:pt x="1315" y="1456"/>
                  <a:pt x="1315" y="1456"/>
                  <a:pt x="1314" y="1455"/>
                </a:cubicBezTo>
                <a:cubicBezTo>
                  <a:pt x="1314" y="1455"/>
                  <a:pt x="1314" y="1455"/>
                  <a:pt x="1314" y="1455"/>
                </a:cubicBezTo>
                <a:cubicBezTo>
                  <a:pt x="1313" y="1454"/>
                  <a:pt x="1314" y="1455"/>
                  <a:pt x="1314" y="1455"/>
                </a:cubicBezTo>
                <a:cubicBezTo>
                  <a:pt x="1315" y="1455"/>
                  <a:pt x="1315" y="1454"/>
                  <a:pt x="1315" y="1454"/>
                </a:cubicBezTo>
                <a:cubicBezTo>
                  <a:pt x="1315" y="1453"/>
                  <a:pt x="1316" y="1452"/>
                  <a:pt x="1315" y="1452"/>
                </a:cubicBezTo>
                <a:cubicBezTo>
                  <a:pt x="1315" y="1452"/>
                  <a:pt x="1315" y="1452"/>
                  <a:pt x="1315" y="1452"/>
                </a:cubicBezTo>
                <a:cubicBezTo>
                  <a:pt x="1314" y="1452"/>
                  <a:pt x="1314" y="1452"/>
                  <a:pt x="1314" y="1451"/>
                </a:cubicBezTo>
                <a:cubicBezTo>
                  <a:pt x="1315" y="1451"/>
                  <a:pt x="1315" y="1450"/>
                  <a:pt x="1315" y="1450"/>
                </a:cubicBezTo>
                <a:cubicBezTo>
                  <a:pt x="1315" y="1450"/>
                  <a:pt x="1316" y="1449"/>
                  <a:pt x="1316" y="1449"/>
                </a:cubicBezTo>
                <a:cubicBezTo>
                  <a:pt x="1317" y="1448"/>
                  <a:pt x="1317" y="1447"/>
                  <a:pt x="1318" y="1446"/>
                </a:cubicBezTo>
                <a:cubicBezTo>
                  <a:pt x="1318" y="1446"/>
                  <a:pt x="1318" y="1446"/>
                  <a:pt x="1318" y="1445"/>
                </a:cubicBezTo>
                <a:cubicBezTo>
                  <a:pt x="1318" y="1445"/>
                  <a:pt x="1318" y="1444"/>
                  <a:pt x="1317" y="1444"/>
                </a:cubicBezTo>
                <a:cubicBezTo>
                  <a:pt x="1317" y="1444"/>
                  <a:pt x="1317" y="1444"/>
                  <a:pt x="1317" y="1443"/>
                </a:cubicBezTo>
                <a:cubicBezTo>
                  <a:pt x="1317" y="1443"/>
                  <a:pt x="1317" y="1443"/>
                  <a:pt x="1318" y="1443"/>
                </a:cubicBezTo>
                <a:cubicBezTo>
                  <a:pt x="1318" y="1442"/>
                  <a:pt x="1318" y="1442"/>
                  <a:pt x="1318" y="1442"/>
                </a:cubicBezTo>
                <a:cubicBezTo>
                  <a:pt x="1319" y="1441"/>
                  <a:pt x="1319" y="1442"/>
                  <a:pt x="1319" y="1442"/>
                </a:cubicBezTo>
                <a:cubicBezTo>
                  <a:pt x="1320" y="1442"/>
                  <a:pt x="1320" y="1443"/>
                  <a:pt x="1321" y="1443"/>
                </a:cubicBezTo>
                <a:cubicBezTo>
                  <a:pt x="1321" y="1444"/>
                  <a:pt x="1321" y="1445"/>
                  <a:pt x="1321" y="1446"/>
                </a:cubicBezTo>
                <a:cubicBezTo>
                  <a:pt x="1321" y="1447"/>
                  <a:pt x="1322" y="1446"/>
                  <a:pt x="1323" y="1445"/>
                </a:cubicBezTo>
                <a:cubicBezTo>
                  <a:pt x="1324" y="1444"/>
                  <a:pt x="1326" y="1443"/>
                  <a:pt x="1327" y="1441"/>
                </a:cubicBezTo>
                <a:cubicBezTo>
                  <a:pt x="1328" y="1439"/>
                  <a:pt x="1328" y="1437"/>
                  <a:pt x="1329" y="1436"/>
                </a:cubicBezTo>
                <a:cubicBezTo>
                  <a:pt x="1330" y="1435"/>
                  <a:pt x="1330" y="1435"/>
                  <a:pt x="1330" y="1435"/>
                </a:cubicBezTo>
                <a:cubicBezTo>
                  <a:pt x="1331" y="1434"/>
                  <a:pt x="1331" y="1434"/>
                  <a:pt x="1331" y="1433"/>
                </a:cubicBezTo>
                <a:cubicBezTo>
                  <a:pt x="1332" y="1432"/>
                  <a:pt x="1333" y="1431"/>
                  <a:pt x="1333" y="1429"/>
                </a:cubicBezTo>
                <a:cubicBezTo>
                  <a:pt x="1333" y="1429"/>
                  <a:pt x="1333" y="1429"/>
                  <a:pt x="1333" y="1428"/>
                </a:cubicBezTo>
                <a:cubicBezTo>
                  <a:pt x="1333" y="1427"/>
                  <a:pt x="1333" y="1427"/>
                  <a:pt x="1334" y="1426"/>
                </a:cubicBezTo>
                <a:cubicBezTo>
                  <a:pt x="1334" y="1426"/>
                  <a:pt x="1334" y="1425"/>
                  <a:pt x="1334" y="1425"/>
                </a:cubicBezTo>
                <a:cubicBezTo>
                  <a:pt x="1335" y="1425"/>
                  <a:pt x="1335" y="1425"/>
                  <a:pt x="1335" y="1425"/>
                </a:cubicBezTo>
                <a:cubicBezTo>
                  <a:pt x="1336" y="1425"/>
                  <a:pt x="1336" y="1424"/>
                  <a:pt x="1335" y="1424"/>
                </a:cubicBezTo>
                <a:cubicBezTo>
                  <a:pt x="1334" y="1423"/>
                  <a:pt x="1336" y="1423"/>
                  <a:pt x="1336" y="1423"/>
                </a:cubicBezTo>
                <a:cubicBezTo>
                  <a:pt x="1337" y="1423"/>
                  <a:pt x="1337" y="1422"/>
                  <a:pt x="1337" y="1422"/>
                </a:cubicBezTo>
                <a:cubicBezTo>
                  <a:pt x="1337" y="1421"/>
                  <a:pt x="1337" y="1421"/>
                  <a:pt x="1337" y="1421"/>
                </a:cubicBezTo>
                <a:cubicBezTo>
                  <a:pt x="1337" y="1421"/>
                  <a:pt x="1337" y="1420"/>
                  <a:pt x="1337" y="1420"/>
                </a:cubicBezTo>
                <a:cubicBezTo>
                  <a:pt x="1338" y="1421"/>
                  <a:pt x="1338" y="1421"/>
                  <a:pt x="1338" y="1421"/>
                </a:cubicBezTo>
                <a:cubicBezTo>
                  <a:pt x="1339" y="1422"/>
                  <a:pt x="1339" y="1421"/>
                  <a:pt x="1339" y="1420"/>
                </a:cubicBezTo>
                <a:cubicBezTo>
                  <a:pt x="1340" y="1420"/>
                  <a:pt x="1341" y="1419"/>
                  <a:pt x="1342" y="1418"/>
                </a:cubicBezTo>
                <a:cubicBezTo>
                  <a:pt x="1343" y="1418"/>
                  <a:pt x="1344" y="1418"/>
                  <a:pt x="1344" y="1417"/>
                </a:cubicBezTo>
                <a:cubicBezTo>
                  <a:pt x="1345" y="1417"/>
                  <a:pt x="1345" y="1416"/>
                  <a:pt x="1346" y="1415"/>
                </a:cubicBezTo>
                <a:cubicBezTo>
                  <a:pt x="1346" y="1415"/>
                  <a:pt x="1347" y="1414"/>
                  <a:pt x="1348" y="1413"/>
                </a:cubicBezTo>
                <a:cubicBezTo>
                  <a:pt x="1348" y="1413"/>
                  <a:pt x="1348" y="1412"/>
                  <a:pt x="1349" y="1412"/>
                </a:cubicBezTo>
                <a:cubicBezTo>
                  <a:pt x="1349" y="1411"/>
                  <a:pt x="1350" y="1410"/>
                  <a:pt x="1351" y="1410"/>
                </a:cubicBezTo>
                <a:cubicBezTo>
                  <a:pt x="1351" y="1409"/>
                  <a:pt x="1351" y="1409"/>
                  <a:pt x="1351" y="1408"/>
                </a:cubicBezTo>
                <a:cubicBezTo>
                  <a:pt x="1350" y="1407"/>
                  <a:pt x="1351" y="1407"/>
                  <a:pt x="1352" y="1407"/>
                </a:cubicBezTo>
                <a:cubicBezTo>
                  <a:pt x="1353" y="1407"/>
                  <a:pt x="1354" y="1406"/>
                  <a:pt x="1354" y="1406"/>
                </a:cubicBezTo>
                <a:cubicBezTo>
                  <a:pt x="1356" y="1404"/>
                  <a:pt x="1357" y="1402"/>
                  <a:pt x="1358" y="1400"/>
                </a:cubicBezTo>
                <a:cubicBezTo>
                  <a:pt x="1359" y="1399"/>
                  <a:pt x="1360" y="1396"/>
                  <a:pt x="1361" y="1395"/>
                </a:cubicBezTo>
                <a:cubicBezTo>
                  <a:pt x="1361" y="1394"/>
                  <a:pt x="1361" y="1393"/>
                  <a:pt x="1362" y="1392"/>
                </a:cubicBezTo>
                <a:cubicBezTo>
                  <a:pt x="1362" y="1391"/>
                  <a:pt x="1362" y="1391"/>
                  <a:pt x="1362" y="1390"/>
                </a:cubicBezTo>
                <a:cubicBezTo>
                  <a:pt x="1362" y="1390"/>
                  <a:pt x="1362" y="1389"/>
                  <a:pt x="1362" y="1389"/>
                </a:cubicBezTo>
                <a:cubicBezTo>
                  <a:pt x="1363" y="1388"/>
                  <a:pt x="1362" y="1387"/>
                  <a:pt x="1362" y="1387"/>
                </a:cubicBezTo>
                <a:cubicBezTo>
                  <a:pt x="1362" y="1386"/>
                  <a:pt x="1362" y="1386"/>
                  <a:pt x="1362" y="1385"/>
                </a:cubicBezTo>
                <a:cubicBezTo>
                  <a:pt x="1362" y="1384"/>
                  <a:pt x="1362" y="1384"/>
                  <a:pt x="1362" y="1383"/>
                </a:cubicBezTo>
                <a:cubicBezTo>
                  <a:pt x="1362" y="1382"/>
                  <a:pt x="1363" y="1381"/>
                  <a:pt x="1363" y="1380"/>
                </a:cubicBezTo>
                <a:cubicBezTo>
                  <a:pt x="1363" y="1379"/>
                  <a:pt x="1363" y="1379"/>
                  <a:pt x="1363" y="1378"/>
                </a:cubicBezTo>
                <a:cubicBezTo>
                  <a:pt x="1363" y="1376"/>
                  <a:pt x="1363" y="1375"/>
                  <a:pt x="1362" y="1373"/>
                </a:cubicBezTo>
                <a:cubicBezTo>
                  <a:pt x="1362" y="1372"/>
                  <a:pt x="1361" y="1370"/>
                  <a:pt x="1361" y="1369"/>
                </a:cubicBezTo>
                <a:close/>
                <a:moveTo>
                  <a:pt x="1082" y="612"/>
                </a:moveTo>
                <a:cubicBezTo>
                  <a:pt x="1083" y="612"/>
                  <a:pt x="1083" y="612"/>
                  <a:pt x="1084" y="612"/>
                </a:cubicBezTo>
                <a:cubicBezTo>
                  <a:pt x="1084" y="612"/>
                  <a:pt x="1085" y="612"/>
                  <a:pt x="1086" y="611"/>
                </a:cubicBezTo>
                <a:cubicBezTo>
                  <a:pt x="1087" y="611"/>
                  <a:pt x="1088" y="611"/>
                  <a:pt x="1088" y="611"/>
                </a:cubicBezTo>
                <a:cubicBezTo>
                  <a:pt x="1089" y="611"/>
                  <a:pt x="1089" y="611"/>
                  <a:pt x="1089" y="611"/>
                </a:cubicBezTo>
                <a:cubicBezTo>
                  <a:pt x="1089" y="611"/>
                  <a:pt x="1088" y="612"/>
                  <a:pt x="1088" y="612"/>
                </a:cubicBezTo>
                <a:cubicBezTo>
                  <a:pt x="1087" y="612"/>
                  <a:pt x="1086" y="612"/>
                  <a:pt x="1086" y="612"/>
                </a:cubicBezTo>
                <a:cubicBezTo>
                  <a:pt x="1085" y="612"/>
                  <a:pt x="1084" y="612"/>
                  <a:pt x="1084" y="612"/>
                </a:cubicBezTo>
                <a:cubicBezTo>
                  <a:pt x="1083" y="612"/>
                  <a:pt x="1083" y="613"/>
                  <a:pt x="1082" y="613"/>
                </a:cubicBezTo>
                <a:cubicBezTo>
                  <a:pt x="1082" y="613"/>
                  <a:pt x="1081" y="613"/>
                  <a:pt x="1081" y="613"/>
                </a:cubicBezTo>
                <a:cubicBezTo>
                  <a:pt x="1080" y="612"/>
                  <a:pt x="1082" y="612"/>
                  <a:pt x="1082" y="612"/>
                </a:cubicBezTo>
                <a:close/>
                <a:moveTo>
                  <a:pt x="1073" y="622"/>
                </a:moveTo>
                <a:cubicBezTo>
                  <a:pt x="1073" y="622"/>
                  <a:pt x="1073" y="621"/>
                  <a:pt x="1074" y="621"/>
                </a:cubicBezTo>
                <a:cubicBezTo>
                  <a:pt x="1074" y="621"/>
                  <a:pt x="1074" y="622"/>
                  <a:pt x="1075" y="622"/>
                </a:cubicBezTo>
                <a:cubicBezTo>
                  <a:pt x="1075" y="622"/>
                  <a:pt x="1075" y="621"/>
                  <a:pt x="1075" y="621"/>
                </a:cubicBezTo>
                <a:cubicBezTo>
                  <a:pt x="1075" y="621"/>
                  <a:pt x="1075" y="621"/>
                  <a:pt x="1075" y="620"/>
                </a:cubicBezTo>
                <a:cubicBezTo>
                  <a:pt x="1075" y="620"/>
                  <a:pt x="1075" y="620"/>
                  <a:pt x="1075" y="619"/>
                </a:cubicBezTo>
                <a:cubicBezTo>
                  <a:pt x="1075" y="619"/>
                  <a:pt x="1075" y="618"/>
                  <a:pt x="1075" y="618"/>
                </a:cubicBezTo>
                <a:cubicBezTo>
                  <a:pt x="1076" y="616"/>
                  <a:pt x="1078" y="616"/>
                  <a:pt x="1079" y="616"/>
                </a:cubicBezTo>
                <a:cubicBezTo>
                  <a:pt x="1080" y="615"/>
                  <a:pt x="1081" y="616"/>
                  <a:pt x="1081" y="616"/>
                </a:cubicBezTo>
                <a:cubicBezTo>
                  <a:pt x="1082" y="616"/>
                  <a:pt x="1083" y="615"/>
                  <a:pt x="1084" y="615"/>
                </a:cubicBezTo>
                <a:cubicBezTo>
                  <a:pt x="1085" y="614"/>
                  <a:pt x="1086" y="614"/>
                  <a:pt x="1087" y="614"/>
                </a:cubicBezTo>
                <a:cubicBezTo>
                  <a:pt x="1088" y="613"/>
                  <a:pt x="1088" y="613"/>
                  <a:pt x="1089" y="612"/>
                </a:cubicBezTo>
                <a:cubicBezTo>
                  <a:pt x="1090" y="612"/>
                  <a:pt x="1090" y="612"/>
                  <a:pt x="1091" y="612"/>
                </a:cubicBezTo>
                <a:cubicBezTo>
                  <a:pt x="1091" y="612"/>
                  <a:pt x="1092" y="611"/>
                  <a:pt x="1092" y="611"/>
                </a:cubicBezTo>
                <a:cubicBezTo>
                  <a:pt x="1092" y="611"/>
                  <a:pt x="1093" y="611"/>
                  <a:pt x="1093" y="611"/>
                </a:cubicBezTo>
                <a:cubicBezTo>
                  <a:pt x="1093" y="611"/>
                  <a:pt x="1093" y="610"/>
                  <a:pt x="1094" y="610"/>
                </a:cubicBezTo>
                <a:cubicBezTo>
                  <a:pt x="1094" y="610"/>
                  <a:pt x="1094" y="611"/>
                  <a:pt x="1094" y="611"/>
                </a:cubicBezTo>
                <a:cubicBezTo>
                  <a:pt x="1094" y="611"/>
                  <a:pt x="1095" y="611"/>
                  <a:pt x="1096" y="611"/>
                </a:cubicBezTo>
                <a:cubicBezTo>
                  <a:pt x="1096" y="611"/>
                  <a:pt x="1098" y="611"/>
                  <a:pt x="1098" y="611"/>
                </a:cubicBezTo>
                <a:cubicBezTo>
                  <a:pt x="1098" y="612"/>
                  <a:pt x="1096" y="612"/>
                  <a:pt x="1096" y="612"/>
                </a:cubicBezTo>
                <a:cubicBezTo>
                  <a:pt x="1096" y="612"/>
                  <a:pt x="1095" y="612"/>
                  <a:pt x="1095" y="612"/>
                </a:cubicBezTo>
                <a:cubicBezTo>
                  <a:pt x="1094" y="612"/>
                  <a:pt x="1094" y="612"/>
                  <a:pt x="1094" y="612"/>
                </a:cubicBezTo>
                <a:cubicBezTo>
                  <a:pt x="1093" y="612"/>
                  <a:pt x="1093" y="612"/>
                  <a:pt x="1092" y="613"/>
                </a:cubicBezTo>
                <a:cubicBezTo>
                  <a:pt x="1092" y="613"/>
                  <a:pt x="1092" y="613"/>
                  <a:pt x="1091" y="613"/>
                </a:cubicBezTo>
                <a:cubicBezTo>
                  <a:pt x="1091" y="613"/>
                  <a:pt x="1090" y="614"/>
                  <a:pt x="1090" y="614"/>
                </a:cubicBezTo>
                <a:cubicBezTo>
                  <a:pt x="1089" y="614"/>
                  <a:pt x="1089" y="614"/>
                  <a:pt x="1089" y="614"/>
                </a:cubicBezTo>
                <a:cubicBezTo>
                  <a:pt x="1088" y="614"/>
                  <a:pt x="1088" y="615"/>
                  <a:pt x="1088" y="615"/>
                </a:cubicBezTo>
                <a:cubicBezTo>
                  <a:pt x="1088" y="615"/>
                  <a:pt x="1087" y="615"/>
                  <a:pt x="1087" y="615"/>
                </a:cubicBezTo>
                <a:cubicBezTo>
                  <a:pt x="1086" y="616"/>
                  <a:pt x="1087" y="617"/>
                  <a:pt x="1086" y="618"/>
                </a:cubicBezTo>
                <a:cubicBezTo>
                  <a:pt x="1086" y="618"/>
                  <a:pt x="1085" y="618"/>
                  <a:pt x="1084" y="618"/>
                </a:cubicBezTo>
                <a:cubicBezTo>
                  <a:pt x="1083" y="618"/>
                  <a:pt x="1082" y="619"/>
                  <a:pt x="1082" y="619"/>
                </a:cubicBezTo>
                <a:cubicBezTo>
                  <a:pt x="1081" y="620"/>
                  <a:pt x="1081" y="620"/>
                  <a:pt x="1080" y="620"/>
                </a:cubicBezTo>
                <a:cubicBezTo>
                  <a:pt x="1079" y="620"/>
                  <a:pt x="1078" y="620"/>
                  <a:pt x="1077" y="620"/>
                </a:cubicBezTo>
                <a:cubicBezTo>
                  <a:pt x="1077" y="621"/>
                  <a:pt x="1077" y="621"/>
                  <a:pt x="1077" y="621"/>
                </a:cubicBezTo>
                <a:cubicBezTo>
                  <a:pt x="1077" y="622"/>
                  <a:pt x="1077" y="622"/>
                  <a:pt x="1076" y="622"/>
                </a:cubicBezTo>
                <a:cubicBezTo>
                  <a:pt x="1076" y="623"/>
                  <a:pt x="1076" y="622"/>
                  <a:pt x="1075" y="623"/>
                </a:cubicBezTo>
                <a:cubicBezTo>
                  <a:pt x="1074" y="623"/>
                  <a:pt x="1075" y="623"/>
                  <a:pt x="1074" y="624"/>
                </a:cubicBezTo>
                <a:cubicBezTo>
                  <a:pt x="1074" y="624"/>
                  <a:pt x="1074" y="624"/>
                  <a:pt x="1074" y="624"/>
                </a:cubicBezTo>
                <a:cubicBezTo>
                  <a:pt x="1074" y="624"/>
                  <a:pt x="1074" y="624"/>
                  <a:pt x="1074" y="624"/>
                </a:cubicBezTo>
                <a:cubicBezTo>
                  <a:pt x="1073" y="623"/>
                  <a:pt x="1073" y="623"/>
                  <a:pt x="1073" y="623"/>
                </a:cubicBezTo>
                <a:cubicBezTo>
                  <a:pt x="1072" y="623"/>
                  <a:pt x="1072" y="623"/>
                  <a:pt x="1072" y="623"/>
                </a:cubicBezTo>
                <a:cubicBezTo>
                  <a:pt x="1072" y="622"/>
                  <a:pt x="1073" y="622"/>
                  <a:pt x="1073" y="622"/>
                </a:cubicBezTo>
                <a:close/>
                <a:moveTo>
                  <a:pt x="1066" y="616"/>
                </a:moveTo>
                <a:cubicBezTo>
                  <a:pt x="1066" y="616"/>
                  <a:pt x="1067" y="617"/>
                  <a:pt x="1067" y="617"/>
                </a:cubicBezTo>
                <a:cubicBezTo>
                  <a:pt x="1067" y="617"/>
                  <a:pt x="1068" y="617"/>
                  <a:pt x="1068" y="617"/>
                </a:cubicBezTo>
                <a:cubicBezTo>
                  <a:pt x="1069" y="617"/>
                  <a:pt x="1069" y="617"/>
                  <a:pt x="1069" y="618"/>
                </a:cubicBezTo>
                <a:cubicBezTo>
                  <a:pt x="1070" y="618"/>
                  <a:pt x="1070" y="618"/>
                  <a:pt x="1070" y="618"/>
                </a:cubicBezTo>
                <a:cubicBezTo>
                  <a:pt x="1069" y="618"/>
                  <a:pt x="1068" y="617"/>
                  <a:pt x="1067" y="617"/>
                </a:cubicBezTo>
                <a:cubicBezTo>
                  <a:pt x="1067" y="617"/>
                  <a:pt x="1066" y="617"/>
                  <a:pt x="1066" y="617"/>
                </a:cubicBezTo>
                <a:cubicBezTo>
                  <a:pt x="1066" y="617"/>
                  <a:pt x="1065" y="616"/>
                  <a:pt x="1066" y="616"/>
                </a:cubicBezTo>
                <a:close/>
                <a:moveTo>
                  <a:pt x="859" y="778"/>
                </a:moveTo>
                <a:cubicBezTo>
                  <a:pt x="858" y="779"/>
                  <a:pt x="857" y="779"/>
                  <a:pt x="856" y="780"/>
                </a:cubicBezTo>
                <a:cubicBezTo>
                  <a:pt x="855" y="781"/>
                  <a:pt x="853" y="782"/>
                  <a:pt x="852" y="783"/>
                </a:cubicBezTo>
                <a:cubicBezTo>
                  <a:pt x="851" y="784"/>
                  <a:pt x="851" y="784"/>
                  <a:pt x="850" y="785"/>
                </a:cubicBezTo>
                <a:cubicBezTo>
                  <a:pt x="849" y="785"/>
                  <a:pt x="849" y="785"/>
                  <a:pt x="848" y="785"/>
                </a:cubicBezTo>
                <a:cubicBezTo>
                  <a:pt x="847" y="786"/>
                  <a:pt x="845" y="787"/>
                  <a:pt x="843" y="787"/>
                </a:cubicBezTo>
                <a:cubicBezTo>
                  <a:pt x="842" y="787"/>
                  <a:pt x="840" y="788"/>
                  <a:pt x="839" y="789"/>
                </a:cubicBezTo>
                <a:cubicBezTo>
                  <a:pt x="838" y="789"/>
                  <a:pt x="837" y="789"/>
                  <a:pt x="836" y="789"/>
                </a:cubicBezTo>
                <a:cubicBezTo>
                  <a:pt x="835" y="790"/>
                  <a:pt x="835" y="790"/>
                  <a:pt x="834" y="791"/>
                </a:cubicBezTo>
                <a:cubicBezTo>
                  <a:pt x="833" y="791"/>
                  <a:pt x="832" y="792"/>
                  <a:pt x="831" y="792"/>
                </a:cubicBezTo>
                <a:cubicBezTo>
                  <a:pt x="830" y="793"/>
                  <a:pt x="830" y="794"/>
                  <a:pt x="829" y="794"/>
                </a:cubicBezTo>
                <a:cubicBezTo>
                  <a:pt x="827" y="795"/>
                  <a:pt x="825" y="795"/>
                  <a:pt x="823" y="795"/>
                </a:cubicBezTo>
                <a:cubicBezTo>
                  <a:pt x="822" y="795"/>
                  <a:pt x="821" y="796"/>
                  <a:pt x="820" y="796"/>
                </a:cubicBezTo>
                <a:cubicBezTo>
                  <a:pt x="819" y="797"/>
                  <a:pt x="818" y="796"/>
                  <a:pt x="816" y="796"/>
                </a:cubicBezTo>
                <a:cubicBezTo>
                  <a:pt x="816" y="796"/>
                  <a:pt x="816" y="796"/>
                  <a:pt x="816" y="796"/>
                </a:cubicBezTo>
                <a:cubicBezTo>
                  <a:pt x="816" y="796"/>
                  <a:pt x="816" y="796"/>
                  <a:pt x="816" y="796"/>
                </a:cubicBezTo>
                <a:cubicBezTo>
                  <a:pt x="815" y="796"/>
                  <a:pt x="813" y="796"/>
                  <a:pt x="814" y="795"/>
                </a:cubicBezTo>
                <a:cubicBezTo>
                  <a:pt x="814" y="795"/>
                  <a:pt x="815" y="795"/>
                  <a:pt x="815" y="795"/>
                </a:cubicBezTo>
                <a:cubicBezTo>
                  <a:pt x="815" y="795"/>
                  <a:pt x="815" y="795"/>
                  <a:pt x="816" y="795"/>
                </a:cubicBezTo>
                <a:cubicBezTo>
                  <a:pt x="816" y="795"/>
                  <a:pt x="816" y="795"/>
                  <a:pt x="817" y="795"/>
                </a:cubicBezTo>
                <a:cubicBezTo>
                  <a:pt x="817" y="794"/>
                  <a:pt x="817" y="794"/>
                  <a:pt x="816" y="794"/>
                </a:cubicBezTo>
                <a:cubicBezTo>
                  <a:pt x="816" y="794"/>
                  <a:pt x="816" y="794"/>
                  <a:pt x="815" y="793"/>
                </a:cubicBezTo>
                <a:cubicBezTo>
                  <a:pt x="815" y="793"/>
                  <a:pt x="814" y="793"/>
                  <a:pt x="814" y="793"/>
                </a:cubicBezTo>
                <a:cubicBezTo>
                  <a:pt x="813" y="793"/>
                  <a:pt x="813" y="793"/>
                  <a:pt x="812" y="792"/>
                </a:cubicBezTo>
                <a:cubicBezTo>
                  <a:pt x="812" y="792"/>
                  <a:pt x="811" y="792"/>
                  <a:pt x="811" y="792"/>
                </a:cubicBezTo>
                <a:cubicBezTo>
                  <a:pt x="810" y="792"/>
                  <a:pt x="810" y="792"/>
                  <a:pt x="810" y="792"/>
                </a:cubicBezTo>
                <a:cubicBezTo>
                  <a:pt x="809" y="791"/>
                  <a:pt x="808" y="792"/>
                  <a:pt x="809" y="791"/>
                </a:cubicBezTo>
                <a:cubicBezTo>
                  <a:pt x="809" y="790"/>
                  <a:pt x="809" y="790"/>
                  <a:pt x="809" y="790"/>
                </a:cubicBezTo>
                <a:cubicBezTo>
                  <a:pt x="809" y="789"/>
                  <a:pt x="810" y="789"/>
                  <a:pt x="810" y="789"/>
                </a:cubicBezTo>
                <a:cubicBezTo>
                  <a:pt x="810" y="789"/>
                  <a:pt x="810" y="788"/>
                  <a:pt x="811" y="788"/>
                </a:cubicBezTo>
                <a:cubicBezTo>
                  <a:pt x="811" y="787"/>
                  <a:pt x="811" y="787"/>
                  <a:pt x="811" y="787"/>
                </a:cubicBezTo>
                <a:cubicBezTo>
                  <a:pt x="812" y="787"/>
                  <a:pt x="812" y="787"/>
                  <a:pt x="812" y="787"/>
                </a:cubicBezTo>
                <a:cubicBezTo>
                  <a:pt x="813" y="788"/>
                  <a:pt x="813" y="788"/>
                  <a:pt x="814" y="788"/>
                </a:cubicBezTo>
                <a:cubicBezTo>
                  <a:pt x="814" y="788"/>
                  <a:pt x="815" y="788"/>
                  <a:pt x="816" y="788"/>
                </a:cubicBezTo>
                <a:cubicBezTo>
                  <a:pt x="816" y="788"/>
                  <a:pt x="817" y="788"/>
                  <a:pt x="818" y="788"/>
                </a:cubicBezTo>
                <a:cubicBezTo>
                  <a:pt x="819" y="788"/>
                  <a:pt x="818" y="789"/>
                  <a:pt x="819" y="789"/>
                </a:cubicBezTo>
                <a:cubicBezTo>
                  <a:pt x="819" y="789"/>
                  <a:pt x="819" y="789"/>
                  <a:pt x="819" y="788"/>
                </a:cubicBezTo>
                <a:cubicBezTo>
                  <a:pt x="819" y="788"/>
                  <a:pt x="819" y="787"/>
                  <a:pt x="820" y="787"/>
                </a:cubicBezTo>
                <a:cubicBezTo>
                  <a:pt x="820" y="786"/>
                  <a:pt x="821" y="786"/>
                  <a:pt x="821" y="786"/>
                </a:cubicBezTo>
                <a:cubicBezTo>
                  <a:pt x="822" y="786"/>
                  <a:pt x="822" y="786"/>
                  <a:pt x="823" y="785"/>
                </a:cubicBezTo>
                <a:cubicBezTo>
                  <a:pt x="823" y="785"/>
                  <a:pt x="823" y="785"/>
                  <a:pt x="824" y="785"/>
                </a:cubicBezTo>
                <a:cubicBezTo>
                  <a:pt x="824" y="784"/>
                  <a:pt x="825" y="784"/>
                  <a:pt x="826" y="784"/>
                </a:cubicBezTo>
                <a:cubicBezTo>
                  <a:pt x="826" y="784"/>
                  <a:pt x="827" y="783"/>
                  <a:pt x="827" y="782"/>
                </a:cubicBezTo>
                <a:cubicBezTo>
                  <a:pt x="828" y="782"/>
                  <a:pt x="828" y="781"/>
                  <a:pt x="829" y="781"/>
                </a:cubicBezTo>
                <a:cubicBezTo>
                  <a:pt x="830" y="780"/>
                  <a:pt x="830" y="780"/>
                  <a:pt x="831" y="780"/>
                </a:cubicBezTo>
                <a:cubicBezTo>
                  <a:pt x="833" y="779"/>
                  <a:pt x="835" y="779"/>
                  <a:pt x="837" y="779"/>
                </a:cubicBezTo>
                <a:cubicBezTo>
                  <a:pt x="838" y="779"/>
                  <a:pt x="839" y="780"/>
                  <a:pt x="840" y="780"/>
                </a:cubicBezTo>
                <a:cubicBezTo>
                  <a:pt x="841" y="780"/>
                  <a:pt x="842" y="780"/>
                  <a:pt x="843" y="780"/>
                </a:cubicBezTo>
                <a:cubicBezTo>
                  <a:pt x="844" y="780"/>
                  <a:pt x="844" y="780"/>
                  <a:pt x="845" y="780"/>
                </a:cubicBezTo>
                <a:cubicBezTo>
                  <a:pt x="845" y="781"/>
                  <a:pt x="845" y="781"/>
                  <a:pt x="846" y="781"/>
                </a:cubicBezTo>
                <a:cubicBezTo>
                  <a:pt x="846" y="780"/>
                  <a:pt x="845" y="780"/>
                  <a:pt x="845" y="780"/>
                </a:cubicBezTo>
                <a:cubicBezTo>
                  <a:pt x="844" y="780"/>
                  <a:pt x="843" y="780"/>
                  <a:pt x="843" y="780"/>
                </a:cubicBezTo>
                <a:cubicBezTo>
                  <a:pt x="842" y="779"/>
                  <a:pt x="846" y="778"/>
                  <a:pt x="846" y="778"/>
                </a:cubicBezTo>
                <a:cubicBezTo>
                  <a:pt x="847" y="777"/>
                  <a:pt x="848" y="777"/>
                  <a:pt x="849" y="777"/>
                </a:cubicBezTo>
                <a:cubicBezTo>
                  <a:pt x="849" y="776"/>
                  <a:pt x="850" y="776"/>
                  <a:pt x="851" y="776"/>
                </a:cubicBezTo>
                <a:cubicBezTo>
                  <a:pt x="852" y="776"/>
                  <a:pt x="853" y="776"/>
                  <a:pt x="854" y="776"/>
                </a:cubicBezTo>
                <a:cubicBezTo>
                  <a:pt x="854" y="776"/>
                  <a:pt x="855" y="776"/>
                  <a:pt x="856" y="776"/>
                </a:cubicBezTo>
                <a:cubicBezTo>
                  <a:pt x="857" y="776"/>
                  <a:pt x="857" y="776"/>
                  <a:pt x="858" y="776"/>
                </a:cubicBezTo>
                <a:cubicBezTo>
                  <a:pt x="859" y="776"/>
                  <a:pt x="859" y="776"/>
                  <a:pt x="859" y="775"/>
                </a:cubicBezTo>
                <a:cubicBezTo>
                  <a:pt x="859" y="774"/>
                  <a:pt x="859" y="774"/>
                  <a:pt x="858" y="774"/>
                </a:cubicBezTo>
                <a:cubicBezTo>
                  <a:pt x="858" y="774"/>
                  <a:pt x="858" y="774"/>
                  <a:pt x="858" y="773"/>
                </a:cubicBezTo>
                <a:cubicBezTo>
                  <a:pt x="858" y="773"/>
                  <a:pt x="859" y="773"/>
                  <a:pt x="860" y="773"/>
                </a:cubicBezTo>
                <a:cubicBezTo>
                  <a:pt x="860" y="773"/>
                  <a:pt x="860" y="774"/>
                  <a:pt x="860" y="775"/>
                </a:cubicBezTo>
                <a:cubicBezTo>
                  <a:pt x="860" y="775"/>
                  <a:pt x="860" y="776"/>
                  <a:pt x="860" y="776"/>
                </a:cubicBezTo>
                <a:cubicBezTo>
                  <a:pt x="860" y="777"/>
                  <a:pt x="860" y="778"/>
                  <a:pt x="859" y="778"/>
                </a:cubicBezTo>
                <a:close/>
                <a:moveTo>
                  <a:pt x="814" y="782"/>
                </a:moveTo>
                <a:cubicBezTo>
                  <a:pt x="814" y="781"/>
                  <a:pt x="815" y="781"/>
                  <a:pt x="815" y="780"/>
                </a:cubicBezTo>
                <a:cubicBezTo>
                  <a:pt x="816" y="780"/>
                  <a:pt x="816" y="778"/>
                  <a:pt x="816" y="778"/>
                </a:cubicBezTo>
                <a:cubicBezTo>
                  <a:pt x="817" y="778"/>
                  <a:pt x="817" y="780"/>
                  <a:pt x="817" y="780"/>
                </a:cubicBezTo>
                <a:cubicBezTo>
                  <a:pt x="818" y="781"/>
                  <a:pt x="818" y="780"/>
                  <a:pt x="819" y="781"/>
                </a:cubicBezTo>
                <a:cubicBezTo>
                  <a:pt x="820" y="781"/>
                  <a:pt x="819" y="782"/>
                  <a:pt x="820" y="782"/>
                </a:cubicBezTo>
                <a:cubicBezTo>
                  <a:pt x="820" y="782"/>
                  <a:pt x="820" y="782"/>
                  <a:pt x="820" y="783"/>
                </a:cubicBezTo>
                <a:cubicBezTo>
                  <a:pt x="820" y="783"/>
                  <a:pt x="819" y="783"/>
                  <a:pt x="818" y="783"/>
                </a:cubicBezTo>
                <a:cubicBezTo>
                  <a:pt x="817" y="783"/>
                  <a:pt x="817" y="783"/>
                  <a:pt x="817" y="783"/>
                </a:cubicBezTo>
                <a:cubicBezTo>
                  <a:pt x="816" y="783"/>
                  <a:pt x="816" y="783"/>
                  <a:pt x="816" y="783"/>
                </a:cubicBezTo>
                <a:cubicBezTo>
                  <a:pt x="814" y="784"/>
                  <a:pt x="814" y="783"/>
                  <a:pt x="814" y="782"/>
                </a:cubicBezTo>
                <a:close/>
                <a:moveTo>
                  <a:pt x="851" y="769"/>
                </a:moveTo>
                <a:cubicBezTo>
                  <a:pt x="852" y="768"/>
                  <a:pt x="852" y="768"/>
                  <a:pt x="852" y="768"/>
                </a:cubicBezTo>
                <a:cubicBezTo>
                  <a:pt x="852" y="767"/>
                  <a:pt x="852" y="767"/>
                  <a:pt x="853" y="767"/>
                </a:cubicBezTo>
                <a:cubicBezTo>
                  <a:pt x="853" y="766"/>
                  <a:pt x="854" y="765"/>
                  <a:pt x="855" y="765"/>
                </a:cubicBezTo>
                <a:cubicBezTo>
                  <a:pt x="855" y="764"/>
                  <a:pt x="856" y="764"/>
                  <a:pt x="857" y="764"/>
                </a:cubicBezTo>
                <a:cubicBezTo>
                  <a:pt x="857" y="764"/>
                  <a:pt x="858" y="763"/>
                  <a:pt x="859" y="763"/>
                </a:cubicBezTo>
                <a:cubicBezTo>
                  <a:pt x="859" y="762"/>
                  <a:pt x="860" y="763"/>
                  <a:pt x="861" y="763"/>
                </a:cubicBezTo>
                <a:cubicBezTo>
                  <a:pt x="862" y="762"/>
                  <a:pt x="864" y="762"/>
                  <a:pt x="865" y="762"/>
                </a:cubicBezTo>
                <a:cubicBezTo>
                  <a:pt x="867" y="761"/>
                  <a:pt x="869" y="761"/>
                  <a:pt x="871" y="761"/>
                </a:cubicBezTo>
                <a:cubicBezTo>
                  <a:pt x="872" y="760"/>
                  <a:pt x="874" y="760"/>
                  <a:pt x="875" y="760"/>
                </a:cubicBezTo>
                <a:cubicBezTo>
                  <a:pt x="875" y="760"/>
                  <a:pt x="875" y="761"/>
                  <a:pt x="876" y="761"/>
                </a:cubicBezTo>
                <a:cubicBezTo>
                  <a:pt x="877" y="762"/>
                  <a:pt x="878" y="760"/>
                  <a:pt x="879" y="761"/>
                </a:cubicBezTo>
                <a:cubicBezTo>
                  <a:pt x="879" y="761"/>
                  <a:pt x="879" y="762"/>
                  <a:pt x="880" y="762"/>
                </a:cubicBezTo>
                <a:cubicBezTo>
                  <a:pt x="880" y="762"/>
                  <a:pt x="880" y="763"/>
                  <a:pt x="880" y="763"/>
                </a:cubicBezTo>
                <a:cubicBezTo>
                  <a:pt x="881" y="762"/>
                  <a:pt x="881" y="762"/>
                  <a:pt x="881" y="761"/>
                </a:cubicBezTo>
                <a:cubicBezTo>
                  <a:pt x="882" y="761"/>
                  <a:pt x="882" y="760"/>
                  <a:pt x="883" y="760"/>
                </a:cubicBezTo>
                <a:cubicBezTo>
                  <a:pt x="883" y="759"/>
                  <a:pt x="884" y="759"/>
                  <a:pt x="885" y="758"/>
                </a:cubicBezTo>
                <a:cubicBezTo>
                  <a:pt x="886" y="758"/>
                  <a:pt x="888" y="757"/>
                  <a:pt x="889" y="756"/>
                </a:cubicBezTo>
                <a:cubicBezTo>
                  <a:pt x="890" y="756"/>
                  <a:pt x="891" y="755"/>
                  <a:pt x="892" y="755"/>
                </a:cubicBezTo>
                <a:cubicBezTo>
                  <a:pt x="893" y="754"/>
                  <a:pt x="894" y="754"/>
                  <a:pt x="895" y="754"/>
                </a:cubicBezTo>
                <a:cubicBezTo>
                  <a:pt x="894" y="754"/>
                  <a:pt x="894" y="754"/>
                  <a:pt x="894" y="755"/>
                </a:cubicBezTo>
                <a:cubicBezTo>
                  <a:pt x="892" y="756"/>
                  <a:pt x="891" y="757"/>
                  <a:pt x="891" y="759"/>
                </a:cubicBezTo>
                <a:cubicBezTo>
                  <a:pt x="891" y="760"/>
                  <a:pt x="892" y="760"/>
                  <a:pt x="892" y="761"/>
                </a:cubicBezTo>
                <a:cubicBezTo>
                  <a:pt x="892" y="761"/>
                  <a:pt x="891" y="762"/>
                  <a:pt x="891" y="762"/>
                </a:cubicBezTo>
                <a:cubicBezTo>
                  <a:pt x="890" y="762"/>
                  <a:pt x="890" y="763"/>
                  <a:pt x="890" y="763"/>
                </a:cubicBezTo>
                <a:cubicBezTo>
                  <a:pt x="890" y="764"/>
                  <a:pt x="891" y="764"/>
                  <a:pt x="891" y="764"/>
                </a:cubicBezTo>
                <a:cubicBezTo>
                  <a:pt x="892" y="765"/>
                  <a:pt x="892" y="765"/>
                  <a:pt x="892" y="766"/>
                </a:cubicBezTo>
                <a:cubicBezTo>
                  <a:pt x="891" y="767"/>
                  <a:pt x="891" y="767"/>
                  <a:pt x="890" y="767"/>
                </a:cubicBezTo>
                <a:cubicBezTo>
                  <a:pt x="889" y="767"/>
                  <a:pt x="888" y="767"/>
                  <a:pt x="888" y="768"/>
                </a:cubicBezTo>
                <a:cubicBezTo>
                  <a:pt x="887" y="769"/>
                  <a:pt x="886" y="769"/>
                  <a:pt x="885" y="769"/>
                </a:cubicBezTo>
                <a:cubicBezTo>
                  <a:pt x="885" y="770"/>
                  <a:pt x="885" y="770"/>
                  <a:pt x="885" y="770"/>
                </a:cubicBezTo>
                <a:cubicBezTo>
                  <a:pt x="884" y="771"/>
                  <a:pt x="883" y="771"/>
                  <a:pt x="882" y="771"/>
                </a:cubicBezTo>
                <a:cubicBezTo>
                  <a:pt x="882" y="771"/>
                  <a:pt x="882" y="771"/>
                  <a:pt x="882" y="770"/>
                </a:cubicBezTo>
                <a:cubicBezTo>
                  <a:pt x="882" y="770"/>
                  <a:pt x="881" y="770"/>
                  <a:pt x="881" y="770"/>
                </a:cubicBezTo>
                <a:cubicBezTo>
                  <a:pt x="881" y="770"/>
                  <a:pt x="880" y="770"/>
                  <a:pt x="880" y="770"/>
                </a:cubicBezTo>
                <a:cubicBezTo>
                  <a:pt x="878" y="770"/>
                  <a:pt x="877" y="772"/>
                  <a:pt x="875" y="771"/>
                </a:cubicBezTo>
                <a:cubicBezTo>
                  <a:pt x="875" y="771"/>
                  <a:pt x="874" y="770"/>
                  <a:pt x="874" y="770"/>
                </a:cubicBezTo>
                <a:cubicBezTo>
                  <a:pt x="873" y="770"/>
                  <a:pt x="872" y="770"/>
                  <a:pt x="871" y="769"/>
                </a:cubicBezTo>
                <a:cubicBezTo>
                  <a:pt x="871" y="769"/>
                  <a:pt x="871" y="769"/>
                  <a:pt x="870" y="769"/>
                </a:cubicBezTo>
                <a:cubicBezTo>
                  <a:pt x="870" y="768"/>
                  <a:pt x="870" y="768"/>
                  <a:pt x="869" y="768"/>
                </a:cubicBezTo>
                <a:cubicBezTo>
                  <a:pt x="868" y="768"/>
                  <a:pt x="868" y="768"/>
                  <a:pt x="867" y="769"/>
                </a:cubicBezTo>
                <a:cubicBezTo>
                  <a:pt x="866" y="769"/>
                  <a:pt x="865" y="769"/>
                  <a:pt x="864" y="770"/>
                </a:cubicBezTo>
                <a:cubicBezTo>
                  <a:pt x="863" y="770"/>
                  <a:pt x="863" y="770"/>
                  <a:pt x="862" y="770"/>
                </a:cubicBezTo>
                <a:cubicBezTo>
                  <a:pt x="861" y="770"/>
                  <a:pt x="860" y="770"/>
                  <a:pt x="860" y="770"/>
                </a:cubicBezTo>
                <a:cubicBezTo>
                  <a:pt x="859" y="771"/>
                  <a:pt x="859" y="771"/>
                  <a:pt x="858" y="771"/>
                </a:cubicBezTo>
                <a:cubicBezTo>
                  <a:pt x="857" y="771"/>
                  <a:pt x="857" y="771"/>
                  <a:pt x="856" y="771"/>
                </a:cubicBezTo>
                <a:cubicBezTo>
                  <a:pt x="856" y="771"/>
                  <a:pt x="856" y="771"/>
                  <a:pt x="856" y="771"/>
                </a:cubicBezTo>
                <a:cubicBezTo>
                  <a:pt x="855" y="771"/>
                  <a:pt x="855" y="771"/>
                  <a:pt x="854" y="771"/>
                </a:cubicBezTo>
                <a:cubicBezTo>
                  <a:pt x="854" y="771"/>
                  <a:pt x="853" y="771"/>
                  <a:pt x="853" y="771"/>
                </a:cubicBezTo>
                <a:cubicBezTo>
                  <a:pt x="852" y="771"/>
                  <a:pt x="851" y="771"/>
                  <a:pt x="851" y="770"/>
                </a:cubicBezTo>
                <a:cubicBezTo>
                  <a:pt x="850" y="770"/>
                  <a:pt x="851" y="769"/>
                  <a:pt x="851" y="769"/>
                </a:cubicBezTo>
                <a:close/>
                <a:moveTo>
                  <a:pt x="801" y="725"/>
                </a:moveTo>
                <a:cubicBezTo>
                  <a:pt x="801" y="726"/>
                  <a:pt x="801" y="727"/>
                  <a:pt x="801" y="728"/>
                </a:cubicBezTo>
                <a:cubicBezTo>
                  <a:pt x="801" y="728"/>
                  <a:pt x="802" y="730"/>
                  <a:pt x="801" y="730"/>
                </a:cubicBezTo>
                <a:cubicBezTo>
                  <a:pt x="801" y="730"/>
                  <a:pt x="800" y="728"/>
                  <a:pt x="800" y="728"/>
                </a:cubicBezTo>
                <a:cubicBezTo>
                  <a:pt x="800" y="727"/>
                  <a:pt x="800" y="727"/>
                  <a:pt x="800" y="726"/>
                </a:cubicBezTo>
                <a:cubicBezTo>
                  <a:pt x="799" y="726"/>
                  <a:pt x="798" y="726"/>
                  <a:pt x="798" y="725"/>
                </a:cubicBezTo>
                <a:cubicBezTo>
                  <a:pt x="798" y="724"/>
                  <a:pt x="801" y="724"/>
                  <a:pt x="801" y="725"/>
                </a:cubicBezTo>
                <a:close/>
                <a:moveTo>
                  <a:pt x="798" y="732"/>
                </a:moveTo>
                <a:cubicBezTo>
                  <a:pt x="798" y="732"/>
                  <a:pt x="799" y="732"/>
                  <a:pt x="800" y="732"/>
                </a:cubicBezTo>
                <a:cubicBezTo>
                  <a:pt x="801" y="732"/>
                  <a:pt x="802" y="732"/>
                  <a:pt x="803" y="732"/>
                </a:cubicBezTo>
                <a:cubicBezTo>
                  <a:pt x="803" y="732"/>
                  <a:pt x="804" y="733"/>
                  <a:pt x="805" y="733"/>
                </a:cubicBezTo>
                <a:cubicBezTo>
                  <a:pt x="806" y="733"/>
                  <a:pt x="806" y="734"/>
                  <a:pt x="807" y="733"/>
                </a:cubicBezTo>
                <a:cubicBezTo>
                  <a:pt x="808" y="733"/>
                  <a:pt x="809" y="734"/>
                  <a:pt x="810" y="734"/>
                </a:cubicBezTo>
                <a:cubicBezTo>
                  <a:pt x="810" y="734"/>
                  <a:pt x="810" y="733"/>
                  <a:pt x="810" y="733"/>
                </a:cubicBezTo>
                <a:cubicBezTo>
                  <a:pt x="810" y="733"/>
                  <a:pt x="810" y="732"/>
                  <a:pt x="809" y="732"/>
                </a:cubicBezTo>
                <a:cubicBezTo>
                  <a:pt x="809" y="732"/>
                  <a:pt x="809" y="732"/>
                  <a:pt x="809" y="732"/>
                </a:cubicBezTo>
                <a:cubicBezTo>
                  <a:pt x="808" y="733"/>
                  <a:pt x="807" y="733"/>
                  <a:pt x="807" y="732"/>
                </a:cubicBezTo>
                <a:cubicBezTo>
                  <a:pt x="807" y="731"/>
                  <a:pt x="807" y="731"/>
                  <a:pt x="807" y="731"/>
                </a:cubicBezTo>
                <a:cubicBezTo>
                  <a:pt x="806" y="731"/>
                  <a:pt x="806" y="731"/>
                  <a:pt x="806" y="731"/>
                </a:cubicBezTo>
                <a:cubicBezTo>
                  <a:pt x="805" y="731"/>
                  <a:pt x="804" y="732"/>
                  <a:pt x="803" y="731"/>
                </a:cubicBezTo>
                <a:cubicBezTo>
                  <a:pt x="803" y="730"/>
                  <a:pt x="804" y="730"/>
                  <a:pt x="804" y="730"/>
                </a:cubicBezTo>
                <a:cubicBezTo>
                  <a:pt x="804" y="729"/>
                  <a:pt x="803" y="728"/>
                  <a:pt x="803" y="728"/>
                </a:cubicBezTo>
                <a:cubicBezTo>
                  <a:pt x="803" y="727"/>
                  <a:pt x="804" y="727"/>
                  <a:pt x="804" y="728"/>
                </a:cubicBezTo>
                <a:cubicBezTo>
                  <a:pt x="804" y="728"/>
                  <a:pt x="804" y="728"/>
                  <a:pt x="805" y="728"/>
                </a:cubicBezTo>
                <a:cubicBezTo>
                  <a:pt x="806" y="728"/>
                  <a:pt x="806" y="728"/>
                  <a:pt x="807" y="729"/>
                </a:cubicBezTo>
                <a:cubicBezTo>
                  <a:pt x="808" y="729"/>
                  <a:pt x="809" y="729"/>
                  <a:pt x="810" y="729"/>
                </a:cubicBezTo>
                <a:cubicBezTo>
                  <a:pt x="810" y="729"/>
                  <a:pt x="810" y="729"/>
                  <a:pt x="811" y="729"/>
                </a:cubicBezTo>
                <a:cubicBezTo>
                  <a:pt x="811" y="729"/>
                  <a:pt x="812" y="729"/>
                  <a:pt x="812" y="729"/>
                </a:cubicBezTo>
                <a:cubicBezTo>
                  <a:pt x="812" y="729"/>
                  <a:pt x="813" y="729"/>
                  <a:pt x="813" y="729"/>
                </a:cubicBezTo>
                <a:cubicBezTo>
                  <a:pt x="814" y="730"/>
                  <a:pt x="814" y="730"/>
                  <a:pt x="814" y="730"/>
                </a:cubicBezTo>
                <a:cubicBezTo>
                  <a:pt x="815" y="730"/>
                  <a:pt x="816" y="729"/>
                  <a:pt x="817" y="729"/>
                </a:cubicBezTo>
                <a:cubicBezTo>
                  <a:pt x="817" y="729"/>
                  <a:pt x="817" y="729"/>
                  <a:pt x="818" y="729"/>
                </a:cubicBezTo>
                <a:cubicBezTo>
                  <a:pt x="818" y="729"/>
                  <a:pt x="818" y="730"/>
                  <a:pt x="819" y="730"/>
                </a:cubicBezTo>
                <a:cubicBezTo>
                  <a:pt x="819" y="730"/>
                  <a:pt x="820" y="730"/>
                  <a:pt x="820" y="730"/>
                </a:cubicBezTo>
                <a:cubicBezTo>
                  <a:pt x="820" y="729"/>
                  <a:pt x="821" y="729"/>
                  <a:pt x="821" y="730"/>
                </a:cubicBezTo>
                <a:cubicBezTo>
                  <a:pt x="822" y="730"/>
                  <a:pt x="823" y="730"/>
                  <a:pt x="823" y="730"/>
                </a:cubicBezTo>
                <a:cubicBezTo>
                  <a:pt x="824" y="731"/>
                  <a:pt x="825" y="730"/>
                  <a:pt x="826" y="730"/>
                </a:cubicBezTo>
                <a:cubicBezTo>
                  <a:pt x="826" y="731"/>
                  <a:pt x="826" y="731"/>
                  <a:pt x="827" y="731"/>
                </a:cubicBezTo>
                <a:cubicBezTo>
                  <a:pt x="827" y="731"/>
                  <a:pt x="827" y="731"/>
                  <a:pt x="828" y="731"/>
                </a:cubicBezTo>
                <a:cubicBezTo>
                  <a:pt x="828" y="731"/>
                  <a:pt x="828" y="731"/>
                  <a:pt x="828" y="732"/>
                </a:cubicBezTo>
                <a:cubicBezTo>
                  <a:pt x="829" y="732"/>
                  <a:pt x="829" y="732"/>
                  <a:pt x="829" y="732"/>
                </a:cubicBezTo>
                <a:cubicBezTo>
                  <a:pt x="830" y="732"/>
                  <a:pt x="831" y="732"/>
                  <a:pt x="831" y="732"/>
                </a:cubicBezTo>
                <a:cubicBezTo>
                  <a:pt x="832" y="732"/>
                  <a:pt x="833" y="733"/>
                  <a:pt x="834" y="733"/>
                </a:cubicBezTo>
                <a:cubicBezTo>
                  <a:pt x="834" y="732"/>
                  <a:pt x="834" y="732"/>
                  <a:pt x="834" y="732"/>
                </a:cubicBezTo>
                <a:cubicBezTo>
                  <a:pt x="835" y="732"/>
                  <a:pt x="835" y="732"/>
                  <a:pt x="835" y="732"/>
                </a:cubicBezTo>
                <a:cubicBezTo>
                  <a:pt x="836" y="733"/>
                  <a:pt x="837" y="733"/>
                  <a:pt x="838" y="733"/>
                </a:cubicBezTo>
                <a:cubicBezTo>
                  <a:pt x="839" y="733"/>
                  <a:pt x="839" y="734"/>
                  <a:pt x="840" y="734"/>
                </a:cubicBezTo>
                <a:cubicBezTo>
                  <a:pt x="840" y="735"/>
                  <a:pt x="841" y="735"/>
                  <a:pt x="842" y="736"/>
                </a:cubicBezTo>
                <a:cubicBezTo>
                  <a:pt x="843" y="737"/>
                  <a:pt x="843" y="738"/>
                  <a:pt x="844" y="739"/>
                </a:cubicBezTo>
                <a:cubicBezTo>
                  <a:pt x="844" y="739"/>
                  <a:pt x="845" y="739"/>
                  <a:pt x="845" y="739"/>
                </a:cubicBezTo>
                <a:cubicBezTo>
                  <a:pt x="846" y="740"/>
                  <a:pt x="847" y="740"/>
                  <a:pt x="847" y="741"/>
                </a:cubicBezTo>
                <a:cubicBezTo>
                  <a:pt x="846" y="742"/>
                  <a:pt x="846" y="742"/>
                  <a:pt x="847" y="743"/>
                </a:cubicBezTo>
                <a:cubicBezTo>
                  <a:pt x="847" y="743"/>
                  <a:pt x="847" y="744"/>
                  <a:pt x="847" y="744"/>
                </a:cubicBezTo>
                <a:cubicBezTo>
                  <a:pt x="847" y="745"/>
                  <a:pt x="847" y="746"/>
                  <a:pt x="848" y="746"/>
                </a:cubicBezTo>
                <a:cubicBezTo>
                  <a:pt x="849" y="747"/>
                  <a:pt x="849" y="748"/>
                  <a:pt x="849" y="748"/>
                </a:cubicBezTo>
                <a:cubicBezTo>
                  <a:pt x="850" y="748"/>
                  <a:pt x="851" y="749"/>
                  <a:pt x="851" y="749"/>
                </a:cubicBezTo>
                <a:cubicBezTo>
                  <a:pt x="851" y="750"/>
                  <a:pt x="850" y="750"/>
                  <a:pt x="849" y="750"/>
                </a:cubicBezTo>
                <a:cubicBezTo>
                  <a:pt x="849" y="749"/>
                  <a:pt x="849" y="748"/>
                  <a:pt x="848" y="748"/>
                </a:cubicBezTo>
                <a:cubicBezTo>
                  <a:pt x="848" y="749"/>
                  <a:pt x="847" y="749"/>
                  <a:pt x="847" y="749"/>
                </a:cubicBezTo>
                <a:cubicBezTo>
                  <a:pt x="846" y="749"/>
                  <a:pt x="846" y="749"/>
                  <a:pt x="846" y="749"/>
                </a:cubicBezTo>
                <a:cubicBezTo>
                  <a:pt x="846" y="750"/>
                  <a:pt x="847" y="750"/>
                  <a:pt x="848" y="751"/>
                </a:cubicBezTo>
                <a:cubicBezTo>
                  <a:pt x="848" y="752"/>
                  <a:pt x="847" y="752"/>
                  <a:pt x="847" y="752"/>
                </a:cubicBezTo>
                <a:cubicBezTo>
                  <a:pt x="847" y="752"/>
                  <a:pt x="847" y="753"/>
                  <a:pt x="847" y="753"/>
                </a:cubicBezTo>
                <a:cubicBezTo>
                  <a:pt x="846" y="753"/>
                  <a:pt x="846" y="753"/>
                  <a:pt x="846" y="753"/>
                </a:cubicBezTo>
                <a:cubicBezTo>
                  <a:pt x="845" y="753"/>
                  <a:pt x="845" y="753"/>
                  <a:pt x="845" y="753"/>
                </a:cubicBezTo>
                <a:cubicBezTo>
                  <a:pt x="844" y="753"/>
                  <a:pt x="844" y="753"/>
                  <a:pt x="843" y="753"/>
                </a:cubicBezTo>
                <a:cubicBezTo>
                  <a:pt x="842" y="753"/>
                  <a:pt x="842" y="753"/>
                  <a:pt x="841" y="752"/>
                </a:cubicBezTo>
                <a:cubicBezTo>
                  <a:pt x="841" y="752"/>
                  <a:pt x="840" y="751"/>
                  <a:pt x="840" y="751"/>
                </a:cubicBezTo>
                <a:cubicBezTo>
                  <a:pt x="840" y="751"/>
                  <a:pt x="840" y="750"/>
                  <a:pt x="840" y="750"/>
                </a:cubicBezTo>
                <a:cubicBezTo>
                  <a:pt x="838" y="749"/>
                  <a:pt x="838" y="751"/>
                  <a:pt x="837" y="751"/>
                </a:cubicBezTo>
                <a:cubicBezTo>
                  <a:pt x="837" y="751"/>
                  <a:pt x="837" y="751"/>
                  <a:pt x="837" y="751"/>
                </a:cubicBezTo>
                <a:cubicBezTo>
                  <a:pt x="836" y="750"/>
                  <a:pt x="836" y="750"/>
                  <a:pt x="836" y="750"/>
                </a:cubicBezTo>
                <a:cubicBezTo>
                  <a:pt x="835" y="750"/>
                  <a:pt x="835" y="750"/>
                  <a:pt x="835" y="750"/>
                </a:cubicBezTo>
                <a:cubicBezTo>
                  <a:pt x="834" y="749"/>
                  <a:pt x="836" y="749"/>
                  <a:pt x="836" y="749"/>
                </a:cubicBezTo>
                <a:cubicBezTo>
                  <a:pt x="836" y="748"/>
                  <a:pt x="836" y="748"/>
                  <a:pt x="836" y="747"/>
                </a:cubicBezTo>
                <a:cubicBezTo>
                  <a:pt x="836" y="747"/>
                  <a:pt x="837" y="747"/>
                  <a:pt x="836" y="747"/>
                </a:cubicBezTo>
                <a:cubicBezTo>
                  <a:pt x="836" y="746"/>
                  <a:pt x="836" y="747"/>
                  <a:pt x="836" y="747"/>
                </a:cubicBezTo>
                <a:cubicBezTo>
                  <a:pt x="835" y="748"/>
                  <a:pt x="835" y="747"/>
                  <a:pt x="834" y="747"/>
                </a:cubicBezTo>
                <a:cubicBezTo>
                  <a:pt x="834" y="747"/>
                  <a:pt x="834" y="747"/>
                  <a:pt x="834" y="746"/>
                </a:cubicBezTo>
                <a:cubicBezTo>
                  <a:pt x="833" y="746"/>
                  <a:pt x="834" y="746"/>
                  <a:pt x="833" y="745"/>
                </a:cubicBezTo>
                <a:cubicBezTo>
                  <a:pt x="833" y="745"/>
                  <a:pt x="833" y="745"/>
                  <a:pt x="833" y="744"/>
                </a:cubicBezTo>
                <a:cubicBezTo>
                  <a:pt x="833" y="744"/>
                  <a:pt x="833" y="743"/>
                  <a:pt x="833" y="743"/>
                </a:cubicBezTo>
                <a:cubicBezTo>
                  <a:pt x="833" y="742"/>
                  <a:pt x="831" y="743"/>
                  <a:pt x="831" y="743"/>
                </a:cubicBezTo>
                <a:cubicBezTo>
                  <a:pt x="830" y="743"/>
                  <a:pt x="830" y="742"/>
                  <a:pt x="830" y="742"/>
                </a:cubicBezTo>
                <a:cubicBezTo>
                  <a:pt x="829" y="742"/>
                  <a:pt x="829" y="743"/>
                  <a:pt x="828" y="743"/>
                </a:cubicBezTo>
                <a:cubicBezTo>
                  <a:pt x="828" y="743"/>
                  <a:pt x="827" y="743"/>
                  <a:pt x="828" y="743"/>
                </a:cubicBezTo>
                <a:cubicBezTo>
                  <a:pt x="828" y="743"/>
                  <a:pt x="829" y="743"/>
                  <a:pt x="829" y="743"/>
                </a:cubicBezTo>
                <a:cubicBezTo>
                  <a:pt x="829" y="744"/>
                  <a:pt x="829" y="744"/>
                  <a:pt x="829" y="744"/>
                </a:cubicBezTo>
                <a:cubicBezTo>
                  <a:pt x="830" y="745"/>
                  <a:pt x="830" y="745"/>
                  <a:pt x="830" y="745"/>
                </a:cubicBezTo>
                <a:cubicBezTo>
                  <a:pt x="831" y="745"/>
                  <a:pt x="831" y="746"/>
                  <a:pt x="832" y="747"/>
                </a:cubicBezTo>
                <a:cubicBezTo>
                  <a:pt x="832" y="747"/>
                  <a:pt x="832" y="748"/>
                  <a:pt x="832" y="748"/>
                </a:cubicBezTo>
                <a:cubicBezTo>
                  <a:pt x="833" y="749"/>
                  <a:pt x="833" y="749"/>
                  <a:pt x="833" y="750"/>
                </a:cubicBezTo>
                <a:cubicBezTo>
                  <a:pt x="833" y="750"/>
                  <a:pt x="833" y="750"/>
                  <a:pt x="833" y="751"/>
                </a:cubicBezTo>
                <a:cubicBezTo>
                  <a:pt x="833" y="751"/>
                  <a:pt x="833" y="751"/>
                  <a:pt x="833" y="752"/>
                </a:cubicBezTo>
                <a:cubicBezTo>
                  <a:pt x="833" y="752"/>
                  <a:pt x="833" y="753"/>
                  <a:pt x="832" y="753"/>
                </a:cubicBezTo>
                <a:cubicBezTo>
                  <a:pt x="831" y="754"/>
                  <a:pt x="829" y="754"/>
                  <a:pt x="829" y="756"/>
                </a:cubicBezTo>
                <a:cubicBezTo>
                  <a:pt x="829" y="757"/>
                  <a:pt x="829" y="758"/>
                  <a:pt x="828" y="758"/>
                </a:cubicBezTo>
                <a:cubicBezTo>
                  <a:pt x="828" y="758"/>
                  <a:pt x="827" y="759"/>
                  <a:pt x="827" y="759"/>
                </a:cubicBezTo>
                <a:cubicBezTo>
                  <a:pt x="827" y="759"/>
                  <a:pt x="828" y="760"/>
                  <a:pt x="828" y="760"/>
                </a:cubicBezTo>
                <a:cubicBezTo>
                  <a:pt x="828" y="761"/>
                  <a:pt x="828" y="762"/>
                  <a:pt x="828" y="762"/>
                </a:cubicBezTo>
                <a:cubicBezTo>
                  <a:pt x="828" y="763"/>
                  <a:pt x="828" y="765"/>
                  <a:pt x="828" y="766"/>
                </a:cubicBezTo>
                <a:cubicBezTo>
                  <a:pt x="827" y="767"/>
                  <a:pt x="826" y="768"/>
                  <a:pt x="825" y="769"/>
                </a:cubicBezTo>
                <a:cubicBezTo>
                  <a:pt x="825" y="769"/>
                  <a:pt x="824" y="770"/>
                  <a:pt x="823" y="770"/>
                </a:cubicBezTo>
                <a:cubicBezTo>
                  <a:pt x="823" y="771"/>
                  <a:pt x="822" y="772"/>
                  <a:pt x="822" y="772"/>
                </a:cubicBezTo>
                <a:cubicBezTo>
                  <a:pt x="822" y="773"/>
                  <a:pt x="821" y="773"/>
                  <a:pt x="821" y="773"/>
                </a:cubicBezTo>
                <a:cubicBezTo>
                  <a:pt x="821" y="774"/>
                  <a:pt x="821" y="773"/>
                  <a:pt x="820" y="773"/>
                </a:cubicBezTo>
                <a:cubicBezTo>
                  <a:pt x="820" y="773"/>
                  <a:pt x="820" y="773"/>
                  <a:pt x="819" y="773"/>
                </a:cubicBezTo>
                <a:cubicBezTo>
                  <a:pt x="819" y="772"/>
                  <a:pt x="819" y="772"/>
                  <a:pt x="819" y="772"/>
                </a:cubicBezTo>
                <a:cubicBezTo>
                  <a:pt x="819" y="771"/>
                  <a:pt x="819" y="771"/>
                  <a:pt x="819" y="771"/>
                </a:cubicBezTo>
                <a:cubicBezTo>
                  <a:pt x="819" y="770"/>
                  <a:pt x="819" y="770"/>
                  <a:pt x="819" y="769"/>
                </a:cubicBezTo>
                <a:cubicBezTo>
                  <a:pt x="819" y="768"/>
                  <a:pt x="818" y="766"/>
                  <a:pt x="818" y="765"/>
                </a:cubicBezTo>
                <a:cubicBezTo>
                  <a:pt x="818" y="764"/>
                  <a:pt x="818" y="762"/>
                  <a:pt x="817" y="761"/>
                </a:cubicBezTo>
                <a:cubicBezTo>
                  <a:pt x="816" y="760"/>
                  <a:pt x="814" y="759"/>
                  <a:pt x="813" y="760"/>
                </a:cubicBezTo>
                <a:cubicBezTo>
                  <a:pt x="812" y="760"/>
                  <a:pt x="811" y="760"/>
                  <a:pt x="811" y="761"/>
                </a:cubicBezTo>
                <a:cubicBezTo>
                  <a:pt x="810" y="762"/>
                  <a:pt x="809" y="762"/>
                  <a:pt x="807" y="763"/>
                </a:cubicBezTo>
                <a:cubicBezTo>
                  <a:pt x="807" y="763"/>
                  <a:pt x="806" y="764"/>
                  <a:pt x="805" y="764"/>
                </a:cubicBezTo>
                <a:cubicBezTo>
                  <a:pt x="805" y="764"/>
                  <a:pt x="804" y="765"/>
                  <a:pt x="803" y="765"/>
                </a:cubicBezTo>
                <a:cubicBezTo>
                  <a:pt x="803" y="765"/>
                  <a:pt x="803" y="763"/>
                  <a:pt x="803" y="762"/>
                </a:cubicBezTo>
                <a:cubicBezTo>
                  <a:pt x="803" y="762"/>
                  <a:pt x="803" y="761"/>
                  <a:pt x="804" y="761"/>
                </a:cubicBezTo>
                <a:cubicBezTo>
                  <a:pt x="804" y="760"/>
                  <a:pt x="805" y="760"/>
                  <a:pt x="806" y="760"/>
                </a:cubicBezTo>
                <a:cubicBezTo>
                  <a:pt x="807" y="759"/>
                  <a:pt x="807" y="758"/>
                  <a:pt x="807" y="758"/>
                </a:cubicBezTo>
                <a:cubicBezTo>
                  <a:pt x="807" y="757"/>
                  <a:pt x="808" y="756"/>
                  <a:pt x="809" y="756"/>
                </a:cubicBezTo>
                <a:cubicBezTo>
                  <a:pt x="809" y="756"/>
                  <a:pt x="809" y="756"/>
                  <a:pt x="810" y="755"/>
                </a:cubicBezTo>
                <a:cubicBezTo>
                  <a:pt x="810" y="755"/>
                  <a:pt x="810" y="754"/>
                  <a:pt x="810" y="754"/>
                </a:cubicBezTo>
                <a:cubicBezTo>
                  <a:pt x="810" y="752"/>
                  <a:pt x="811" y="750"/>
                  <a:pt x="810" y="748"/>
                </a:cubicBezTo>
                <a:cubicBezTo>
                  <a:pt x="810" y="748"/>
                  <a:pt x="809" y="747"/>
                  <a:pt x="809" y="747"/>
                </a:cubicBezTo>
                <a:cubicBezTo>
                  <a:pt x="809" y="747"/>
                  <a:pt x="809" y="747"/>
                  <a:pt x="808" y="746"/>
                </a:cubicBezTo>
                <a:cubicBezTo>
                  <a:pt x="808" y="746"/>
                  <a:pt x="808" y="745"/>
                  <a:pt x="809" y="745"/>
                </a:cubicBezTo>
                <a:cubicBezTo>
                  <a:pt x="809" y="745"/>
                  <a:pt x="810" y="747"/>
                  <a:pt x="810" y="746"/>
                </a:cubicBezTo>
                <a:cubicBezTo>
                  <a:pt x="810" y="745"/>
                  <a:pt x="810" y="744"/>
                  <a:pt x="809" y="744"/>
                </a:cubicBezTo>
                <a:cubicBezTo>
                  <a:pt x="809" y="743"/>
                  <a:pt x="809" y="742"/>
                  <a:pt x="808" y="742"/>
                </a:cubicBezTo>
                <a:cubicBezTo>
                  <a:pt x="808" y="742"/>
                  <a:pt x="808" y="741"/>
                  <a:pt x="807" y="741"/>
                </a:cubicBezTo>
                <a:cubicBezTo>
                  <a:pt x="807" y="741"/>
                  <a:pt x="807" y="741"/>
                  <a:pt x="807" y="741"/>
                </a:cubicBezTo>
                <a:cubicBezTo>
                  <a:pt x="806" y="740"/>
                  <a:pt x="805" y="740"/>
                  <a:pt x="804" y="739"/>
                </a:cubicBezTo>
                <a:cubicBezTo>
                  <a:pt x="804" y="739"/>
                  <a:pt x="803" y="739"/>
                  <a:pt x="803" y="739"/>
                </a:cubicBezTo>
                <a:cubicBezTo>
                  <a:pt x="802" y="739"/>
                  <a:pt x="802" y="739"/>
                  <a:pt x="802" y="739"/>
                </a:cubicBezTo>
                <a:cubicBezTo>
                  <a:pt x="801" y="739"/>
                  <a:pt x="801" y="738"/>
                  <a:pt x="800" y="737"/>
                </a:cubicBezTo>
                <a:cubicBezTo>
                  <a:pt x="799" y="736"/>
                  <a:pt x="797" y="737"/>
                  <a:pt x="795" y="736"/>
                </a:cubicBezTo>
                <a:cubicBezTo>
                  <a:pt x="795" y="736"/>
                  <a:pt x="794" y="735"/>
                  <a:pt x="793" y="735"/>
                </a:cubicBezTo>
                <a:cubicBezTo>
                  <a:pt x="793" y="735"/>
                  <a:pt x="792" y="735"/>
                  <a:pt x="791" y="735"/>
                </a:cubicBezTo>
                <a:cubicBezTo>
                  <a:pt x="791" y="736"/>
                  <a:pt x="790" y="736"/>
                  <a:pt x="790" y="737"/>
                </a:cubicBezTo>
                <a:cubicBezTo>
                  <a:pt x="790" y="737"/>
                  <a:pt x="790" y="737"/>
                  <a:pt x="790" y="738"/>
                </a:cubicBezTo>
                <a:cubicBezTo>
                  <a:pt x="790" y="738"/>
                  <a:pt x="790" y="739"/>
                  <a:pt x="790" y="739"/>
                </a:cubicBezTo>
                <a:cubicBezTo>
                  <a:pt x="790" y="740"/>
                  <a:pt x="791" y="740"/>
                  <a:pt x="790" y="741"/>
                </a:cubicBezTo>
                <a:cubicBezTo>
                  <a:pt x="790" y="741"/>
                  <a:pt x="789" y="741"/>
                  <a:pt x="788" y="741"/>
                </a:cubicBezTo>
                <a:cubicBezTo>
                  <a:pt x="787" y="741"/>
                  <a:pt x="786" y="742"/>
                  <a:pt x="786" y="742"/>
                </a:cubicBezTo>
                <a:cubicBezTo>
                  <a:pt x="786" y="743"/>
                  <a:pt x="786" y="744"/>
                  <a:pt x="786" y="745"/>
                </a:cubicBezTo>
                <a:cubicBezTo>
                  <a:pt x="786" y="746"/>
                  <a:pt x="785" y="746"/>
                  <a:pt x="785" y="746"/>
                </a:cubicBezTo>
                <a:cubicBezTo>
                  <a:pt x="784" y="747"/>
                  <a:pt x="784" y="746"/>
                  <a:pt x="784" y="747"/>
                </a:cubicBezTo>
                <a:cubicBezTo>
                  <a:pt x="784" y="747"/>
                  <a:pt x="783" y="749"/>
                  <a:pt x="783" y="749"/>
                </a:cubicBezTo>
                <a:cubicBezTo>
                  <a:pt x="783" y="748"/>
                  <a:pt x="783" y="748"/>
                  <a:pt x="783" y="747"/>
                </a:cubicBezTo>
                <a:cubicBezTo>
                  <a:pt x="783" y="747"/>
                  <a:pt x="783" y="747"/>
                  <a:pt x="784" y="746"/>
                </a:cubicBezTo>
                <a:cubicBezTo>
                  <a:pt x="784" y="746"/>
                  <a:pt x="784" y="746"/>
                  <a:pt x="784" y="745"/>
                </a:cubicBezTo>
                <a:cubicBezTo>
                  <a:pt x="784" y="745"/>
                  <a:pt x="784" y="744"/>
                  <a:pt x="784" y="744"/>
                </a:cubicBezTo>
                <a:cubicBezTo>
                  <a:pt x="784" y="743"/>
                  <a:pt x="782" y="744"/>
                  <a:pt x="782" y="745"/>
                </a:cubicBezTo>
                <a:cubicBezTo>
                  <a:pt x="782" y="745"/>
                  <a:pt x="782" y="746"/>
                  <a:pt x="781" y="747"/>
                </a:cubicBezTo>
                <a:cubicBezTo>
                  <a:pt x="781" y="747"/>
                  <a:pt x="781" y="746"/>
                  <a:pt x="780" y="746"/>
                </a:cubicBezTo>
                <a:cubicBezTo>
                  <a:pt x="780" y="746"/>
                  <a:pt x="779" y="747"/>
                  <a:pt x="779" y="747"/>
                </a:cubicBezTo>
                <a:cubicBezTo>
                  <a:pt x="778" y="748"/>
                  <a:pt x="778" y="748"/>
                  <a:pt x="778" y="749"/>
                </a:cubicBezTo>
                <a:cubicBezTo>
                  <a:pt x="777" y="749"/>
                  <a:pt x="777" y="750"/>
                  <a:pt x="776" y="751"/>
                </a:cubicBezTo>
                <a:cubicBezTo>
                  <a:pt x="776" y="751"/>
                  <a:pt x="775" y="752"/>
                  <a:pt x="775" y="752"/>
                </a:cubicBezTo>
                <a:cubicBezTo>
                  <a:pt x="775" y="753"/>
                  <a:pt x="775" y="754"/>
                  <a:pt x="775" y="755"/>
                </a:cubicBezTo>
                <a:cubicBezTo>
                  <a:pt x="775" y="755"/>
                  <a:pt x="774" y="756"/>
                  <a:pt x="774" y="757"/>
                </a:cubicBezTo>
                <a:cubicBezTo>
                  <a:pt x="774" y="757"/>
                  <a:pt x="773" y="758"/>
                  <a:pt x="773" y="759"/>
                </a:cubicBezTo>
                <a:cubicBezTo>
                  <a:pt x="773" y="760"/>
                  <a:pt x="774" y="761"/>
                  <a:pt x="774" y="762"/>
                </a:cubicBezTo>
                <a:cubicBezTo>
                  <a:pt x="774" y="763"/>
                  <a:pt x="774" y="764"/>
                  <a:pt x="774" y="764"/>
                </a:cubicBezTo>
                <a:cubicBezTo>
                  <a:pt x="774" y="765"/>
                  <a:pt x="774" y="766"/>
                  <a:pt x="774" y="767"/>
                </a:cubicBezTo>
                <a:cubicBezTo>
                  <a:pt x="774" y="768"/>
                  <a:pt x="774" y="768"/>
                  <a:pt x="774" y="769"/>
                </a:cubicBezTo>
                <a:cubicBezTo>
                  <a:pt x="774" y="770"/>
                  <a:pt x="775" y="770"/>
                  <a:pt x="775" y="770"/>
                </a:cubicBezTo>
                <a:cubicBezTo>
                  <a:pt x="775" y="770"/>
                  <a:pt x="776" y="771"/>
                  <a:pt x="776" y="771"/>
                </a:cubicBezTo>
                <a:cubicBezTo>
                  <a:pt x="776" y="772"/>
                  <a:pt x="776" y="773"/>
                  <a:pt x="776" y="774"/>
                </a:cubicBezTo>
                <a:cubicBezTo>
                  <a:pt x="776" y="775"/>
                  <a:pt x="777" y="775"/>
                  <a:pt x="777" y="775"/>
                </a:cubicBezTo>
                <a:cubicBezTo>
                  <a:pt x="777" y="776"/>
                  <a:pt x="777" y="776"/>
                  <a:pt x="777" y="777"/>
                </a:cubicBezTo>
                <a:cubicBezTo>
                  <a:pt x="777" y="778"/>
                  <a:pt x="776" y="779"/>
                  <a:pt x="776" y="779"/>
                </a:cubicBezTo>
                <a:cubicBezTo>
                  <a:pt x="776" y="780"/>
                  <a:pt x="776" y="780"/>
                  <a:pt x="776" y="781"/>
                </a:cubicBezTo>
                <a:cubicBezTo>
                  <a:pt x="776" y="781"/>
                  <a:pt x="776" y="782"/>
                  <a:pt x="775" y="782"/>
                </a:cubicBezTo>
                <a:cubicBezTo>
                  <a:pt x="775" y="783"/>
                  <a:pt x="775" y="784"/>
                  <a:pt x="774" y="784"/>
                </a:cubicBezTo>
                <a:cubicBezTo>
                  <a:pt x="774" y="785"/>
                  <a:pt x="773" y="786"/>
                  <a:pt x="773" y="786"/>
                </a:cubicBezTo>
                <a:cubicBezTo>
                  <a:pt x="772" y="787"/>
                  <a:pt x="772" y="788"/>
                  <a:pt x="771" y="788"/>
                </a:cubicBezTo>
                <a:cubicBezTo>
                  <a:pt x="771" y="789"/>
                  <a:pt x="771" y="789"/>
                  <a:pt x="770" y="789"/>
                </a:cubicBezTo>
                <a:cubicBezTo>
                  <a:pt x="770" y="790"/>
                  <a:pt x="770" y="790"/>
                  <a:pt x="770" y="791"/>
                </a:cubicBezTo>
                <a:cubicBezTo>
                  <a:pt x="770" y="791"/>
                  <a:pt x="769" y="791"/>
                  <a:pt x="768" y="792"/>
                </a:cubicBezTo>
                <a:cubicBezTo>
                  <a:pt x="767" y="793"/>
                  <a:pt x="766" y="793"/>
                  <a:pt x="764" y="793"/>
                </a:cubicBezTo>
                <a:cubicBezTo>
                  <a:pt x="763" y="792"/>
                  <a:pt x="762" y="791"/>
                  <a:pt x="761" y="790"/>
                </a:cubicBezTo>
                <a:cubicBezTo>
                  <a:pt x="760" y="789"/>
                  <a:pt x="760" y="787"/>
                  <a:pt x="759" y="785"/>
                </a:cubicBezTo>
                <a:cubicBezTo>
                  <a:pt x="759" y="784"/>
                  <a:pt x="759" y="783"/>
                  <a:pt x="759" y="782"/>
                </a:cubicBezTo>
                <a:cubicBezTo>
                  <a:pt x="759" y="781"/>
                  <a:pt x="759" y="780"/>
                  <a:pt x="758" y="778"/>
                </a:cubicBezTo>
                <a:cubicBezTo>
                  <a:pt x="758" y="777"/>
                  <a:pt x="758" y="775"/>
                  <a:pt x="758" y="773"/>
                </a:cubicBezTo>
                <a:cubicBezTo>
                  <a:pt x="758" y="772"/>
                  <a:pt x="758" y="770"/>
                  <a:pt x="758" y="769"/>
                </a:cubicBezTo>
                <a:cubicBezTo>
                  <a:pt x="758" y="768"/>
                  <a:pt x="758" y="767"/>
                  <a:pt x="759" y="766"/>
                </a:cubicBezTo>
                <a:cubicBezTo>
                  <a:pt x="759" y="765"/>
                  <a:pt x="759" y="765"/>
                  <a:pt x="759" y="764"/>
                </a:cubicBezTo>
                <a:cubicBezTo>
                  <a:pt x="759" y="764"/>
                  <a:pt x="760" y="763"/>
                  <a:pt x="760" y="762"/>
                </a:cubicBezTo>
                <a:cubicBezTo>
                  <a:pt x="760" y="761"/>
                  <a:pt x="760" y="760"/>
                  <a:pt x="760" y="760"/>
                </a:cubicBezTo>
                <a:cubicBezTo>
                  <a:pt x="760" y="759"/>
                  <a:pt x="760" y="759"/>
                  <a:pt x="760" y="759"/>
                </a:cubicBezTo>
                <a:cubicBezTo>
                  <a:pt x="760" y="758"/>
                  <a:pt x="761" y="758"/>
                  <a:pt x="761" y="758"/>
                </a:cubicBezTo>
                <a:cubicBezTo>
                  <a:pt x="761" y="758"/>
                  <a:pt x="761" y="757"/>
                  <a:pt x="761" y="757"/>
                </a:cubicBezTo>
                <a:cubicBezTo>
                  <a:pt x="761" y="756"/>
                  <a:pt x="762" y="755"/>
                  <a:pt x="762" y="754"/>
                </a:cubicBezTo>
                <a:cubicBezTo>
                  <a:pt x="762" y="754"/>
                  <a:pt x="762" y="753"/>
                  <a:pt x="763" y="752"/>
                </a:cubicBezTo>
                <a:cubicBezTo>
                  <a:pt x="763" y="751"/>
                  <a:pt x="763" y="751"/>
                  <a:pt x="763" y="750"/>
                </a:cubicBezTo>
                <a:cubicBezTo>
                  <a:pt x="763" y="750"/>
                  <a:pt x="763" y="749"/>
                  <a:pt x="764" y="749"/>
                </a:cubicBezTo>
                <a:cubicBezTo>
                  <a:pt x="764" y="748"/>
                  <a:pt x="764" y="748"/>
                  <a:pt x="764" y="748"/>
                </a:cubicBezTo>
                <a:cubicBezTo>
                  <a:pt x="765" y="748"/>
                  <a:pt x="765" y="748"/>
                  <a:pt x="765" y="747"/>
                </a:cubicBezTo>
                <a:cubicBezTo>
                  <a:pt x="766" y="747"/>
                  <a:pt x="766" y="746"/>
                  <a:pt x="767" y="746"/>
                </a:cubicBezTo>
                <a:cubicBezTo>
                  <a:pt x="767" y="745"/>
                  <a:pt x="767" y="744"/>
                  <a:pt x="767" y="743"/>
                </a:cubicBezTo>
                <a:cubicBezTo>
                  <a:pt x="767" y="743"/>
                  <a:pt x="767" y="742"/>
                  <a:pt x="767" y="742"/>
                </a:cubicBezTo>
                <a:cubicBezTo>
                  <a:pt x="766" y="741"/>
                  <a:pt x="766" y="742"/>
                  <a:pt x="766" y="743"/>
                </a:cubicBezTo>
                <a:cubicBezTo>
                  <a:pt x="766" y="743"/>
                  <a:pt x="766" y="744"/>
                  <a:pt x="765" y="744"/>
                </a:cubicBezTo>
                <a:cubicBezTo>
                  <a:pt x="764" y="745"/>
                  <a:pt x="764" y="746"/>
                  <a:pt x="763" y="746"/>
                </a:cubicBezTo>
                <a:cubicBezTo>
                  <a:pt x="763" y="748"/>
                  <a:pt x="761" y="748"/>
                  <a:pt x="760" y="749"/>
                </a:cubicBezTo>
                <a:cubicBezTo>
                  <a:pt x="760" y="749"/>
                  <a:pt x="760" y="750"/>
                  <a:pt x="760" y="750"/>
                </a:cubicBezTo>
                <a:cubicBezTo>
                  <a:pt x="759" y="750"/>
                  <a:pt x="759" y="751"/>
                  <a:pt x="759" y="751"/>
                </a:cubicBezTo>
                <a:cubicBezTo>
                  <a:pt x="758" y="751"/>
                  <a:pt x="758" y="752"/>
                  <a:pt x="757" y="753"/>
                </a:cubicBezTo>
                <a:cubicBezTo>
                  <a:pt x="757" y="753"/>
                  <a:pt x="756" y="752"/>
                  <a:pt x="756" y="751"/>
                </a:cubicBezTo>
                <a:cubicBezTo>
                  <a:pt x="757" y="751"/>
                  <a:pt x="757" y="750"/>
                  <a:pt x="757" y="749"/>
                </a:cubicBezTo>
                <a:cubicBezTo>
                  <a:pt x="758" y="749"/>
                  <a:pt x="758" y="749"/>
                  <a:pt x="758" y="748"/>
                </a:cubicBezTo>
                <a:cubicBezTo>
                  <a:pt x="758" y="748"/>
                  <a:pt x="758" y="748"/>
                  <a:pt x="758" y="747"/>
                </a:cubicBezTo>
                <a:cubicBezTo>
                  <a:pt x="758" y="747"/>
                  <a:pt x="759" y="747"/>
                  <a:pt x="759" y="747"/>
                </a:cubicBezTo>
                <a:cubicBezTo>
                  <a:pt x="759" y="747"/>
                  <a:pt x="760" y="746"/>
                  <a:pt x="760" y="746"/>
                </a:cubicBezTo>
                <a:cubicBezTo>
                  <a:pt x="760" y="746"/>
                  <a:pt x="761" y="745"/>
                  <a:pt x="761" y="745"/>
                </a:cubicBezTo>
                <a:cubicBezTo>
                  <a:pt x="761" y="745"/>
                  <a:pt x="761" y="744"/>
                  <a:pt x="762" y="744"/>
                </a:cubicBezTo>
                <a:cubicBezTo>
                  <a:pt x="762" y="743"/>
                  <a:pt x="762" y="743"/>
                  <a:pt x="762" y="743"/>
                </a:cubicBezTo>
                <a:cubicBezTo>
                  <a:pt x="762" y="742"/>
                  <a:pt x="763" y="742"/>
                  <a:pt x="763" y="741"/>
                </a:cubicBezTo>
                <a:cubicBezTo>
                  <a:pt x="764" y="740"/>
                  <a:pt x="764" y="739"/>
                  <a:pt x="765" y="738"/>
                </a:cubicBezTo>
                <a:cubicBezTo>
                  <a:pt x="765" y="737"/>
                  <a:pt x="767" y="737"/>
                  <a:pt x="767" y="736"/>
                </a:cubicBezTo>
                <a:cubicBezTo>
                  <a:pt x="767" y="736"/>
                  <a:pt x="766" y="734"/>
                  <a:pt x="767" y="735"/>
                </a:cubicBezTo>
                <a:cubicBezTo>
                  <a:pt x="768" y="735"/>
                  <a:pt x="768" y="736"/>
                  <a:pt x="768" y="736"/>
                </a:cubicBezTo>
                <a:cubicBezTo>
                  <a:pt x="768" y="737"/>
                  <a:pt x="769" y="736"/>
                  <a:pt x="769" y="736"/>
                </a:cubicBezTo>
                <a:cubicBezTo>
                  <a:pt x="769" y="736"/>
                  <a:pt x="769" y="736"/>
                  <a:pt x="770" y="735"/>
                </a:cubicBezTo>
                <a:cubicBezTo>
                  <a:pt x="770" y="735"/>
                  <a:pt x="770" y="735"/>
                  <a:pt x="770" y="734"/>
                </a:cubicBezTo>
                <a:cubicBezTo>
                  <a:pt x="770" y="734"/>
                  <a:pt x="771" y="735"/>
                  <a:pt x="771" y="734"/>
                </a:cubicBezTo>
                <a:cubicBezTo>
                  <a:pt x="772" y="734"/>
                  <a:pt x="772" y="734"/>
                  <a:pt x="772" y="734"/>
                </a:cubicBezTo>
                <a:cubicBezTo>
                  <a:pt x="772" y="734"/>
                  <a:pt x="773" y="734"/>
                  <a:pt x="773" y="734"/>
                </a:cubicBezTo>
                <a:cubicBezTo>
                  <a:pt x="773" y="735"/>
                  <a:pt x="772" y="735"/>
                  <a:pt x="771" y="736"/>
                </a:cubicBezTo>
                <a:cubicBezTo>
                  <a:pt x="771" y="736"/>
                  <a:pt x="771" y="738"/>
                  <a:pt x="772" y="738"/>
                </a:cubicBezTo>
                <a:cubicBezTo>
                  <a:pt x="772" y="738"/>
                  <a:pt x="773" y="736"/>
                  <a:pt x="773" y="736"/>
                </a:cubicBezTo>
                <a:cubicBezTo>
                  <a:pt x="774" y="735"/>
                  <a:pt x="774" y="736"/>
                  <a:pt x="775" y="735"/>
                </a:cubicBezTo>
                <a:cubicBezTo>
                  <a:pt x="775" y="734"/>
                  <a:pt x="775" y="733"/>
                  <a:pt x="776" y="733"/>
                </a:cubicBezTo>
                <a:cubicBezTo>
                  <a:pt x="777" y="733"/>
                  <a:pt x="777" y="733"/>
                  <a:pt x="778" y="733"/>
                </a:cubicBezTo>
                <a:cubicBezTo>
                  <a:pt x="779" y="733"/>
                  <a:pt x="780" y="733"/>
                  <a:pt x="781" y="732"/>
                </a:cubicBezTo>
                <a:cubicBezTo>
                  <a:pt x="782" y="732"/>
                  <a:pt x="782" y="733"/>
                  <a:pt x="783" y="732"/>
                </a:cubicBezTo>
                <a:cubicBezTo>
                  <a:pt x="783" y="732"/>
                  <a:pt x="784" y="732"/>
                  <a:pt x="784" y="731"/>
                </a:cubicBezTo>
                <a:cubicBezTo>
                  <a:pt x="784" y="731"/>
                  <a:pt x="784" y="731"/>
                  <a:pt x="785" y="731"/>
                </a:cubicBezTo>
                <a:cubicBezTo>
                  <a:pt x="786" y="730"/>
                  <a:pt x="786" y="731"/>
                  <a:pt x="787" y="731"/>
                </a:cubicBezTo>
                <a:cubicBezTo>
                  <a:pt x="788" y="731"/>
                  <a:pt x="789" y="731"/>
                  <a:pt x="789" y="732"/>
                </a:cubicBezTo>
                <a:cubicBezTo>
                  <a:pt x="790" y="732"/>
                  <a:pt x="790" y="732"/>
                  <a:pt x="790" y="732"/>
                </a:cubicBezTo>
                <a:cubicBezTo>
                  <a:pt x="791" y="732"/>
                  <a:pt x="791" y="733"/>
                  <a:pt x="791" y="733"/>
                </a:cubicBezTo>
                <a:cubicBezTo>
                  <a:pt x="791" y="733"/>
                  <a:pt x="792" y="733"/>
                  <a:pt x="792" y="733"/>
                </a:cubicBezTo>
                <a:cubicBezTo>
                  <a:pt x="792" y="734"/>
                  <a:pt x="793" y="734"/>
                  <a:pt x="793" y="734"/>
                </a:cubicBezTo>
                <a:cubicBezTo>
                  <a:pt x="794" y="735"/>
                  <a:pt x="794" y="733"/>
                  <a:pt x="794" y="733"/>
                </a:cubicBezTo>
                <a:cubicBezTo>
                  <a:pt x="794" y="732"/>
                  <a:pt x="794" y="731"/>
                  <a:pt x="795" y="731"/>
                </a:cubicBezTo>
                <a:cubicBezTo>
                  <a:pt x="796" y="731"/>
                  <a:pt x="796" y="732"/>
                  <a:pt x="796" y="732"/>
                </a:cubicBezTo>
                <a:cubicBezTo>
                  <a:pt x="797" y="732"/>
                  <a:pt x="797" y="732"/>
                  <a:pt x="798" y="732"/>
                </a:cubicBezTo>
                <a:close/>
                <a:moveTo>
                  <a:pt x="711" y="720"/>
                </a:moveTo>
                <a:cubicBezTo>
                  <a:pt x="711" y="720"/>
                  <a:pt x="712" y="720"/>
                  <a:pt x="712" y="720"/>
                </a:cubicBezTo>
                <a:cubicBezTo>
                  <a:pt x="712" y="719"/>
                  <a:pt x="713" y="719"/>
                  <a:pt x="713" y="718"/>
                </a:cubicBezTo>
                <a:cubicBezTo>
                  <a:pt x="714" y="718"/>
                  <a:pt x="715" y="717"/>
                  <a:pt x="715" y="717"/>
                </a:cubicBezTo>
                <a:cubicBezTo>
                  <a:pt x="716" y="716"/>
                  <a:pt x="716" y="716"/>
                  <a:pt x="717" y="715"/>
                </a:cubicBezTo>
                <a:cubicBezTo>
                  <a:pt x="718" y="714"/>
                  <a:pt x="718" y="714"/>
                  <a:pt x="719" y="714"/>
                </a:cubicBezTo>
                <a:cubicBezTo>
                  <a:pt x="720" y="713"/>
                  <a:pt x="721" y="712"/>
                  <a:pt x="721" y="711"/>
                </a:cubicBezTo>
                <a:cubicBezTo>
                  <a:pt x="722" y="711"/>
                  <a:pt x="722" y="711"/>
                  <a:pt x="723" y="711"/>
                </a:cubicBezTo>
                <a:cubicBezTo>
                  <a:pt x="723" y="710"/>
                  <a:pt x="723" y="710"/>
                  <a:pt x="724" y="710"/>
                </a:cubicBezTo>
                <a:cubicBezTo>
                  <a:pt x="724" y="709"/>
                  <a:pt x="725" y="709"/>
                  <a:pt x="726" y="708"/>
                </a:cubicBezTo>
                <a:cubicBezTo>
                  <a:pt x="727" y="708"/>
                  <a:pt x="729" y="707"/>
                  <a:pt x="731" y="706"/>
                </a:cubicBezTo>
                <a:cubicBezTo>
                  <a:pt x="732" y="706"/>
                  <a:pt x="732" y="706"/>
                  <a:pt x="732" y="706"/>
                </a:cubicBezTo>
                <a:cubicBezTo>
                  <a:pt x="733" y="706"/>
                  <a:pt x="734" y="705"/>
                  <a:pt x="734" y="705"/>
                </a:cubicBezTo>
                <a:cubicBezTo>
                  <a:pt x="736" y="704"/>
                  <a:pt x="737" y="704"/>
                  <a:pt x="739" y="703"/>
                </a:cubicBezTo>
                <a:cubicBezTo>
                  <a:pt x="740" y="703"/>
                  <a:pt x="740" y="703"/>
                  <a:pt x="741" y="702"/>
                </a:cubicBezTo>
                <a:cubicBezTo>
                  <a:pt x="741" y="701"/>
                  <a:pt x="742" y="700"/>
                  <a:pt x="742" y="700"/>
                </a:cubicBezTo>
                <a:cubicBezTo>
                  <a:pt x="743" y="699"/>
                  <a:pt x="743" y="699"/>
                  <a:pt x="743" y="699"/>
                </a:cubicBezTo>
                <a:cubicBezTo>
                  <a:pt x="743" y="698"/>
                  <a:pt x="743" y="698"/>
                  <a:pt x="743" y="697"/>
                </a:cubicBezTo>
                <a:cubicBezTo>
                  <a:pt x="743" y="697"/>
                  <a:pt x="743" y="696"/>
                  <a:pt x="744" y="696"/>
                </a:cubicBezTo>
                <a:cubicBezTo>
                  <a:pt x="745" y="696"/>
                  <a:pt x="745" y="696"/>
                  <a:pt x="745" y="696"/>
                </a:cubicBezTo>
                <a:cubicBezTo>
                  <a:pt x="746" y="696"/>
                  <a:pt x="746" y="696"/>
                  <a:pt x="746" y="695"/>
                </a:cubicBezTo>
                <a:cubicBezTo>
                  <a:pt x="747" y="695"/>
                  <a:pt x="747" y="695"/>
                  <a:pt x="747" y="695"/>
                </a:cubicBezTo>
                <a:cubicBezTo>
                  <a:pt x="748" y="696"/>
                  <a:pt x="747" y="696"/>
                  <a:pt x="747" y="696"/>
                </a:cubicBezTo>
                <a:cubicBezTo>
                  <a:pt x="747" y="697"/>
                  <a:pt x="747" y="697"/>
                  <a:pt x="747" y="697"/>
                </a:cubicBezTo>
                <a:cubicBezTo>
                  <a:pt x="747" y="698"/>
                  <a:pt x="746" y="698"/>
                  <a:pt x="746" y="698"/>
                </a:cubicBezTo>
                <a:cubicBezTo>
                  <a:pt x="746" y="698"/>
                  <a:pt x="746" y="699"/>
                  <a:pt x="746" y="699"/>
                </a:cubicBezTo>
                <a:cubicBezTo>
                  <a:pt x="746" y="699"/>
                  <a:pt x="746" y="698"/>
                  <a:pt x="747" y="698"/>
                </a:cubicBezTo>
                <a:cubicBezTo>
                  <a:pt x="747" y="698"/>
                  <a:pt x="747" y="698"/>
                  <a:pt x="747" y="698"/>
                </a:cubicBezTo>
                <a:cubicBezTo>
                  <a:pt x="748" y="698"/>
                  <a:pt x="748" y="698"/>
                  <a:pt x="748" y="697"/>
                </a:cubicBezTo>
                <a:cubicBezTo>
                  <a:pt x="748" y="697"/>
                  <a:pt x="748" y="697"/>
                  <a:pt x="748" y="697"/>
                </a:cubicBezTo>
                <a:cubicBezTo>
                  <a:pt x="749" y="696"/>
                  <a:pt x="749" y="695"/>
                  <a:pt x="749" y="695"/>
                </a:cubicBezTo>
                <a:cubicBezTo>
                  <a:pt x="750" y="694"/>
                  <a:pt x="750" y="694"/>
                  <a:pt x="750" y="693"/>
                </a:cubicBezTo>
                <a:cubicBezTo>
                  <a:pt x="750" y="693"/>
                  <a:pt x="750" y="693"/>
                  <a:pt x="750" y="692"/>
                </a:cubicBezTo>
                <a:cubicBezTo>
                  <a:pt x="750" y="692"/>
                  <a:pt x="750" y="692"/>
                  <a:pt x="750" y="692"/>
                </a:cubicBezTo>
                <a:cubicBezTo>
                  <a:pt x="750" y="691"/>
                  <a:pt x="750" y="691"/>
                  <a:pt x="751" y="691"/>
                </a:cubicBezTo>
                <a:cubicBezTo>
                  <a:pt x="751" y="691"/>
                  <a:pt x="751" y="691"/>
                  <a:pt x="752" y="691"/>
                </a:cubicBezTo>
                <a:cubicBezTo>
                  <a:pt x="752" y="692"/>
                  <a:pt x="752" y="692"/>
                  <a:pt x="753" y="692"/>
                </a:cubicBezTo>
                <a:cubicBezTo>
                  <a:pt x="753" y="693"/>
                  <a:pt x="752" y="693"/>
                  <a:pt x="751" y="694"/>
                </a:cubicBezTo>
                <a:cubicBezTo>
                  <a:pt x="751" y="694"/>
                  <a:pt x="751" y="695"/>
                  <a:pt x="750" y="695"/>
                </a:cubicBezTo>
                <a:cubicBezTo>
                  <a:pt x="750" y="695"/>
                  <a:pt x="750" y="696"/>
                  <a:pt x="750" y="696"/>
                </a:cubicBezTo>
                <a:cubicBezTo>
                  <a:pt x="750" y="696"/>
                  <a:pt x="750" y="697"/>
                  <a:pt x="750" y="697"/>
                </a:cubicBezTo>
                <a:cubicBezTo>
                  <a:pt x="751" y="697"/>
                  <a:pt x="751" y="696"/>
                  <a:pt x="751" y="696"/>
                </a:cubicBezTo>
                <a:cubicBezTo>
                  <a:pt x="751" y="695"/>
                  <a:pt x="751" y="695"/>
                  <a:pt x="752" y="695"/>
                </a:cubicBezTo>
                <a:cubicBezTo>
                  <a:pt x="752" y="695"/>
                  <a:pt x="753" y="695"/>
                  <a:pt x="753" y="695"/>
                </a:cubicBezTo>
                <a:cubicBezTo>
                  <a:pt x="753" y="694"/>
                  <a:pt x="752" y="694"/>
                  <a:pt x="753" y="694"/>
                </a:cubicBezTo>
                <a:cubicBezTo>
                  <a:pt x="753" y="694"/>
                  <a:pt x="754" y="694"/>
                  <a:pt x="754" y="694"/>
                </a:cubicBezTo>
                <a:cubicBezTo>
                  <a:pt x="754" y="694"/>
                  <a:pt x="755" y="694"/>
                  <a:pt x="755" y="693"/>
                </a:cubicBezTo>
                <a:cubicBezTo>
                  <a:pt x="755" y="693"/>
                  <a:pt x="755" y="693"/>
                  <a:pt x="755" y="692"/>
                </a:cubicBezTo>
                <a:cubicBezTo>
                  <a:pt x="755" y="692"/>
                  <a:pt x="756" y="692"/>
                  <a:pt x="757" y="692"/>
                </a:cubicBezTo>
                <a:cubicBezTo>
                  <a:pt x="757" y="692"/>
                  <a:pt x="759" y="692"/>
                  <a:pt x="759" y="691"/>
                </a:cubicBezTo>
                <a:cubicBezTo>
                  <a:pt x="759" y="690"/>
                  <a:pt x="757" y="690"/>
                  <a:pt x="757" y="690"/>
                </a:cubicBezTo>
                <a:cubicBezTo>
                  <a:pt x="756" y="691"/>
                  <a:pt x="756" y="692"/>
                  <a:pt x="756" y="691"/>
                </a:cubicBezTo>
                <a:cubicBezTo>
                  <a:pt x="755" y="691"/>
                  <a:pt x="755" y="691"/>
                  <a:pt x="755" y="691"/>
                </a:cubicBezTo>
                <a:cubicBezTo>
                  <a:pt x="754" y="691"/>
                  <a:pt x="754" y="691"/>
                  <a:pt x="754" y="690"/>
                </a:cubicBezTo>
                <a:cubicBezTo>
                  <a:pt x="754" y="690"/>
                  <a:pt x="753" y="690"/>
                  <a:pt x="754" y="689"/>
                </a:cubicBezTo>
                <a:cubicBezTo>
                  <a:pt x="754" y="689"/>
                  <a:pt x="755" y="689"/>
                  <a:pt x="755" y="689"/>
                </a:cubicBezTo>
                <a:cubicBezTo>
                  <a:pt x="756" y="689"/>
                  <a:pt x="757" y="689"/>
                  <a:pt x="757" y="689"/>
                </a:cubicBezTo>
                <a:cubicBezTo>
                  <a:pt x="758" y="689"/>
                  <a:pt x="758" y="689"/>
                  <a:pt x="759" y="690"/>
                </a:cubicBezTo>
                <a:cubicBezTo>
                  <a:pt x="760" y="690"/>
                  <a:pt x="760" y="690"/>
                  <a:pt x="761" y="691"/>
                </a:cubicBezTo>
                <a:cubicBezTo>
                  <a:pt x="761" y="691"/>
                  <a:pt x="762" y="691"/>
                  <a:pt x="763" y="691"/>
                </a:cubicBezTo>
                <a:cubicBezTo>
                  <a:pt x="764" y="691"/>
                  <a:pt x="764" y="691"/>
                  <a:pt x="764" y="691"/>
                </a:cubicBezTo>
                <a:cubicBezTo>
                  <a:pt x="764" y="692"/>
                  <a:pt x="765" y="692"/>
                  <a:pt x="765" y="692"/>
                </a:cubicBezTo>
                <a:cubicBezTo>
                  <a:pt x="766" y="692"/>
                  <a:pt x="767" y="692"/>
                  <a:pt x="767" y="692"/>
                </a:cubicBezTo>
                <a:cubicBezTo>
                  <a:pt x="768" y="692"/>
                  <a:pt x="769" y="692"/>
                  <a:pt x="770" y="692"/>
                </a:cubicBezTo>
                <a:cubicBezTo>
                  <a:pt x="771" y="691"/>
                  <a:pt x="773" y="691"/>
                  <a:pt x="774" y="692"/>
                </a:cubicBezTo>
                <a:cubicBezTo>
                  <a:pt x="775" y="693"/>
                  <a:pt x="775" y="694"/>
                  <a:pt x="776" y="695"/>
                </a:cubicBezTo>
                <a:cubicBezTo>
                  <a:pt x="776" y="695"/>
                  <a:pt x="776" y="696"/>
                  <a:pt x="776" y="697"/>
                </a:cubicBezTo>
                <a:cubicBezTo>
                  <a:pt x="777" y="697"/>
                  <a:pt x="777" y="698"/>
                  <a:pt x="777" y="699"/>
                </a:cubicBezTo>
                <a:cubicBezTo>
                  <a:pt x="777" y="700"/>
                  <a:pt x="778" y="700"/>
                  <a:pt x="778" y="701"/>
                </a:cubicBezTo>
                <a:cubicBezTo>
                  <a:pt x="779" y="702"/>
                  <a:pt x="779" y="703"/>
                  <a:pt x="780" y="703"/>
                </a:cubicBezTo>
                <a:cubicBezTo>
                  <a:pt x="781" y="704"/>
                  <a:pt x="782" y="703"/>
                  <a:pt x="782" y="704"/>
                </a:cubicBezTo>
                <a:cubicBezTo>
                  <a:pt x="783" y="704"/>
                  <a:pt x="784" y="704"/>
                  <a:pt x="784" y="704"/>
                </a:cubicBezTo>
                <a:cubicBezTo>
                  <a:pt x="785" y="704"/>
                  <a:pt x="786" y="704"/>
                  <a:pt x="787" y="704"/>
                </a:cubicBezTo>
                <a:cubicBezTo>
                  <a:pt x="788" y="704"/>
                  <a:pt x="793" y="703"/>
                  <a:pt x="792" y="705"/>
                </a:cubicBezTo>
                <a:cubicBezTo>
                  <a:pt x="792" y="705"/>
                  <a:pt x="791" y="706"/>
                  <a:pt x="791" y="706"/>
                </a:cubicBezTo>
                <a:cubicBezTo>
                  <a:pt x="791" y="706"/>
                  <a:pt x="791" y="707"/>
                  <a:pt x="791" y="707"/>
                </a:cubicBezTo>
                <a:cubicBezTo>
                  <a:pt x="791" y="708"/>
                  <a:pt x="790" y="708"/>
                  <a:pt x="790" y="709"/>
                </a:cubicBezTo>
                <a:cubicBezTo>
                  <a:pt x="791" y="709"/>
                  <a:pt x="791" y="709"/>
                  <a:pt x="791" y="710"/>
                </a:cubicBezTo>
                <a:cubicBezTo>
                  <a:pt x="792" y="710"/>
                  <a:pt x="792" y="710"/>
                  <a:pt x="792" y="711"/>
                </a:cubicBezTo>
                <a:cubicBezTo>
                  <a:pt x="793" y="711"/>
                  <a:pt x="793" y="712"/>
                  <a:pt x="794" y="712"/>
                </a:cubicBezTo>
                <a:cubicBezTo>
                  <a:pt x="795" y="712"/>
                  <a:pt x="795" y="713"/>
                  <a:pt x="795" y="714"/>
                </a:cubicBezTo>
                <a:cubicBezTo>
                  <a:pt x="795" y="714"/>
                  <a:pt x="794" y="714"/>
                  <a:pt x="794" y="715"/>
                </a:cubicBezTo>
                <a:cubicBezTo>
                  <a:pt x="794" y="715"/>
                  <a:pt x="794" y="715"/>
                  <a:pt x="794" y="716"/>
                </a:cubicBezTo>
                <a:cubicBezTo>
                  <a:pt x="794" y="716"/>
                  <a:pt x="793" y="717"/>
                  <a:pt x="793" y="718"/>
                </a:cubicBezTo>
                <a:cubicBezTo>
                  <a:pt x="793" y="719"/>
                  <a:pt x="794" y="719"/>
                  <a:pt x="795" y="719"/>
                </a:cubicBezTo>
                <a:cubicBezTo>
                  <a:pt x="795" y="719"/>
                  <a:pt x="796" y="720"/>
                  <a:pt x="796" y="720"/>
                </a:cubicBezTo>
                <a:cubicBezTo>
                  <a:pt x="796" y="720"/>
                  <a:pt x="795" y="721"/>
                  <a:pt x="795" y="721"/>
                </a:cubicBezTo>
                <a:cubicBezTo>
                  <a:pt x="795" y="722"/>
                  <a:pt x="796" y="722"/>
                  <a:pt x="796" y="722"/>
                </a:cubicBezTo>
                <a:cubicBezTo>
                  <a:pt x="796" y="722"/>
                  <a:pt x="796" y="723"/>
                  <a:pt x="796" y="723"/>
                </a:cubicBezTo>
                <a:cubicBezTo>
                  <a:pt x="796" y="723"/>
                  <a:pt x="796" y="724"/>
                  <a:pt x="796" y="724"/>
                </a:cubicBezTo>
                <a:cubicBezTo>
                  <a:pt x="795" y="724"/>
                  <a:pt x="795" y="724"/>
                  <a:pt x="795" y="724"/>
                </a:cubicBezTo>
                <a:cubicBezTo>
                  <a:pt x="794" y="724"/>
                  <a:pt x="794" y="724"/>
                  <a:pt x="794" y="724"/>
                </a:cubicBezTo>
                <a:cubicBezTo>
                  <a:pt x="793" y="724"/>
                  <a:pt x="793" y="724"/>
                  <a:pt x="793" y="724"/>
                </a:cubicBezTo>
                <a:cubicBezTo>
                  <a:pt x="792" y="724"/>
                  <a:pt x="792" y="723"/>
                  <a:pt x="792" y="723"/>
                </a:cubicBezTo>
                <a:cubicBezTo>
                  <a:pt x="791" y="723"/>
                  <a:pt x="791" y="723"/>
                  <a:pt x="791" y="723"/>
                </a:cubicBezTo>
                <a:cubicBezTo>
                  <a:pt x="790" y="723"/>
                  <a:pt x="790" y="722"/>
                  <a:pt x="790" y="722"/>
                </a:cubicBezTo>
                <a:cubicBezTo>
                  <a:pt x="791" y="722"/>
                  <a:pt x="791" y="722"/>
                  <a:pt x="791" y="722"/>
                </a:cubicBezTo>
                <a:cubicBezTo>
                  <a:pt x="791" y="721"/>
                  <a:pt x="791" y="721"/>
                  <a:pt x="791" y="721"/>
                </a:cubicBezTo>
                <a:cubicBezTo>
                  <a:pt x="790" y="721"/>
                  <a:pt x="789" y="721"/>
                  <a:pt x="788" y="721"/>
                </a:cubicBezTo>
                <a:cubicBezTo>
                  <a:pt x="786" y="722"/>
                  <a:pt x="785" y="721"/>
                  <a:pt x="783" y="722"/>
                </a:cubicBezTo>
                <a:cubicBezTo>
                  <a:pt x="781" y="722"/>
                  <a:pt x="780" y="722"/>
                  <a:pt x="778" y="723"/>
                </a:cubicBezTo>
                <a:cubicBezTo>
                  <a:pt x="777" y="723"/>
                  <a:pt x="775" y="723"/>
                  <a:pt x="774" y="724"/>
                </a:cubicBezTo>
                <a:cubicBezTo>
                  <a:pt x="773" y="725"/>
                  <a:pt x="773" y="725"/>
                  <a:pt x="772" y="726"/>
                </a:cubicBezTo>
                <a:cubicBezTo>
                  <a:pt x="771" y="726"/>
                  <a:pt x="770" y="725"/>
                  <a:pt x="770" y="725"/>
                </a:cubicBezTo>
                <a:cubicBezTo>
                  <a:pt x="769" y="725"/>
                  <a:pt x="768" y="725"/>
                  <a:pt x="768" y="725"/>
                </a:cubicBezTo>
                <a:cubicBezTo>
                  <a:pt x="767" y="724"/>
                  <a:pt x="766" y="724"/>
                  <a:pt x="765" y="724"/>
                </a:cubicBezTo>
                <a:cubicBezTo>
                  <a:pt x="765" y="724"/>
                  <a:pt x="764" y="724"/>
                  <a:pt x="763" y="723"/>
                </a:cubicBezTo>
                <a:cubicBezTo>
                  <a:pt x="762" y="723"/>
                  <a:pt x="762" y="722"/>
                  <a:pt x="762" y="722"/>
                </a:cubicBezTo>
                <a:cubicBezTo>
                  <a:pt x="761" y="720"/>
                  <a:pt x="759" y="720"/>
                  <a:pt x="758" y="719"/>
                </a:cubicBezTo>
                <a:cubicBezTo>
                  <a:pt x="757" y="718"/>
                  <a:pt x="757" y="719"/>
                  <a:pt x="756" y="719"/>
                </a:cubicBezTo>
                <a:cubicBezTo>
                  <a:pt x="755" y="718"/>
                  <a:pt x="755" y="718"/>
                  <a:pt x="755" y="718"/>
                </a:cubicBezTo>
                <a:cubicBezTo>
                  <a:pt x="754" y="718"/>
                  <a:pt x="754" y="718"/>
                  <a:pt x="754" y="718"/>
                </a:cubicBezTo>
                <a:cubicBezTo>
                  <a:pt x="754" y="719"/>
                  <a:pt x="754" y="719"/>
                  <a:pt x="753" y="719"/>
                </a:cubicBezTo>
                <a:cubicBezTo>
                  <a:pt x="753" y="719"/>
                  <a:pt x="752" y="719"/>
                  <a:pt x="752" y="719"/>
                </a:cubicBezTo>
                <a:cubicBezTo>
                  <a:pt x="752" y="720"/>
                  <a:pt x="752" y="720"/>
                  <a:pt x="752" y="721"/>
                </a:cubicBezTo>
                <a:cubicBezTo>
                  <a:pt x="751" y="721"/>
                  <a:pt x="751" y="721"/>
                  <a:pt x="751" y="720"/>
                </a:cubicBezTo>
                <a:cubicBezTo>
                  <a:pt x="751" y="720"/>
                  <a:pt x="751" y="718"/>
                  <a:pt x="751" y="718"/>
                </a:cubicBezTo>
                <a:cubicBezTo>
                  <a:pt x="752" y="718"/>
                  <a:pt x="752" y="718"/>
                  <a:pt x="752" y="717"/>
                </a:cubicBezTo>
                <a:cubicBezTo>
                  <a:pt x="753" y="717"/>
                  <a:pt x="753" y="717"/>
                  <a:pt x="753" y="717"/>
                </a:cubicBezTo>
                <a:cubicBezTo>
                  <a:pt x="753" y="716"/>
                  <a:pt x="754" y="716"/>
                  <a:pt x="754" y="716"/>
                </a:cubicBezTo>
                <a:cubicBezTo>
                  <a:pt x="754" y="716"/>
                  <a:pt x="755" y="715"/>
                  <a:pt x="755" y="715"/>
                </a:cubicBezTo>
                <a:cubicBezTo>
                  <a:pt x="755" y="714"/>
                  <a:pt x="755" y="714"/>
                  <a:pt x="756" y="714"/>
                </a:cubicBezTo>
                <a:cubicBezTo>
                  <a:pt x="756" y="714"/>
                  <a:pt x="757" y="714"/>
                  <a:pt x="757" y="713"/>
                </a:cubicBezTo>
                <a:cubicBezTo>
                  <a:pt x="757" y="713"/>
                  <a:pt x="757" y="713"/>
                  <a:pt x="757" y="712"/>
                </a:cubicBezTo>
                <a:cubicBezTo>
                  <a:pt x="757" y="712"/>
                  <a:pt x="758" y="712"/>
                  <a:pt x="758" y="712"/>
                </a:cubicBezTo>
                <a:cubicBezTo>
                  <a:pt x="758" y="712"/>
                  <a:pt x="759" y="712"/>
                  <a:pt x="759" y="712"/>
                </a:cubicBezTo>
                <a:cubicBezTo>
                  <a:pt x="760" y="712"/>
                  <a:pt x="759" y="712"/>
                  <a:pt x="759" y="711"/>
                </a:cubicBezTo>
                <a:cubicBezTo>
                  <a:pt x="758" y="711"/>
                  <a:pt x="758" y="711"/>
                  <a:pt x="757" y="711"/>
                </a:cubicBezTo>
                <a:cubicBezTo>
                  <a:pt x="756" y="711"/>
                  <a:pt x="756" y="711"/>
                  <a:pt x="756" y="711"/>
                </a:cubicBezTo>
                <a:cubicBezTo>
                  <a:pt x="755" y="711"/>
                  <a:pt x="754" y="711"/>
                  <a:pt x="753" y="711"/>
                </a:cubicBezTo>
                <a:cubicBezTo>
                  <a:pt x="752" y="711"/>
                  <a:pt x="752" y="712"/>
                  <a:pt x="751" y="712"/>
                </a:cubicBezTo>
                <a:cubicBezTo>
                  <a:pt x="751" y="713"/>
                  <a:pt x="751" y="713"/>
                  <a:pt x="750" y="714"/>
                </a:cubicBezTo>
                <a:cubicBezTo>
                  <a:pt x="750" y="714"/>
                  <a:pt x="750" y="714"/>
                  <a:pt x="750" y="715"/>
                </a:cubicBezTo>
                <a:cubicBezTo>
                  <a:pt x="750" y="715"/>
                  <a:pt x="749" y="714"/>
                  <a:pt x="749" y="714"/>
                </a:cubicBezTo>
                <a:cubicBezTo>
                  <a:pt x="749" y="714"/>
                  <a:pt x="748" y="714"/>
                  <a:pt x="748" y="715"/>
                </a:cubicBezTo>
                <a:cubicBezTo>
                  <a:pt x="747" y="715"/>
                  <a:pt x="747" y="715"/>
                  <a:pt x="746" y="715"/>
                </a:cubicBezTo>
                <a:cubicBezTo>
                  <a:pt x="745" y="716"/>
                  <a:pt x="744" y="717"/>
                  <a:pt x="742" y="718"/>
                </a:cubicBezTo>
                <a:cubicBezTo>
                  <a:pt x="742" y="718"/>
                  <a:pt x="741" y="718"/>
                  <a:pt x="740" y="718"/>
                </a:cubicBezTo>
                <a:cubicBezTo>
                  <a:pt x="739" y="719"/>
                  <a:pt x="739" y="719"/>
                  <a:pt x="738" y="720"/>
                </a:cubicBezTo>
                <a:cubicBezTo>
                  <a:pt x="737" y="720"/>
                  <a:pt x="737" y="720"/>
                  <a:pt x="736" y="720"/>
                </a:cubicBezTo>
                <a:cubicBezTo>
                  <a:pt x="735" y="721"/>
                  <a:pt x="734" y="722"/>
                  <a:pt x="733" y="722"/>
                </a:cubicBezTo>
                <a:cubicBezTo>
                  <a:pt x="733" y="722"/>
                  <a:pt x="732" y="722"/>
                  <a:pt x="731" y="723"/>
                </a:cubicBezTo>
                <a:cubicBezTo>
                  <a:pt x="730" y="723"/>
                  <a:pt x="729" y="724"/>
                  <a:pt x="728" y="724"/>
                </a:cubicBezTo>
                <a:cubicBezTo>
                  <a:pt x="727" y="723"/>
                  <a:pt x="727" y="723"/>
                  <a:pt x="727" y="723"/>
                </a:cubicBezTo>
                <a:cubicBezTo>
                  <a:pt x="726" y="723"/>
                  <a:pt x="726" y="723"/>
                  <a:pt x="725" y="722"/>
                </a:cubicBezTo>
                <a:cubicBezTo>
                  <a:pt x="725" y="722"/>
                  <a:pt x="725" y="721"/>
                  <a:pt x="725" y="721"/>
                </a:cubicBezTo>
                <a:cubicBezTo>
                  <a:pt x="724" y="721"/>
                  <a:pt x="724" y="722"/>
                  <a:pt x="724" y="721"/>
                </a:cubicBezTo>
                <a:cubicBezTo>
                  <a:pt x="724" y="721"/>
                  <a:pt x="724" y="721"/>
                  <a:pt x="724" y="720"/>
                </a:cubicBezTo>
                <a:cubicBezTo>
                  <a:pt x="725" y="720"/>
                  <a:pt x="725" y="720"/>
                  <a:pt x="725" y="719"/>
                </a:cubicBezTo>
                <a:cubicBezTo>
                  <a:pt x="725" y="719"/>
                  <a:pt x="725" y="719"/>
                  <a:pt x="725" y="718"/>
                </a:cubicBezTo>
                <a:cubicBezTo>
                  <a:pt x="724" y="718"/>
                  <a:pt x="723" y="718"/>
                  <a:pt x="722" y="718"/>
                </a:cubicBezTo>
                <a:cubicBezTo>
                  <a:pt x="722" y="719"/>
                  <a:pt x="721" y="719"/>
                  <a:pt x="720" y="719"/>
                </a:cubicBezTo>
                <a:cubicBezTo>
                  <a:pt x="720" y="719"/>
                  <a:pt x="719" y="720"/>
                  <a:pt x="719" y="720"/>
                </a:cubicBezTo>
                <a:cubicBezTo>
                  <a:pt x="718" y="720"/>
                  <a:pt x="718" y="721"/>
                  <a:pt x="717" y="721"/>
                </a:cubicBezTo>
                <a:cubicBezTo>
                  <a:pt x="716" y="721"/>
                  <a:pt x="715" y="721"/>
                  <a:pt x="714" y="721"/>
                </a:cubicBezTo>
                <a:cubicBezTo>
                  <a:pt x="714" y="722"/>
                  <a:pt x="714" y="722"/>
                  <a:pt x="713" y="722"/>
                </a:cubicBezTo>
                <a:cubicBezTo>
                  <a:pt x="713" y="722"/>
                  <a:pt x="713" y="722"/>
                  <a:pt x="712" y="722"/>
                </a:cubicBezTo>
                <a:cubicBezTo>
                  <a:pt x="712" y="721"/>
                  <a:pt x="712" y="721"/>
                  <a:pt x="711" y="721"/>
                </a:cubicBezTo>
                <a:cubicBezTo>
                  <a:pt x="711" y="721"/>
                  <a:pt x="710" y="721"/>
                  <a:pt x="710" y="721"/>
                </a:cubicBezTo>
                <a:cubicBezTo>
                  <a:pt x="710" y="720"/>
                  <a:pt x="711" y="720"/>
                  <a:pt x="711" y="720"/>
                </a:cubicBezTo>
                <a:close/>
                <a:moveTo>
                  <a:pt x="172" y="521"/>
                </a:moveTo>
                <a:cubicBezTo>
                  <a:pt x="172" y="521"/>
                  <a:pt x="172" y="521"/>
                  <a:pt x="172" y="521"/>
                </a:cubicBezTo>
                <a:cubicBezTo>
                  <a:pt x="172" y="521"/>
                  <a:pt x="171" y="521"/>
                  <a:pt x="171" y="521"/>
                </a:cubicBezTo>
                <a:cubicBezTo>
                  <a:pt x="171" y="521"/>
                  <a:pt x="171" y="520"/>
                  <a:pt x="172" y="520"/>
                </a:cubicBezTo>
                <a:cubicBezTo>
                  <a:pt x="172" y="520"/>
                  <a:pt x="172" y="520"/>
                  <a:pt x="172" y="521"/>
                </a:cubicBezTo>
                <a:cubicBezTo>
                  <a:pt x="172" y="521"/>
                  <a:pt x="172" y="521"/>
                  <a:pt x="172" y="521"/>
                </a:cubicBezTo>
                <a:close/>
                <a:moveTo>
                  <a:pt x="174" y="518"/>
                </a:moveTo>
                <a:cubicBezTo>
                  <a:pt x="174" y="518"/>
                  <a:pt x="173" y="517"/>
                  <a:pt x="173" y="517"/>
                </a:cubicBezTo>
                <a:cubicBezTo>
                  <a:pt x="172" y="517"/>
                  <a:pt x="172" y="518"/>
                  <a:pt x="172" y="518"/>
                </a:cubicBezTo>
                <a:cubicBezTo>
                  <a:pt x="172" y="518"/>
                  <a:pt x="171" y="519"/>
                  <a:pt x="171" y="519"/>
                </a:cubicBezTo>
                <a:cubicBezTo>
                  <a:pt x="172" y="518"/>
                  <a:pt x="171" y="516"/>
                  <a:pt x="170" y="516"/>
                </a:cubicBezTo>
                <a:cubicBezTo>
                  <a:pt x="170" y="516"/>
                  <a:pt x="170" y="515"/>
                  <a:pt x="170" y="515"/>
                </a:cubicBezTo>
                <a:cubicBezTo>
                  <a:pt x="169" y="515"/>
                  <a:pt x="169" y="516"/>
                  <a:pt x="169" y="516"/>
                </a:cubicBezTo>
                <a:cubicBezTo>
                  <a:pt x="169" y="516"/>
                  <a:pt x="169" y="515"/>
                  <a:pt x="169" y="514"/>
                </a:cubicBezTo>
                <a:cubicBezTo>
                  <a:pt x="170" y="514"/>
                  <a:pt x="169" y="515"/>
                  <a:pt x="170" y="515"/>
                </a:cubicBezTo>
                <a:cubicBezTo>
                  <a:pt x="170" y="515"/>
                  <a:pt x="170" y="515"/>
                  <a:pt x="170" y="515"/>
                </a:cubicBezTo>
                <a:cubicBezTo>
                  <a:pt x="171" y="515"/>
                  <a:pt x="171" y="515"/>
                  <a:pt x="172" y="516"/>
                </a:cubicBezTo>
                <a:cubicBezTo>
                  <a:pt x="172" y="516"/>
                  <a:pt x="172" y="516"/>
                  <a:pt x="173" y="517"/>
                </a:cubicBezTo>
                <a:cubicBezTo>
                  <a:pt x="173" y="517"/>
                  <a:pt x="174" y="518"/>
                  <a:pt x="174" y="518"/>
                </a:cubicBezTo>
                <a:close/>
                <a:moveTo>
                  <a:pt x="223" y="351"/>
                </a:moveTo>
                <a:cubicBezTo>
                  <a:pt x="222" y="351"/>
                  <a:pt x="222" y="351"/>
                  <a:pt x="222" y="350"/>
                </a:cubicBezTo>
                <a:cubicBezTo>
                  <a:pt x="222" y="350"/>
                  <a:pt x="222" y="350"/>
                  <a:pt x="223" y="350"/>
                </a:cubicBezTo>
                <a:cubicBezTo>
                  <a:pt x="223" y="351"/>
                  <a:pt x="224" y="350"/>
                  <a:pt x="224" y="351"/>
                </a:cubicBezTo>
                <a:cubicBezTo>
                  <a:pt x="224" y="351"/>
                  <a:pt x="223" y="351"/>
                  <a:pt x="223" y="351"/>
                </a:cubicBezTo>
                <a:close/>
                <a:moveTo>
                  <a:pt x="225" y="351"/>
                </a:moveTo>
                <a:cubicBezTo>
                  <a:pt x="225" y="351"/>
                  <a:pt x="224" y="350"/>
                  <a:pt x="224" y="350"/>
                </a:cubicBezTo>
                <a:cubicBezTo>
                  <a:pt x="224" y="349"/>
                  <a:pt x="225" y="349"/>
                  <a:pt x="225" y="349"/>
                </a:cubicBezTo>
                <a:cubicBezTo>
                  <a:pt x="225" y="349"/>
                  <a:pt x="225" y="349"/>
                  <a:pt x="225" y="350"/>
                </a:cubicBezTo>
                <a:cubicBezTo>
                  <a:pt x="225" y="350"/>
                  <a:pt x="225" y="351"/>
                  <a:pt x="225" y="351"/>
                </a:cubicBezTo>
                <a:close/>
                <a:moveTo>
                  <a:pt x="312" y="639"/>
                </a:moveTo>
                <a:cubicBezTo>
                  <a:pt x="312" y="639"/>
                  <a:pt x="312" y="640"/>
                  <a:pt x="312" y="640"/>
                </a:cubicBezTo>
                <a:cubicBezTo>
                  <a:pt x="311" y="640"/>
                  <a:pt x="311" y="639"/>
                  <a:pt x="311" y="639"/>
                </a:cubicBezTo>
                <a:cubicBezTo>
                  <a:pt x="311" y="639"/>
                  <a:pt x="310" y="639"/>
                  <a:pt x="310" y="639"/>
                </a:cubicBezTo>
                <a:cubicBezTo>
                  <a:pt x="309" y="639"/>
                  <a:pt x="309" y="639"/>
                  <a:pt x="308" y="640"/>
                </a:cubicBezTo>
                <a:cubicBezTo>
                  <a:pt x="308" y="641"/>
                  <a:pt x="307" y="640"/>
                  <a:pt x="307" y="641"/>
                </a:cubicBezTo>
                <a:cubicBezTo>
                  <a:pt x="306" y="642"/>
                  <a:pt x="307" y="643"/>
                  <a:pt x="306" y="643"/>
                </a:cubicBezTo>
                <a:cubicBezTo>
                  <a:pt x="306" y="643"/>
                  <a:pt x="306" y="642"/>
                  <a:pt x="306" y="642"/>
                </a:cubicBezTo>
                <a:cubicBezTo>
                  <a:pt x="306" y="642"/>
                  <a:pt x="305" y="642"/>
                  <a:pt x="305" y="641"/>
                </a:cubicBezTo>
                <a:cubicBezTo>
                  <a:pt x="305" y="641"/>
                  <a:pt x="305" y="641"/>
                  <a:pt x="305" y="641"/>
                </a:cubicBezTo>
                <a:cubicBezTo>
                  <a:pt x="306" y="640"/>
                  <a:pt x="307" y="640"/>
                  <a:pt x="307" y="639"/>
                </a:cubicBezTo>
                <a:cubicBezTo>
                  <a:pt x="308" y="639"/>
                  <a:pt x="308" y="639"/>
                  <a:pt x="308" y="638"/>
                </a:cubicBezTo>
                <a:cubicBezTo>
                  <a:pt x="308" y="638"/>
                  <a:pt x="308" y="638"/>
                  <a:pt x="308" y="637"/>
                </a:cubicBezTo>
                <a:cubicBezTo>
                  <a:pt x="309" y="636"/>
                  <a:pt x="309" y="638"/>
                  <a:pt x="310" y="638"/>
                </a:cubicBezTo>
                <a:cubicBezTo>
                  <a:pt x="310" y="638"/>
                  <a:pt x="311" y="638"/>
                  <a:pt x="312" y="639"/>
                </a:cubicBezTo>
                <a:cubicBezTo>
                  <a:pt x="312" y="639"/>
                  <a:pt x="313" y="639"/>
                  <a:pt x="312" y="639"/>
                </a:cubicBezTo>
                <a:close/>
                <a:moveTo>
                  <a:pt x="319" y="660"/>
                </a:moveTo>
                <a:cubicBezTo>
                  <a:pt x="319" y="660"/>
                  <a:pt x="318" y="660"/>
                  <a:pt x="318" y="660"/>
                </a:cubicBezTo>
                <a:cubicBezTo>
                  <a:pt x="316" y="660"/>
                  <a:pt x="317" y="658"/>
                  <a:pt x="318" y="658"/>
                </a:cubicBezTo>
                <a:cubicBezTo>
                  <a:pt x="318" y="658"/>
                  <a:pt x="318" y="659"/>
                  <a:pt x="319" y="659"/>
                </a:cubicBezTo>
                <a:cubicBezTo>
                  <a:pt x="319" y="660"/>
                  <a:pt x="320" y="660"/>
                  <a:pt x="320" y="660"/>
                </a:cubicBezTo>
                <a:cubicBezTo>
                  <a:pt x="320" y="661"/>
                  <a:pt x="319" y="660"/>
                  <a:pt x="319" y="660"/>
                </a:cubicBezTo>
                <a:close/>
                <a:moveTo>
                  <a:pt x="359" y="708"/>
                </a:moveTo>
                <a:cubicBezTo>
                  <a:pt x="359" y="707"/>
                  <a:pt x="359" y="707"/>
                  <a:pt x="359" y="707"/>
                </a:cubicBezTo>
                <a:cubicBezTo>
                  <a:pt x="359" y="707"/>
                  <a:pt x="359" y="707"/>
                  <a:pt x="359" y="707"/>
                </a:cubicBezTo>
                <a:cubicBezTo>
                  <a:pt x="359" y="706"/>
                  <a:pt x="359" y="706"/>
                  <a:pt x="359" y="706"/>
                </a:cubicBezTo>
                <a:cubicBezTo>
                  <a:pt x="359" y="706"/>
                  <a:pt x="359" y="707"/>
                  <a:pt x="359" y="707"/>
                </a:cubicBezTo>
                <a:cubicBezTo>
                  <a:pt x="359" y="707"/>
                  <a:pt x="359" y="708"/>
                  <a:pt x="359" y="708"/>
                </a:cubicBezTo>
                <a:cubicBezTo>
                  <a:pt x="359" y="708"/>
                  <a:pt x="359" y="708"/>
                  <a:pt x="359" y="708"/>
                </a:cubicBezTo>
                <a:cubicBezTo>
                  <a:pt x="358" y="709"/>
                  <a:pt x="358" y="708"/>
                  <a:pt x="359" y="708"/>
                </a:cubicBezTo>
                <a:close/>
                <a:moveTo>
                  <a:pt x="419" y="401"/>
                </a:moveTo>
                <a:cubicBezTo>
                  <a:pt x="418" y="401"/>
                  <a:pt x="418" y="401"/>
                  <a:pt x="418" y="402"/>
                </a:cubicBezTo>
                <a:cubicBezTo>
                  <a:pt x="419" y="402"/>
                  <a:pt x="418" y="403"/>
                  <a:pt x="418" y="403"/>
                </a:cubicBezTo>
                <a:cubicBezTo>
                  <a:pt x="418" y="404"/>
                  <a:pt x="417" y="404"/>
                  <a:pt x="417" y="405"/>
                </a:cubicBezTo>
                <a:cubicBezTo>
                  <a:pt x="417" y="406"/>
                  <a:pt x="417" y="406"/>
                  <a:pt x="417" y="406"/>
                </a:cubicBezTo>
                <a:cubicBezTo>
                  <a:pt x="417" y="407"/>
                  <a:pt x="417" y="407"/>
                  <a:pt x="416" y="407"/>
                </a:cubicBezTo>
                <a:cubicBezTo>
                  <a:pt x="416" y="407"/>
                  <a:pt x="415" y="407"/>
                  <a:pt x="415" y="407"/>
                </a:cubicBezTo>
                <a:cubicBezTo>
                  <a:pt x="415" y="407"/>
                  <a:pt x="414" y="406"/>
                  <a:pt x="414" y="407"/>
                </a:cubicBezTo>
                <a:cubicBezTo>
                  <a:pt x="414" y="407"/>
                  <a:pt x="413" y="407"/>
                  <a:pt x="413" y="408"/>
                </a:cubicBezTo>
                <a:cubicBezTo>
                  <a:pt x="412" y="408"/>
                  <a:pt x="413" y="409"/>
                  <a:pt x="412" y="410"/>
                </a:cubicBezTo>
                <a:cubicBezTo>
                  <a:pt x="412" y="410"/>
                  <a:pt x="412" y="410"/>
                  <a:pt x="412" y="411"/>
                </a:cubicBezTo>
                <a:cubicBezTo>
                  <a:pt x="412" y="411"/>
                  <a:pt x="412" y="411"/>
                  <a:pt x="413" y="411"/>
                </a:cubicBezTo>
                <a:cubicBezTo>
                  <a:pt x="413" y="411"/>
                  <a:pt x="413" y="411"/>
                  <a:pt x="414" y="411"/>
                </a:cubicBezTo>
                <a:cubicBezTo>
                  <a:pt x="414" y="411"/>
                  <a:pt x="415" y="411"/>
                  <a:pt x="415" y="411"/>
                </a:cubicBezTo>
                <a:cubicBezTo>
                  <a:pt x="415" y="410"/>
                  <a:pt x="416" y="410"/>
                  <a:pt x="416" y="410"/>
                </a:cubicBezTo>
                <a:cubicBezTo>
                  <a:pt x="416" y="411"/>
                  <a:pt x="416" y="411"/>
                  <a:pt x="416" y="412"/>
                </a:cubicBezTo>
                <a:cubicBezTo>
                  <a:pt x="416" y="412"/>
                  <a:pt x="416" y="412"/>
                  <a:pt x="416" y="413"/>
                </a:cubicBezTo>
                <a:cubicBezTo>
                  <a:pt x="416" y="413"/>
                  <a:pt x="415" y="413"/>
                  <a:pt x="415" y="413"/>
                </a:cubicBezTo>
                <a:cubicBezTo>
                  <a:pt x="415" y="413"/>
                  <a:pt x="414" y="413"/>
                  <a:pt x="414" y="413"/>
                </a:cubicBezTo>
                <a:cubicBezTo>
                  <a:pt x="413" y="414"/>
                  <a:pt x="413" y="414"/>
                  <a:pt x="413" y="414"/>
                </a:cubicBezTo>
                <a:cubicBezTo>
                  <a:pt x="412" y="414"/>
                  <a:pt x="412" y="414"/>
                  <a:pt x="411" y="414"/>
                </a:cubicBezTo>
                <a:cubicBezTo>
                  <a:pt x="411" y="414"/>
                  <a:pt x="411" y="413"/>
                  <a:pt x="410" y="413"/>
                </a:cubicBezTo>
                <a:cubicBezTo>
                  <a:pt x="410" y="413"/>
                  <a:pt x="410" y="413"/>
                  <a:pt x="409" y="413"/>
                </a:cubicBezTo>
                <a:cubicBezTo>
                  <a:pt x="409" y="413"/>
                  <a:pt x="409" y="414"/>
                  <a:pt x="408" y="414"/>
                </a:cubicBezTo>
                <a:cubicBezTo>
                  <a:pt x="407" y="415"/>
                  <a:pt x="406" y="412"/>
                  <a:pt x="405" y="412"/>
                </a:cubicBezTo>
                <a:cubicBezTo>
                  <a:pt x="403" y="411"/>
                  <a:pt x="402" y="411"/>
                  <a:pt x="401" y="411"/>
                </a:cubicBezTo>
                <a:cubicBezTo>
                  <a:pt x="399" y="411"/>
                  <a:pt x="398" y="411"/>
                  <a:pt x="396" y="411"/>
                </a:cubicBezTo>
                <a:cubicBezTo>
                  <a:pt x="396" y="411"/>
                  <a:pt x="394" y="411"/>
                  <a:pt x="394" y="412"/>
                </a:cubicBezTo>
                <a:cubicBezTo>
                  <a:pt x="394" y="412"/>
                  <a:pt x="395" y="412"/>
                  <a:pt x="395" y="413"/>
                </a:cubicBezTo>
                <a:cubicBezTo>
                  <a:pt x="395" y="413"/>
                  <a:pt x="394" y="413"/>
                  <a:pt x="394" y="414"/>
                </a:cubicBezTo>
                <a:cubicBezTo>
                  <a:pt x="394" y="414"/>
                  <a:pt x="393" y="414"/>
                  <a:pt x="393" y="414"/>
                </a:cubicBezTo>
                <a:cubicBezTo>
                  <a:pt x="393" y="414"/>
                  <a:pt x="393" y="414"/>
                  <a:pt x="392" y="414"/>
                </a:cubicBezTo>
                <a:cubicBezTo>
                  <a:pt x="392" y="415"/>
                  <a:pt x="391" y="415"/>
                  <a:pt x="391" y="414"/>
                </a:cubicBezTo>
                <a:cubicBezTo>
                  <a:pt x="390" y="415"/>
                  <a:pt x="391" y="416"/>
                  <a:pt x="392" y="416"/>
                </a:cubicBezTo>
                <a:cubicBezTo>
                  <a:pt x="392" y="416"/>
                  <a:pt x="393" y="417"/>
                  <a:pt x="394" y="417"/>
                </a:cubicBezTo>
                <a:cubicBezTo>
                  <a:pt x="394" y="417"/>
                  <a:pt x="395" y="417"/>
                  <a:pt x="395" y="417"/>
                </a:cubicBezTo>
                <a:cubicBezTo>
                  <a:pt x="395" y="418"/>
                  <a:pt x="396" y="418"/>
                  <a:pt x="396" y="418"/>
                </a:cubicBezTo>
                <a:cubicBezTo>
                  <a:pt x="396" y="419"/>
                  <a:pt x="397" y="420"/>
                  <a:pt x="397" y="420"/>
                </a:cubicBezTo>
                <a:cubicBezTo>
                  <a:pt x="397" y="420"/>
                  <a:pt x="396" y="420"/>
                  <a:pt x="395" y="420"/>
                </a:cubicBezTo>
                <a:cubicBezTo>
                  <a:pt x="395" y="420"/>
                  <a:pt x="394" y="420"/>
                  <a:pt x="393" y="420"/>
                </a:cubicBezTo>
                <a:cubicBezTo>
                  <a:pt x="393" y="420"/>
                  <a:pt x="392" y="420"/>
                  <a:pt x="392" y="420"/>
                </a:cubicBezTo>
                <a:cubicBezTo>
                  <a:pt x="391" y="421"/>
                  <a:pt x="390" y="422"/>
                  <a:pt x="389" y="423"/>
                </a:cubicBezTo>
                <a:cubicBezTo>
                  <a:pt x="388" y="424"/>
                  <a:pt x="386" y="424"/>
                  <a:pt x="385" y="424"/>
                </a:cubicBezTo>
                <a:cubicBezTo>
                  <a:pt x="384" y="425"/>
                  <a:pt x="383" y="426"/>
                  <a:pt x="382" y="427"/>
                </a:cubicBezTo>
                <a:cubicBezTo>
                  <a:pt x="381" y="427"/>
                  <a:pt x="380" y="429"/>
                  <a:pt x="378" y="429"/>
                </a:cubicBezTo>
                <a:cubicBezTo>
                  <a:pt x="378" y="430"/>
                  <a:pt x="377" y="430"/>
                  <a:pt x="377" y="430"/>
                </a:cubicBezTo>
                <a:cubicBezTo>
                  <a:pt x="377" y="429"/>
                  <a:pt x="376" y="429"/>
                  <a:pt x="376" y="429"/>
                </a:cubicBezTo>
                <a:cubicBezTo>
                  <a:pt x="375" y="429"/>
                  <a:pt x="374" y="429"/>
                  <a:pt x="375" y="428"/>
                </a:cubicBezTo>
                <a:cubicBezTo>
                  <a:pt x="375" y="427"/>
                  <a:pt x="375" y="427"/>
                  <a:pt x="376" y="427"/>
                </a:cubicBezTo>
                <a:cubicBezTo>
                  <a:pt x="376" y="427"/>
                  <a:pt x="376" y="427"/>
                  <a:pt x="377" y="427"/>
                </a:cubicBezTo>
                <a:cubicBezTo>
                  <a:pt x="377" y="427"/>
                  <a:pt x="378" y="427"/>
                  <a:pt x="378" y="427"/>
                </a:cubicBezTo>
                <a:cubicBezTo>
                  <a:pt x="378" y="426"/>
                  <a:pt x="379" y="426"/>
                  <a:pt x="379" y="426"/>
                </a:cubicBezTo>
                <a:cubicBezTo>
                  <a:pt x="380" y="426"/>
                  <a:pt x="380" y="426"/>
                  <a:pt x="380" y="425"/>
                </a:cubicBezTo>
                <a:cubicBezTo>
                  <a:pt x="380" y="424"/>
                  <a:pt x="380" y="424"/>
                  <a:pt x="381" y="424"/>
                </a:cubicBezTo>
                <a:cubicBezTo>
                  <a:pt x="381" y="423"/>
                  <a:pt x="382" y="423"/>
                  <a:pt x="383" y="423"/>
                </a:cubicBezTo>
                <a:cubicBezTo>
                  <a:pt x="384" y="423"/>
                  <a:pt x="384" y="422"/>
                  <a:pt x="385" y="422"/>
                </a:cubicBezTo>
                <a:cubicBezTo>
                  <a:pt x="385" y="421"/>
                  <a:pt x="386" y="420"/>
                  <a:pt x="387" y="419"/>
                </a:cubicBezTo>
                <a:cubicBezTo>
                  <a:pt x="387" y="419"/>
                  <a:pt x="387" y="418"/>
                  <a:pt x="387" y="417"/>
                </a:cubicBezTo>
                <a:cubicBezTo>
                  <a:pt x="387" y="417"/>
                  <a:pt x="387" y="416"/>
                  <a:pt x="387" y="416"/>
                </a:cubicBezTo>
                <a:cubicBezTo>
                  <a:pt x="387" y="415"/>
                  <a:pt x="387" y="415"/>
                  <a:pt x="386" y="415"/>
                </a:cubicBezTo>
                <a:cubicBezTo>
                  <a:pt x="386" y="415"/>
                  <a:pt x="385" y="415"/>
                  <a:pt x="385" y="415"/>
                </a:cubicBezTo>
                <a:cubicBezTo>
                  <a:pt x="383" y="415"/>
                  <a:pt x="382" y="415"/>
                  <a:pt x="381" y="415"/>
                </a:cubicBezTo>
                <a:cubicBezTo>
                  <a:pt x="380" y="415"/>
                  <a:pt x="380" y="416"/>
                  <a:pt x="379" y="417"/>
                </a:cubicBezTo>
                <a:cubicBezTo>
                  <a:pt x="378" y="417"/>
                  <a:pt x="377" y="418"/>
                  <a:pt x="376" y="418"/>
                </a:cubicBezTo>
                <a:cubicBezTo>
                  <a:pt x="375" y="419"/>
                  <a:pt x="375" y="418"/>
                  <a:pt x="374" y="419"/>
                </a:cubicBezTo>
                <a:cubicBezTo>
                  <a:pt x="374" y="419"/>
                  <a:pt x="374" y="420"/>
                  <a:pt x="374" y="420"/>
                </a:cubicBezTo>
                <a:cubicBezTo>
                  <a:pt x="374" y="421"/>
                  <a:pt x="374" y="421"/>
                  <a:pt x="373" y="421"/>
                </a:cubicBezTo>
                <a:cubicBezTo>
                  <a:pt x="373" y="421"/>
                  <a:pt x="373" y="421"/>
                  <a:pt x="373" y="422"/>
                </a:cubicBezTo>
                <a:cubicBezTo>
                  <a:pt x="373" y="422"/>
                  <a:pt x="373" y="422"/>
                  <a:pt x="373" y="423"/>
                </a:cubicBezTo>
                <a:cubicBezTo>
                  <a:pt x="373" y="424"/>
                  <a:pt x="372" y="424"/>
                  <a:pt x="371" y="424"/>
                </a:cubicBezTo>
                <a:cubicBezTo>
                  <a:pt x="371" y="425"/>
                  <a:pt x="370" y="426"/>
                  <a:pt x="369" y="426"/>
                </a:cubicBezTo>
                <a:cubicBezTo>
                  <a:pt x="367" y="427"/>
                  <a:pt x="366" y="426"/>
                  <a:pt x="364" y="426"/>
                </a:cubicBezTo>
                <a:cubicBezTo>
                  <a:pt x="363" y="426"/>
                  <a:pt x="362" y="426"/>
                  <a:pt x="360" y="426"/>
                </a:cubicBezTo>
                <a:cubicBezTo>
                  <a:pt x="359" y="425"/>
                  <a:pt x="358" y="425"/>
                  <a:pt x="357" y="425"/>
                </a:cubicBezTo>
                <a:cubicBezTo>
                  <a:pt x="356" y="425"/>
                  <a:pt x="355" y="425"/>
                  <a:pt x="354" y="425"/>
                </a:cubicBezTo>
                <a:cubicBezTo>
                  <a:pt x="354" y="424"/>
                  <a:pt x="353" y="424"/>
                  <a:pt x="352" y="424"/>
                </a:cubicBezTo>
                <a:cubicBezTo>
                  <a:pt x="352" y="424"/>
                  <a:pt x="351" y="423"/>
                  <a:pt x="351" y="423"/>
                </a:cubicBezTo>
                <a:cubicBezTo>
                  <a:pt x="351" y="422"/>
                  <a:pt x="352" y="423"/>
                  <a:pt x="352" y="423"/>
                </a:cubicBezTo>
                <a:cubicBezTo>
                  <a:pt x="353" y="423"/>
                  <a:pt x="354" y="422"/>
                  <a:pt x="355" y="422"/>
                </a:cubicBezTo>
                <a:cubicBezTo>
                  <a:pt x="356" y="422"/>
                  <a:pt x="356" y="422"/>
                  <a:pt x="357" y="422"/>
                </a:cubicBezTo>
                <a:cubicBezTo>
                  <a:pt x="358" y="422"/>
                  <a:pt x="358" y="421"/>
                  <a:pt x="359" y="421"/>
                </a:cubicBezTo>
                <a:cubicBezTo>
                  <a:pt x="360" y="420"/>
                  <a:pt x="361" y="420"/>
                  <a:pt x="360" y="419"/>
                </a:cubicBezTo>
                <a:cubicBezTo>
                  <a:pt x="359" y="418"/>
                  <a:pt x="358" y="418"/>
                  <a:pt x="359" y="417"/>
                </a:cubicBezTo>
                <a:cubicBezTo>
                  <a:pt x="359" y="416"/>
                  <a:pt x="359" y="416"/>
                  <a:pt x="360" y="416"/>
                </a:cubicBezTo>
                <a:cubicBezTo>
                  <a:pt x="360" y="416"/>
                  <a:pt x="360" y="416"/>
                  <a:pt x="361" y="415"/>
                </a:cubicBezTo>
                <a:cubicBezTo>
                  <a:pt x="362" y="414"/>
                  <a:pt x="364" y="415"/>
                  <a:pt x="365" y="415"/>
                </a:cubicBezTo>
                <a:cubicBezTo>
                  <a:pt x="365" y="414"/>
                  <a:pt x="365" y="414"/>
                  <a:pt x="365" y="414"/>
                </a:cubicBezTo>
                <a:cubicBezTo>
                  <a:pt x="365" y="414"/>
                  <a:pt x="365" y="414"/>
                  <a:pt x="365" y="414"/>
                </a:cubicBezTo>
                <a:cubicBezTo>
                  <a:pt x="366" y="413"/>
                  <a:pt x="366" y="413"/>
                  <a:pt x="366" y="413"/>
                </a:cubicBezTo>
                <a:cubicBezTo>
                  <a:pt x="365" y="412"/>
                  <a:pt x="365" y="412"/>
                  <a:pt x="365" y="412"/>
                </a:cubicBezTo>
                <a:cubicBezTo>
                  <a:pt x="365" y="411"/>
                  <a:pt x="365" y="411"/>
                  <a:pt x="364" y="411"/>
                </a:cubicBezTo>
                <a:cubicBezTo>
                  <a:pt x="364" y="410"/>
                  <a:pt x="363" y="410"/>
                  <a:pt x="362" y="409"/>
                </a:cubicBezTo>
                <a:cubicBezTo>
                  <a:pt x="361" y="409"/>
                  <a:pt x="360" y="409"/>
                  <a:pt x="360" y="408"/>
                </a:cubicBezTo>
                <a:cubicBezTo>
                  <a:pt x="361" y="408"/>
                  <a:pt x="361" y="408"/>
                  <a:pt x="362" y="408"/>
                </a:cubicBezTo>
                <a:cubicBezTo>
                  <a:pt x="362" y="408"/>
                  <a:pt x="362" y="408"/>
                  <a:pt x="363" y="408"/>
                </a:cubicBezTo>
                <a:cubicBezTo>
                  <a:pt x="363" y="407"/>
                  <a:pt x="364" y="407"/>
                  <a:pt x="365" y="407"/>
                </a:cubicBezTo>
                <a:cubicBezTo>
                  <a:pt x="366" y="408"/>
                  <a:pt x="367" y="408"/>
                  <a:pt x="368" y="408"/>
                </a:cubicBezTo>
                <a:cubicBezTo>
                  <a:pt x="368" y="408"/>
                  <a:pt x="369" y="408"/>
                  <a:pt x="370" y="409"/>
                </a:cubicBezTo>
                <a:cubicBezTo>
                  <a:pt x="370" y="409"/>
                  <a:pt x="371" y="409"/>
                  <a:pt x="371" y="409"/>
                </a:cubicBezTo>
                <a:cubicBezTo>
                  <a:pt x="371" y="409"/>
                  <a:pt x="371" y="409"/>
                  <a:pt x="372" y="409"/>
                </a:cubicBezTo>
                <a:cubicBezTo>
                  <a:pt x="373" y="410"/>
                  <a:pt x="375" y="409"/>
                  <a:pt x="376" y="408"/>
                </a:cubicBezTo>
                <a:cubicBezTo>
                  <a:pt x="377" y="408"/>
                  <a:pt x="378" y="407"/>
                  <a:pt x="377" y="406"/>
                </a:cubicBezTo>
                <a:cubicBezTo>
                  <a:pt x="377" y="406"/>
                  <a:pt x="376" y="406"/>
                  <a:pt x="376" y="406"/>
                </a:cubicBezTo>
                <a:cubicBezTo>
                  <a:pt x="376" y="406"/>
                  <a:pt x="375" y="406"/>
                  <a:pt x="375" y="405"/>
                </a:cubicBezTo>
                <a:cubicBezTo>
                  <a:pt x="374" y="404"/>
                  <a:pt x="373" y="404"/>
                  <a:pt x="372" y="404"/>
                </a:cubicBezTo>
                <a:cubicBezTo>
                  <a:pt x="372" y="404"/>
                  <a:pt x="371" y="403"/>
                  <a:pt x="371" y="403"/>
                </a:cubicBezTo>
                <a:cubicBezTo>
                  <a:pt x="370" y="403"/>
                  <a:pt x="370" y="403"/>
                  <a:pt x="369" y="402"/>
                </a:cubicBezTo>
                <a:cubicBezTo>
                  <a:pt x="368" y="402"/>
                  <a:pt x="367" y="402"/>
                  <a:pt x="366" y="402"/>
                </a:cubicBezTo>
                <a:cubicBezTo>
                  <a:pt x="365" y="402"/>
                  <a:pt x="364" y="402"/>
                  <a:pt x="363" y="402"/>
                </a:cubicBezTo>
                <a:cubicBezTo>
                  <a:pt x="361" y="402"/>
                  <a:pt x="360" y="402"/>
                  <a:pt x="359" y="402"/>
                </a:cubicBezTo>
                <a:cubicBezTo>
                  <a:pt x="358" y="402"/>
                  <a:pt x="358" y="402"/>
                  <a:pt x="358" y="402"/>
                </a:cubicBezTo>
                <a:cubicBezTo>
                  <a:pt x="357" y="402"/>
                  <a:pt x="357" y="402"/>
                  <a:pt x="356" y="402"/>
                </a:cubicBezTo>
                <a:cubicBezTo>
                  <a:pt x="356" y="403"/>
                  <a:pt x="356" y="403"/>
                  <a:pt x="357" y="403"/>
                </a:cubicBezTo>
                <a:cubicBezTo>
                  <a:pt x="357" y="403"/>
                  <a:pt x="358" y="403"/>
                  <a:pt x="358" y="404"/>
                </a:cubicBezTo>
                <a:cubicBezTo>
                  <a:pt x="358" y="404"/>
                  <a:pt x="358" y="405"/>
                  <a:pt x="357" y="405"/>
                </a:cubicBezTo>
                <a:cubicBezTo>
                  <a:pt x="357" y="405"/>
                  <a:pt x="357" y="405"/>
                  <a:pt x="356" y="405"/>
                </a:cubicBezTo>
                <a:cubicBezTo>
                  <a:pt x="356" y="405"/>
                  <a:pt x="355" y="405"/>
                  <a:pt x="354" y="405"/>
                </a:cubicBezTo>
                <a:cubicBezTo>
                  <a:pt x="354" y="404"/>
                  <a:pt x="353" y="404"/>
                  <a:pt x="352" y="404"/>
                </a:cubicBezTo>
                <a:cubicBezTo>
                  <a:pt x="351" y="404"/>
                  <a:pt x="350" y="405"/>
                  <a:pt x="349" y="405"/>
                </a:cubicBezTo>
                <a:cubicBezTo>
                  <a:pt x="349" y="405"/>
                  <a:pt x="348" y="405"/>
                  <a:pt x="347" y="405"/>
                </a:cubicBezTo>
                <a:cubicBezTo>
                  <a:pt x="347" y="405"/>
                  <a:pt x="346" y="404"/>
                  <a:pt x="346" y="404"/>
                </a:cubicBezTo>
                <a:cubicBezTo>
                  <a:pt x="345" y="404"/>
                  <a:pt x="344" y="404"/>
                  <a:pt x="343" y="404"/>
                </a:cubicBezTo>
                <a:cubicBezTo>
                  <a:pt x="342" y="404"/>
                  <a:pt x="341" y="404"/>
                  <a:pt x="340" y="404"/>
                </a:cubicBezTo>
                <a:cubicBezTo>
                  <a:pt x="340" y="404"/>
                  <a:pt x="339" y="404"/>
                  <a:pt x="339" y="404"/>
                </a:cubicBezTo>
                <a:cubicBezTo>
                  <a:pt x="339" y="405"/>
                  <a:pt x="339" y="405"/>
                  <a:pt x="339" y="405"/>
                </a:cubicBezTo>
                <a:cubicBezTo>
                  <a:pt x="339" y="406"/>
                  <a:pt x="339" y="406"/>
                  <a:pt x="338" y="406"/>
                </a:cubicBezTo>
                <a:cubicBezTo>
                  <a:pt x="338" y="406"/>
                  <a:pt x="337" y="407"/>
                  <a:pt x="337" y="407"/>
                </a:cubicBezTo>
                <a:cubicBezTo>
                  <a:pt x="337" y="408"/>
                  <a:pt x="337" y="408"/>
                  <a:pt x="336" y="409"/>
                </a:cubicBezTo>
                <a:cubicBezTo>
                  <a:pt x="336" y="409"/>
                  <a:pt x="336" y="408"/>
                  <a:pt x="336" y="408"/>
                </a:cubicBezTo>
                <a:cubicBezTo>
                  <a:pt x="335" y="408"/>
                  <a:pt x="335" y="408"/>
                  <a:pt x="335" y="407"/>
                </a:cubicBezTo>
                <a:cubicBezTo>
                  <a:pt x="335" y="407"/>
                  <a:pt x="335" y="407"/>
                  <a:pt x="334" y="406"/>
                </a:cubicBezTo>
                <a:cubicBezTo>
                  <a:pt x="334" y="406"/>
                  <a:pt x="334" y="406"/>
                  <a:pt x="334" y="405"/>
                </a:cubicBezTo>
                <a:cubicBezTo>
                  <a:pt x="333" y="405"/>
                  <a:pt x="333" y="404"/>
                  <a:pt x="334" y="403"/>
                </a:cubicBezTo>
                <a:cubicBezTo>
                  <a:pt x="334" y="403"/>
                  <a:pt x="334" y="402"/>
                  <a:pt x="335" y="402"/>
                </a:cubicBezTo>
                <a:cubicBezTo>
                  <a:pt x="335" y="402"/>
                  <a:pt x="335" y="403"/>
                  <a:pt x="336" y="403"/>
                </a:cubicBezTo>
                <a:cubicBezTo>
                  <a:pt x="337" y="403"/>
                  <a:pt x="337" y="402"/>
                  <a:pt x="338" y="402"/>
                </a:cubicBezTo>
                <a:cubicBezTo>
                  <a:pt x="338" y="402"/>
                  <a:pt x="339" y="402"/>
                  <a:pt x="339" y="402"/>
                </a:cubicBezTo>
                <a:cubicBezTo>
                  <a:pt x="339" y="403"/>
                  <a:pt x="340" y="403"/>
                  <a:pt x="340" y="402"/>
                </a:cubicBezTo>
                <a:cubicBezTo>
                  <a:pt x="341" y="402"/>
                  <a:pt x="341" y="402"/>
                  <a:pt x="342" y="401"/>
                </a:cubicBezTo>
                <a:cubicBezTo>
                  <a:pt x="343" y="401"/>
                  <a:pt x="343" y="401"/>
                  <a:pt x="344" y="401"/>
                </a:cubicBezTo>
                <a:cubicBezTo>
                  <a:pt x="344" y="401"/>
                  <a:pt x="344" y="401"/>
                  <a:pt x="345" y="401"/>
                </a:cubicBezTo>
                <a:cubicBezTo>
                  <a:pt x="345" y="402"/>
                  <a:pt x="345" y="402"/>
                  <a:pt x="346" y="402"/>
                </a:cubicBezTo>
                <a:cubicBezTo>
                  <a:pt x="347" y="401"/>
                  <a:pt x="347" y="401"/>
                  <a:pt x="348" y="401"/>
                </a:cubicBezTo>
                <a:cubicBezTo>
                  <a:pt x="348" y="400"/>
                  <a:pt x="349" y="400"/>
                  <a:pt x="350" y="400"/>
                </a:cubicBezTo>
                <a:cubicBezTo>
                  <a:pt x="350" y="400"/>
                  <a:pt x="351" y="400"/>
                  <a:pt x="352" y="400"/>
                </a:cubicBezTo>
                <a:cubicBezTo>
                  <a:pt x="353" y="399"/>
                  <a:pt x="354" y="399"/>
                  <a:pt x="355" y="398"/>
                </a:cubicBezTo>
                <a:cubicBezTo>
                  <a:pt x="356" y="398"/>
                  <a:pt x="357" y="399"/>
                  <a:pt x="358" y="398"/>
                </a:cubicBezTo>
                <a:cubicBezTo>
                  <a:pt x="358" y="398"/>
                  <a:pt x="358" y="397"/>
                  <a:pt x="359" y="397"/>
                </a:cubicBezTo>
                <a:cubicBezTo>
                  <a:pt x="359" y="397"/>
                  <a:pt x="360" y="397"/>
                  <a:pt x="360" y="397"/>
                </a:cubicBezTo>
                <a:cubicBezTo>
                  <a:pt x="361" y="397"/>
                  <a:pt x="361" y="397"/>
                  <a:pt x="362" y="397"/>
                </a:cubicBezTo>
                <a:cubicBezTo>
                  <a:pt x="362" y="397"/>
                  <a:pt x="362" y="397"/>
                  <a:pt x="363" y="397"/>
                </a:cubicBezTo>
                <a:cubicBezTo>
                  <a:pt x="363" y="397"/>
                  <a:pt x="364" y="397"/>
                  <a:pt x="364" y="397"/>
                </a:cubicBezTo>
                <a:cubicBezTo>
                  <a:pt x="365" y="397"/>
                  <a:pt x="365" y="397"/>
                  <a:pt x="366" y="397"/>
                </a:cubicBezTo>
                <a:cubicBezTo>
                  <a:pt x="366" y="396"/>
                  <a:pt x="366" y="396"/>
                  <a:pt x="367" y="396"/>
                </a:cubicBezTo>
                <a:cubicBezTo>
                  <a:pt x="368" y="396"/>
                  <a:pt x="368" y="396"/>
                  <a:pt x="369" y="396"/>
                </a:cubicBezTo>
                <a:cubicBezTo>
                  <a:pt x="370" y="396"/>
                  <a:pt x="371" y="395"/>
                  <a:pt x="373" y="395"/>
                </a:cubicBezTo>
                <a:cubicBezTo>
                  <a:pt x="373" y="395"/>
                  <a:pt x="374" y="395"/>
                  <a:pt x="374" y="394"/>
                </a:cubicBezTo>
                <a:cubicBezTo>
                  <a:pt x="375" y="394"/>
                  <a:pt x="375" y="393"/>
                  <a:pt x="376" y="393"/>
                </a:cubicBezTo>
                <a:cubicBezTo>
                  <a:pt x="377" y="393"/>
                  <a:pt x="377" y="393"/>
                  <a:pt x="377" y="393"/>
                </a:cubicBezTo>
                <a:cubicBezTo>
                  <a:pt x="378" y="391"/>
                  <a:pt x="379" y="391"/>
                  <a:pt x="380" y="392"/>
                </a:cubicBezTo>
                <a:cubicBezTo>
                  <a:pt x="380" y="392"/>
                  <a:pt x="381" y="392"/>
                  <a:pt x="381" y="392"/>
                </a:cubicBezTo>
                <a:cubicBezTo>
                  <a:pt x="382" y="391"/>
                  <a:pt x="382" y="391"/>
                  <a:pt x="382" y="391"/>
                </a:cubicBezTo>
                <a:cubicBezTo>
                  <a:pt x="383" y="390"/>
                  <a:pt x="384" y="391"/>
                  <a:pt x="385" y="390"/>
                </a:cubicBezTo>
                <a:cubicBezTo>
                  <a:pt x="385" y="390"/>
                  <a:pt x="386" y="390"/>
                  <a:pt x="386" y="390"/>
                </a:cubicBezTo>
                <a:cubicBezTo>
                  <a:pt x="386" y="389"/>
                  <a:pt x="387" y="389"/>
                  <a:pt x="387" y="389"/>
                </a:cubicBezTo>
                <a:cubicBezTo>
                  <a:pt x="388" y="389"/>
                  <a:pt x="389" y="389"/>
                  <a:pt x="390" y="389"/>
                </a:cubicBezTo>
                <a:cubicBezTo>
                  <a:pt x="390" y="389"/>
                  <a:pt x="391" y="388"/>
                  <a:pt x="392" y="388"/>
                </a:cubicBezTo>
                <a:cubicBezTo>
                  <a:pt x="392" y="388"/>
                  <a:pt x="392" y="389"/>
                  <a:pt x="393" y="389"/>
                </a:cubicBezTo>
                <a:cubicBezTo>
                  <a:pt x="393" y="389"/>
                  <a:pt x="393" y="389"/>
                  <a:pt x="394" y="389"/>
                </a:cubicBezTo>
                <a:cubicBezTo>
                  <a:pt x="394" y="389"/>
                  <a:pt x="395" y="389"/>
                  <a:pt x="395" y="389"/>
                </a:cubicBezTo>
                <a:cubicBezTo>
                  <a:pt x="395" y="389"/>
                  <a:pt x="396" y="390"/>
                  <a:pt x="396" y="390"/>
                </a:cubicBezTo>
                <a:cubicBezTo>
                  <a:pt x="397" y="390"/>
                  <a:pt x="398" y="390"/>
                  <a:pt x="399" y="390"/>
                </a:cubicBezTo>
                <a:cubicBezTo>
                  <a:pt x="399" y="390"/>
                  <a:pt x="400" y="390"/>
                  <a:pt x="400" y="390"/>
                </a:cubicBezTo>
                <a:cubicBezTo>
                  <a:pt x="400" y="390"/>
                  <a:pt x="401" y="390"/>
                  <a:pt x="401" y="390"/>
                </a:cubicBezTo>
                <a:cubicBezTo>
                  <a:pt x="402" y="391"/>
                  <a:pt x="402" y="391"/>
                  <a:pt x="401" y="391"/>
                </a:cubicBezTo>
                <a:cubicBezTo>
                  <a:pt x="401" y="391"/>
                  <a:pt x="401" y="391"/>
                  <a:pt x="401" y="391"/>
                </a:cubicBezTo>
                <a:cubicBezTo>
                  <a:pt x="400" y="391"/>
                  <a:pt x="401" y="391"/>
                  <a:pt x="400" y="391"/>
                </a:cubicBezTo>
                <a:cubicBezTo>
                  <a:pt x="400" y="392"/>
                  <a:pt x="399" y="392"/>
                  <a:pt x="399" y="392"/>
                </a:cubicBezTo>
                <a:cubicBezTo>
                  <a:pt x="398" y="392"/>
                  <a:pt x="398" y="393"/>
                  <a:pt x="397" y="393"/>
                </a:cubicBezTo>
                <a:cubicBezTo>
                  <a:pt x="396" y="394"/>
                  <a:pt x="395" y="393"/>
                  <a:pt x="394" y="394"/>
                </a:cubicBezTo>
                <a:cubicBezTo>
                  <a:pt x="394" y="394"/>
                  <a:pt x="394" y="394"/>
                  <a:pt x="393" y="394"/>
                </a:cubicBezTo>
                <a:cubicBezTo>
                  <a:pt x="393" y="394"/>
                  <a:pt x="393" y="394"/>
                  <a:pt x="392" y="395"/>
                </a:cubicBezTo>
                <a:cubicBezTo>
                  <a:pt x="391" y="395"/>
                  <a:pt x="391" y="395"/>
                  <a:pt x="390" y="395"/>
                </a:cubicBezTo>
                <a:cubicBezTo>
                  <a:pt x="390" y="396"/>
                  <a:pt x="389" y="397"/>
                  <a:pt x="388" y="397"/>
                </a:cubicBezTo>
                <a:cubicBezTo>
                  <a:pt x="388" y="398"/>
                  <a:pt x="387" y="398"/>
                  <a:pt x="387" y="399"/>
                </a:cubicBezTo>
                <a:cubicBezTo>
                  <a:pt x="387" y="399"/>
                  <a:pt x="388" y="399"/>
                  <a:pt x="387" y="400"/>
                </a:cubicBezTo>
                <a:cubicBezTo>
                  <a:pt x="387" y="400"/>
                  <a:pt x="387" y="400"/>
                  <a:pt x="387" y="400"/>
                </a:cubicBezTo>
                <a:cubicBezTo>
                  <a:pt x="386" y="401"/>
                  <a:pt x="388" y="400"/>
                  <a:pt x="388" y="400"/>
                </a:cubicBezTo>
                <a:cubicBezTo>
                  <a:pt x="389" y="400"/>
                  <a:pt x="390" y="400"/>
                  <a:pt x="391" y="400"/>
                </a:cubicBezTo>
                <a:cubicBezTo>
                  <a:pt x="391" y="400"/>
                  <a:pt x="392" y="400"/>
                  <a:pt x="392" y="401"/>
                </a:cubicBezTo>
                <a:cubicBezTo>
                  <a:pt x="392" y="401"/>
                  <a:pt x="392" y="401"/>
                  <a:pt x="392" y="401"/>
                </a:cubicBezTo>
                <a:cubicBezTo>
                  <a:pt x="393" y="401"/>
                  <a:pt x="394" y="401"/>
                  <a:pt x="394" y="401"/>
                </a:cubicBezTo>
                <a:cubicBezTo>
                  <a:pt x="395" y="401"/>
                  <a:pt x="395" y="402"/>
                  <a:pt x="395" y="402"/>
                </a:cubicBezTo>
                <a:cubicBezTo>
                  <a:pt x="396" y="402"/>
                  <a:pt x="398" y="401"/>
                  <a:pt x="399" y="401"/>
                </a:cubicBezTo>
                <a:cubicBezTo>
                  <a:pt x="400" y="401"/>
                  <a:pt x="401" y="401"/>
                  <a:pt x="401" y="401"/>
                </a:cubicBezTo>
                <a:cubicBezTo>
                  <a:pt x="403" y="402"/>
                  <a:pt x="405" y="402"/>
                  <a:pt x="407" y="401"/>
                </a:cubicBezTo>
                <a:cubicBezTo>
                  <a:pt x="408" y="401"/>
                  <a:pt x="410" y="401"/>
                  <a:pt x="411" y="400"/>
                </a:cubicBezTo>
                <a:cubicBezTo>
                  <a:pt x="411" y="400"/>
                  <a:pt x="413" y="399"/>
                  <a:pt x="413" y="399"/>
                </a:cubicBezTo>
                <a:cubicBezTo>
                  <a:pt x="412" y="398"/>
                  <a:pt x="412" y="398"/>
                  <a:pt x="412" y="398"/>
                </a:cubicBezTo>
                <a:cubicBezTo>
                  <a:pt x="412" y="398"/>
                  <a:pt x="412" y="398"/>
                  <a:pt x="413" y="397"/>
                </a:cubicBezTo>
                <a:cubicBezTo>
                  <a:pt x="413" y="397"/>
                  <a:pt x="414" y="397"/>
                  <a:pt x="414" y="397"/>
                </a:cubicBezTo>
                <a:cubicBezTo>
                  <a:pt x="415" y="396"/>
                  <a:pt x="416" y="395"/>
                  <a:pt x="416" y="395"/>
                </a:cubicBezTo>
                <a:cubicBezTo>
                  <a:pt x="417" y="395"/>
                  <a:pt x="417" y="395"/>
                  <a:pt x="418" y="395"/>
                </a:cubicBezTo>
                <a:cubicBezTo>
                  <a:pt x="418" y="395"/>
                  <a:pt x="418" y="395"/>
                  <a:pt x="419" y="395"/>
                </a:cubicBezTo>
                <a:cubicBezTo>
                  <a:pt x="419" y="395"/>
                  <a:pt x="419" y="395"/>
                  <a:pt x="419" y="395"/>
                </a:cubicBezTo>
                <a:cubicBezTo>
                  <a:pt x="419" y="396"/>
                  <a:pt x="418" y="396"/>
                  <a:pt x="418" y="396"/>
                </a:cubicBezTo>
                <a:cubicBezTo>
                  <a:pt x="417" y="397"/>
                  <a:pt x="417" y="398"/>
                  <a:pt x="417" y="398"/>
                </a:cubicBezTo>
                <a:cubicBezTo>
                  <a:pt x="416" y="399"/>
                  <a:pt x="415" y="399"/>
                  <a:pt x="415" y="400"/>
                </a:cubicBezTo>
                <a:cubicBezTo>
                  <a:pt x="415" y="400"/>
                  <a:pt x="416" y="400"/>
                  <a:pt x="416" y="400"/>
                </a:cubicBezTo>
                <a:cubicBezTo>
                  <a:pt x="416" y="400"/>
                  <a:pt x="416" y="400"/>
                  <a:pt x="416" y="400"/>
                </a:cubicBezTo>
                <a:cubicBezTo>
                  <a:pt x="416" y="400"/>
                  <a:pt x="417" y="400"/>
                  <a:pt x="417" y="399"/>
                </a:cubicBezTo>
                <a:cubicBezTo>
                  <a:pt x="417" y="399"/>
                  <a:pt x="418" y="399"/>
                  <a:pt x="418" y="399"/>
                </a:cubicBezTo>
                <a:cubicBezTo>
                  <a:pt x="418" y="399"/>
                  <a:pt x="418" y="399"/>
                  <a:pt x="419" y="399"/>
                </a:cubicBezTo>
                <a:cubicBezTo>
                  <a:pt x="419" y="399"/>
                  <a:pt x="419" y="399"/>
                  <a:pt x="419" y="399"/>
                </a:cubicBezTo>
                <a:cubicBezTo>
                  <a:pt x="420" y="399"/>
                  <a:pt x="419" y="400"/>
                  <a:pt x="419" y="401"/>
                </a:cubicBezTo>
                <a:close/>
                <a:moveTo>
                  <a:pt x="506" y="469"/>
                </a:moveTo>
                <a:cubicBezTo>
                  <a:pt x="505" y="469"/>
                  <a:pt x="505" y="469"/>
                  <a:pt x="504" y="469"/>
                </a:cubicBezTo>
                <a:cubicBezTo>
                  <a:pt x="504" y="470"/>
                  <a:pt x="504" y="469"/>
                  <a:pt x="503" y="470"/>
                </a:cubicBezTo>
                <a:cubicBezTo>
                  <a:pt x="502" y="470"/>
                  <a:pt x="502" y="470"/>
                  <a:pt x="501" y="470"/>
                </a:cubicBezTo>
                <a:cubicBezTo>
                  <a:pt x="501" y="470"/>
                  <a:pt x="500" y="470"/>
                  <a:pt x="500" y="470"/>
                </a:cubicBezTo>
                <a:cubicBezTo>
                  <a:pt x="500" y="471"/>
                  <a:pt x="499" y="471"/>
                  <a:pt x="499" y="471"/>
                </a:cubicBezTo>
                <a:cubicBezTo>
                  <a:pt x="498" y="471"/>
                  <a:pt x="498" y="470"/>
                  <a:pt x="498" y="470"/>
                </a:cubicBezTo>
                <a:cubicBezTo>
                  <a:pt x="497" y="470"/>
                  <a:pt x="497" y="470"/>
                  <a:pt x="497" y="471"/>
                </a:cubicBezTo>
                <a:cubicBezTo>
                  <a:pt x="497" y="471"/>
                  <a:pt x="497" y="471"/>
                  <a:pt x="498" y="471"/>
                </a:cubicBezTo>
                <a:cubicBezTo>
                  <a:pt x="498" y="471"/>
                  <a:pt x="498" y="472"/>
                  <a:pt x="499" y="472"/>
                </a:cubicBezTo>
                <a:cubicBezTo>
                  <a:pt x="500" y="472"/>
                  <a:pt x="500" y="471"/>
                  <a:pt x="501" y="471"/>
                </a:cubicBezTo>
                <a:cubicBezTo>
                  <a:pt x="501" y="472"/>
                  <a:pt x="500" y="472"/>
                  <a:pt x="500" y="472"/>
                </a:cubicBezTo>
                <a:cubicBezTo>
                  <a:pt x="500" y="472"/>
                  <a:pt x="500" y="473"/>
                  <a:pt x="501" y="472"/>
                </a:cubicBezTo>
                <a:cubicBezTo>
                  <a:pt x="501" y="472"/>
                  <a:pt x="501" y="471"/>
                  <a:pt x="502" y="471"/>
                </a:cubicBezTo>
                <a:cubicBezTo>
                  <a:pt x="502" y="471"/>
                  <a:pt x="502" y="471"/>
                  <a:pt x="502" y="471"/>
                </a:cubicBezTo>
                <a:cubicBezTo>
                  <a:pt x="503" y="471"/>
                  <a:pt x="503" y="471"/>
                  <a:pt x="503" y="471"/>
                </a:cubicBezTo>
                <a:cubicBezTo>
                  <a:pt x="503" y="472"/>
                  <a:pt x="503" y="472"/>
                  <a:pt x="504" y="472"/>
                </a:cubicBezTo>
                <a:cubicBezTo>
                  <a:pt x="504" y="471"/>
                  <a:pt x="505" y="471"/>
                  <a:pt x="506" y="471"/>
                </a:cubicBezTo>
                <a:cubicBezTo>
                  <a:pt x="507" y="470"/>
                  <a:pt x="506" y="471"/>
                  <a:pt x="505" y="472"/>
                </a:cubicBezTo>
                <a:cubicBezTo>
                  <a:pt x="505" y="472"/>
                  <a:pt x="504" y="472"/>
                  <a:pt x="504" y="473"/>
                </a:cubicBezTo>
                <a:cubicBezTo>
                  <a:pt x="503" y="473"/>
                  <a:pt x="503" y="473"/>
                  <a:pt x="503" y="473"/>
                </a:cubicBezTo>
                <a:cubicBezTo>
                  <a:pt x="502" y="473"/>
                  <a:pt x="502" y="473"/>
                  <a:pt x="502" y="474"/>
                </a:cubicBezTo>
                <a:cubicBezTo>
                  <a:pt x="501" y="474"/>
                  <a:pt x="501" y="474"/>
                  <a:pt x="500" y="474"/>
                </a:cubicBezTo>
                <a:cubicBezTo>
                  <a:pt x="499" y="474"/>
                  <a:pt x="499" y="474"/>
                  <a:pt x="499" y="474"/>
                </a:cubicBezTo>
                <a:cubicBezTo>
                  <a:pt x="498" y="474"/>
                  <a:pt x="498" y="474"/>
                  <a:pt x="497" y="473"/>
                </a:cubicBezTo>
                <a:cubicBezTo>
                  <a:pt x="497" y="473"/>
                  <a:pt x="496" y="473"/>
                  <a:pt x="495" y="473"/>
                </a:cubicBezTo>
                <a:cubicBezTo>
                  <a:pt x="493" y="473"/>
                  <a:pt x="492" y="475"/>
                  <a:pt x="491" y="476"/>
                </a:cubicBezTo>
                <a:cubicBezTo>
                  <a:pt x="490" y="477"/>
                  <a:pt x="488" y="478"/>
                  <a:pt x="487" y="479"/>
                </a:cubicBezTo>
                <a:cubicBezTo>
                  <a:pt x="487" y="479"/>
                  <a:pt x="485" y="480"/>
                  <a:pt x="487" y="480"/>
                </a:cubicBezTo>
                <a:cubicBezTo>
                  <a:pt x="487" y="480"/>
                  <a:pt x="488" y="479"/>
                  <a:pt x="488" y="479"/>
                </a:cubicBezTo>
                <a:cubicBezTo>
                  <a:pt x="488" y="479"/>
                  <a:pt x="488" y="480"/>
                  <a:pt x="488" y="480"/>
                </a:cubicBezTo>
                <a:cubicBezTo>
                  <a:pt x="488" y="480"/>
                  <a:pt x="487" y="481"/>
                  <a:pt x="487" y="481"/>
                </a:cubicBezTo>
                <a:cubicBezTo>
                  <a:pt x="486" y="482"/>
                  <a:pt x="486" y="482"/>
                  <a:pt x="485" y="482"/>
                </a:cubicBezTo>
                <a:cubicBezTo>
                  <a:pt x="484" y="483"/>
                  <a:pt x="484" y="483"/>
                  <a:pt x="483" y="484"/>
                </a:cubicBezTo>
                <a:cubicBezTo>
                  <a:pt x="482" y="485"/>
                  <a:pt x="482" y="485"/>
                  <a:pt x="481" y="486"/>
                </a:cubicBezTo>
                <a:cubicBezTo>
                  <a:pt x="480" y="486"/>
                  <a:pt x="480" y="487"/>
                  <a:pt x="479" y="487"/>
                </a:cubicBezTo>
                <a:cubicBezTo>
                  <a:pt x="477" y="490"/>
                  <a:pt x="472" y="489"/>
                  <a:pt x="469" y="489"/>
                </a:cubicBezTo>
                <a:cubicBezTo>
                  <a:pt x="467" y="490"/>
                  <a:pt x="466" y="491"/>
                  <a:pt x="465" y="492"/>
                </a:cubicBezTo>
                <a:cubicBezTo>
                  <a:pt x="465" y="493"/>
                  <a:pt x="464" y="493"/>
                  <a:pt x="463" y="494"/>
                </a:cubicBezTo>
                <a:cubicBezTo>
                  <a:pt x="463" y="494"/>
                  <a:pt x="463" y="495"/>
                  <a:pt x="463" y="495"/>
                </a:cubicBezTo>
                <a:cubicBezTo>
                  <a:pt x="463" y="495"/>
                  <a:pt x="464" y="495"/>
                  <a:pt x="464" y="495"/>
                </a:cubicBezTo>
                <a:cubicBezTo>
                  <a:pt x="464" y="496"/>
                  <a:pt x="464" y="496"/>
                  <a:pt x="463" y="497"/>
                </a:cubicBezTo>
                <a:cubicBezTo>
                  <a:pt x="463" y="497"/>
                  <a:pt x="463" y="497"/>
                  <a:pt x="463" y="498"/>
                </a:cubicBezTo>
                <a:cubicBezTo>
                  <a:pt x="462" y="498"/>
                  <a:pt x="461" y="498"/>
                  <a:pt x="460" y="498"/>
                </a:cubicBezTo>
                <a:cubicBezTo>
                  <a:pt x="459" y="498"/>
                  <a:pt x="458" y="498"/>
                  <a:pt x="456" y="498"/>
                </a:cubicBezTo>
                <a:cubicBezTo>
                  <a:pt x="456" y="499"/>
                  <a:pt x="455" y="499"/>
                  <a:pt x="454" y="499"/>
                </a:cubicBezTo>
                <a:cubicBezTo>
                  <a:pt x="452" y="499"/>
                  <a:pt x="450" y="499"/>
                  <a:pt x="448" y="500"/>
                </a:cubicBezTo>
                <a:cubicBezTo>
                  <a:pt x="446" y="500"/>
                  <a:pt x="444" y="501"/>
                  <a:pt x="442" y="500"/>
                </a:cubicBezTo>
                <a:cubicBezTo>
                  <a:pt x="441" y="500"/>
                  <a:pt x="440" y="500"/>
                  <a:pt x="439" y="500"/>
                </a:cubicBezTo>
                <a:cubicBezTo>
                  <a:pt x="438" y="500"/>
                  <a:pt x="437" y="500"/>
                  <a:pt x="437" y="500"/>
                </a:cubicBezTo>
                <a:cubicBezTo>
                  <a:pt x="435" y="499"/>
                  <a:pt x="434" y="499"/>
                  <a:pt x="432" y="498"/>
                </a:cubicBezTo>
                <a:cubicBezTo>
                  <a:pt x="431" y="498"/>
                  <a:pt x="430" y="497"/>
                  <a:pt x="429" y="497"/>
                </a:cubicBezTo>
                <a:cubicBezTo>
                  <a:pt x="428" y="497"/>
                  <a:pt x="427" y="497"/>
                  <a:pt x="426" y="497"/>
                </a:cubicBezTo>
                <a:cubicBezTo>
                  <a:pt x="425" y="497"/>
                  <a:pt x="424" y="497"/>
                  <a:pt x="423" y="497"/>
                </a:cubicBezTo>
                <a:cubicBezTo>
                  <a:pt x="423" y="496"/>
                  <a:pt x="422" y="496"/>
                  <a:pt x="422" y="495"/>
                </a:cubicBezTo>
                <a:cubicBezTo>
                  <a:pt x="421" y="495"/>
                  <a:pt x="421" y="494"/>
                  <a:pt x="420" y="494"/>
                </a:cubicBezTo>
                <a:cubicBezTo>
                  <a:pt x="420" y="493"/>
                  <a:pt x="420" y="493"/>
                  <a:pt x="421" y="493"/>
                </a:cubicBezTo>
                <a:cubicBezTo>
                  <a:pt x="421" y="493"/>
                  <a:pt x="421" y="493"/>
                  <a:pt x="421" y="493"/>
                </a:cubicBezTo>
                <a:cubicBezTo>
                  <a:pt x="422" y="494"/>
                  <a:pt x="423" y="493"/>
                  <a:pt x="424" y="493"/>
                </a:cubicBezTo>
                <a:cubicBezTo>
                  <a:pt x="425" y="493"/>
                  <a:pt x="426" y="494"/>
                  <a:pt x="427" y="494"/>
                </a:cubicBezTo>
                <a:cubicBezTo>
                  <a:pt x="427" y="494"/>
                  <a:pt x="429" y="495"/>
                  <a:pt x="429" y="494"/>
                </a:cubicBezTo>
                <a:cubicBezTo>
                  <a:pt x="429" y="493"/>
                  <a:pt x="428" y="493"/>
                  <a:pt x="428" y="493"/>
                </a:cubicBezTo>
                <a:cubicBezTo>
                  <a:pt x="429" y="492"/>
                  <a:pt x="429" y="492"/>
                  <a:pt x="429" y="492"/>
                </a:cubicBezTo>
                <a:cubicBezTo>
                  <a:pt x="430" y="492"/>
                  <a:pt x="431" y="492"/>
                  <a:pt x="432" y="492"/>
                </a:cubicBezTo>
                <a:cubicBezTo>
                  <a:pt x="432" y="492"/>
                  <a:pt x="433" y="493"/>
                  <a:pt x="433" y="493"/>
                </a:cubicBezTo>
                <a:cubicBezTo>
                  <a:pt x="433" y="493"/>
                  <a:pt x="434" y="493"/>
                  <a:pt x="434" y="493"/>
                </a:cubicBezTo>
                <a:cubicBezTo>
                  <a:pt x="435" y="493"/>
                  <a:pt x="435" y="493"/>
                  <a:pt x="436" y="493"/>
                </a:cubicBezTo>
                <a:cubicBezTo>
                  <a:pt x="436" y="494"/>
                  <a:pt x="436" y="494"/>
                  <a:pt x="437" y="494"/>
                </a:cubicBezTo>
                <a:cubicBezTo>
                  <a:pt x="438" y="494"/>
                  <a:pt x="438" y="494"/>
                  <a:pt x="439" y="493"/>
                </a:cubicBezTo>
                <a:cubicBezTo>
                  <a:pt x="439" y="493"/>
                  <a:pt x="439" y="492"/>
                  <a:pt x="439" y="492"/>
                </a:cubicBezTo>
                <a:cubicBezTo>
                  <a:pt x="438" y="492"/>
                  <a:pt x="436" y="491"/>
                  <a:pt x="438" y="491"/>
                </a:cubicBezTo>
                <a:cubicBezTo>
                  <a:pt x="438" y="490"/>
                  <a:pt x="440" y="491"/>
                  <a:pt x="440" y="490"/>
                </a:cubicBezTo>
                <a:cubicBezTo>
                  <a:pt x="440" y="490"/>
                  <a:pt x="439" y="489"/>
                  <a:pt x="440" y="488"/>
                </a:cubicBezTo>
                <a:cubicBezTo>
                  <a:pt x="440" y="488"/>
                  <a:pt x="441" y="488"/>
                  <a:pt x="442" y="487"/>
                </a:cubicBezTo>
                <a:cubicBezTo>
                  <a:pt x="442" y="487"/>
                  <a:pt x="442" y="487"/>
                  <a:pt x="442" y="486"/>
                </a:cubicBezTo>
                <a:cubicBezTo>
                  <a:pt x="442" y="486"/>
                  <a:pt x="442" y="486"/>
                  <a:pt x="443" y="486"/>
                </a:cubicBezTo>
                <a:cubicBezTo>
                  <a:pt x="443" y="485"/>
                  <a:pt x="442" y="485"/>
                  <a:pt x="443" y="485"/>
                </a:cubicBezTo>
                <a:cubicBezTo>
                  <a:pt x="443" y="483"/>
                  <a:pt x="446" y="485"/>
                  <a:pt x="447" y="485"/>
                </a:cubicBezTo>
                <a:cubicBezTo>
                  <a:pt x="448" y="485"/>
                  <a:pt x="448" y="485"/>
                  <a:pt x="448" y="485"/>
                </a:cubicBezTo>
                <a:cubicBezTo>
                  <a:pt x="449" y="485"/>
                  <a:pt x="449" y="485"/>
                  <a:pt x="450" y="485"/>
                </a:cubicBezTo>
                <a:cubicBezTo>
                  <a:pt x="450" y="485"/>
                  <a:pt x="450" y="484"/>
                  <a:pt x="450" y="484"/>
                </a:cubicBezTo>
                <a:cubicBezTo>
                  <a:pt x="451" y="484"/>
                  <a:pt x="452" y="484"/>
                  <a:pt x="452" y="484"/>
                </a:cubicBezTo>
                <a:cubicBezTo>
                  <a:pt x="452" y="483"/>
                  <a:pt x="453" y="482"/>
                  <a:pt x="452" y="481"/>
                </a:cubicBezTo>
                <a:cubicBezTo>
                  <a:pt x="452" y="481"/>
                  <a:pt x="452" y="481"/>
                  <a:pt x="451" y="481"/>
                </a:cubicBezTo>
                <a:cubicBezTo>
                  <a:pt x="451" y="481"/>
                  <a:pt x="451" y="480"/>
                  <a:pt x="451" y="480"/>
                </a:cubicBezTo>
                <a:cubicBezTo>
                  <a:pt x="450" y="479"/>
                  <a:pt x="449" y="479"/>
                  <a:pt x="448" y="479"/>
                </a:cubicBezTo>
                <a:cubicBezTo>
                  <a:pt x="448" y="479"/>
                  <a:pt x="448" y="477"/>
                  <a:pt x="448" y="477"/>
                </a:cubicBezTo>
                <a:cubicBezTo>
                  <a:pt x="447" y="476"/>
                  <a:pt x="447" y="476"/>
                  <a:pt x="446" y="476"/>
                </a:cubicBezTo>
                <a:cubicBezTo>
                  <a:pt x="446" y="476"/>
                  <a:pt x="445" y="476"/>
                  <a:pt x="445" y="476"/>
                </a:cubicBezTo>
                <a:cubicBezTo>
                  <a:pt x="445" y="476"/>
                  <a:pt x="446" y="475"/>
                  <a:pt x="446" y="475"/>
                </a:cubicBezTo>
                <a:cubicBezTo>
                  <a:pt x="446" y="474"/>
                  <a:pt x="446" y="474"/>
                  <a:pt x="445" y="474"/>
                </a:cubicBezTo>
                <a:cubicBezTo>
                  <a:pt x="445" y="474"/>
                  <a:pt x="446" y="473"/>
                  <a:pt x="446" y="472"/>
                </a:cubicBezTo>
                <a:cubicBezTo>
                  <a:pt x="446" y="471"/>
                  <a:pt x="444" y="472"/>
                  <a:pt x="444" y="472"/>
                </a:cubicBezTo>
                <a:cubicBezTo>
                  <a:pt x="443" y="472"/>
                  <a:pt x="442" y="472"/>
                  <a:pt x="441" y="472"/>
                </a:cubicBezTo>
                <a:cubicBezTo>
                  <a:pt x="440" y="472"/>
                  <a:pt x="440" y="471"/>
                  <a:pt x="440" y="470"/>
                </a:cubicBezTo>
                <a:cubicBezTo>
                  <a:pt x="440" y="469"/>
                  <a:pt x="439" y="469"/>
                  <a:pt x="438" y="469"/>
                </a:cubicBezTo>
                <a:cubicBezTo>
                  <a:pt x="438" y="468"/>
                  <a:pt x="436" y="468"/>
                  <a:pt x="437" y="467"/>
                </a:cubicBezTo>
                <a:cubicBezTo>
                  <a:pt x="437" y="466"/>
                  <a:pt x="438" y="467"/>
                  <a:pt x="438" y="467"/>
                </a:cubicBezTo>
                <a:cubicBezTo>
                  <a:pt x="439" y="468"/>
                  <a:pt x="439" y="468"/>
                  <a:pt x="440" y="468"/>
                </a:cubicBezTo>
                <a:cubicBezTo>
                  <a:pt x="440" y="468"/>
                  <a:pt x="440" y="468"/>
                  <a:pt x="441" y="469"/>
                </a:cubicBezTo>
                <a:cubicBezTo>
                  <a:pt x="441" y="469"/>
                  <a:pt x="442" y="469"/>
                  <a:pt x="443" y="469"/>
                </a:cubicBezTo>
                <a:cubicBezTo>
                  <a:pt x="444" y="469"/>
                  <a:pt x="445" y="469"/>
                  <a:pt x="445" y="470"/>
                </a:cubicBezTo>
                <a:cubicBezTo>
                  <a:pt x="446" y="471"/>
                  <a:pt x="446" y="471"/>
                  <a:pt x="447" y="471"/>
                </a:cubicBezTo>
                <a:cubicBezTo>
                  <a:pt x="448" y="472"/>
                  <a:pt x="450" y="472"/>
                  <a:pt x="451" y="473"/>
                </a:cubicBezTo>
                <a:cubicBezTo>
                  <a:pt x="452" y="474"/>
                  <a:pt x="453" y="474"/>
                  <a:pt x="454" y="474"/>
                </a:cubicBezTo>
                <a:cubicBezTo>
                  <a:pt x="454" y="474"/>
                  <a:pt x="455" y="474"/>
                  <a:pt x="455" y="474"/>
                </a:cubicBezTo>
                <a:cubicBezTo>
                  <a:pt x="455" y="474"/>
                  <a:pt x="456" y="474"/>
                  <a:pt x="456" y="473"/>
                </a:cubicBezTo>
                <a:cubicBezTo>
                  <a:pt x="457" y="473"/>
                  <a:pt x="457" y="474"/>
                  <a:pt x="457" y="474"/>
                </a:cubicBezTo>
                <a:cubicBezTo>
                  <a:pt x="458" y="475"/>
                  <a:pt x="459" y="475"/>
                  <a:pt x="459" y="476"/>
                </a:cubicBezTo>
                <a:cubicBezTo>
                  <a:pt x="460" y="476"/>
                  <a:pt x="460" y="477"/>
                  <a:pt x="461" y="477"/>
                </a:cubicBezTo>
                <a:cubicBezTo>
                  <a:pt x="461" y="478"/>
                  <a:pt x="462" y="478"/>
                  <a:pt x="463" y="478"/>
                </a:cubicBezTo>
                <a:cubicBezTo>
                  <a:pt x="464" y="479"/>
                  <a:pt x="464" y="480"/>
                  <a:pt x="465" y="480"/>
                </a:cubicBezTo>
                <a:cubicBezTo>
                  <a:pt x="466" y="480"/>
                  <a:pt x="467" y="480"/>
                  <a:pt x="467" y="480"/>
                </a:cubicBezTo>
                <a:cubicBezTo>
                  <a:pt x="468" y="481"/>
                  <a:pt x="468" y="481"/>
                  <a:pt x="469" y="481"/>
                </a:cubicBezTo>
                <a:cubicBezTo>
                  <a:pt x="469" y="480"/>
                  <a:pt x="470" y="480"/>
                  <a:pt x="470" y="480"/>
                </a:cubicBezTo>
                <a:cubicBezTo>
                  <a:pt x="471" y="480"/>
                  <a:pt x="471" y="480"/>
                  <a:pt x="471" y="480"/>
                </a:cubicBezTo>
                <a:cubicBezTo>
                  <a:pt x="472" y="480"/>
                  <a:pt x="472" y="479"/>
                  <a:pt x="472" y="479"/>
                </a:cubicBezTo>
                <a:cubicBezTo>
                  <a:pt x="473" y="479"/>
                  <a:pt x="473" y="480"/>
                  <a:pt x="474" y="480"/>
                </a:cubicBezTo>
                <a:cubicBezTo>
                  <a:pt x="475" y="480"/>
                  <a:pt x="475" y="479"/>
                  <a:pt x="476" y="479"/>
                </a:cubicBezTo>
                <a:cubicBezTo>
                  <a:pt x="478" y="479"/>
                  <a:pt x="479" y="479"/>
                  <a:pt x="480" y="477"/>
                </a:cubicBezTo>
                <a:cubicBezTo>
                  <a:pt x="482" y="476"/>
                  <a:pt x="483" y="475"/>
                  <a:pt x="484" y="474"/>
                </a:cubicBezTo>
                <a:cubicBezTo>
                  <a:pt x="486" y="473"/>
                  <a:pt x="487" y="474"/>
                  <a:pt x="489" y="473"/>
                </a:cubicBezTo>
                <a:cubicBezTo>
                  <a:pt x="490" y="472"/>
                  <a:pt x="491" y="471"/>
                  <a:pt x="492" y="470"/>
                </a:cubicBezTo>
                <a:cubicBezTo>
                  <a:pt x="493" y="470"/>
                  <a:pt x="494" y="469"/>
                  <a:pt x="494" y="469"/>
                </a:cubicBezTo>
                <a:cubicBezTo>
                  <a:pt x="495" y="469"/>
                  <a:pt x="496" y="469"/>
                  <a:pt x="497" y="469"/>
                </a:cubicBezTo>
                <a:cubicBezTo>
                  <a:pt x="498" y="469"/>
                  <a:pt x="499" y="469"/>
                  <a:pt x="499" y="469"/>
                </a:cubicBezTo>
                <a:cubicBezTo>
                  <a:pt x="500" y="469"/>
                  <a:pt x="500" y="468"/>
                  <a:pt x="500" y="467"/>
                </a:cubicBezTo>
                <a:cubicBezTo>
                  <a:pt x="501" y="466"/>
                  <a:pt x="502" y="466"/>
                  <a:pt x="502" y="466"/>
                </a:cubicBezTo>
                <a:cubicBezTo>
                  <a:pt x="503" y="466"/>
                  <a:pt x="504" y="466"/>
                  <a:pt x="505" y="467"/>
                </a:cubicBezTo>
                <a:cubicBezTo>
                  <a:pt x="505" y="467"/>
                  <a:pt x="506" y="467"/>
                  <a:pt x="506" y="467"/>
                </a:cubicBezTo>
                <a:cubicBezTo>
                  <a:pt x="506" y="468"/>
                  <a:pt x="506" y="467"/>
                  <a:pt x="506" y="467"/>
                </a:cubicBezTo>
                <a:cubicBezTo>
                  <a:pt x="505" y="467"/>
                  <a:pt x="504" y="467"/>
                  <a:pt x="503" y="467"/>
                </a:cubicBezTo>
                <a:cubicBezTo>
                  <a:pt x="503" y="467"/>
                  <a:pt x="501" y="467"/>
                  <a:pt x="502" y="468"/>
                </a:cubicBezTo>
                <a:cubicBezTo>
                  <a:pt x="502" y="468"/>
                  <a:pt x="502" y="468"/>
                  <a:pt x="502" y="468"/>
                </a:cubicBezTo>
                <a:cubicBezTo>
                  <a:pt x="503" y="469"/>
                  <a:pt x="503" y="469"/>
                  <a:pt x="503" y="469"/>
                </a:cubicBezTo>
                <a:cubicBezTo>
                  <a:pt x="504" y="469"/>
                  <a:pt x="505" y="468"/>
                  <a:pt x="506" y="468"/>
                </a:cubicBezTo>
                <a:cubicBezTo>
                  <a:pt x="506" y="468"/>
                  <a:pt x="508" y="468"/>
                  <a:pt x="508" y="468"/>
                </a:cubicBezTo>
                <a:cubicBezTo>
                  <a:pt x="508" y="469"/>
                  <a:pt x="506" y="469"/>
                  <a:pt x="506" y="469"/>
                </a:cubicBezTo>
                <a:close/>
                <a:moveTo>
                  <a:pt x="517" y="467"/>
                </a:moveTo>
                <a:cubicBezTo>
                  <a:pt x="516" y="468"/>
                  <a:pt x="516" y="468"/>
                  <a:pt x="516" y="468"/>
                </a:cubicBezTo>
                <a:cubicBezTo>
                  <a:pt x="515" y="468"/>
                  <a:pt x="515" y="469"/>
                  <a:pt x="515" y="469"/>
                </a:cubicBezTo>
                <a:cubicBezTo>
                  <a:pt x="515" y="469"/>
                  <a:pt x="514" y="470"/>
                  <a:pt x="514" y="469"/>
                </a:cubicBezTo>
                <a:cubicBezTo>
                  <a:pt x="514" y="469"/>
                  <a:pt x="514" y="468"/>
                  <a:pt x="514" y="468"/>
                </a:cubicBezTo>
                <a:cubicBezTo>
                  <a:pt x="513" y="467"/>
                  <a:pt x="513" y="467"/>
                  <a:pt x="512" y="467"/>
                </a:cubicBezTo>
                <a:cubicBezTo>
                  <a:pt x="511" y="467"/>
                  <a:pt x="510" y="467"/>
                  <a:pt x="509" y="467"/>
                </a:cubicBezTo>
                <a:cubicBezTo>
                  <a:pt x="508" y="466"/>
                  <a:pt x="506" y="466"/>
                  <a:pt x="505" y="466"/>
                </a:cubicBezTo>
                <a:cubicBezTo>
                  <a:pt x="504" y="466"/>
                  <a:pt x="503" y="466"/>
                  <a:pt x="502" y="466"/>
                </a:cubicBezTo>
                <a:cubicBezTo>
                  <a:pt x="501" y="466"/>
                  <a:pt x="501" y="465"/>
                  <a:pt x="500" y="465"/>
                </a:cubicBezTo>
                <a:cubicBezTo>
                  <a:pt x="499" y="465"/>
                  <a:pt x="498" y="465"/>
                  <a:pt x="497" y="466"/>
                </a:cubicBezTo>
                <a:cubicBezTo>
                  <a:pt x="496" y="466"/>
                  <a:pt x="496" y="467"/>
                  <a:pt x="495" y="467"/>
                </a:cubicBezTo>
                <a:cubicBezTo>
                  <a:pt x="494" y="467"/>
                  <a:pt x="492" y="468"/>
                  <a:pt x="491" y="468"/>
                </a:cubicBezTo>
                <a:cubicBezTo>
                  <a:pt x="491" y="469"/>
                  <a:pt x="490" y="469"/>
                  <a:pt x="490" y="469"/>
                </a:cubicBezTo>
                <a:cubicBezTo>
                  <a:pt x="489" y="470"/>
                  <a:pt x="489" y="470"/>
                  <a:pt x="488" y="471"/>
                </a:cubicBezTo>
                <a:cubicBezTo>
                  <a:pt x="488" y="471"/>
                  <a:pt x="487" y="472"/>
                  <a:pt x="487" y="472"/>
                </a:cubicBezTo>
                <a:cubicBezTo>
                  <a:pt x="487" y="471"/>
                  <a:pt x="488" y="470"/>
                  <a:pt x="488" y="470"/>
                </a:cubicBezTo>
                <a:cubicBezTo>
                  <a:pt x="488" y="469"/>
                  <a:pt x="489" y="469"/>
                  <a:pt x="489" y="469"/>
                </a:cubicBezTo>
                <a:cubicBezTo>
                  <a:pt x="490" y="468"/>
                  <a:pt x="491" y="467"/>
                  <a:pt x="492" y="466"/>
                </a:cubicBezTo>
                <a:cubicBezTo>
                  <a:pt x="493" y="466"/>
                  <a:pt x="494" y="465"/>
                  <a:pt x="495" y="465"/>
                </a:cubicBezTo>
                <a:cubicBezTo>
                  <a:pt x="496" y="464"/>
                  <a:pt x="498" y="464"/>
                  <a:pt x="499" y="464"/>
                </a:cubicBezTo>
                <a:cubicBezTo>
                  <a:pt x="501" y="464"/>
                  <a:pt x="503" y="464"/>
                  <a:pt x="504" y="464"/>
                </a:cubicBezTo>
                <a:cubicBezTo>
                  <a:pt x="506" y="464"/>
                  <a:pt x="508" y="464"/>
                  <a:pt x="509" y="465"/>
                </a:cubicBezTo>
                <a:cubicBezTo>
                  <a:pt x="510" y="465"/>
                  <a:pt x="511" y="465"/>
                  <a:pt x="512" y="465"/>
                </a:cubicBezTo>
                <a:cubicBezTo>
                  <a:pt x="513" y="465"/>
                  <a:pt x="514" y="465"/>
                  <a:pt x="514" y="465"/>
                </a:cubicBezTo>
                <a:cubicBezTo>
                  <a:pt x="515" y="466"/>
                  <a:pt x="515" y="466"/>
                  <a:pt x="516" y="466"/>
                </a:cubicBezTo>
                <a:cubicBezTo>
                  <a:pt x="516" y="466"/>
                  <a:pt x="517" y="466"/>
                  <a:pt x="517" y="467"/>
                </a:cubicBezTo>
                <a:cubicBezTo>
                  <a:pt x="517" y="467"/>
                  <a:pt x="517" y="467"/>
                  <a:pt x="517" y="467"/>
                </a:cubicBezTo>
                <a:close/>
                <a:moveTo>
                  <a:pt x="648" y="1003"/>
                </a:moveTo>
                <a:cubicBezTo>
                  <a:pt x="648" y="1003"/>
                  <a:pt x="648" y="1004"/>
                  <a:pt x="648" y="1005"/>
                </a:cubicBezTo>
                <a:cubicBezTo>
                  <a:pt x="647" y="1006"/>
                  <a:pt x="647" y="1008"/>
                  <a:pt x="647" y="1009"/>
                </a:cubicBezTo>
                <a:cubicBezTo>
                  <a:pt x="646" y="1012"/>
                  <a:pt x="646" y="1015"/>
                  <a:pt x="646" y="1018"/>
                </a:cubicBezTo>
                <a:cubicBezTo>
                  <a:pt x="645" y="1019"/>
                  <a:pt x="646" y="1019"/>
                  <a:pt x="645" y="1019"/>
                </a:cubicBezTo>
                <a:cubicBezTo>
                  <a:pt x="645" y="1019"/>
                  <a:pt x="645" y="1018"/>
                  <a:pt x="645" y="1018"/>
                </a:cubicBezTo>
                <a:cubicBezTo>
                  <a:pt x="645" y="1018"/>
                  <a:pt x="645" y="1017"/>
                  <a:pt x="645" y="1017"/>
                </a:cubicBezTo>
                <a:cubicBezTo>
                  <a:pt x="644" y="1016"/>
                  <a:pt x="645" y="1015"/>
                  <a:pt x="645" y="1015"/>
                </a:cubicBezTo>
                <a:cubicBezTo>
                  <a:pt x="645" y="1014"/>
                  <a:pt x="645" y="1013"/>
                  <a:pt x="645" y="1012"/>
                </a:cubicBezTo>
                <a:cubicBezTo>
                  <a:pt x="645" y="1012"/>
                  <a:pt x="645" y="1012"/>
                  <a:pt x="645" y="1011"/>
                </a:cubicBezTo>
                <a:cubicBezTo>
                  <a:pt x="645" y="1011"/>
                  <a:pt x="645" y="1011"/>
                  <a:pt x="645" y="1010"/>
                </a:cubicBezTo>
                <a:cubicBezTo>
                  <a:pt x="646" y="1010"/>
                  <a:pt x="646" y="1009"/>
                  <a:pt x="646" y="1009"/>
                </a:cubicBezTo>
                <a:cubicBezTo>
                  <a:pt x="646" y="1009"/>
                  <a:pt x="646" y="1009"/>
                  <a:pt x="646" y="1008"/>
                </a:cubicBezTo>
                <a:cubicBezTo>
                  <a:pt x="646" y="1008"/>
                  <a:pt x="646" y="1007"/>
                  <a:pt x="646" y="1007"/>
                </a:cubicBezTo>
                <a:cubicBezTo>
                  <a:pt x="646" y="1006"/>
                  <a:pt x="646" y="1006"/>
                  <a:pt x="646" y="1006"/>
                </a:cubicBezTo>
                <a:cubicBezTo>
                  <a:pt x="646" y="1006"/>
                  <a:pt x="646" y="1005"/>
                  <a:pt x="646" y="1005"/>
                </a:cubicBezTo>
                <a:cubicBezTo>
                  <a:pt x="646" y="1004"/>
                  <a:pt x="646" y="1004"/>
                  <a:pt x="646" y="1004"/>
                </a:cubicBezTo>
                <a:cubicBezTo>
                  <a:pt x="645" y="1003"/>
                  <a:pt x="646" y="1003"/>
                  <a:pt x="646" y="1003"/>
                </a:cubicBezTo>
                <a:cubicBezTo>
                  <a:pt x="646" y="1002"/>
                  <a:pt x="646" y="1002"/>
                  <a:pt x="646" y="1002"/>
                </a:cubicBezTo>
                <a:cubicBezTo>
                  <a:pt x="647" y="1002"/>
                  <a:pt x="647" y="1003"/>
                  <a:pt x="648" y="1003"/>
                </a:cubicBezTo>
                <a:cubicBezTo>
                  <a:pt x="648" y="1002"/>
                  <a:pt x="648" y="1000"/>
                  <a:pt x="649" y="1000"/>
                </a:cubicBezTo>
                <a:cubicBezTo>
                  <a:pt x="649" y="1001"/>
                  <a:pt x="649" y="1002"/>
                  <a:pt x="648" y="1003"/>
                </a:cubicBezTo>
                <a:close/>
                <a:moveTo>
                  <a:pt x="658" y="966"/>
                </a:moveTo>
                <a:cubicBezTo>
                  <a:pt x="657" y="966"/>
                  <a:pt x="656" y="967"/>
                  <a:pt x="656" y="967"/>
                </a:cubicBezTo>
                <a:cubicBezTo>
                  <a:pt x="656" y="967"/>
                  <a:pt x="656" y="968"/>
                  <a:pt x="655" y="968"/>
                </a:cubicBezTo>
                <a:cubicBezTo>
                  <a:pt x="655" y="968"/>
                  <a:pt x="655" y="968"/>
                  <a:pt x="654" y="968"/>
                </a:cubicBezTo>
                <a:cubicBezTo>
                  <a:pt x="654" y="969"/>
                  <a:pt x="654" y="970"/>
                  <a:pt x="653" y="970"/>
                </a:cubicBezTo>
                <a:cubicBezTo>
                  <a:pt x="653" y="971"/>
                  <a:pt x="652" y="972"/>
                  <a:pt x="651" y="974"/>
                </a:cubicBezTo>
                <a:cubicBezTo>
                  <a:pt x="651" y="975"/>
                  <a:pt x="650" y="977"/>
                  <a:pt x="649" y="979"/>
                </a:cubicBezTo>
                <a:cubicBezTo>
                  <a:pt x="649" y="981"/>
                  <a:pt x="649" y="983"/>
                  <a:pt x="649" y="984"/>
                </a:cubicBezTo>
                <a:cubicBezTo>
                  <a:pt x="650" y="986"/>
                  <a:pt x="650" y="987"/>
                  <a:pt x="651" y="988"/>
                </a:cubicBezTo>
                <a:cubicBezTo>
                  <a:pt x="651" y="989"/>
                  <a:pt x="651" y="990"/>
                  <a:pt x="652" y="991"/>
                </a:cubicBezTo>
                <a:cubicBezTo>
                  <a:pt x="652" y="992"/>
                  <a:pt x="652" y="993"/>
                  <a:pt x="651" y="994"/>
                </a:cubicBezTo>
                <a:cubicBezTo>
                  <a:pt x="650" y="995"/>
                  <a:pt x="650" y="992"/>
                  <a:pt x="650" y="991"/>
                </a:cubicBezTo>
                <a:cubicBezTo>
                  <a:pt x="650" y="990"/>
                  <a:pt x="649" y="990"/>
                  <a:pt x="649" y="989"/>
                </a:cubicBezTo>
                <a:cubicBezTo>
                  <a:pt x="649" y="989"/>
                  <a:pt x="649" y="989"/>
                  <a:pt x="649" y="988"/>
                </a:cubicBezTo>
                <a:cubicBezTo>
                  <a:pt x="649" y="988"/>
                  <a:pt x="649" y="988"/>
                  <a:pt x="649" y="987"/>
                </a:cubicBezTo>
                <a:cubicBezTo>
                  <a:pt x="649" y="987"/>
                  <a:pt x="648" y="987"/>
                  <a:pt x="648" y="986"/>
                </a:cubicBezTo>
                <a:cubicBezTo>
                  <a:pt x="648" y="986"/>
                  <a:pt x="648" y="986"/>
                  <a:pt x="648" y="985"/>
                </a:cubicBezTo>
                <a:cubicBezTo>
                  <a:pt x="648" y="985"/>
                  <a:pt x="648" y="985"/>
                  <a:pt x="648" y="984"/>
                </a:cubicBezTo>
                <a:cubicBezTo>
                  <a:pt x="648" y="984"/>
                  <a:pt x="648" y="984"/>
                  <a:pt x="648" y="983"/>
                </a:cubicBezTo>
                <a:cubicBezTo>
                  <a:pt x="648" y="983"/>
                  <a:pt x="647" y="982"/>
                  <a:pt x="648" y="982"/>
                </a:cubicBezTo>
                <a:cubicBezTo>
                  <a:pt x="648" y="982"/>
                  <a:pt x="648" y="982"/>
                  <a:pt x="648" y="981"/>
                </a:cubicBezTo>
                <a:cubicBezTo>
                  <a:pt x="649" y="981"/>
                  <a:pt x="649" y="980"/>
                  <a:pt x="649" y="979"/>
                </a:cubicBezTo>
                <a:cubicBezTo>
                  <a:pt x="649" y="979"/>
                  <a:pt x="649" y="978"/>
                  <a:pt x="648" y="978"/>
                </a:cubicBezTo>
                <a:cubicBezTo>
                  <a:pt x="648" y="978"/>
                  <a:pt x="648" y="978"/>
                  <a:pt x="647" y="978"/>
                </a:cubicBezTo>
                <a:cubicBezTo>
                  <a:pt x="647" y="978"/>
                  <a:pt x="647" y="979"/>
                  <a:pt x="646" y="979"/>
                </a:cubicBezTo>
                <a:cubicBezTo>
                  <a:pt x="646" y="978"/>
                  <a:pt x="646" y="978"/>
                  <a:pt x="646" y="978"/>
                </a:cubicBezTo>
                <a:cubicBezTo>
                  <a:pt x="646" y="977"/>
                  <a:pt x="645" y="978"/>
                  <a:pt x="645" y="977"/>
                </a:cubicBezTo>
                <a:cubicBezTo>
                  <a:pt x="645" y="977"/>
                  <a:pt x="645" y="977"/>
                  <a:pt x="645" y="977"/>
                </a:cubicBezTo>
                <a:cubicBezTo>
                  <a:pt x="645" y="977"/>
                  <a:pt x="645" y="977"/>
                  <a:pt x="645" y="976"/>
                </a:cubicBezTo>
                <a:cubicBezTo>
                  <a:pt x="645" y="976"/>
                  <a:pt x="645" y="975"/>
                  <a:pt x="645" y="976"/>
                </a:cubicBezTo>
                <a:cubicBezTo>
                  <a:pt x="646" y="976"/>
                  <a:pt x="646" y="977"/>
                  <a:pt x="646" y="977"/>
                </a:cubicBezTo>
                <a:cubicBezTo>
                  <a:pt x="646" y="977"/>
                  <a:pt x="646" y="978"/>
                  <a:pt x="647" y="978"/>
                </a:cubicBezTo>
                <a:cubicBezTo>
                  <a:pt x="647" y="978"/>
                  <a:pt x="647" y="978"/>
                  <a:pt x="648" y="978"/>
                </a:cubicBezTo>
                <a:cubicBezTo>
                  <a:pt x="648" y="978"/>
                  <a:pt x="648" y="978"/>
                  <a:pt x="649" y="978"/>
                </a:cubicBezTo>
                <a:cubicBezTo>
                  <a:pt x="649" y="977"/>
                  <a:pt x="649" y="977"/>
                  <a:pt x="650" y="976"/>
                </a:cubicBezTo>
                <a:cubicBezTo>
                  <a:pt x="650" y="976"/>
                  <a:pt x="650" y="975"/>
                  <a:pt x="650" y="975"/>
                </a:cubicBezTo>
                <a:cubicBezTo>
                  <a:pt x="651" y="974"/>
                  <a:pt x="651" y="974"/>
                  <a:pt x="651" y="974"/>
                </a:cubicBezTo>
                <a:cubicBezTo>
                  <a:pt x="651" y="973"/>
                  <a:pt x="651" y="973"/>
                  <a:pt x="651" y="973"/>
                </a:cubicBezTo>
                <a:cubicBezTo>
                  <a:pt x="651" y="972"/>
                  <a:pt x="650" y="972"/>
                  <a:pt x="650" y="972"/>
                </a:cubicBezTo>
                <a:cubicBezTo>
                  <a:pt x="650" y="972"/>
                  <a:pt x="650" y="972"/>
                  <a:pt x="650" y="972"/>
                </a:cubicBezTo>
                <a:cubicBezTo>
                  <a:pt x="650" y="972"/>
                  <a:pt x="650" y="972"/>
                  <a:pt x="650" y="972"/>
                </a:cubicBezTo>
                <a:cubicBezTo>
                  <a:pt x="649" y="972"/>
                  <a:pt x="649" y="972"/>
                  <a:pt x="649" y="972"/>
                </a:cubicBezTo>
                <a:cubicBezTo>
                  <a:pt x="648" y="971"/>
                  <a:pt x="649" y="971"/>
                  <a:pt x="649" y="971"/>
                </a:cubicBezTo>
                <a:cubicBezTo>
                  <a:pt x="650" y="971"/>
                  <a:pt x="650" y="971"/>
                  <a:pt x="650" y="971"/>
                </a:cubicBezTo>
                <a:cubicBezTo>
                  <a:pt x="651" y="971"/>
                  <a:pt x="651" y="971"/>
                  <a:pt x="651" y="971"/>
                </a:cubicBezTo>
                <a:cubicBezTo>
                  <a:pt x="651" y="971"/>
                  <a:pt x="651" y="971"/>
                  <a:pt x="651" y="972"/>
                </a:cubicBezTo>
                <a:cubicBezTo>
                  <a:pt x="652" y="972"/>
                  <a:pt x="652" y="972"/>
                  <a:pt x="652" y="972"/>
                </a:cubicBezTo>
                <a:cubicBezTo>
                  <a:pt x="652" y="972"/>
                  <a:pt x="652" y="971"/>
                  <a:pt x="652" y="971"/>
                </a:cubicBezTo>
                <a:cubicBezTo>
                  <a:pt x="652" y="971"/>
                  <a:pt x="652" y="970"/>
                  <a:pt x="653" y="970"/>
                </a:cubicBezTo>
                <a:cubicBezTo>
                  <a:pt x="653" y="970"/>
                  <a:pt x="653" y="970"/>
                  <a:pt x="653" y="969"/>
                </a:cubicBezTo>
                <a:cubicBezTo>
                  <a:pt x="653" y="969"/>
                  <a:pt x="653" y="969"/>
                  <a:pt x="653" y="968"/>
                </a:cubicBezTo>
                <a:cubicBezTo>
                  <a:pt x="653" y="968"/>
                  <a:pt x="654" y="968"/>
                  <a:pt x="653" y="968"/>
                </a:cubicBezTo>
                <a:cubicBezTo>
                  <a:pt x="653" y="968"/>
                  <a:pt x="652" y="968"/>
                  <a:pt x="652" y="968"/>
                </a:cubicBezTo>
                <a:cubicBezTo>
                  <a:pt x="652" y="967"/>
                  <a:pt x="653" y="967"/>
                  <a:pt x="653" y="967"/>
                </a:cubicBezTo>
                <a:cubicBezTo>
                  <a:pt x="654" y="967"/>
                  <a:pt x="654" y="967"/>
                  <a:pt x="654" y="968"/>
                </a:cubicBezTo>
                <a:cubicBezTo>
                  <a:pt x="654" y="968"/>
                  <a:pt x="654" y="968"/>
                  <a:pt x="654" y="968"/>
                </a:cubicBezTo>
                <a:cubicBezTo>
                  <a:pt x="655" y="967"/>
                  <a:pt x="655" y="967"/>
                  <a:pt x="655" y="967"/>
                </a:cubicBezTo>
                <a:cubicBezTo>
                  <a:pt x="655" y="966"/>
                  <a:pt x="655" y="965"/>
                  <a:pt x="655" y="965"/>
                </a:cubicBezTo>
                <a:cubicBezTo>
                  <a:pt x="655" y="964"/>
                  <a:pt x="655" y="964"/>
                  <a:pt x="656" y="964"/>
                </a:cubicBezTo>
                <a:cubicBezTo>
                  <a:pt x="656" y="963"/>
                  <a:pt x="656" y="964"/>
                  <a:pt x="656" y="964"/>
                </a:cubicBezTo>
                <a:cubicBezTo>
                  <a:pt x="657" y="965"/>
                  <a:pt x="658" y="965"/>
                  <a:pt x="658" y="966"/>
                </a:cubicBezTo>
                <a:close/>
                <a:moveTo>
                  <a:pt x="662" y="961"/>
                </a:moveTo>
                <a:cubicBezTo>
                  <a:pt x="663" y="961"/>
                  <a:pt x="663" y="961"/>
                  <a:pt x="663" y="962"/>
                </a:cubicBezTo>
                <a:cubicBezTo>
                  <a:pt x="663" y="962"/>
                  <a:pt x="662" y="962"/>
                  <a:pt x="663" y="962"/>
                </a:cubicBezTo>
                <a:cubicBezTo>
                  <a:pt x="663" y="963"/>
                  <a:pt x="663" y="962"/>
                  <a:pt x="664" y="962"/>
                </a:cubicBezTo>
                <a:cubicBezTo>
                  <a:pt x="664" y="963"/>
                  <a:pt x="662" y="963"/>
                  <a:pt x="662" y="963"/>
                </a:cubicBezTo>
                <a:cubicBezTo>
                  <a:pt x="661" y="964"/>
                  <a:pt x="661" y="964"/>
                  <a:pt x="660" y="964"/>
                </a:cubicBezTo>
                <a:cubicBezTo>
                  <a:pt x="660" y="963"/>
                  <a:pt x="659" y="962"/>
                  <a:pt x="659" y="962"/>
                </a:cubicBezTo>
                <a:cubicBezTo>
                  <a:pt x="659" y="961"/>
                  <a:pt x="658" y="961"/>
                  <a:pt x="658" y="960"/>
                </a:cubicBezTo>
                <a:cubicBezTo>
                  <a:pt x="658" y="960"/>
                  <a:pt x="658" y="960"/>
                  <a:pt x="658" y="961"/>
                </a:cubicBezTo>
                <a:cubicBezTo>
                  <a:pt x="659" y="961"/>
                  <a:pt x="659" y="962"/>
                  <a:pt x="660" y="962"/>
                </a:cubicBezTo>
                <a:cubicBezTo>
                  <a:pt x="660" y="962"/>
                  <a:pt x="660" y="961"/>
                  <a:pt x="661" y="961"/>
                </a:cubicBezTo>
                <a:cubicBezTo>
                  <a:pt x="661" y="961"/>
                  <a:pt x="662" y="962"/>
                  <a:pt x="662" y="961"/>
                </a:cubicBezTo>
                <a:cubicBezTo>
                  <a:pt x="662" y="961"/>
                  <a:pt x="662" y="960"/>
                  <a:pt x="662" y="961"/>
                </a:cubicBezTo>
                <a:close/>
                <a:moveTo>
                  <a:pt x="640" y="372"/>
                </a:moveTo>
                <a:cubicBezTo>
                  <a:pt x="641" y="371"/>
                  <a:pt x="641" y="371"/>
                  <a:pt x="642" y="371"/>
                </a:cubicBezTo>
                <a:cubicBezTo>
                  <a:pt x="642" y="371"/>
                  <a:pt x="643" y="370"/>
                  <a:pt x="643" y="370"/>
                </a:cubicBezTo>
                <a:cubicBezTo>
                  <a:pt x="644" y="370"/>
                  <a:pt x="646" y="368"/>
                  <a:pt x="647" y="369"/>
                </a:cubicBezTo>
                <a:cubicBezTo>
                  <a:pt x="648" y="370"/>
                  <a:pt x="648" y="370"/>
                  <a:pt x="649" y="371"/>
                </a:cubicBezTo>
                <a:cubicBezTo>
                  <a:pt x="649" y="371"/>
                  <a:pt x="649" y="371"/>
                  <a:pt x="649" y="371"/>
                </a:cubicBezTo>
                <a:cubicBezTo>
                  <a:pt x="650" y="371"/>
                  <a:pt x="650" y="371"/>
                  <a:pt x="650" y="371"/>
                </a:cubicBezTo>
                <a:cubicBezTo>
                  <a:pt x="651" y="370"/>
                  <a:pt x="652" y="372"/>
                  <a:pt x="652" y="372"/>
                </a:cubicBezTo>
                <a:cubicBezTo>
                  <a:pt x="652" y="373"/>
                  <a:pt x="652" y="373"/>
                  <a:pt x="652" y="374"/>
                </a:cubicBezTo>
                <a:cubicBezTo>
                  <a:pt x="652" y="374"/>
                  <a:pt x="651" y="374"/>
                  <a:pt x="652" y="375"/>
                </a:cubicBezTo>
                <a:cubicBezTo>
                  <a:pt x="652" y="375"/>
                  <a:pt x="652" y="375"/>
                  <a:pt x="652" y="376"/>
                </a:cubicBezTo>
                <a:cubicBezTo>
                  <a:pt x="652" y="376"/>
                  <a:pt x="651" y="376"/>
                  <a:pt x="651" y="376"/>
                </a:cubicBezTo>
                <a:cubicBezTo>
                  <a:pt x="650" y="376"/>
                  <a:pt x="649" y="377"/>
                  <a:pt x="648" y="377"/>
                </a:cubicBezTo>
                <a:cubicBezTo>
                  <a:pt x="648" y="377"/>
                  <a:pt x="647" y="377"/>
                  <a:pt x="646" y="376"/>
                </a:cubicBezTo>
                <a:cubicBezTo>
                  <a:pt x="645" y="376"/>
                  <a:pt x="644" y="375"/>
                  <a:pt x="643" y="375"/>
                </a:cubicBezTo>
                <a:cubicBezTo>
                  <a:pt x="643" y="374"/>
                  <a:pt x="642" y="374"/>
                  <a:pt x="642" y="374"/>
                </a:cubicBezTo>
                <a:cubicBezTo>
                  <a:pt x="641" y="373"/>
                  <a:pt x="641" y="373"/>
                  <a:pt x="640" y="372"/>
                </a:cubicBezTo>
                <a:cubicBezTo>
                  <a:pt x="640" y="372"/>
                  <a:pt x="640" y="372"/>
                  <a:pt x="640" y="372"/>
                </a:cubicBezTo>
                <a:close/>
                <a:moveTo>
                  <a:pt x="643" y="645"/>
                </a:moveTo>
                <a:cubicBezTo>
                  <a:pt x="642" y="644"/>
                  <a:pt x="642" y="644"/>
                  <a:pt x="641" y="643"/>
                </a:cubicBezTo>
                <a:cubicBezTo>
                  <a:pt x="641" y="642"/>
                  <a:pt x="640" y="642"/>
                  <a:pt x="640" y="641"/>
                </a:cubicBezTo>
                <a:cubicBezTo>
                  <a:pt x="640" y="641"/>
                  <a:pt x="640" y="640"/>
                  <a:pt x="639" y="639"/>
                </a:cubicBezTo>
                <a:cubicBezTo>
                  <a:pt x="638" y="639"/>
                  <a:pt x="638" y="638"/>
                  <a:pt x="637" y="638"/>
                </a:cubicBezTo>
                <a:cubicBezTo>
                  <a:pt x="637" y="637"/>
                  <a:pt x="637" y="636"/>
                  <a:pt x="636" y="636"/>
                </a:cubicBezTo>
                <a:cubicBezTo>
                  <a:pt x="636" y="635"/>
                  <a:pt x="635" y="634"/>
                  <a:pt x="634" y="634"/>
                </a:cubicBezTo>
                <a:cubicBezTo>
                  <a:pt x="633" y="633"/>
                  <a:pt x="633" y="630"/>
                  <a:pt x="634" y="629"/>
                </a:cubicBezTo>
                <a:cubicBezTo>
                  <a:pt x="634" y="629"/>
                  <a:pt x="635" y="629"/>
                  <a:pt x="636" y="628"/>
                </a:cubicBezTo>
                <a:cubicBezTo>
                  <a:pt x="636" y="628"/>
                  <a:pt x="637" y="629"/>
                  <a:pt x="637" y="628"/>
                </a:cubicBezTo>
                <a:cubicBezTo>
                  <a:pt x="638" y="628"/>
                  <a:pt x="637" y="628"/>
                  <a:pt x="637" y="628"/>
                </a:cubicBezTo>
                <a:cubicBezTo>
                  <a:pt x="636" y="628"/>
                  <a:pt x="635" y="627"/>
                  <a:pt x="634" y="627"/>
                </a:cubicBezTo>
                <a:cubicBezTo>
                  <a:pt x="633" y="627"/>
                  <a:pt x="631" y="629"/>
                  <a:pt x="630" y="627"/>
                </a:cubicBezTo>
                <a:cubicBezTo>
                  <a:pt x="630" y="626"/>
                  <a:pt x="630" y="626"/>
                  <a:pt x="629" y="626"/>
                </a:cubicBezTo>
                <a:cubicBezTo>
                  <a:pt x="629" y="625"/>
                  <a:pt x="628" y="625"/>
                  <a:pt x="628" y="624"/>
                </a:cubicBezTo>
                <a:cubicBezTo>
                  <a:pt x="629" y="623"/>
                  <a:pt x="629" y="621"/>
                  <a:pt x="630" y="620"/>
                </a:cubicBezTo>
                <a:cubicBezTo>
                  <a:pt x="630" y="619"/>
                  <a:pt x="630" y="619"/>
                  <a:pt x="630" y="618"/>
                </a:cubicBezTo>
                <a:cubicBezTo>
                  <a:pt x="630" y="618"/>
                  <a:pt x="630" y="617"/>
                  <a:pt x="630" y="617"/>
                </a:cubicBezTo>
                <a:cubicBezTo>
                  <a:pt x="631" y="616"/>
                  <a:pt x="631" y="616"/>
                  <a:pt x="631" y="616"/>
                </a:cubicBezTo>
                <a:cubicBezTo>
                  <a:pt x="631" y="615"/>
                  <a:pt x="632" y="615"/>
                  <a:pt x="632" y="615"/>
                </a:cubicBezTo>
                <a:cubicBezTo>
                  <a:pt x="632" y="615"/>
                  <a:pt x="633" y="615"/>
                  <a:pt x="633" y="615"/>
                </a:cubicBezTo>
                <a:cubicBezTo>
                  <a:pt x="634" y="615"/>
                  <a:pt x="634" y="615"/>
                  <a:pt x="634" y="615"/>
                </a:cubicBezTo>
                <a:cubicBezTo>
                  <a:pt x="635" y="616"/>
                  <a:pt x="636" y="615"/>
                  <a:pt x="637" y="615"/>
                </a:cubicBezTo>
                <a:cubicBezTo>
                  <a:pt x="637" y="615"/>
                  <a:pt x="638" y="615"/>
                  <a:pt x="639" y="615"/>
                </a:cubicBezTo>
                <a:cubicBezTo>
                  <a:pt x="640" y="615"/>
                  <a:pt x="641" y="616"/>
                  <a:pt x="641" y="617"/>
                </a:cubicBezTo>
                <a:cubicBezTo>
                  <a:pt x="642" y="617"/>
                  <a:pt x="642" y="617"/>
                  <a:pt x="642" y="617"/>
                </a:cubicBezTo>
                <a:cubicBezTo>
                  <a:pt x="642" y="617"/>
                  <a:pt x="643" y="617"/>
                  <a:pt x="643" y="617"/>
                </a:cubicBezTo>
                <a:cubicBezTo>
                  <a:pt x="643" y="617"/>
                  <a:pt x="644" y="618"/>
                  <a:pt x="644" y="618"/>
                </a:cubicBezTo>
                <a:cubicBezTo>
                  <a:pt x="644" y="617"/>
                  <a:pt x="644" y="617"/>
                  <a:pt x="644" y="617"/>
                </a:cubicBezTo>
                <a:cubicBezTo>
                  <a:pt x="643" y="616"/>
                  <a:pt x="643" y="616"/>
                  <a:pt x="643" y="616"/>
                </a:cubicBezTo>
                <a:cubicBezTo>
                  <a:pt x="642" y="616"/>
                  <a:pt x="642" y="615"/>
                  <a:pt x="641" y="615"/>
                </a:cubicBezTo>
                <a:cubicBezTo>
                  <a:pt x="641" y="615"/>
                  <a:pt x="640" y="614"/>
                  <a:pt x="639" y="614"/>
                </a:cubicBezTo>
                <a:cubicBezTo>
                  <a:pt x="639" y="613"/>
                  <a:pt x="639" y="613"/>
                  <a:pt x="640" y="612"/>
                </a:cubicBezTo>
                <a:cubicBezTo>
                  <a:pt x="640" y="612"/>
                  <a:pt x="640" y="611"/>
                  <a:pt x="640" y="611"/>
                </a:cubicBezTo>
                <a:cubicBezTo>
                  <a:pt x="640" y="611"/>
                  <a:pt x="640" y="610"/>
                  <a:pt x="640" y="610"/>
                </a:cubicBezTo>
                <a:cubicBezTo>
                  <a:pt x="641" y="610"/>
                  <a:pt x="641" y="609"/>
                  <a:pt x="641" y="609"/>
                </a:cubicBezTo>
                <a:cubicBezTo>
                  <a:pt x="641" y="609"/>
                  <a:pt x="641" y="609"/>
                  <a:pt x="642" y="608"/>
                </a:cubicBezTo>
                <a:cubicBezTo>
                  <a:pt x="643" y="608"/>
                  <a:pt x="641" y="607"/>
                  <a:pt x="642" y="607"/>
                </a:cubicBezTo>
                <a:cubicBezTo>
                  <a:pt x="643" y="607"/>
                  <a:pt x="643" y="607"/>
                  <a:pt x="643" y="608"/>
                </a:cubicBezTo>
                <a:cubicBezTo>
                  <a:pt x="643" y="609"/>
                  <a:pt x="643" y="608"/>
                  <a:pt x="644" y="608"/>
                </a:cubicBezTo>
                <a:cubicBezTo>
                  <a:pt x="645" y="608"/>
                  <a:pt x="644" y="608"/>
                  <a:pt x="644" y="609"/>
                </a:cubicBezTo>
                <a:cubicBezTo>
                  <a:pt x="643" y="609"/>
                  <a:pt x="643" y="609"/>
                  <a:pt x="643" y="609"/>
                </a:cubicBezTo>
                <a:cubicBezTo>
                  <a:pt x="643" y="609"/>
                  <a:pt x="642" y="609"/>
                  <a:pt x="642" y="609"/>
                </a:cubicBezTo>
                <a:cubicBezTo>
                  <a:pt x="641" y="610"/>
                  <a:pt x="641" y="610"/>
                  <a:pt x="641" y="610"/>
                </a:cubicBezTo>
                <a:cubicBezTo>
                  <a:pt x="640" y="611"/>
                  <a:pt x="640" y="611"/>
                  <a:pt x="640" y="612"/>
                </a:cubicBezTo>
                <a:cubicBezTo>
                  <a:pt x="640" y="613"/>
                  <a:pt x="640" y="614"/>
                  <a:pt x="641" y="614"/>
                </a:cubicBezTo>
                <a:cubicBezTo>
                  <a:pt x="641" y="614"/>
                  <a:pt x="642" y="614"/>
                  <a:pt x="642" y="613"/>
                </a:cubicBezTo>
                <a:cubicBezTo>
                  <a:pt x="642" y="613"/>
                  <a:pt x="642" y="613"/>
                  <a:pt x="643" y="613"/>
                </a:cubicBezTo>
                <a:cubicBezTo>
                  <a:pt x="643" y="613"/>
                  <a:pt x="644" y="612"/>
                  <a:pt x="644" y="613"/>
                </a:cubicBezTo>
                <a:cubicBezTo>
                  <a:pt x="644" y="613"/>
                  <a:pt x="643" y="613"/>
                  <a:pt x="643" y="614"/>
                </a:cubicBezTo>
                <a:cubicBezTo>
                  <a:pt x="642" y="615"/>
                  <a:pt x="644" y="616"/>
                  <a:pt x="644" y="617"/>
                </a:cubicBezTo>
                <a:cubicBezTo>
                  <a:pt x="645" y="618"/>
                  <a:pt x="644" y="619"/>
                  <a:pt x="645" y="620"/>
                </a:cubicBezTo>
                <a:cubicBezTo>
                  <a:pt x="645" y="620"/>
                  <a:pt x="645" y="620"/>
                  <a:pt x="646" y="620"/>
                </a:cubicBezTo>
                <a:cubicBezTo>
                  <a:pt x="646" y="621"/>
                  <a:pt x="646" y="622"/>
                  <a:pt x="646" y="622"/>
                </a:cubicBezTo>
                <a:cubicBezTo>
                  <a:pt x="646" y="623"/>
                  <a:pt x="647" y="623"/>
                  <a:pt x="647" y="624"/>
                </a:cubicBezTo>
                <a:cubicBezTo>
                  <a:pt x="648" y="624"/>
                  <a:pt x="648" y="625"/>
                  <a:pt x="649" y="626"/>
                </a:cubicBezTo>
                <a:cubicBezTo>
                  <a:pt x="649" y="626"/>
                  <a:pt x="649" y="626"/>
                  <a:pt x="649" y="627"/>
                </a:cubicBezTo>
                <a:cubicBezTo>
                  <a:pt x="649" y="627"/>
                  <a:pt x="649" y="627"/>
                  <a:pt x="649" y="628"/>
                </a:cubicBezTo>
                <a:cubicBezTo>
                  <a:pt x="649" y="629"/>
                  <a:pt x="649" y="630"/>
                  <a:pt x="649" y="630"/>
                </a:cubicBezTo>
                <a:cubicBezTo>
                  <a:pt x="649" y="631"/>
                  <a:pt x="650" y="632"/>
                  <a:pt x="650" y="632"/>
                </a:cubicBezTo>
                <a:cubicBezTo>
                  <a:pt x="651" y="633"/>
                  <a:pt x="651" y="633"/>
                  <a:pt x="652" y="634"/>
                </a:cubicBezTo>
                <a:cubicBezTo>
                  <a:pt x="653" y="636"/>
                  <a:pt x="653" y="638"/>
                  <a:pt x="654" y="640"/>
                </a:cubicBezTo>
                <a:cubicBezTo>
                  <a:pt x="654" y="641"/>
                  <a:pt x="654" y="641"/>
                  <a:pt x="654" y="642"/>
                </a:cubicBezTo>
                <a:cubicBezTo>
                  <a:pt x="654" y="642"/>
                  <a:pt x="654" y="643"/>
                  <a:pt x="655" y="643"/>
                </a:cubicBezTo>
                <a:cubicBezTo>
                  <a:pt x="655" y="643"/>
                  <a:pt x="655" y="643"/>
                  <a:pt x="655" y="644"/>
                </a:cubicBezTo>
                <a:cubicBezTo>
                  <a:pt x="655" y="645"/>
                  <a:pt x="655" y="645"/>
                  <a:pt x="655" y="645"/>
                </a:cubicBezTo>
                <a:cubicBezTo>
                  <a:pt x="655" y="646"/>
                  <a:pt x="656" y="646"/>
                  <a:pt x="656" y="646"/>
                </a:cubicBezTo>
                <a:cubicBezTo>
                  <a:pt x="656" y="646"/>
                  <a:pt x="657" y="647"/>
                  <a:pt x="658" y="647"/>
                </a:cubicBezTo>
                <a:cubicBezTo>
                  <a:pt x="658" y="648"/>
                  <a:pt x="657" y="647"/>
                  <a:pt x="657" y="647"/>
                </a:cubicBezTo>
                <a:cubicBezTo>
                  <a:pt x="657" y="647"/>
                  <a:pt x="657" y="648"/>
                  <a:pt x="657" y="648"/>
                </a:cubicBezTo>
                <a:cubicBezTo>
                  <a:pt x="657" y="649"/>
                  <a:pt x="658" y="649"/>
                  <a:pt x="658" y="650"/>
                </a:cubicBezTo>
                <a:cubicBezTo>
                  <a:pt x="659" y="651"/>
                  <a:pt x="659" y="652"/>
                  <a:pt x="659" y="652"/>
                </a:cubicBezTo>
                <a:cubicBezTo>
                  <a:pt x="660" y="653"/>
                  <a:pt x="660" y="653"/>
                  <a:pt x="661" y="654"/>
                </a:cubicBezTo>
                <a:cubicBezTo>
                  <a:pt x="661" y="654"/>
                  <a:pt x="662" y="655"/>
                  <a:pt x="662" y="656"/>
                </a:cubicBezTo>
                <a:cubicBezTo>
                  <a:pt x="662" y="656"/>
                  <a:pt x="661" y="657"/>
                  <a:pt x="661" y="657"/>
                </a:cubicBezTo>
                <a:cubicBezTo>
                  <a:pt x="660" y="658"/>
                  <a:pt x="661" y="658"/>
                  <a:pt x="661" y="659"/>
                </a:cubicBezTo>
                <a:cubicBezTo>
                  <a:pt x="661" y="660"/>
                  <a:pt x="661" y="661"/>
                  <a:pt x="660" y="661"/>
                </a:cubicBezTo>
                <a:cubicBezTo>
                  <a:pt x="660" y="662"/>
                  <a:pt x="661" y="663"/>
                  <a:pt x="661" y="664"/>
                </a:cubicBezTo>
                <a:cubicBezTo>
                  <a:pt x="661" y="664"/>
                  <a:pt x="661" y="665"/>
                  <a:pt x="661" y="665"/>
                </a:cubicBezTo>
                <a:cubicBezTo>
                  <a:pt x="660" y="664"/>
                  <a:pt x="660" y="664"/>
                  <a:pt x="660" y="664"/>
                </a:cubicBezTo>
                <a:cubicBezTo>
                  <a:pt x="660" y="664"/>
                  <a:pt x="660" y="664"/>
                  <a:pt x="660" y="664"/>
                </a:cubicBezTo>
                <a:cubicBezTo>
                  <a:pt x="659" y="664"/>
                  <a:pt x="659" y="663"/>
                  <a:pt x="659" y="663"/>
                </a:cubicBezTo>
                <a:cubicBezTo>
                  <a:pt x="658" y="663"/>
                  <a:pt x="659" y="665"/>
                  <a:pt x="659" y="666"/>
                </a:cubicBezTo>
                <a:cubicBezTo>
                  <a:pt x="659" y="666"/>
                  <a:pt x="658" y="667"/>
                  <a:pt x="658" y="667"/>
                </a:cubicBezTo>
                <a:cubicBezTo>
                  <a:pt x="658" y="667"/>
                  <a:pt x="657" y="668"/>
                  <a:pt x="657" y="668"/>
                </a:cubicBezTo>
                <a:cubicBezTo>
                  <a:pt x="656" y="668"/>
                  <a:pt x="655" y="668"/>
                  <a:pt x="655" y="667"/>
                </a:cubicBezTo>
                <a:cubicBezTo>
                  <a:pt x="654" y="667"/>
                  <a:pt x="654" y="666"/>
                  <a:pt x="654" y="665"/>
                </a:cubicBezTo>
                <a:cubicBezTo>
                  <a:pt x="654" y="664"/>
                  <a:pt x="654" y="663"/>
                  <a:pt x="654" y="662"/>
                </a:cubicBezTo>
                <a:cubicBezTo>
                  <a:pt x="654" y="661"/>
                  <a:pt x="655" y="660"/>
                  <a:pt x="655" y="659"/>
                </a:cubicBezTo>
                <a:cubicBezTo>
                  <a:pt x="655" y="659"/>
                  <a:pt x="655" y="659"/>
                  <a:pt x="655" y="658"/>
                </a:cubicBezTo>
                <a:cubicBezTo>
                  <a:pt x="655" y="658"/>
                  <a:pt x="655" y="658"/>
                  <a:pt x="655" y="657"/>
                </a:cubicBezTo>
                <a:cubicBezTo>
                  <a:pt x="656" y="657"/>
                  <a:pt x="656" y="656"/>
                  <a:pt x="657" y="655"/>
                </a:cubicBezTo>
                <a:cubicBezTo>
                  <a:pt x="657" y="655"/>
                  <a:pt x="659" y="654"/>
                  <a:pt x="658" y="653"/>
                </a:cubicBezTo>
                <a:cubicBezTo>
                  <a:pt x="657" y="653"/>
                  <a:pt x="657" y="654"/>
                  <a:pt x="657" y="654"/>
                </a:cubicBezTo>
                <a:cubicBezTo>
                  <a:pt x="657" y="654"/>
                  <a:pt x="656" y="654"/>
                  <a:pt x="656" y="654"/>
                </a:cubicBezTo>
                <a:cubicBezTo>
                  <a:pt x="656" y="654"/>
                  <a:pt x="655" y="656"/>
                  <a:pt x="654" y="656"/>
                </a:cubicBezTo>
                <a:cubicBezTo>
                  <a:pt x="654" y="655"/>
                  <a:pt x="655" y="654"/>
                  <a:pt x="655" y="654"/>
                </a:cubicBezTo>
                <a:cubicBezTo>
                  <a:pt x="655" y="653"/>
                  <a:pt x="655" y="652"/>
                  <a:pt x="656" y="651"/>
                </a:cubicBezTo>
                <a:cubicBezTo>
                  <a:pt x="656" y="651"/>
                  <a:pt x="657" y="651"/>
                  <a:pt x="657" y="651"/>
                </a:cubicBezTo>
                <a:cubicBezTo>
                  <a:pt x="657" y="650"/>
                  <a:pt x="657" y="650"/>
                  <a:pt x="657" y="650"/>
                </a:cubicBezTo>
                <a:cubicBezTo>
                  <a:pt x="656" y="649"/>
                  <a:pt x="653" y="648"/>
                  <a:pt x="653" y="649"/>
                </a:cubicBezTo>
                <a:cubicBezTo>
                  <a:pt x="652" y="650"/>
                  <a:pt x="652" y="651"/>
                  <a:pt x="652" y="652"/>
                </a:cubicBezTo>
                <a:cubicBezTo>
                  <a:pt x="652" y="652"/>
                  <a:pt x="651" y="652"/>
                  <a:pt x="651" y="652"/>
                </a:cubicBezTo>
                <a:cubicBezTo>
                  <a:pt x="650" y="652"/>
                  <a:pt x="651" y="650"/>
                  <a:pt x="651" y="649"/>
                </a:cubicBezTo>
                <a:cubicBezTo>
                  <a:pt x="651" y="648"/>
                  <a:pt x="651" y="647"/>
                  <a:pt x="651" y="646"/>
                </a:cubicBezTo>
                <a:cubicBezTo>
                  <a:pt x="651" y="646"/>
                  <a:pt x="652" y="646"/>
                  <a:pt x="651" y="645"/>
                </a:cubicBezTo>
                <a:cubicBezTo>
                  <a:pt x="651" y="645"/>
                  <a:pt x="651" y="645"/>
                  <a:pt x="651" y="644"/>
                </a:cubicBezTo>
                <a:cubicBezTo>
                  <a:pt x="650" y="644"/>
                  <a:pt x="650" y="643"/>
                  <a:pt x="649" y="643"/>
                </a:cubicBezTo>
                <a:cubicBezTo>
                  <a:pt x="648" y="643"/>
                  <a:pt x="648" y="645"/>
                  <a:pt x="647" y="645"/>
                </a:cubicBezTo>
                <a:cubicBezTo>
                  <a:pt x="647" y="644"/>
                  <a:pt x="647" y="644"/>
                  <a:pt x="648" y="644"/>
                </a:cubicBezTo>
                <a:cubicBezTo>
                  <a:pt x="648" y="643"/>
                  <a:pt x="648" y="643"/>
                  <a:pt x="648" y="643"/>
                </a:cubicBezTo>
                <a:cubicBezTo>
                  <a:pt x="648" y="643"/>
                  <a:pt x="649" y="642"/>
                  <a:pt x="649" y="642"/>
                </a:cubicBezTo>
                <a:cubicBezTo>
                  <a:pt x="648" y="641"/>
                  <a:pt x="647" y="642"/>
                  <a:pt x="646" y="642"/>
                </a:cubicBezTo>
                <a:cubicBezTo>
                  <a:pt x="646" y="642"/>
                  <a:pt x="646" y="642"/>
                  <a:pt x="646" y="641"/>
                </a:cubicBezTo>
                <a:cubicBezTo>
                  <a:pt x="646" y="641"/>
                  <a:pt x="645" y="642"/>
                  <a:pt x="645" y="642"/>
                </a:cubicBezTo>
                <a:cubicBezTo>
                  <a:pt x="645" y="643"/>
                  <a:pt x="645" y="644"/>
                  <a:pt x="645" y="645"/>
                </a:cubicBezTo>
                <a:cubicBezTo>
                  <a:pt x="644" y="646"/>
                  <a:pt x="644" y="645"/>
                  <a:pt x="643" y="645"/>
                </a:cubicBezTo>
                <a:close/>
                <a:moveTo>
                  <a:pt x="648" y="1050"/>
                </a:moveTo>
                <a:cubicBezTo>
                  <a:pt x="648" y="1050"/>
                  <a:pt x="648" y="1049"/>
                  <a:pt x="648" y="1049"/>
                </a:cubicBezTo>
                <a:cubicBezTo>
                  <a:pt x="648" y="1048"/>
                  <a:pt x="647" y="1048"/>
                  <a:pt x="647" y="1047"/>
                </a:cubicBezTo>
                <a:cubicBezTo>
                  <a:pt x="646" y="1046"/>
                  <a:pt x="646" y="1046"/>
                  <a:pt x="646" y="1045"/>
                </a:cubicBezTo>
                <a:cubicBezTo>
                  <a:pt x="646" y="1044"/>
                  <a:pt x="646" y="1044"/>
                  <a:pt x="646" y="1044"/>
                </a:cubicBezTo>
                <a:cubicBezTo>
                  <a:pt x="647" y="1045"/>
                  <a:pt x="648" y="1046"/>
                  <a:pt x="648" y="1047"/>
                </a:cubicBezTo>
                <a:cubicBezTo>
                  <a:pt x="649" y="1047"/>
                  <a:pt x="649" y="1048"/>
                  <a:pt x="649" y="1048"/>
                </a:cubicBezTo>
                <a:cubicBezTo>
                  <a:pt x="649" y="1049"/>
                  <a:pt x="649" y="1050"/>
                  <a:pt x="648" y="1050"/>
                </a:cubicBezTo>
                <a:close/>
                <a:moveTo>
                  <a:pt x="791" y="1170"/>
                </a:moveTo>
                <a:cubicBezTo>
                  <a:pt x="791" y="1170"/>
                  <a:pt x="790" y="1170"/>
                  <a:pt x="790" y="1170"/>
                </a:cubicBezTo>
                <a:cubicBezTo>
                  <a:pt x="790" y="1169"/>
                  <a:pt x="789" y="1169"/>
                  <a:pt x="789" y="1169"/>
                </a:cubicBezTo>
                <a:cubicBezTo>
                  <a:pt x="788" y="1169"/>
                  <a:pt x="787" y="1169"/>
                  <a:pt x="787" y="1169"/>
                </a:cubicBezTo>
                <a:cubicBezTo>
                  <a:pt x="786" y="1168"/>
                  <a:pt x="786" y="1168"/>
                  <a:pt x="785" y="1168"/>
                </a:cubicBezTo>
                <a:cubicBezTo>
                  <a:pt x="784" y="1167"/>
                  <a:pt x="784" y="1167"/>
                  <a:pt x="783" y="1167"/>
                </a:cubicBezTo>
                <a:cubicBezTo>
                  <a:pt x="782" y="1166"/>
                  <a:pt x="782" y="1166"/>
                  <a:pt x="782" y="1165"/>
                </a:cubicBezTo>
                <a:cubicBezTo>
                  <a:pt x="781" y="1164"/>
                  <a:pt x="781" y="1164"/>
                  <a:pt x="781" y="1163"/>
                </a:cubicBezTo>
                <a:cubicBezTo>
                  <a:pt x="781" y="1162"/>
                  <a:pt x="780" y="1161"/>
                  <a:pt x="780" y="1161"/>
                </a:cubicBezTo>
                <a:cubicBezTo>
                  <a:pt x="780" y="1160"/>
                  <a:pt x="780" y="1159"/>
                  <a:pt x="781" y="1159"/>
                </a:cubicBezTo>
                <a:cubicBezTo>
                  <a:pt x="781" y="1158"/>
                  <a:pt x="781" y="1158"/>
                  <a:pt x="782" y="1159"/>
                </a:cubicBezTo>
                <a:cubicBezTo>
                  <a:pt x="782" y="1159"/>
                  <a:pt x="782" y="1159"/>
                  <a:pt x="783" y="1159"/>
                </a:cubicBezTo>
                <a:cubicBezTo>
                  <a:pt x="783" y="1159"/>
                  <a:pt x="784" y="1159"/>
                  <a:pt x="784" y="1159"/>
                </a:cubicBezTo>
                <a:cubicBezTo>
                  <a:pt x="784" y="1160"/>
                  <a:pt x="785" y="1160"/>
                  <a:pt x="786" y="1160"/>
                </a:cubicBezTo>
                <a:cubicBezTo>
                  <a:pt x="786" y="1161"/>
                  <a:pt x="787" y="1161"/>
                  <a:pt x="787" y="1162"/>
                </a:cubicBezTo>
                <a:cubicBezTo>
                  <a:pt x="788" y="1163"/>
                  <a:pt x="788" y="1163"/>
                  <a:pt x="789" y="1164"/>
                </a:cubicBezTo>
                <a:cubicBezTo>
                  <a:pt x="790" y="1164"/>
                  <a:pt x="790" y="1164"/>
                  <a:pt x="791" y="1165"/>
                </a:cubicBezTo>
                <a:cubicBezTo>
                  <a:pt x="791" y="1166"/>
                  <a:pt x="792" y="1166"/>
                  <a:pt x="792" y="1167"/>
                </a:cubicBezTo>
                <a:cubicBezTo>
                  <a:pt x="792" y="1168"/>
                  <a:pt x="793" y="1168"/>
                  <a:pt x="793" y="1169"/>
                </a:cubicBezTo>
                <a:cubicBezTo>
                  <a:pt x="793" y="1170"/>
                  <a:pt x="792" y="1170"/>
                  <a:pt x="791" y="1170"/>
                </a:cubicBezTo>
                <a:close/>
                <a:moveTo>
                  <a:pt x="912" y="1172"/>
                </a:moveTo>
                <a:cubicBezTo>
                  <a:pt x="912" y="1172"/>
                  <a:pt x="912" y="1173"/>
                  <a:pt x="912" y="1173"/>
                </a:cubicBezTo>
                <a:cubicBezTo>
                  <a:pt x="912" y="1173"/>
                  <a:pt x="911" y="1173"/>
                  <a:pt x="910" y="1173"/>
                </a:cubicBezTo>
                <a:cubicBezTo>
                  <a:pt x="910" y="1174"/>
                  <a:pt x="909" y="1174"/>
                  <a:pt x="910" y="1173"/>
                </a:cubicBezTo>
                <a:cubicBezTo>
                  <a:pt x="910" y="1173"/>
                  <a:pt x="910" y="1172"/>
                  <a:pt x="910" y="1172"/>
                </a:cubicBezTo>
                <a:cubicBezTo>
                  <a:pt x="910" y="1171"/>
                  <a:pt x="910" y="1171"/>
                  <a:pt x="910" y="1171"/>
                </a:cubicBezTo>
                <a:cubicBezTo>
                  <a:pt x="911" y="1172"/>
                  <a:pt x="912" y="1171"/>
                  <a:pt x="912" y="1171"/>
                </a:cubicBezTo>
                <a:cubicBezTo>
                  <a:pt x="912" y="1172"/>
                  <a:pt x="912" y="1172"/>
                  <a:pt x="912" y="1172"/>
                </a:cubicBezTo>
                <a:close/>
                <a:moveTo>
                  <a:pt x="911" y="1908"/>
                </a:moveTo>
                <a:cubicBezTo>
                  <a:pt x="911" y="1908"/>
                  <a:pt x="911" y="1907"/>
                  <a:pt x="911" y="1907"/>
                </a:cubicBezTo>
                <a:cubicBezTo>
                  <a:pt x="911" y="1907"/>
                  <a:pt x="910" y="1906"/>
                  <a:pt x="911" y="1906"/>
                </a:cubicBezTo>
                <a:cubicBezTo>
                  <a:pt x="911" y="1906"/>
                  <a:pt x="911" y="1908"/>
                  <a:pt x="911" y="1908"/>
                </a:cubicBezTo>
                <a:close/>
                <a:moveTo>
                  <a:pt x="928" y="1963"/>
                </a:moveTo>
                <a:cubicBezTo>
                  <a:pt x="928" y="1964"/>
                  <a:pt x="928" y="1964"/>
                  <a:pt x="928" y="1964"/>
                </a:cubicBezTo>
                <a:cubicBezTo>
                  <a:pt x="928" y="1964"/>
                  <a:pt x="928" y="1964"/>
                  <a:pt x="928" y="1963"/>
                </a:cubicBezTo>
                <a:cubicBezTo>
                  <a:pt x="928" y="1963"/>
                  <a:pt x="928" y="1963"/>
                  <a:pt x="928" y="1963"/>
                </a:cubicBezTo>
                <a:cubicBezTo>
                  <a:pt x="928" y="1963"/>
                  <a:pt x="929" y="1962"/>
                  <a:pt x="929" y="1963"/>
                </a:cubicBezTo>
                <a:cubicBezTo>
                  <a:pt x="929" y="1963"/>
                  <a:pt x="929" y="1963"/>
                  <a:pt x="928" y="1963"/>
                </a:cubicBezTo>
                <a:close/>
                <a:moveTo>
                  <a:pt x="930" y="1953"/>
                </a:moveTo>
                <a:cubicBezTo>
                  <a:pt x="929" y="1953"/>
                  <a:pt x="929" y="1954"/>
                  <a:pt x="929" y="1954"/>
                </a:cubicBezTo>
                <a:cubicBezTo>
                  <a:pt x="928" y="1954"/>
                  <a:pt x="928" y="1953"/>
                  <a:pt x="928" y="1953"/>
                </a:cubicBezTo>
                <a:cubicBezTo>
                  <a:pt x="928" y="1953"/>
                  <a:pt x="927" y="1953"/>
                  <a:pt x="927" y="1953"/>
                </a:cubicBezTo>
                <a:cubicBezTo>
                  <a:pt x="927" y="1952"/>
                  <a:pt x="927" y="1952"/>
                  <a:pt x="927" y="1952"/>
                </a:cubicBezTo>
                <a:cubicBezTo>
                  <a:pt x="928" y="1952"/>
                  <a:pt x="928" y="1951"/>
                  <a:pt x="927" y="1951"/>
                </a:cubicBezTo>
                <a:cubicBezTo>
                  <a:pt x="927" y="1951"/>
                  <a:pt x="927" y="1951"/>
                  <a:pt x="926" y="1951"/>
                </a:cubicBezTo>
                <a:cubicBezTo>
                  <a:pt x="926" y="1951"/>
                  <a:pt x="926" y="1951"/>
                  <a:pt x="925" y="1952"/>
                </a:cubicBezTo>
                <a:cubicBezTo>
                  <a:pt x="925" y="1952"/>
                  <a:pt x="925" y="1953"/>
                  <a:pt x="925" y="1952"/>
                </a:cubicBezTo>
                <a:cubicBezTo>
                  <a:pt x="925" y="1952"/>
                  <a:pt x="924" y="1952"/>
                  <a:pt x="924" y="1951"/>
                </a:cubicBezTo>
                <a:cubicBezTo>
                  <a:pt x="924" y="1951"/>
                  <a:pt x="924" y="1951"/>
                  <a:pt x="925" y="1951"/>
                </a:cubicBezTo>
                <a:cubicBezTo>
                  <a:pt x="925" y="1951"/>
                  <a:pt x="925" y="1951"/>
                  <a:pt x="925" y="1951"/>
                </a:cubicBezTo>
                <a:cubicBezTo>
                  <a:pt x="926" y="1951"/>
                  <a:pt x="926" y="1950"/>
                  <a:pt x="926" y="1950"/>
                </a:cubicBezTo>
                <a:cubicBezTo>
                  <a:pt x="926" y="1949"/>
                  <a:pt x="927" y="1949"/>
                  <a:pt x="927" y="1949"/>
                </a:cubicBezTo>
                <a:cubicBezTo>
                  <a:pt x="927" y="1949"/>
                  <a:pt x="928" y="1949"/>
                  <a:pt x="928" y="1948"/>
                </a:cubicBezTo>
                <a:cubicBezTo>
                  <a:pt x="929" y="1948"/>
                  <a:pt x="928" y="1948"/>
                  <a:pt x="928" y="1948"/>
                </a:cubicBezTo>
                <a:cubicBezTo>
                  <a:pt x="927" y="1948"/>
                  <a:pt x="926" y="1947"/>
                  <a:pt x="926" y="1947"/>
                </a:cubicBezTo>
                <a:cubicBezTo>
                  <a:pt x="927" y="1946"/>
                  <a:pt x="927" y="1947"/>
                  <a:pt x="927" y="1947"/>
                </a:cubicBezTo>
                <a:cubicBezTo>
                  <a:pt x="927" y="1947"/>
                  <a:pt x="927" y="1948"/>
                  <a:pt x="928" y="1948"/>
                </a:cubicBezTo>
                <a:cubicBezTo>
                  <a:pt x="928" y="1948"/>
                  <a:pt x="928" y="1947"/>
                  <a:pt x="928" y="1947"/>
                </a:cubicBezTo>
                <a:cubicBezTo>
                  <a:pt x="929" y="1947"/>
                  <a:pt x="929" y="1947"/>
                  <a:pt x="929" y="1947"/>
                </a:cubicBezTo>
                <a:cubicBezTo>
                  <a:pt x="930" y="1947"/>
                  <a:pt x="930" y="1947"/>
                  <a:pt x="930" y="1947"/>
                </a:cubicBezTo>
                <a:cubicBezTo>
                  <a:pt x="930" y="1948"/>
                  <a:pt x="931" y="1947"/>
                  <a:pt x="931" y="1948"/>
                </a:cubicBezTo>
                <a:cubicBezTo>
                  <a:pt x="931" y="1948"/>
                  <a:pt x="932" y="1948"/>
                  <a:pt x="932" y="1948"/>
                </a:cubicBezTo>
                <a:cubicBezTo>
                  <a:pt x="932" y="1947"/>
                  <a:pt x="932" y="1946"/>
                  <a:pt x="931" y="1946"/>
                </a:cubicBezTo>
                <a:cubicBezTo>
                  <a:pt x="931" y="1945"/>
                  <a:pt x="930" y="1945"/>
                  <a:pt x="930" y="1944"/>
                </a:cubicBezTo>
                <a:cubicBezTo>
                  <a:pt x="929" y="1944"/>
                  <a:pt x="928" y="1944"/>
                  <a:pt x="928" y="1943"/>
                </a:cubicBezTo>
                <a:cubicBezTo>
                  <a:pt x="927" y="1943"/>
                  <a:pt x="927" y="1943"/>
                  <a:pt x="927" y="1943"/>
                </a:cubicBezTo>
                <a:cubicBezTo>
                  <a:pt x="926" y="1943"/>
                  <a:pt x="926" y="1943"/>
                  <a:pt x="926" y="1943"/>
                </a:cubicBezTo>
                <a:cubicBezTo>
                  <a:pt x="925" y="1942"/>
                  <a:pt x="927" y="1943"/>
                  <a:pt x="927" y="1943"/>
                </a:cubicBezTo>
                <a:cubicBezTo>
                  <a:pt x="929" y="1944"/>
                  <a:pt x="930" y="1944"/>
                  <a:pt x="931" y="1945"/>
                </a:cubicBezTo>
                <a:cubicBezTo>
                  <a:pt x="932" y="1946"/>
                  <a:pt x="933" y="1946"/>
                  <a:pt x="933" y="1947"/>
                </a:cubicBezTo>
                <a:cubicBezTo>
                  <a:pt x="933" y="1947"/>
                  <a:pt x="934" y="1948"/>
                  <a:pt x="933" y="1949"/>
                </a:cubicBezTo>
                <a:cubicBezTo>
                  <a:pt x="933" y="1949"/>
                  <a:pt x="932" y="1949"/>
                  <a:pt x="932" y="1949"/>
                </a:cubicBezTo>
                <a:cubicBezTo>
                  <a:pt x="931" y="1949"/>
                  <a:pt x="931" y="1950"/>
                  <a:pt x="931" y="1950"/>
                </a:cubicBezTo>
                <a:cubicBezTo>
                  <a:pt x="931" y="1950"/>
                  <a:pt x="931" y="1951"/>
                  <a:pt x="930" y="1950"/>
                </a:cubicBezTo>
                <a:cubicBezTo>
                  <a:pt x="930" y="1950"/>
                  <a:pt x="931" y="1950"/>
                  <a:pt x="931" y="1949"/>
                </a:cubicBezTo>
                <a:cubicBezTo>
                  <a:pt x="930" y="1948"/>
                  <a:pt x="929" y="1950"/>
                  <a:pt x="929" y="1950"/>
                </a:cubicBezTo>
                <a:cubicBezTo>
                  <a:pt x="928" y="1950"/>
                  <a:pt x="928" y="1950"/>
                  <a:pt x="928" y="1951"/>
                </a:cubicBezTo>
                <a:cubicBezTo>
                  <a:pt x="928" y="1951"/>
                  <a:pt x="928" y="1951"/>
                  <a:pt x="928" y="1952"/>
                </a:cubicBezTo>
                <a:cubicBezTo>
                  <a:pt x="928" y="1952"/>
                  <a:pt x="928" y="1953"/>
                  <a:pt x="929" y="1953"/>
                </a:cubicBezTo>
                <a:cubicBezTo>
                  <a:pt x="929" y="1953"/>
                  <a:pt x="929" y="1952"/>
                  <a:pt x="929" y="1952"/>
                </a:cubicBezTo>
                <a:cubicBezTo>
                  <a:pt x="930" y="1952"/>
                  <a:pt x="930" y="1951"/>
                  <a:pt x="930" y="1952"/>
                </a:cubicBezTo>
                <a:cubicBezTo>
                  <a:pt x="930" y="1952"/>
                  <a:pt x="930" y="1952"/>
                  <a:pt x="930" y="1953"/>
                </a:cubicBezTo>
                <a:close/>
                <a:moveTo>
                  <a:pt x="933" y="1954"/>
                </a:moveTo>
                <a:cubicBezTo>
                  <a:pt x="933" y="1954"/>
                  <a:pt x="933" y="1955"/>
                  <a:pt x="933" y="1955"/>
                </a:cubicBezTo>
                <a:cubicBezTo>
                  <a:pt x="932" y="1955"/>
                  <a:pt x="932" y="1956"/>
                  <a:pt x="932" y="1956"/>
                </a:cubicBezTo>
                <a:cubicBezTo>
                  <a:pt x="932" y="1955"/>
                  <a:pt x="932" y="1955"/>
                  <a:pt x="933" y="1954"/>
                </a:cubicBezTo>
                <a:cubicBezTo>
                  <a:pt x="933" y="1954"/>
                  <a:pt x="933" y="1953"/>
                  <a:pt x="933" y="1954"/>
                </a:cubicBezTo>
                <a:close/>
                <a:moveTo>
                  <a:pt x="936" y="1961"/>
                </a:moveTo>
                <a:cubicBezTo>
                  <a:pt x="936" y="1961"/>
                  <a:pt x="935" y="1961"/>
                  <a:pt x="935" y="1961"/>
                </a:cubicBezTo>
                <a:cubicBezTo>
                  <a:pt x="935" y="1962"/>
                  <a:pt x="934" y="1963"/>
                  <a:pt x="933" y="1963"/>
                </a:cubicBezTo>
                <a:cubicBezTo>
                  <a:pt x="933" y="1963"/>
                  <a:pt x="933" y="1962"/>
                  <a:pt x="933" y="1962"/>
                </a:cubicBezTo>
                <a:cubicBezTo>
                  <a:pt x="933" y="1962"/>
                  <a:pt x="933" y="1962"/>
                  <a:pt x="932" y="1962"/>
                </a:cubicBezTo>
                <a:cubicBezTo>
                  <a:pt x="932" y="1962"/>
                  <a:pt x="932" y="1963"/>
                  <a:pt x="932" y="1963"/>
                </a:cubicBezTo>
                <a:cubicBezTo>
                  <a:pt x="931" y="1962"/>
                  <a:pt x="932" y="1962"/>
                  <a:pt x="932" y="1961"/>
                </a:cubicBezTo>
                <a:cubicBezTo>
                  <a:pt x="932" y="1961"/>
                  <a:pt x="932" y="1961"/>
                  <a:pt x="931" y="1961"/>
                </a:cubicBezTo>
                <a:cubicBezTo>
                  <a:pt x="931" y="1961"/>
                  <a:pt x="931" y="1961"/>
                  <a:pt x="931" y="1960"/>
                </a:cubicBezTo>
                <a:cubicBezTo>
                  <a:pt x="931" y="1960"/>
                  <a:pt x="930" y="1960"/>
                  <a:pt x="930" y="1959"/>
                </a:cubicBezTo>
                <a:cubicBezTo>
                  <a:pt x="930" y="1959"/>
                  <a:pt x="931" y="1959"/>
                  <a:pt x="932" y="1959"/>
                </a:cubicBezTo>
                <a:cubicBezTo>
                  <a:pt x="932" y="1958"/>
                  <a:pt x="932" y="1959"/>
                  <a:pt x="933" y="1958"/>
                </a:cubicBezTo>
                <a:cubicBezTo>
                  <a:pt x="933" y="1958"/>
                  <a:pt x="934" y="1958"/>
                  <a:pt x="934" y="1958"/>
                </a:cubicBezTo>
                <a:cubicBezTo>
                  <a:pt x="934" y="1959"/>
                  <a:pt x="934" y="1959"/>
                  <a:pt x="934" y="1960"/>
                </a:cubicBezTo>
                <a:cubicBezTo>
                  <a:pt x="934" y="1960"/>
                  <a:pt x="934" y="1960"/>
                  <a:pt x="935" y="1960"/>
                </a:cubicBezTo>
                <a:cubicBezTo>
                  <a:pt x="935" y="1960"/>
                  <a:pt x="936" y="1960"/>
                  <a:pt x="936" y="1960"/>
                </a:cubicBezTo>
                <a:cubicBezTo>
                  <a:pt x="936" y="1960"/>
                  <a:pt x="937" y="1960"/>
                  <a:pt x="937" y="1960"/>
                </a:cubicBezTo>
                <a:cubicBezTo>
                  <a:pt x="937" y="1960"/>
                  <a:pt x="936" y="1961"/>
                  <a:pt x="936" y="1961"/>
                </a:cubicBezTo>
                <a:close/>
                <a:moveTo>
                  <a:pt x="941" y="1960"/>
                </a:moveTo>
                <a:cubicBezTo>
                  <a:pt x="941" y="1960"/>
                  <a:pt x="940" y="1960"/>
                  <a:pt x="940" y="1960"/>
                </a:cubicBezTo>
                <a:cubicBezTo>
                  <a:pt x="940" y="1960"/>
                  <a:pt x="941" y="1960"/>
                  <a:pt x="941" y="1960"/>
                </a:cubicBezTo>
                <a:cubicBezTo>
                  <a:pt x="942" y="1960"/>
                  <a:pt x="942" y="1960"/>
                  <a:pt x="942" y="1960"/>
                </a:cubicBezTo>
                <a:cubicBezTo>
                  <a:pt x="942" y="1960"/>
                  <a:pt x="943" y="1960"/>
                  <a:pt x="943" y="1960"/>
                </a:cubicBezTo>
                <a:cubicBezTo>
                  <a:pt x="942" y="1960"/>
                  <a:pt x="942" y="1960"/>
                  <a:pt x="941" y="1960"/>
                </a:cubicBezTo>
                <a:close/>
                <a:moveTo>
                  <a:pt x="939" y="1973"/>
                </a:moveTo>
                <a:cubicBezTo>
                  <a:pt x="939" y="1973"/>
                  <a:pt x="940" y="1974"/>
                  <a:pt x="940" y="1974"/>
                </a:cubicBezTo>
                <a:cubicBezTo>
                  <a:pt x="940" y="1974"/>
                  <a:pt x="940" y="1973"/>
                  <a:pt x="941" y="1973"/>
                </a:cubicBezTo>
                <a:cubicBezTo>
                  <a:pt x="941" y="1973"/>
                  <a:pt x="941" y="1972"/>
                  <a:pt x="941" y="1972"/>
                </a:cubicBezTo>
                <a:cubicBezTo>
                  <a:pt x="943" y="1973"/>
                  <a:pt x="939" y="1975"/>
                  <a:pt x="939" y="1973"/>
                </a:cubicBezTo>
                <a:close/>
                <a:moveTo>
                  <a:pt x="1183" y="1654"/>
                </a:moveTo>
                <a:cubicBezTo>
                  <a:pt x="1183" y="1654"/>
                  <a:pt x="1182" y="1654"/>
                  <a:pt x="1182" y="1654"/>
                </a:cubicBezTo>
                <a:cubicBezTo>
                  <a:pt x="1181" y="1654"/>
                  <a:pt x="1181" y="1654"/>
                  <a:pt x="1181" y="1654"/>
                </a:cubicBezTo>
                <a:cubicBezTo>
                  <a:pt x="1181" y="1655"/>
                  <a:pt x="1181" y="1655"/>
                  <a:pt x="1182" y="1655"/>
                </a:cubicBezTo>
                <a:cubicBezTo>
                  <a:pt x="1182" y="1656"/>
                  <a:pt x="1182" y="1657"/>
                  <a:pt x="1182" y="1658"/>
                </a:cubicBezTo>
                <a:cubicBezTo>
                  <a:pt x="1181" y="1659"/>
                  <a:pt x="1181" y="1659"/>
                  <a:pt x="1180" y="1660"/>
                </a:cubicBezTo>
                <a:cubicBezTo>
                  <a:pt x="1180" y="1660"/>
                  <a:pt x="1179" y="1661"/>
                  <a:pt x="1179" y="1661"/>
                </a:cubicBezTo>
                <a:cubicBezTo>
                  <a:pt x="1179" y="1662"/>
                  <a:pt x="1179" y="1663"/>
                  <a:pt x="1178" y="1663"/>
                </a:cubicBezTo>
                <a:cubicBezTo>
                  <a:pt x="1178" y="1663"/>
                  <a:pt x="1177" y="1663"/>
                  <a:pt x="1176" y="1663"/>
                </a:cubicBezTo>
                <a:cubicBezTo>
                  <a:pt x="1176" y="1664"/>
                  <a:pt x="1175" y="1665"/>
                  <a:pt x="1175" y="1666"/>
                </a:cubicBezTo>
                <a:cubicBezTo>
                  <a:pt x="1175" y="1667"/>
                  <a:pt x="1175" y="1667"/>
                  <a:pt x="1175" y="1668"/>
                </a:cubicBezTo>
                <a:cubicBezTo>
                  <a:pt x="1174" y="1669"/>
                  <a:pt x="1173" y="1670"/>
                  <a:pt x="1173" y="1670"/>
                </a:cubicBezTo>
                <a:cubicBezTo>
                  <a:pt x="1172" y="1671"/>
                  <a:pt x="1171" y="1671"/>
                  <a:pt x="1171" y="1672"/>
                </a:cubicBezTo>
                <a:cubicBezTo>
                  <a:pt x="1170" y="1672"/>
                  <a:pt x="1169" y="1673"/>
                  <a:pt x="1168" y="1673"/>
                </a:cubicBezTo>
                <a:cubicBezTo>
                  <a:pt x="1168" y="1673"/>
                  <a:pt x="1167" y="1672"/>
                  <a:pt x="1167" y="1672"/>
                </a:cubicBezTo>
                <a:cubicBezTo>
                  <a:pt x="1166" y="1672"/>
                  <a:pt x="1166" y="1672"/>
                  <a:pt x="1166" y="1672"/>
                </a:cubicBezTo>
                <a:cubicBezTo>
                  <a:pt x="1166" y="1673"/>
                  <a:pt x="1166" y="1673"/>
                  <a:pt x="1166" y="1673"/>
                </a:cubicBezTo>
                <a:cubicBezTo>
                  <a:pt x="1166" y="1674"/>
                  <a:pt x="1166" y="1674"/>
                  <a:pt x="1166" y="1674"/>
                </a:cubicBezTo>
                <a:cubicBezTo>
                  <a:pt x="1166" y="1675"/>
                  <a:pt x="1166" y="1676"/>
                  <a:pt x="1166" y="1675"/>
                </a:cubicBezTo>
                <a:cubicBezTo>
                  <a:pt x="1165" y="1675"/>
                  <a:pt x="1166" y="1674"/>
                  <a:pt x="1166" y="1674"/>
                </a:cubicBezTo>
                <a:cubicBezTo>
                  <a:pt x="1165" y="1673"/>
                  <a:pt x="1165" y="1673"/>
                  <a:pt x="1164" y="1672"/>
                </a:cubicBezTo>
                <a:cubicBezTo>
                  <a:pt x="1164" y="1671"/>
                  <a:pt x="1165" y="1670"/>
                  <a:pt x="1166" y="1670"/>
                </a:cubicBezTo>
                <a:cubicBezTo>
                  <a:pt x="1166" y="1670"/>
                  <a:pt x="1167" y="1670"/>
                  <a:pt x="1167" y="1670"/>
                </a:cubicBezTo>
                <a:cubicBezTo>
                  <a:pt x="1167" y="1670"/>
                  <a:pt x="1167" y="1669"/>
                  <a:pt x="1167" y="1669"/>
                </a:cubicBezTo>
                <a:cubicBezTo>
                  <a:pt x="1167" y="1668"/>
                  <a:pt x="1167" y="1667"/>
                  <a:pt x="1168" y="1666"/>
                </a:cubicBezTo>
                <a:cubicBezTo>
                  <a:pt x="1168" y="1666"/>
                  <a:pt x="1169" y="1665"/>
                  <a:pt x="1170" y="1665"/>
                </a:cubicBezTo>
                <a:cubicBezTo>
                  <a:pt x="1171" y="1664"/>
                  <a:pt x="1172" y="1664"/>
                  <a:pt x="1172" y="1664"/>
                </a:cubicBezTo>
                <a:cubicBezTo>
                  <a:pt x="1173" y="1663"/>
                  <a:pt x="1173" y="1663"/>
                  <a:pt x="1173" y="1663"/>
                </a:cubicBezTo>
                <a:cubicBezTo>
                  <a:pt x="1173" y="1663"/>
                  <a:pt x="1173" y="1662"/>
                  <a:pt x="1173" y="1662"/>
                </a:cubicBezTo>
                <a:cubicBezTo>
                  <a:pt x="1174" y="1661"/>
                  <a:pt x="1174" y="1661"/>
                  <a:pt x="1174" y="1660"/>
                </a:cubicBezTo>
                <a:cubicBezTo>
                  <a:pt x="1174" y="1659"/>
                  <a:pt x="1174" y="1659"/>
                  <a:pt x="1174" y="1658"/>
                </a:cubicBezTo>
                <a:cubicBezTo>
                  <a:pt x="1175" y="1658"/>
                  <a:pt x="1175" y="1658"/>
                  <a:pt x="1175" y="1659"/>
                </a:cubicBezTo>
                <a:cubicBezTo>
                  <a:pt x="1175" y="1659"/>
                  <a:pt x="1175" y="1660"/>
                  <a:pt x="1175" y="1660"/>
                </a:cubicBezTo>
                <a:cubicBezTo>
                  <a:pt x="1176" y="1659"/>
                  <a:pt x="1176" y="1659"/>
                  <a:pt x="1176" y="1658"/>
                </a:cubicBezTo>
                <a:cubicBezTo>
                  <a:pt x="1176" y="1658"/>
                  <a:pt x="1175" y="1657"/>
                  <a:pt x="1175" y="1656"/>
                </a:cubicBezTo>
                <a:cubicBezTo>
                  <a:pt x="1175" y="1655"/>
                  <a:pt x="1176" y="1655"/>
                  <a:pt x="1177" y="1654"/>
                </a:cubicBezTo>
                <a:cubicBezTo>
                  <a:pt x="1178" y="1654"/>
                  <a:pt x="1176" y="1654"/>
                  <a:pt x="1176" y="1653"/>
                </a:cubicBezTo>
                <a:cubicBezTo>
                  <a:pt x="1176" y="1652"/>
                  <a:pt x="1176" y="1652"/>
                  <a:pt x="1177" y="1653"/>
                </a:cubicBezTo>
                <a:cubicBezTo>
                  <a:pt x="1177" y="1653"/>
                  <a:pt x="1177" y="1653"/>
                  <a:pt x="1178" y="1653"/>
                </a:cubicBezTo>
                <a:cubicBezTo>
                  <a:pt x="1178" y="1653"/>
                  <a:pt x="1179" y="1653"/>
                  <a:pt x="1180" y="1653"/>
                </a:cubicBezTo>
                <a:cubicBezTo>
                  <a:pt x="1181" y="1653"/>
                  <a:pt x="1181" y="1653"/>
                  <a:pt x="1182" y="1653"/>
                </a:cubicBezTo>
                <a:cubicBezTo>
                  <a:pt x="1182" y="1653"/>
                  <a:pt x="1182" y="1653"/>
                  <a:pt x="1183" y="1653"/>
                </a:cubicBezTo>
                <a:cubicBezTo>
                  <a:pt x="1183" y="1653"/>
                  <a:pt x="1183" y="1654"/>
                  <a:pt x="1183" y="1654"/>
                </a:cubicBezTo>
                <a:close/>
                <a:moveTo>
                  <a:pt x="939" y="1985"/>
                </a:moveTo>
                <a:cubicBezTo>
                  <a:pt x="939" y="1985"/>
                  <a:pt x="940" y="1985"/>
                  <a:pt x="940" y="1986"/>
                </a:cubicBezTo>
                <a:cubicBezTo>
                  <a:pt x="940" y="1986"/>
                  <a:pt x="941" y="1986"/>
                  <a:pt x="941" y="1985"/>
                </a:cubicBezTo>
                <a:cubicBezTo>
                  <a:pt x="942" y="1984"/>
                  <a:pt x="941" y="1984"/>
                  <a:pt x="940" y="1984"/>
                </a:cubicBezTo>
                <a:cubicBezTo>
                  <a:pt x="940" y="1983"/>
                  <a:pt x="939" y="1982"/>
                  <a:pt x="940" y="1982"/>
                </a:cubicBezTo>
                <a:cubicBezTo>
                  <a:pt x="941" y="1982"/>
                  <a:pt x="941" y="1983"/>
                  <a:pt x="941" y="1983"/>
                </a:cubicBezTo>
                <a:cubicBezTo>
                  <a:pt x="941" y="1984"/>
                  <a:pt x="941" y="1983"/>
                  <a:pt x="942" y="1984"/>
                </a:cubicBezTo>
                <a:cubicBezTo>
                  <a:pt x="943" y="1984"/>
                  <a:pt x="942" y="1985"/>
                  <a:pt x="944" y="1985"/>
                </a:cubicBezTo>
                <a:cubicBezTo>
                  <a:pt x="944" y="1984"/>
                  <a:pt x="945" y="1983"/>
                  <a:pt x="946" y="1983"/>
                </a:cubicBezTo>
                <a:cubicBezTo>
                  <a:pt x="947" y="1984"/>
                  <a:pt x="947" y="1985"/>
                  <a:pt x="947" y="1985"/>
                </a:cubicBezTo>
                <a:cubicBezTo>
                  <a:pt x="948" y="1986"/>
                  <a:pt x="948" y="1987"/>
                  <a:pt x="948" y="1987"/>
                </a:cubicBezTo>
                <a:cubicBezTo>
                  <a:pt x="949" y="1988"/>
                  <a:pt x="949" y="1986"/>
                  <a:pt x="950" y="1986"/>
                </a:cubicBezTo>
                <a:cubicBezTo>
                  <a:pt x="950" y="1985"/>
                  <a:pt x="950" y="1984"/>
                  <a:pt x="950" y="1983"/>
                </a:cubicBezTo>
                <a:cubicBezTo>
                  <a:pt x="950" y="1983"/>
                  <a:pt x="950" y="1982"/>
                  <a:pt x="949" y="1982"/>
                </a:cubicBezTo>
                <a:cubicBezTo>
                  <a:pt x="948" y="1982"/>
                  <a:pt x="948" y="1983"/>
                  <a:pt x="947" y="1983"/>
                </a:cubicBezTo>
                <a:cubicBezTo>
                  <a:pt x="947" y="1982"/>
                  <a:pt x="948" y="1982"/>
                  <a:pt x="947" y="1981"/>
                </a:cubicBezTo>
                <a:cubicBezTo>
                  <a:pt x="947" y="1981"/>
                  <a:pt x="946" y="1981"/>
                  <a:pt x="945" y="1981"/>
                </a:cubicBezTo>
                <a:cubicBezTo>
                  <a:pt x="945" y="1981"/>
                  <a:pt x="944" y="1980"/>
                  <a:pt x="944" y="1980"/>
                </a:cubicBezTo>
                <a:cubicBezTo>
                  <a:pt x="943" y="1980"/>
                  <a:pt x="943" y="1982"/>
                  <a:pt x="942" y="1982"/>
                </a:cubicBezTo>
                <a:cubicBezTo>
                  <a:pt x="942" y="1981"/>
                  <a:pt x="942" y="1981"/>
                  <a:pt x="943" y="1981"/>
                </a:cubicBezTo>
                <a:cubicBezTo>
                  <a:pt x="943" y="1980"/>
                  <a:pt x="943" y="1980"/>
                  <a:pt x="943" y="1980"/>
                </a:cubicBezTo>
                <a:cubicBezTo>
                  <a:pt x="943" y="1979"/>
                  <a:pt x="942" y="1979"/>
                  <a:pt x="942" y="1979"/>
                </a:cubicBezTo>
                <a:cubicBezTo>
                  <a:pt x="941" y="1980"/>
                  <a:pt x="941" y="1980"/>
                  <a:pt x="941" y="1980"/>
                </a:cubicBezTo>
                <a:cubicBezTo>
                  <a:pt x="940" y="1980"/>
                  <a:pt x="941" y="1979"/>
                  <a:pt x="940" y="1979"/>
                </a:cubicBezTo>
                <a:cubicBezTo>
                  <a:pt x="940" y="1979"/>
                  <a:pt x="940" y="1979"/>
                  <a:pt x="940" y="1979"/>
                </a:cubicBezTo>
                <a:cubicBezTo>
                  <a:pt x="939" y="1979"/>
                  <a:pt x="939" y="1979"/>
                  <a:pt x="939" y="1979"/>
                </a:cubicBezTo>
                <a:cubicBezTo>
                  <a:pt x="938" y="1980"/>
                  <a:pt x="938" y="1980"/>
                  <a:pt x="938" y="1980"/>
                </a:cubicBezTo>
                <a:cubicBezTo>
                  <a:pt x="937" y="1980"/>
                  <a:pt x="936" y="1979"/>
                  <a:pt x="936" y="1980"/>
                </a:cubicBezTo>
                <a:cubicBezTo>
                  <a:pt x="936" y="1981"/>
                  <a:pt x="937" y="1981"/>
                  <a:pt x="937" y="1982"/>
                </a:cubicBezTo>
                <a:cubicBezTo>
                  <a:pt x="937" y="1983"/>
                  <a:pt x="938" y="1983"/>
                  <a:pt x="939" y="1984"/>
                </a:cubicBezTo>
                <a:cubicBezTo>
                  <a:pt x="939" y="1984"/>
                  <a:pt x="939" y="1984"/>
                  <a:pt x="939" y="1985"/>
                </a:cubicBezTo>
                <a:close/>
                <a:moveTo>
                  <a:pt x="785" y="1165"/>
                </a:moveTo>
                <a:cubicBezTo>
                  <a:pt x="784" y="1165"/>
                  <a:pt x="784" y="1164"/>
                  <a:pt x="783" y="1164"/>
                </a:cubicBezTo>
                <a:cubicBezTo>
                  <a:pt x="783" y="1164"/>
                  <a:pt x="783" y="1165"/>
                  <a:pt x="784" y="1165"/>
                </a:cubicBezTo>
                <a:cubicBezTo>
                  <a:pt x="784" y="1165"/>
                  <a:pt x="784" y="1165"/>
                  <a:pt x="784" y="1166"/>
                </a:cubicBezTo>
                <a:cubicBezTo>
                  <a:pt x="785" y="1166"/>
                  <a:pt x="785" y="1166"/>
                  <a:pt x="785" y="1166"/>
                </a:cubicBezTo>
                <a:cubicBezTo>
                  <a:pt x="785" y="1167"/>
                  <a:pt x="785" y="1166"/>
                  <a:pt x="785" y="1166"/>
                </a:cubicBezTo>
                <a:cubicBezTo>
                  <a:pt x="785" y="1166"/>
                  <a:pt x="785" y="1165"/>
                  <a:pt x="785" y="1165"/>
                </a:cubicBezTo>
                <a:close/>
                <a:moveTo>
                  <a:pt x="915" y="1947"/>
                </a:moveTo>
                <a:cubicBezTo>
                  <a:pt x="916" y="1947"/>
                  <a:pt x="916" y="1947"/>
                  <a:pt x="917" y="1947"/>
                </a:cubicBezTo>
                <a:cubicBezTo>
                  <a:pt x="917" y="1947"/>
                  <a:pt x="916" y="1946"/>
                  <a:pt x="916" y="1946"/>
                </a:cubicBezTo>
                <a:cubicBezTo>
                  <a:pt x="916" y="1946"/>
                  <a:pt x="916" y="1945"/>
                  <a:pt x="916" y="1945"/>
                </a:cubicBezTo>
                <a:cubicBezTo>
                  <a:pt x="916" y="1944"/>
                  <a:pt x="914" y="1943"/>
                  <a:pt x="914" y="1944"/>
                </a:cubicBezTo>
                <a:cubicBezTo>
                  <a:pt x="914" y="1945"/>
                  <a:pt x="914" y="1945"/>
                  <a:pt x="914" y="1945"/>
                </a:cubicBezTo>
                <a:cubicBezTo>
                  <a:pt x="913" y="1945"/>
                  <a:pt x="913" y="1945"/>
                  <a:pt x="913" y="1945"/>
                </a:cubicBezTo>
                <a:cubicBezTo>
                  <a:pt x="913" y="1945"/>
                  <a:pt x="913" y="1946"/>
                  <a:pt x="913" y="1946"/>
                </a:cubicBezTo>
                <a:cubicBezTo>
                  <a:pt x="914" y="1946"/>
                  <a:pt x="914" y="1946"/>
                  <a:pt x="915" y="1946"/>
                </a:cubicBezTo>
                <a:cubicBezTo>
                  <a:pt x="915" y="1946"/>
                  <a:pt x="915" y="1947"/>
                  <a:pt x="915" y="1947"/>
                </a:cubicBezTo>
                <a:close/>
                <a:moveTo>
                  <a:pt x="784" y="736"/>
                </a:moveTo>
                <a:cubicBezTo>
                  <a:pt x="784" y="736"/>
                  <a:pt x="784" y="736"/>
                  <a:pt x="784" y="736"/>
                </a:cubicBezTo>
                <a:cubicBezTo>
                  <a:pt x="784" y="736"/>
                  <a:pt x="784" y="737"/>
                  <a:pt x="783" y="737"/>
                </a:cubicBezTo>
                <a:cubicBezTo>
                  <a:pt x="783" y="737"/>
                  <a:pt x="783" y="738"/>
                  <a:pt x="784" y="737"/>
                </a:cubicBezTo>
                <a:cubicBezTo>
                  <a:pt x="784" y="737"/>
                  <a:pt x="785" y="737"/>
                  <a:pt x="785" y="736"/>
                </a:cubicBezTo>
                <a:cubicBezTo>
                  <a:pt x="785" y="736"/>
                  <a:pt x="785" y="735"/>
                  <a:pt x="784" y="736"/>
                </a:cubicBezTo>
                <a:close/>
                <a:moveTo>
                  <a:pt x="912" y="1877"/>
                </a:moveTo>
                <a:cubicBezTo>
                  <a:pt x="912" y="1877"/>
                  <a:pt x="911" y="1878"/>
                  <a:pt x="911" y="1878"/>
                </a:cubicBezTo>
                <a:cubicBezTo>
                  <a:pt x="912" y="1878"/>
                  <a:pt x="912" y="1878"/>
                  <a:pt x="912" y="1878"/>
                </a:cubicBezTo>
                <a:cubicBezTo>
                  <a:pt x="913" y="1878"/>
                  <a:pt x="913" y="1877"/>
                  <a:pt x="912" y="1877"/>
                </a:cubicBezTo>
                <a:close/>
                <a:moveTo>
                  <a:pt x="994" y="1997"/>
                </a:moveTo>
                <a:cubicBezTo>
                  <a:pt x="993" y="1997"/>
                  <a:pt x="992" y="1996"/>
                  <a:pt x="991" y="1996"/>
                </a:cubicBezTo>
                <a:cubicBezTo>
                  <a:pt x="991" y="1996"/>
                  <a:pt x="990" y="1996"/>
                  <a:pt x="990" y="1995"/>
                </a:cubicBezTo>
                <a:cubicBezTo>
                  <a:pt x="989" y="1995"/>
                  <a:pt x="988" y="1995"/>
                  <a:pt x="987" y="1995"/>
                </a:cubicBezTo>
                <a:cubicBezTo>
                  <a:pt x="985" y="1996"/>
                  <a:pt x="984" y="1995"/>
                  <a:pt x="982" y="1995"/>
                </a:cubicBezTo>
                <a:cubicBezTo>
                  <a:pt x="982" y="1995"/>
                  <a:pt x="980" y="1995"/>
                  <a:pt x="981" y="1996"/>
                </a:cubicBezTo>
                <a:cubicBezTo>
                  <a:pt x="982" y="1997"/>
                  <a:pt x="982" y="1997"/>
                  <a:pt x="982" y="1998"/>
                </a:cubicBezTo>
                <a:cubicBezTo>
                  <a:pt x="982" y="1999"/>
                  <a:pt x="982" y="2000"/>
                  <a:pt x="983" y="2000"/>
                </a:cubicBezTo>
                <a:cubicBezTo>
                  <a:pt x="984" y="2000"/>
                  <a:pt x="985" y="2000"/>
                  <a:pt x="986" y="2000"/>
                </a:cubicBezTo>
                <a:cubicBezTo>
                  <a:pt x="986" y="2000"/>
                  <a:pt x="986" y="2001"/>
                  <a:pt x="986" y="2001"/>
                </a:cubicBezTo>
                <a:cubicBezTo>
                  <a:pt x="987" y="2001"/>
                  <a:pt x="987" y="2001"/>
                  <a:pt x="987" y="2001"/>
                </a:cubicBezTo>
                <a:cubicBezTo>
                  <a:pt x="988" y="2001"/>
                  <a:pt x="988" y="2001"/>
                  <a:pt x="989" y="2001"/>
                </a:cubicBezTo>
                <a:cubicBezTo>
                  <a:pt x="989" y="2000"/>
                  <a:pt x="989" y="2000"/>
                  <a:pt x="989" y="2000"/>
                </a:cubicBezTo>
                <a:cubicBezTo>
                  <a:pt x="990" y="1999"/>
                  <a:pt x="991" y="2000"/>
                  <a:pt x="991" y="2001"/>
                </a:cubicBezTo>
                <a:cubicBezTo>
                  <a:pt x="991" y="2002"/>
                  <a:pt x="991" y="2002"/>
                  <a:pt x="992" y="2002"/>
                </a:cubicBezTo>
                <a:cubicBezTo>
                  <a:pt x="993" y="2002"/>
                  <a:pt x="993" y="2001"/>
                  <a:pt x="993" y="2001"/>
                </a:cubicBezTo>
                <a:cubicBezTo>
                  <a:pt x="994" y="2001"/>
                  <a:pt x="994" y="2001"/>
                  <a:pt x="994" y="2001"/>
                </a:cubicBezTo>
                <a:cubicBezTo>
                  <a:pt x="995" y="2000"/>
                  <a:pt x="995" y="1999"/>
                  <a:pt x="995" y="1999"/>
                </a:cubicBezTo>
                <a:cubicBezTo>
                  <a:pt x="995" y="1998"/>
                  <a:pt x="994" y="1998"/>
                  <a:pt x="994" y="1997"/>
                </a:cubicBezTo>
                <a:close/>
                <a:moveTo>
                  <a:pt x="992" y="2007"/>
                </a:moveTo>
                <a:cubicBezTo>
                  <a:pt x="992" y="2007"/>
                  <a:pt x="992" y="2006"/>
                  <a:pt x="991" y="2006"/>
                </a:cubicBezTo>
                <a:cubicBezTo>
                  <a:pt x="991" y="2006"/>
                  <a:pt x="991" y="2006"/>
                  <a:pt x="991" y="2007"/>
                </a:cubicBezTo>
                <a:cubicBezTo>
                  <a:pt x="991" y="2007"/>
                  <a:pt x="991" y="2007"/>
                  <a:pt x="991" y="2007"/>
                </a:cubicBezTo>
                <a:cubicBezTo>
                  <a:pt x="991" y="2008"/>
                  <a:pt x="990" y="2007"/>
                  <a:pt x="990" y="2007"/>
                </a:cubicBezTo>
                <a:cubicBezTo>
                  <a:pt x="989" y="2007"/>
                  <a:pt x="989" y="2008"/>
                  <a:pt x="990" y="2009"/>
                </a:cubicBezTo>
                <a:cubicBezTo>
                  <a:pt x="990" y="2009"/>
                  <a:pt x="991" y="2008"/>
                  <a:pt x="992" y="2009"/>
                </a:cubicBezTo>
                <a:cubicBezTo>
                  <a:pt x="992" y="2009"/>
                  <a:pt x="992" y="2010"/>
                  <a:pt x="993" y="2009"/>
                </a:cubicBezTo>
                <a:cubicBezTo>
                  <a:pt x="993" y="2009"/>
                  <a:pt x="993" y="2008"/>
                  <a:pt x="993" y="2008"/>
                </a:cubicBezTo>
                <a:cubicBezTo>
                  <a:pt x="992" y="2008"/>
                  <a:pt x="992" y="2007"/>
                  <a:pt x="992" y="2007"/>
                </a:cubicBezTo>
                <a:close/>
                <a:moveTo>
                  <a:pt x="996" y="2001"/>
                </a:moveTo>
                <a:cubicBezTo>
                  <a:pt x="995" y="2001"/>
                  <a:pt x="995" y="2002"/>
                  <a:pt x="996" y="2002"/>
                </a:cubicBezTo>
                <a:cubicBezTo>
                  <a:pt x="997" y="2001"/>
                  <a:pt x="997" y="2000"/>
                  <a:pt x="996" y="2001"/>
                </a:cubicBezTo>
                <a:close/>
                <a:moveTo>
                  <a:pt x="958" y="1997"/>
                </a:moveTo>
                <a:cubicBezTo>
                  <a:pt x="957" y="1997"/>
                  <a:pt x="956" y="1998"/>
                  <a:pt x="956" y="1997"/>
                </a:cubicBezTo>
                <a:cubicBezTo>
                  <a:pt x="956" y="1996"/>
                  <a:pt x="958" y="1996"/>
                  <a:pt x="956" y="1996"/>
                </a:cubicBezTo>
                <a:cubicBezTo>
                  <a:pt x="955" y="1995"/>
                  <a:pt x="955" y="1996"/>
                  <a:pt x="954" y="1996"/>
                </a:cubicBezTo>
                <a:cubicBezTo>
                  <a:pt x="953" y="1996"/>
                  <a:pt x="952" y="1996"/>
                  <a:pt x="952" y="1996"/>
                </a:cubicBezTo>
                <a:cubicBezTo>
                  <a:pt x="951" y="1995"/>
                  <a:pt x="951" y="1995"/>
                  <a:pt x="950" y="1995"/>
                </a:cubicBezTo>
                <a:cubicBezTo>
                  <a:pt x="950" y="1995"/>
                  <a:pt x="949" y="1995"/>
                  <a:pt x="949" y="1994"/>
                </a:cubicBezTo>
                <a:cubicBezTo>
                  <a:pt x="948" y="1994"/>
                  <a:pt x="948" y="1994"/>
                  <a:pt x="948" y="1994"/>
                </a:cubicBezTo>
                <a:cubicBezTo>
                  <a:pt x="947" y="1994"/>
                  <a:pt x="946" y="1994"/>
                  <a:pt x="946" y="1995"/>
                </a:cubicBezTo>
                <a:cubicBezTo>
                  <a:pt x="946" y="1995"/>
                  <a:pt x="946" y="1997"/>
                  <a:pt x="947" y="1996"/>
                </a:cubicBezTo>
                <a:cubicBezTo>
                  <a:pt x="947" y="1996"/>
                  <a:pt x="947" y="1995"/>
                  <a:pt x="947" y="1995"/>
                </a:cubicBezTo>
                <a:cubicBezTo>
                  <a:pt x="948" y="1995"/>
                  <a:pt x="948" y="1995"/>
                  <a:pt x="949" y="1995"/>
                </a:cubicBezTo>
                <a:cubicBezTo>
                  <a:pt x="949" y="1996"/>
                  <a:pt x="950" y="1996"/>
                  <a:pt x="950" y="1996"/>
                </a:cubicBezTo>
                <a:cubicBezTo>
                  <a:pt x="951" y="1996"/>
                  <a:pt x="951" y="1997"/>
                  <a:pt x="952" y="1997"/>
                </a:cubicBezTo>
                <a:cubicBezTo>
                  <a:pt x="952" y="1997"/>
                  <a:pt x="952" y="1997"/>
                  <a:pt x="953" y="1997"/>
                </a:cubicBezTo>
                <a:cubicBezTo>
                  <a:pt x="953" y="1998"/>
                  <a:pt x="953" y="1998"/>
                  <a:pt x="954" y="1998"/>
                </a:cubicBezTo>
                <a:cubicBezTo>
                  <a:pt x="954" y="1998"/>
                  <a:pt x="955" y="1998"/>
                  <a:pt x="956" y="1999"/>
                </a:cubicBezTo>
                <a:cubicBezTo>
                  <a:pt x="957" y="1999"/>
                  <a:pt x="957" y="2000"/>
                  <a:pt x="958" y="1999"/>
                </a:cubicBezTo>
                <a:cubicBezTo>
                  <a:pt x="958" y="1999"/>
                  <a:pt x="958" y="1999"/>
                  <a:pt x="958" y="1998"/>
                </a:cubicBezTo>
                <a:cubicBezTo>
                  <a:pt x="959" y="1998"/>
                  <a:pt x="958" y="1997"/>
                  <a:pt x="958" y="1997"/>
                </a:cubicBezTo>
                <a:close/>
                <a:moveTo>
                  <a:pt x="1101" y="1945"/>
                </a:moveTo>
                <a:cubicBezTo>
                  <a:pt x="1101" y="1945"/>
                  <a:pt x="1100" y="1944"/>
                  <a:pt x="1100" y="1944"/>
                </a:cubicBezTo>
                <a:cubicBezTo>
                  <a:pt x="1100" y="1944"/>
                  <a:pt x="1100" y="1944"/>
                  <a:pt x="1099" y="1944"/>
                </a:cubicBezTo>
                <a:cubicBezTo>
                  <a:pt x="1099" y="1944"/>
                  <a:pt x="1097" y="1944"/>
                  <a:pt x="1097" y="1943"/>
                </a:cubicBezTo>
                <a:cubicBezTo>
                  <a:pt x="1097" y="1943"/>
                  <a:pt x="1097" y="1943"/>
                  <a:pt x="1097" y="1943"/>
                </a:cubicBezTo>
                <a:cubicBezTo>
                  <a:pt x="1098" y="1942"/>
                  <a:pt x="1098" y="1943"/>
                  <a:pt x="1098" y="1943"/>
                </a:cubicBezTo>
                <a:cubicBezTo>
                  <a:pt x="1099" y="1943"/>
                  <a:pt x="1099" y="1943"/>
                  <a:pt x="1100" y="1943"/>
                </a:cubicBezTo>
                <a:cubicBezTo>
                  <a:pt x="1100" y="1943"/>
                  <a:pt x="1100" y="1943"/>
                  <a:pt x="1101" y="1943"/>
                </a:cubicBezTo>
                <a:cubicBezTo>
                  <a:pt x="1102" y="1943"/>
                  <a:pt x="1101" y="1942"/>
                  <a:pt x="1100" y="1942"/>
                </a:cubicBezTo>
                <a:cubicBezTo>
                  <a:pt x="1100" y="1941"/>
                  <a:pt x="1099" y="1940"/>
                  <a:pt x="1099" y="1940"/>
                </a:cubicBezTo>
                <a:cubicBezTo>
                  <a:pt x="1098" y="1940"/>
                  <a:pt x="1098" y="1940"/>
                  <a:pt x="1097" y="1941"/>
                </a:cubicBezTo>
                <a:cubicBezTo>
                  <a:pt x="1097" y="1941"/>
                  <a:pt x="1097" y="1941"/>
                  <a:pt x="1097" y="1941"/>
                </a:cubicBezTo>
                <a:cubicBezTo>
                  <a:pt x="1096" y="1941"/>
                  <a:pt x="1096" y="1941"/>
                  <a:pt x="1095" y="1941"/>
                </a:cubicBezTo>
                <a:cubicBezTo>
                  <a:pt x="1095" y="1942"/>
                  <a:pt x="1095" y="1942"/>
                  <a:pt x="1096" y="1942"/>
                </a:cubicBezTo>
                <a:cubicBezTo>
                  <a:pt x="1096" y="1943"/>
                  <a:pt x="1096" y="1943"/>
                  <a:pt x="1096" y="1943"/>
                </a:cubicBezTo>
                <a:cubicBezTo>
                  <a:pt x="1096" y="1943"/>
                  <a:pt x="1096" y="1944"/>
                  <a:pt x="1096" y="1944"/>
                </a:cubicBezTo>
                <a:cubicBezTo>
                  <a:pt x="1096" y="1944"/>
                  <a:pt x="1096" y="1943"/>
                  <a:pt x="1095" y="1943"/>
                </a:cubicBezTo>
                <a:cubicBezTo>
                  <a:pt x="1095" y="1943"/>
                  <a:pt x="1095" y="1943"/>
                  <a:pt x="1094" y="1943"/>
                </a:cubicBezTo>
                <a:cubicBezTo>
                  <a:pt x="1094" y="1943"/>
                  <a:pt x="1094" y="1943"/>
                  <a:pt x="1094" y="1942"/>
                </a:cubicBezTo>
                <a:cubicBezTo>
                  <a:pt x="1093" y="1942"/>
                  <a:pt x="1092" y="1942"/>
                  <a:pt x="1093" y="1941"/>
                </a:cubicBezTo>
                <a:cubicBezTo>
                  <a:pt x="1093" y="1941"/>
                  <a:pt x="1094" y="1942"/>
                  <a:pt x="1094" y="1942"/>
                </a:cubicBezTo>
                <a:cubicBezTo>
                  <a:pt x="1095" y="1941"/>
                  <a:pt x="1094" y="1940"/>
                  <a:pt x="1094" y="1940"/>
                </a:cubicBezTo>
                <a:cubicBezTo>
                  <a:pt x="1094" y="1940"/>
                  <a:pt x="1093" y="1940"/>
                  <a:pt x="1093" y="1940"/>
                </a:cubicBezTo>
                <a:cubicBezTo>
                  <a:pt x="1092" y="1940"/>
                  <a:pt x="1091" y="1940"/>
                  <a:pt x="1090" y="1940"/>
                </a:cubicBezTo>
                <a:cubicBezTo>
                  <a:pt x="1089" y="1939"/>
                  <a:pt x="1088" y="1938"/>
                  <a:pt x="1088" y="1939"/>
                </a:cubicBezTo>
                <a:cubicBezTo>
                  <a:pt x="1087" y="1939"/>
                  <a:pt x="1088" y="1939"/>
                  <a:pt x="1088" y="1939"/>
                </a:cubicBezTo>
                <a:cubicBezTo>
                  <a:pt x="1088" y="1940"/>
                  <a:pt x="1089" y="1940"/>
                  <a:pt x="1089" y="1940"/>
                </a:cubicBezTo>
                <a:cubicBezTo>
                  <a:pt x="1089" y="1941"/>
                  <a:pt x="1087" y="1941"/>
                  <a:pt x="1087" y="1941"/>
                </a:cubicBezTo>
                <a:cubicBezTo>
                  <a:pt x="1086" y="1941"/>
                  <a:pt x="1086" y="1941"/>
                  <a:pt x="1086" y="1942"/>
                </a:cubicBezTo>
                <a:cubicBezTo>
                  <a:pt x="1086" y="1942"/>
                  <a:pt x="1087" y="1942"/>
                  <a:pt x="1087" y="1942"/>
                </a:cubicBezTo>
                <a:cubicBezTo>
                  <a:pt x="1087" y="1943"/>
                  <a:pt x="1087" y="1943"/>
                  <a:pt x="1087" y="1943"/>
                </a:cubicBezTo>
                <a:cubicBezTo>
                  <a:pt x="1086" y="1943"/>
                  <a:pt x="1086" y="1942"/>
                  <a:pt x="1086" y="1943"/>
                </a:cubicBezTo>
                <a:cubicBezTo>
                  <a:pt x="1085" y="1943"/>
                  <a:pt x="1086" y="1944"/>
                  <a:pt x="1086" y="1944"/>
                </a:cubicBezTo>
                <a:cubicBezTo>
                  <a:pt x="1086" y="1944"/>
                  <a:pt x="1086" y="1944"/>
                  <a:pt x="1087" y="1944"/>
                </a:cubicBezTo>
                <a:cubicBezTo>
                  <a:pt x="1087" y="1945"/>
                  <a:pt x="1087" y="1946"/>
                  <a:pt x="1087" y="1946"/>
                </a:cubicBezTo>
                <a:cubicBezTo>
                  <a:pt x="1086" y="1946"/>
                  <a:pt x="1086" y="1945"/>
                  <a:pt x="1086" y="1945"/>
                </a:cubicBezTo>
                <a:cubicBezTo>
                  <a:pt x="1085" y="1945"/>
                  <a:pt x="1085" y="1946"/>
                  <a:pt x="1084" y="1946"/>
                </a:cubicBezTo>
                <a:cubicBezTo>
                  <a:pt x="1084" y="1946"/>
                  <a:pt x="1083" y="1947"/>
                  <a:pt x="1082" y="1948"/>
                </a:cubicBezTo>
                <a:cubicBezTo>
                  <a:pt x="1082" y="1949"/>
                  <a:pt x="1081" y="1949"/>
                  <a:pt x="1080" y="1950"/>
                </a:cubicBezTo>
                <a:cubicBezTo>
                  <a:pt x="1079" y="1951"/>
                  <a:pt x="1079" y="1952"/>
                  <a:pt x="1080" y="1953"/>
                </a:cubicBezTo>
                <a:cubicBezTo>
                  <a:pt x="1080" y="1953"/>
                  <a:pt x="1081" y="1954"/>
                  <a:pt x="1082" y="1954"/>
                </a:cubicBezTo>
                <a:cubicBezTo>
                  <a:pt x="1082" y="1954"/>
                  <a:pt x="1083" y="1956"/>
                  <a:pt x="1083" y="1956"/>
                </a:cubicBezTo>
                <a:cubicBezTo>
                  <a:pt x="1084" y="1955"/>
                  <a:pt x="1083" y="1954"/>
                  <a:pt x="1083" y="1953"/>
                </a:cubicBezTo>
                <a:cubicBezTo>
                  <a:pt x="1082" y="1953"/>
                  <a:pt x="1082" y="1952"/>
                  <a:pt x="1082" y="1952"/>
                </a:cubicBezTo>
                <a:cubicBezTo>
                  <a:pt x="1082" y="1952"/>
                  <a:pt x="1083" y="1952"/>
                  <a:pt x="1083" y="1952"/>
                </a:cubicBezTo>
                <a:cubicBezTo>
                  <a:pt x="1083" y="1952"/>
                  <a:pt x="1083" y="1953"/>
                  <a:pt x="1084" y="1953"/>
                </a:cubicBezTo>
                <a:cubicBezTo>
                  <a:pt x="1084" y="1953"/>
                  <a:pt x="1085" y="1953"/>
                  <a:pt x="1085" y="1953"/>
                </a:cubicBezTo>
                <a:cubicBezTo>
                  <a:pt x="1085" y="1953"/>
                  <a:pt x="1086" y="1953"/>
                  <a:pt x="1086" y="1953"/>
                </a:cubicBezTo>
                <a:cubicBezTo>
                  <a:pt x="1086" y="1954"/>
                  <a:pt x="1087" y="1953"/>
                  <a:pt x="1087" y="1953"/>
                </a:cubicBezTo>
                <a:cubicBezTo>
                  <a:pt x="1086" y="1952"/>
                  <a:pt x="1086" y="1952"/>
                  <a:pt x="1086" y="1952"/>
                </a:cubicBezTo>
                <a:cubicBezTo>
                  <a:pt x="1085" y="1952"/>
                  <a:pt x="1085" y="1951"/>
                  <a:pt x="1085" y="1951"/>
                </a:cubicBezTo>
                <a:cubicBezTo>
                  <a:pt x="1085" y="1951"/>
                  <a:pt x="1084" y="1951"/>
                  <a:pt x="1085" y="1950"/>
                </a:cubicBezTo>
                <a:cubicBezTo>
                  <a:pt x="1085" y="1950"/>
                  <a:pt x="1085" y="1950"/>
                  <a:pt x="1086" y="1950"/>
                </a:cubicBezTo>
                <a:cubicBezTo>
                  <a:pt x="1086" y="1950"/>
                  <a:pt x="1086" y="1950"/>
                  <a:pt x="1087" y="1951"/>
                </a:cubicBezTo>
                <a:cubicBezTo>
                  <a:pt x="1087" y="1951"/>
                  <a:pt x="1087" y="1951"/>
                  <a:pt x="1088" y="1951"/>
                </a:cubicBezTo>
                <a:cubicBezTo>
                  <a:pt x="1088" y="1952"/>
                  <a:pt x="1088" y="1952"/>
                  <a:pt x="1089" y="1952"/>
                </a:cubicBezTo>
                <a:cubicBezTo>
                  <a:pt x="1089" y="1951"/>
                  <a:pt x="1089" y="1951"/>
                  <a:pt x="1089" y="1951"/>
                </a:cubicBezTo>
                <a:cubicBezTo>
                  <a:pt x="1089" y="1951"/>
                  <a:pt x="1090" y="1951"/>
                  <a:pt x="1090" y="1951"/>
                </a:cubicBezTo>
                <a:cubicBezTo>
                  <a:pt x="1090" y="1951"/>
                  <a:pt x="1090" y="1952"/>
                  <a:pt x="1091" y="1952"/>
                </a:cubicBezTo>
                <a:cubicBezTo>
                  <a:pt x="1091" y="1952"/>
                  <a:pt x="1091" y="1951"/>
                  <a:pt x="1091" y="1951"/>
                </a:cubicBezTo>
                <a:cubicBezTo>
                  <a:pt x="1091" y="1951"/>
                  <a:pt x="1091" y="1951"/>
                  <a:pt x="1091" y="1950"/>
                </a:cubicBezTo>
                <a:cubicBezTo>
                  <a:pt x="1091" y="1950"/>
                  <a:pt x="1091" y="1950"/>
                  <a:pt x="1091" y="1950"/>
                </a:cubicBezTo>
                <a:cubicBezTo>
                  <a:pt x="1090" y="1949"/>
                  <a:pt x="1090" y="1949"/>
                  <a:pt x="1090" y="1949"/>
                </a:cubicBezTo>
                <a:cubicBezTo>
                  <a:pt x="1089" y="1949"/>
                  <a:pt x="1089" y="1949"/>
                  <a:pt x="1089" y="1948"/>
                </a:cubicBezTo>
                <a:cubicBezTo>
                  <a:pt x="1089" y="1948"/>
                  <a:pt x="1088" y="1948"/>
                  <a:pt x="1088" y="1948"/>
                </a:cubicBezTo>
                <a:cubicBezTo>
                  <a:pt x="1088" y="1948"/>
                  <a:pt x="1088" y="1947"/>
                  <a:pt x="1088" y="1947"/>
                </a:cubicBezTo>
                <a:cubicBezTo>
                  <a:pt x="1089" y="1947"/>
                  <a:pt x="1089" y="1948"/>
                  <a:pt x="1090" y="1948"/>
                </a:cubicBezTo>
                <a:cubicBezTo>
                  <a:pt x="1091" y="1949"/>
                  <a:pt x="1091" y="1949"/>
                  <a:pt x="1092" y="1948"/>
                </a:cubicBezTo>
                <a:cubicBezTo>
                  <a:pt x="1093" y="1948"/>
                  <a:pt x="1094" y="1948"/>
                  <a:pt x="1094" y="1948"/>
                </a:cubicBezTo>
                <a:cubicBezTo>
                  <a:pt x="1096" y="1948"/>
                  <a:pt x="1096" y="1948"/>
                  <a:pt x="1096" y="1947"/>
                </a:cubicBezTo>
                <a:cubicBezTo>
                  <a:pt x="1097" y="1947"/>
                  <a:pt x="1097" y="1947"/>
                  <a:pt x="1097" y="1946"/>
                </a:cubicBezTo>
                <a:cubicBezTo>
                  <a:pt x="1098" y="1946"/>
                  <a:pt x="1098" y="1946"/>
                  <a:pt x="1099" y="1946"/>
                </a:cubicBezTo>
                <a:cubicBezTo>
                  <a:pt x="1099" y="1946"/>
                  <a:pt x="1100" y="1946"/>
                  <a:pt x="1100" y="1946"/>
                </a:cubicBezTo>
                <a:cubicBezTo>
                  <a:pt x="1100" y="1946"/>
                  <a:pt x="1101" y="1946"/>
                  <a:pt x="1101" y="1946"/>
                </a:cubicBezTo>
                <a:cubicBezTo>
                  <a:pt x="1102" y="1946"/>
                  <a:pt x="1102" y="1945"/>
                  <a:pt x="1101" y="1945"/>
                </a:cubicBezTo>
                <a:cubicBezTo>
                  <a:pt x="1101" y="1945"/>
                  <a:pt x="1101" y="1945"/>
                  <a:pt x="1101" y="1945"/>
                </a:cubicBezTo>
                <a:close/>
                <a:moveTo>
                  <a:pt x="909" y="1843"/>
                </a:moveTo>
                <a:cubicBezTo>
                  <a:pt x="909" y="1843"/>
                  <a:pt x="910" y="1843"/>
                  <a:pt x="910" y="1843"/>
                </a:cubicBezTo>
                <a:cubicBezTo>
                  <a:pt x="910" y="1844"/>
                  <a:pt x="910" y="1844"/>
                  <a:pt x="910" y="1845"/>
                </a:cubicBezTo>
                <a:cubicBezTo>
                  <a:pt x="911" y="1845"/>
                  <a:pt x="911" y="1845"/>
                  <a:pt x="911" y="1846"/>
                </a:cubicBezTo>
                <a:cubicBezTo>
                  <a:pt x="912" y="1846"/>
                  <a:pt x="912" y="1846"/>
                  <a:pt x="912" y="1845"/>
                </a:cubicBezTo>
                <a:cubicBezTo>
                  <a:pt x="912" y="1845"/>
                  <a:pt x="911" y="1844"/>
                  <a:pt x="911" y="1844"/>
                </a:cubicBezTo>
                <a:cubicBezTo>
                  <a:pt x="911" y="1844"/>
                  <a:pt x="911" y="1843"/>
                  <a:pt x="911" y="1843"/>
                </a:cubicBezTo>
                <a:cubicBezTo>
                  <a:pt x="910" y="1843"/>
                  <a:pt x="910" y="1842"/>
                  <a:pt x="910" y="1842"/>
                </a:cubicBezTo>
                <a:cubicBezTo>
                  <a:pt x="909" y="1842"/>
                  <a:pt x="908" y="1842"/>
                  <a:pt x="909" y="1843"/>
                </a:cubicBezTo>
                <a:close/>
                <a:moveTo>
                  <a:pt x="1066" y="1949"/>
                </a:moveTo>
                <a:cubicBezTo>
                  <a:pt x="1066" y="1949"/>
                  <a:pt x="1065" y="1948"/>
                  <a:pt x="1066" y="1948"/>
                </a:cubicBezTo>
                <a:cubicBezTo>
                  <a:pt x="1066" y="1947"/>
                  <a:pt x="1066" y="1947"/>
                  <a:pt x="1066" y="1947"/>
                </a:cubicBezTo>
                <a:cubicBezTo>
                  <a:pt x="1065" y="1946"/>
                  <a:pt x="1064" y="1947"/>
                  <a:pt x="1064" y="1947"/>
                </a:cubicBezTo>
                <a:cubicBezTo>
                  <a:pt x="1064" y="1947"/>
                  <a:pt x="1063" y="1947"/>
                  <a:pt x="1063" y="1947"/>
                </a:cubicBezTo>
                <a:cubicBezTo>
                  <a:pt x="1062" y="1948"/>
                  <a:pt x="1063" y="1948"/>
                  <a:pt x="1063" y="1948"/>
                </a:cubicBezTo>
                <a:cubicBezTo>
                  <a:pt x="1064" y="1948"/>
                  <a:pt x="1064" y="1949"/>
                  <a:pt x="1064" y="1949"/>
                </a:cubicBezTo>
                <a:cubicBezTo>
                  <a:pt x="1064" y="1950"/>
                  <a:pt x="1066" y="1950"/>
                  <a:pt x="1066" y="1949"/>
                </a:cubicBezTo>
                <a:close/>
                <a:moveTo>
                  <a:pt x="1081" y="1944"/>
                </a:moveTo>
                <a:cubicBezTo>
                  <a:pt x="1082" y="1944"/>
                  <a:pt x="1083" y="1945"/>
                  <a:pt x="1083" y="1944"/>
                </a:cubicBezTo>
                <a:cubicBezTo>
                  <a:pt x="1083" y="1943"/>
                  <a:pt x="1083" y="1943"/>
                  <a:pt x="1083" y="1943"/>
                </a:cubicBezTo>
                <a:cubicBezTo>
                  <a:pt x="1084" y="1942"/>
                  <a:pt x="1084" y="1942"/>
                  <a:pt x="1084" y="1942"/>
                </a:cubicBezTo>
                <a:cubicBezTo>
                  <a:pt x="1085" y="1942"/>
                  <a:pt x="1085" y="1941"/>
                  <a:pt x="1085" y="1941"/>
                </a:cubicBezTo>
                <a:cubicBezTo>
                  <a:pt x="1084" y="1941"/>
                  <a:pt x="1084" y="1941"/>
                  <a:pt x="1084" y="1940"/>
                </a:cubicBezTo>
                <a:cubicBezTo>
                  <a:pt x="1083" y="1940"/>
                  <a:pt x="1083" y="1940"/>
                  <a:pt x="1083" y="1940"/>
                </a:cubicBezTo>
                <a:cubicBezTo>
                  <a:pt x="1082" y="1940"/>
                  <a:pt x="1082" y="1940"/>
                  <a:pt x="1082" y="1940"/>
                </a:cubicBezTo>
                <a:cubicBezTo>
                  <a:pt x="1081" y="1941"/>
                  <a:pt x="1080" y="1941"/>
                  <a:pt x="1080" y="1941"/>
                </a:cubicBezTo>
                <a:cubicBezTo>
                  <a:pt x="1079" y="1941"/>
                  <a:pt x="1079" y="1941"/>
                  <a:pt x="1078" y="1941"/>
                </a:cubicBezTo>
                <a:cubicBezTo>
                  <a:pt x="1078" y="1941"/>
                  <a:pt x="1078" y="1941"/>
                  <a:pt x="1078" y="1941"/>
                </a:cubicBezTo>
                <a:cubicBezTo>
                  <a:pt x="1077" y="1940"/>
                  <a:pt x="1077" y="1940"/>
                  <a:pt x="1077" y="1941"/>
                </a:cubicBezTo>
                <a:cubicBezTo>
                  <a:pt x="1076" y="1941"/>
                  <a:pt x="1076" y="1941"/>
                  <a:pt x="1075" y="1941"/>
                </a:cubicBezTo>
                <a:cubicBezTo>
                  <a:pt x="1074" y="1941"/>
                  <a:pt x="1073" y="1943"/>
                  <a:pt x="1072" y="1942"/>
                </a:cubicBezTo>
                <a:cubicBezTo>
                  <a:pt x="1071" y="1941"/>
                  <a:pt x="1070" y="1941"/>
                  <a:pt x="1070" y="1940"/>
                </a:cubicBezTo>
                <a:cubicBezTo>
                  <a:pt x="1069" y="1940"/>
                  <a:pt x="1069" y="1940"/>
                  <a:pt x="1069" y="1940"/>
                </a:cubicBezTo>
                <a:cubicBezTo>
                  <a:pt x="1068" y="1940"/>
                  <a:pt x="1068" y="1940"/>
                  <a:pt x="1068" y="1941"/>
                </a:cubicBezTo>
                <a:cubicBezTo>
                  <a:pt x="1068" y="1941"/>
                  <a:pt x="1069" y="1941"/>
                  <a:pt x="1069" y="1941"/>
                </a:cubicBezTo>
                <a:cubicBezTo>
                  <a:pt x="1069" y="1941"/>
                  <a:pt x="1070" y="1941"/>
                  <a:pt x="1070" y="1942"/>
                </a:cubicBezTo>
                <a:cubicBezTo>
                  <a:pt x="1070" y="1942"/>
                  <a:pt x="1070" y="1942"/>
                  <a:pt x="1070" y="1943"/>
                </a:cubicBezTo>
                <a:cubicBezTo>
                  <a:pt x="1070" y="1943"/>
                  <a:pt x="1071" y="1943"/>
                  <a:pt x="1071" y="1943"/>
                </a:cubicBezTo>
                <a:cubicBezTo>
                  <a:pt x="1071" y="1943"/>
                  <a:pt x="1071" y="1944"/>
                  <a:pt x="1072" y="1944"/>
                </a:cubicBezTo>
                <a:cubicBezTo>
                  <a:pt x="1072" y="1944"/>
                  <a:pt x="1072" y="1944"/>
                  <a:pt x="1073" y="1944"/>
                </a:cubicBezTo>
                <a:cubicBezTo>
                  <a:pt x="1073" y="1945"/>
                  <a:pt x="1073" y="1945"/>
                  <a:pt x="1073" y="1945"/>
                </a:cubicBezTo>
                <a:cubicBezTo>
                  <a:pt x="1072" y="1945"/>
                  <a:pt x="1072" y="1945"/>
                  <a:pt x="1071" y="1945"/>
                </a:cubicBezTo>
                <a:cubicBezTo>
                  <a:pt x="1071" y="1945"/>
                  <a:pt x="1071" y="1945"/>
                  <a:pt x="1070" y="1945"/>
                </a:cubicBezTo>
                <a:cubicBezTo>
                  <a:pt x="1070" y="1946"/>
                  <a:pt x="1070" y="1945"/>
                  <a:pt x="1069" y="1945"/>
                </a:cubicBezTo>
                <a:cubicBezTo>
                  <a:pt x="1069" y="1945"/>
                  <a:pt x="1068" y="1945"/>
                  <a:pt x="1069" y="1946"/>
                </a:cubicBezTo>
                <a:cubicBezTo>
                  <a:pt x="1069" y="1946"/>
                  <a:pt x="1069" y="1946"/>
                  <a:pt x="1069" y="1946"/>
                </a:cubicBezTo>
                <a:cubicBezTo>
                  <a:pt x="1070" y="1947"/>
                  <a:pt x="1069" y="1947"/>
                  <a:pt x="1070" y="1947"/>
                </a:cubicBezTo>
                <a:cubicBezTo>
                  <a:pt x="1070" y="1947"/>
                  <a:pt x="1070" y="1946"/>
                  <a:pt x="1071" y="1946"/>
                </a:cubicBezTo>
                <a:cubicBezTo>
                  <a:pt x="1071" y="1946"/>
                  <a:pt x="1071" y="1946"/>
                  <a:pt x="1072" y="1946"/>
                </a:cubicBezTo>
                <a:cubicBezTo>
                  <a:pt x="1072" y="1946"/>
                  <a:pt x="1073" y="1946"/>
                  <a:pt x="1073" y="1946"/>
                </a:cubicBezTo>
                <a:cubicBezTo>
                  <a:pt x="1073" y="1947"/>
                  <a:pt x="1072" y="1946"/>
                  <a:pt x="1071" y="1946"/>
                </a:cubicBezTo>
                <a:cubicBezTo>
                  <a:pt x="1071" y="1946"/>
                  <a:pt x="1070" y="1947"/>
                  <a:pt x="1070" y="1947"/>
                </a:cubicBezTo>
                <a:cubicBezTo>
                  <a:pt x="1070" y="1947"/>
                  <a:pt x="1070" y="1948"/>
                  <a:pt x="1070" y="1948"/>
                </a:cubicBezTo>
                <a:cubicBezTo>
                  <a:pt x="1070" y="1948"/>
                  <a:pt x="1070" y="1948"/>
                  <a:pt x="1069" y="1948"/>
                </a:cubicBezTo>
                <a:cubicBezTo>
                  <a:pt x="1069" y="1948"/>
                  <a:pt x="1069" y="1948"/>
                  <a:pt x="1069" y="1949"/>
                </a:cubicBezTo>
                <a:cubicBezTo>
                  <a:pt x="1069" y="1949"/>
                  <a:pt x="1070" y="1949"/>
                  <a:pt x="1070" y="1949"/>
                </a:cubicBezTo>
                <a:cubicBezTo>
                  <a:pt x="1070" y="1949"/>
                  <a:pt x="1069" y="1949"/>
                  <a:pt x="1069" y="1949"/>
                </a:cubicBezTo>
                <a:cubicBezTo>
                  <a:pt x="1069" y="1950"/>
                  <a:pt x="1068" y="1949"/>
                  <a:pt x="1068" y="1949"/>
                </a:cubicBezTo>
                <a:cubicBezTo>
                  <a:pt x="1067" y="1949"/>
                  <a:pt x="1067" y="1949"/>
                  <a:pt x="1066" y="1949"/>
                </a:cubicBezTo>
                <a:cubicBezTo>
                  <a:pt x="1066" y="1950"/>
                  <a:pt x="1066" y="1950"/>
                  <a:pt x="1065" y="1950"/>
                </a:cubicBezTo>
                <a:cubicBezTo>
                  <a:pt x="1064" y="1950"/>
                  <a:pt x="1064" y="1950"/>
                  <a:pt x="1065" y="1951"/>
                </a:cubicBezTo>
                <a:cubicBezTo>
                  <a:pt x="1065" y="1951"/>
                  <a:pt x="1066" y="1952"/>
                  <a:pt x="1067" y="1952"/>
                </a:cubicBezTo>
                <a:cubicBezTo>
                  <a:pt x="1068" y="1953"/>
                  <a:pt x="1068" y="1954"/>
                  <a:pt x="1069" y="1954"/>
                </a:cubicBezTo>
                <a:cubicBezTo>
                  <a:pt x="1070" y="1954"/>
                  <a:pt x="1069" y="1952"/>
                  <a:pt x="1070" y="1953"/>
                </a:cubicBezTo>
                <a:cubicBezTo>
                  <a:pt x="1071" y="1953"/>
                  <a:pt x="1071" y="1953"/>
                  <a:pt x="1071" y="1952"/>
                </a:cubicBezTo>
                <a:cubicBezTo>
                  <a:pt x="1072" y="1952"/>
                  <a:pt x="1072" y="1952"/>
                  <a:pt x="1072" y="1952"/>
                </a:cubicBezTo>
                <a:cubicBezTo>
                  <a:pt x="1073" y="1951"/>
                  <a:pt x="1072" y="1951"/>
                  <a:pt x="1073" y="1950"/>
                </a:cubicBezTo>
                <a:cubicBezTo>
                  <a:pt x="1073" y="1950"/>
                  <a:pt x="1074" y="1950"/>
                  <a:pt x="1074" y="1950"/>
                </a:cubicBezTo>
                <a:cubicBezTo>
                  <a:pt x="1075" y="1950"/>
                  <a:pt x="1075" y="1950"/>
                  <a:pt x="1075" y="1950"/>
                </a:cubicBezTo>
                <a:cubicBezTo>
                  <a:pt x="1076" y="1950"/>
                  <a:pt x="1076" y="1950"/>
                  <a:pt x="1076" y="1950"/>
                </a:cubicBezTo>
                <a:cubicBezTo>
                  <a:pt x="1077" y="1950"/>
                  <a:pt x="1077" y="1949"/>
                  <a:pt x="1078" y="1948"/>
                </a:cubicBezTo>
                <a:cubicBezTo>
                  <a:pt x="1079" y="1948"/>
                  <a:pt x="1079" y="1947"/>
                  <a:pt x="1080" y="1947"/>
                </a:cubicBezTo>
                <a:cubicBezTo>
                  <a:pt x="1080" y="1946"/>
                  <a:pt x="1080" y="1945"/>
                  <a:pt x="1081" y="1944"/>
                </a:cubicBezTo>
                <a:close/>
                <a:moveTo>
                  <a:pt x="1030" y="1993"/>
                </a:moveTo>
                <a:cubicBezTo>
                  <a:pt x="1030" y="1993"/>
                  <a:pt x="1029" y="1993"/>
                  <a:pt x="1029" y="1992"/>
                </a:cubicBezTo>
                <a:cubicBezTo>
                  <a:pt x="1029" y="1992"/>
                  <a:pt x="1028" y="1992"/>
                  <a:pt x="1028" y="1992"/>
                </a:cubicBezTo>
                <a:cubicBezTo>
                  <a:pt x="1027" y="1992"/>
                  <a:pt x="1027" y="1992"/>
                  <a:pt x="1026" y="1992"/>
                </a:cubicBezTo>
                <a:cubicBezTo>
                  <a:pt x="1025" y="1993"/>
                  <a:pt x="1025" y="1993"/>
                  <a:pt x="1024" y="1993"/>
                </a:cubicBezTo>
                <a:cubicBezTo>
                  <a:pt x="1023" y="1993"/>
                  <a:pt x="1022" y="1993"/>
                  <a:pt x="1022" y="1994"/>
                </a:cubicBezTo>
                <a:cubicBezTo>
                  <a:pt x="1021" y="1994"/>
                  <a:pt x="1022" y="1995"/>
                  <a:pt x="1023" y="1996"/>
                </a:cubicBezTo>
                <a:cubicBezTo>
                  <a:pt x="1024" y="1996"/>
                  <a:pt x="1024" y="1995"/>
                  <a:pt x="1025" y="1995"/>
                </a:cubicBezTo>
                <a:cubicBezTo>
                  <a:pt x="1026" y="1995"/>
                  <a:pt x="1027" y="1994"/>
                  <a:pt x="1027" y="1994"/>
                </a:cubicBezTo>
                <a:cubicBezTo>
                  <a:pt x="1028" y="1993"/>
                  <a:pt x="1029" y="1993"/>
                  <a:pt x="1030" y="1993"/>
                </a:cubicBezTo>
                <a:cubicBezTo>
                  <a:pt x="1030" y="1993"/>
                  <a:pt x="1032" y="1993"/>
                  <a:pt x="1031" y="1993"/>
                </a:cubicBezTo>
                <a:cubicBezTo>
                  <a:pt x="1031" y="1992"/>
                  <a:pt x="1030" y="1993"/>
                  <a:pt x="1030" y="1993"/>
                </a:cubicBezTo>
                <a:close/>
                <a:moveTo>
                  <a:pt x="1117" y="719"/>
                </a:moveTo>
                <a:cubicBezTo>
                  <a:pt x="1118" y="719"/>
                  <a:pt x="1118" y="719"/>
                  <a:pt x="1118" y="719"/>
                </a:cubicBezTo>
                <a:cubicBezTo>
                  <a:pt x="1118" y="718"/>
                  <a:pt x="1118" y="718"/>
                  <a:pt x="1118" y="717"/>
                </a:cubicBezTo>
                <a:cubicBezTo>
                  <a:pt x="1118" y="717"/>
                  <a:pt x="1118" y="716"/>
                  <a:pt x="1118" y="716"/>
                </a:cubicBezTo>
                <a:cubicBezTo>
                  <a:pt x="1117" y="716"/>
                  <a:pt x="1117" y="717"/>
                  <a:pt x="1117" y="717"/>
                </a:cubicBezTo>
                <a:cubicBezTo>
                  <a:pt x="1117" y="717"/>
                  <a:pt x="1117" y="718"/>
                  <a:pt x="1117" y="718"/>
                </a:cubicBezTo>
                <a:cubicBezTo>
                  <a:pt x="1117" y="719"/>
                  <a:pt x="1117" y="719"/>
                  <a:pt x="1117" y="719"/>
                </a:cubicBezTo>
                <a:close/>
                <a:moveTo>
                  <a:pt x="961" y="1153"/>
                </a:moveTo>
                <a:cubicBezTo>
                  <a:pt x="961" y="1153"/>
                  <a:pt x="961" y="1153"/>
                  <a:pt x="961" y="1153"/>
                </a:cubicBezTo>
                <a:cubicBezTo>
                  <a:pt x="962" y="1153"/>
                  <a:pt x="962" y="1154"/>
                  <a:pt x="962" y="1154"/>
                </a:cubicBezTo>
                <a:cubicBezTo>
                  <a:pt x="962" y="1154"/>
                  <a:pt x="963" y="1155"/>
                  <a:pt x="963" y="1154"/>
                </a:cubicBezTo>
                <a:cubicBezTo>
                  <a:pt x="963" y="1154"/>
                  <a:pt x="962" y="1153"/>
                  <a:pt x="962" y="1153"/>
                </a:cubicBezTo>
                <a:cubicBezTo>
                  <a:pt x="962" y="1153"/>
                  <a:pt x="961" y="1152"/>
                  <a:pt x="961" y="1153"/>
                </a:cubicBezTo>
                <a:close/>
                <a:moveTo>
                  <a:pt x="920" y="1089"/>
                </a:moveTo>
                <a:cubicBezTo>
                  <a:pt x="920" y="1089"/>
                  <a:pt x="921" y="1089"/>
                  <a:pt x="921" y="1089"/>
                </a:cubicBezTo>
                <a:cubicBezTo>
                  <a:pt x="921" y="1089"/>
                  <a:pt x="921" y="1089"/>
                  <a:pt x="922" y="1089"/>
                </a:cubicBezTo>
                <a:cubicBezTo>
                  <a:pt x="922" y="1089"/>
                  <a:pt x="922" y="1088"/>
                  <a:pt x="922" y="1088"/>
                </a:cubicBezTo>
                <a:cubicBezTo>
                  <a:pt x="922" y="1088"/>
                  <a:pt x="921" y="1088"/>
                  <a:pt x="921" y="1088"/>
                </a:cubicBezTo>
                <a:cubicBezTo>
                  <a:pt x="921" y="1088"/>
                  <a:pt x="920" y="1088"/>
                  <a:pt x="920" y="1089"/>
                </a:cubicBezTo>
                <a:close/>
                <a:moveTo>
                  <a:pt x="945" y="1095"/>
                </a:moveTo>
                <a:cubicBezTo>
                  <a:pt x="945" y="1095"/>
                  <a:pt x="945" y="1095"/>
                  <a:pt x="945" y="1095"/>
                </a:cubicBezTo>
                <a:cubicBezTo>
                  <a:pt x="945" y="1095"/>
                  <a:pt x="945" y="1095"/>
                  <a:pt x="945" y="1095"/>
                </a:cubicBezTo>
                <a:cubicBezTo>
                  <a:pt x="945" y="1095"/>
                  <a:pt x="945" y="1094"/>
                  <a:pt x="945" y="1094"/>
                </a:cubicBezTo>
                <a:cubicBezTo>
                  <a:pt x="945" y="1094"/>
                  <a:pt x="945" y="1095"/>
                  <a:pt x="945" y="1095"/>
                </a:cubicBezTo>
                <a:close/>
                <a:moveTo>
                  <a:pt x="986" y="1088"/>
                </a:moveTo>
                <a:cubicBezTo>
                  <a:pt x="986" y="1088"/>
                  <a:pt x="986" y="1089"/>
                  <a:pt x="986" y="1089"/>
                </a:cubicBezTo>
                <a:cubicBezTo>
                  <a:pt x="987" y="1089"/>
                  <a:pt x="987" y="1088"/>
                  <a:pt x="987" y="1088"/>
                </a:cubicBezTo>
                <a:cubicBezTo>
                  <a:pt x="987" y="1088"/>
                  <a:pt x="987" y="1087"/>
                  <a:pt x="987" y="1087"/>
                </a:cubicBezTo>
                <a:cubicBezTo>
                  <a:pt x="986" y="1087"/>
                  <a:pt x="986" y="1088"/>
                  <a:pt x="986" y="1088"/>
                </a:cubicBezTo>
                <a:close/>
                <a:moveTo>
                  <a:pt x="978" y="1086"/>
                </a:moveTo>
                <a:cubicBezTo>
                  <a:pt x="978" y="1085"/>
                  <a:pt x="978" y="1085"/>
                  <a:pt x="978" y="1085"/>
                </a:cubicBezTo>
                <a:cubicBezTo>
                  <a:pt x="978" y="1085"/>
                  <a:pt x="979" y="1085"/>
                  <a:pt x="979" y="1085"/>
                </a:cubicBezTo>
                <a:cubicBezTo>
                  <a:pt x="979" y="1085"/>
                  <a:pt x="979" y="1085"/>
                  <a:pt x="979" y="1085"/>
                </a:cubicBezTo>
                <a:cubicBezTo>
                  <a:pt x="980" y="1085"/>
                  <a:pt x="980" y="1085"/>
                  <a:pt x="980" y="1085"/>
                </a:cubicBezTo>
                <a:cubicBezTo>
                  <a:pt x="980" y="1085"/>
                  <a:pt x="980" y="1084"/>
                  <a:pt x="980" y="1084"/>
                </a:cubicBezTo>
                <a:cubicBezTo>
                  <a:pt x="980" y="1084"/>
                  <a:pt x="980" y="1084"/>
                  <a:pt x="981" y="1083"/>
                </a:cubicBezTo>
                <a:cubicBezTo>
                  <a:pt x="981" y="1083"/>
                  <a:pt x="981" y="1083"/>
                  <a:pt x="981" y="1082"/>
                </a:cubicBezTo>
                <a:cubicBezTo>
                  <a:pt x="981" y="1082"/>
                  <a:pt x="981" y="1082"/>
                  <a:pt x="981" y="1081"/>
                </a:cubicBezTo>
                <a:cubicBezTo>
                  <a:pt x="980" y="1081"/>
                  <a:pt x="980" y="1080"/>
                  <a:pt x="980" y="1080"/>
                </a:cubicBezTo>
                <a:cubicBezTo>
                  <a:pt x="979" y="1080"/>
                  <a:pt x="979" y="1080"/>
                  <a:pt x="978" y="1079"/>
                </a:cubicBezTo>
                <a:cubicBezTo>
                  <a:pt x="978" y="1079"/>
                  <a:pt x="978" y="1079"/>
                  <a:pt x="977" y="1078"/>
                </a:cubicBezTo>
                <a:cubicBezTo>
                  <a:pt x="977" y="1078"/>
                  <a:pt x="977" y="1078"/>
                  <a:pt x="976" y="1078"/>
                </a:cubicBezTo>
                <a:cubicBezTo>
                  <a:pt x="976" y="1077"/>
                  <a:pt x="976" y="1077"/>
                  <a:pt x="976" y="1077"/>
                </a:cubicBezTo>
                <a:cubicBezTo>
                  <a:pt x="976" y="1077"/>
                  <a:pt x="975" y="1077"/>
                  <a:pt x="975" y="1077"/>
                </a:cubicBezTo>
                <a:cubicBezTo>
                  <a:pt x="975" y="1077"/>
                  <a:pt x="975" y="1077"/>
                  <a:pt x="975" y="1077"/>
                </a:cubicBezTo>
                <a:cubicBezTo>
                  <a:pt x="974" y="1077"/>
                  <a:pt x="974" y="1077"/>
                  <a:pt x="973" y="1077"/>
                </a:cubicBezTo>
                <a:cubicBezTo>
                  <a:pt x="973" y="1078"/>
                  <a:pt x="973" y="1078"/>
                  <a:pt x="972" y="1077"/>
                </a:cubicBezTo>
                <a:cubicBezTo>
                  <a:pt x="972" y="1077"/>
                  <a:pt x="972" y="1077"/>
                  <a:pt x="972" y="1077"/>
                </a:cubicBezTo>
                <a:cubicBezTo>
                  <a:pt x="972" y="1077"/>
                  <a:pt x="971" y="1077"/>
                  <a:pt x="971" y="1077"/>
                </a:cubicBezTo>
                <a:cubicBezTo>
                  <a:pt x="971" y="1077"/>
                  <a:pt x="971" y="1077"/>
                  <a:pt x="971" y="1077"/>
                </a:cubicBezTo>
                <a:cubicBezTo>
                  <a:pt x="970" y="1077"/>
                  <a:pt x="970" y="1077"/>
                  <a:pt x="969" y="1076"/>
                </a:cubicBezTo>
                <a:cubicBezTo>
                  <a:pt x="969" y="1076"/>
                  <a:pt x="969" y="1076"/>
                  <a:pt x="968" y="1076"/>
                </a:cubicBezTo>
                <a:cubicBezTo>
                  <a:pt x="968" y="1076"/>
                  <a:pt x="967" y="1076"/>
                  <a:pt x="967" y="1076"/>
                </a:cubicBezTo>
                <a:cubicBezTo>
                  <a:pt x="967" y="1076"/>
                  <a:pt x="966" y="1076"/>
                  <a:pt x="966" y="1075"/>
                </a:cubicBezTo>
                <a:cubicBezTo>
                  <a:pt x="967" y="1074"/>
                  <a:pt x="967" y="1075"/>
                  <a:pt x="968" y="1075"/>
                </a:cubicBezTo>
                <a:cubicBezTo>
                  <a:pt x="968" y="1075"/>
                  <a:pt x="968" y="1075"/>
                  <a:pt x="968" y="1075"/>
                </a:cubicBezTo>
                <a:cubicBezTo>
                  <a:pt x="968" y="1075"/>
                  <a:pt x="969" y="1075"/>
                  <a:pt x="969" y="1075"/>
                </a:cubicBezTo>
                <a:cubicBezTo>
                  <a:pt x="969" y="1075"/>
                  <a:pt x="970" y="1075"/>
                  <a:pt x="970" y="1075"/>
                </a:cubicBezTo>
                <a:cubicBezTo>
                  <a:pt x="971" y="1075"/>
                  <a:pt x="971" y="1075"/>
                  <a:pt x="971" y="1075"/>
                </a:cubicBezTo>
                <a:cubicBezTo>
                  <a:pt x="972" y="1074"/>
                  <a:pt x="971" y="1074"/>
                  <a:pt x="971" y="1074"/>
                </a:cubicBezTo>
                <a:cubicBezTo>
                  <a:pt x="971" y="1073"/>
                  <a:pt x="971" y="1074"/>
                  <a:pt x="972" y="1074"/>
                </a:cubicBezTo>
                <a:cubicBezTo>
                  <a:pt x="972" y="1074"/>
                  <a:pt x="972" y="1074"/>
                  <a:pt x="972" y="1074"/>
                </a:cubicBezTo>
                <a:cubicBezTo>
                  <a:pt x="971" y="1073"/>
                  <a:pt x="971" y="1073"/>
                  <a:pt x="971" y="1073"/>
                </a:cubicBezTo>
                <a:cubicBezTo>
                  <a:pt x="971" y="1073"/>
                  <a:pt x="970" y="1073"/>
                  <a:pt x="971" y="1073"/>
                </a:cubicBezTo>
                <a:cubicBezTo>
                  <a:pt x="971" y="1073"/>
                  <a:pt x="971" y="1073"/>
                  <a:pt x="971" y="1073"/>
                </a:cubicBezTo>
                <a:cubicBezTo>
                  <a:pt x="971" y="1073"/>
                  <a:pt x="971" y="1073"/>
                  <a:pt x="971" y="1073"/>
                </a:cubicBezTo>
                <a:cubicBezTo>
                  <a:pt x="971" y="1073"/>
                  <a:pt x="970" y="1073"/>
                  <a:pt x="970" y="1073"/>
                </a:cubicBezTo>
                <a:cubicBezTo>
                  <a:pt x="970" y="1073"/>
                  <a:pt x="970" y="1074"/>
                  <a:pt x="970" y="1074"/>
                </a:cubicBezTo>
                <a:cubicBezTo>
                  <a:pt x="969" y="1074"/>
                  <a:pt x="969" y="1073"/>
                  <a:pt x="969" y="1073"/>
                </a:cubicBezTo>
                <a:cubicBezTo>
                  <a:pt x="969" y="1073"/>
                  <a:pt x="969" y="1073"/>
                  <a:pt x="969" y="1073"/>
                </a:cubicBezTo>
                <a:cubicBezTo>
                  <a:pt x="969" y="1073"/>
                  <a:pt x="968" y="1073"/>
                  <a:pt x="968" y="1073"/>
                </a:cubicBezTo>
                <a:cubicBezTo>
                  <a:pt x="968" y="1073"/>
                  <a:pt x="967" y="1073"/>
                  <a:pt x="967" y="1073"/>
                </a:cubicBezTo>
                <a:cubicBezTo>
                  <a:pt x="967" y="1074"/>
                  <a:pt x="966" y="1074"/>
                  <a:pt x="966" y="1074"/>
                </a:cubicBezTo>
                <a:cubicBezTo>
                  <a:pt x="965" y="1074"/>
                  <a:pt x="965" y="1074"/>
                  <a:pt x="964" y="1074"/>
                </a:cubicBezTo>
                <a:cubicBezTo>
                  <a:pt x="964" y="1073"/>
                  <a:pt x="964" y="1073"/>
                  <a:pt x="964" y="1072"/>
                </a:cubicBezTo>
                <a:cubicBezTo>
                  <a:pt x="964" y="1072"/>
                  <a:pt x="963" y="1072"/>
                  <a:pt x="963" y="1071"/>
                </a:cubicBezTo>
                <a:cubicBezTo>
                  <a:pt x="963" y="1071"/>
                  <a:pt x="963" y="1070"/>
                  <a:pt x="963" y="1070"/>
                </a:cubicBezTo>
                <a:cubicBezTo>
                  <a:pt x="963" y="1069"/>
                  <a:pt x="963" y="1069"/>
                  <a:pt x="962" y="1069"/>
                </a:cubicBezTo>
                <a:cubicBezTo>
                  <a:pt x="962" y="1069"/>
                  <a:pt x="961" y="1069"/>
                  <a:pt x="961" y="1070"/>
                </a:cubicBezTo>
                <a:cubicBezTo>
                  <a:pt x="961" y="1070"/>
                  <a:pt x="960" y="1070"/>
                  <a:pt x="960" y="1070"/>
                </a:cubicBezTo>
                <a:cubicBezTo>
                  <a:pt x="959" y="1070"/>
                  <a:pt x="959" y="1070"/>
                  <a:pt x="958" y="1070"/>
                </a:cubicBezTo>
                <a:cubicBezTo>
                  <a:pt x="958" y="1069"/>
                  <a:pt x="958" y="1069"/>
                  <a:pt x="958" y="1069"/>
                </a:cubicBezTo>
                <a:cubicBezTo>
                  <a:pt x="958" y="1069"/>
                  <a:pt x="958" y="1068"/>
                  <a:pt x="957" y="1068"/>
                </a:cubicBezTo>
                <a:cubicBezTo>
                  <a:pt x="957" y="1068"/>
                  <a:pt x="956" y="1068"/>
                  <a:pt x="956" y="1068"/>
                </a:cubicBezTo>
                <a:cubicBezTo>
                  <a:pt x="955" y="1068"/>
                  <a:pt x="955" y="1068"/>
                  <a:pt x="954" y="1068"/>
                </a:cubicBezTo>
                <a:cubicBezTo>
                  <a:pt x="954" y="1068"/>
                  <a:pt x="954" y="1067"/>
                  <a:pt x="954" y="1067"/>
                </a:cubicBezTo>
                <a:cubicBezTo>
                  <a:pt x="953" y="1067"/>
                  <a:pt x="953" y="1067"/>
                  <a:pt x="953" y="1067"/>
                </a:cubicBezTo>
                <a:cubicBezTo>
                  <a:pt x="953" y="1067"/>
                  <a:pt x="953" y="1066"/>
                  <a:pt x="952" y="1066"/>
                </a:cubicBezTo>
                <a:cubicBezTo>
                  <a:pt x="952" y="1066"/>
                  <a:pt x="952" y="1067"/>
                  <a:pt x="951" y="1067"/>
                </a:cubicBezTo>
                <a:cubicBezTo>
                  <a:pt x="951" y="1067"/>
                  <a:pt x="951" y="1066"/>
                  <a:pt x="951" y="1066"/>
                </a:cubicBezTo>
                <a:cubicBezTo>
                  <a:pt x="950" y="1066"/>
                  <a:pt x="950" y="1067"/>
                  <a:pt x="949" y="1067"/>
                </a:cubicBezTo>
                <a:cubicBezTo>
                  <a:pt x="949" y="1067"/>
                  <a:pt x="949" y="1067"/>
                  <a:pt x="949" y="1067"/>
                </a:cubicBezTo>
                <a:cubicBezTo>
                  <a:pt x="948" y="1067"/>
                  <a:pt x="948" y="1067"/>
                  <a:pt x="948" y="1067"/>
                </a:cubicBezTo>
                <a:cubicBezTo>
                  <a:pt x="948" y="1067"/>
                  <a:pt x="948" y="1067"/>
                  <a:pt x="948" y="1067"/>
                </a:cubicBezTo>
                <a:cubicBezTo>
                  <a:pt x="947" y="1068"/>
                  <a:pt x="946" y="1067"/>
                  <a:pt x="945" y="1067"/>
                </a:cubicBezTo>
                <a:cubicBezTo>
                  <a:pt x="944" y="1066"/>
                  <a:pt x="943" y="1067"/>
                  <a:pt x="943" y="1067"/>
                </a:cubicBezTo>
                <a:cubicBezTo>
                  <a:pt x="942" y="1068"/>
                  <a:pt x="942" y="1068"/>
                  <a:pt x="942" y="1068"/>
                </a:cubicBezTo>
                <a:cubicBezTo>
                  <a:pt x="942" y="1068"/>
                  <a:pt x="942" y="1069"/>
                  <a:pt x="942" y="1069"/>
                </a:cubicBezTo>
                <a:cubicBezTo>
                  <a:pt x="942" y="1069"/>
                  <a:pt x="942" y="1069"/>
                  <a:pt x="942" y="1069"/>
                </a:cubicBezTo>
                <a:cubicBezTo>
                  <a:pt x="941" y="1069"/>
                  <a:pt x="941" y="1070"/>
                  <a:pt x="941" y="1070"/>
                </a:cubicBezTo>
                <a:cubicBezTo>
                  <a:pt x="941" y="1070"/>
                  <a:pt x="941" y="1069"/>
                  <a:pt x="941" y="1069"/>
                </a:cubicBezTo>
                <a:cubicBezTo>
                  <a:pt x="940" y="1068"/>
                  <a:pt x="939" y="1070"/>
                  <a:pt x="939" y="1069"/>
                </a:cubicBezTo>
                <a:cubicBezTo>
                  <a:pt x="939" y="1069"/>
                  <a:pt x="939" y="1068"/>
                  <a:pt x="938" y="1068"/>
                </a:cubicBezTo>
                <a:cubicBezTo>
                  <a:pt x="938" y="1068"/>
                  <a:pt x="938" y="1069"/>
                  <a:pt x="938" y="1069"/>
                </a:cubicBezTo>
                <a:cubicBezTo>
                  <a:pt x="938" y="1069"/>
                  <a:pt x="938" y="1068"/>
                  <a:pt x="937" y="1068"/>
                </a:cubicBezTo>
                <a:cubicBezTo>
                  <a:pt x="937" y="1068"/>
                  <a:pt x="937" y="1068"/>
                  <a:pt x="936" y="1068"/>
                </a:cubicBezTo>
                <a:cubicBezTo>
                  <a:pt x="936" y="1068"/>
                  <a:pt x="936" y="1068"/>
                  <a:pt x="936" y="1069"/>
                </a:cubicBezTo>
                <a:cubicBezTo>
                  <a:pt x="936" y="1069"/>
                  <a:pt x="936" y="1068"/>
                  <a:pt x="935" y="1068"/>
                </a:cubicBezTo>
                <a:cubicBezTo>
                  <a:pt x="935" y="1068"/>
                  <a:pt x="935" y="1068"/>
                  <a:pt x="935" y="1068"/>
                </a:cubicBezTo>
                <a:cubicBezTo>
                  <a:pt x="935" y="1068"/>
                  <a:pt x="934" y="1067"/>
                  <a:pt x="934" y="1067"/>
                </a:cubicBezTo>
                <a:cubicBezTo>
                  <a:pt x="934" y="1067"/>
                  <a:pt x="934" y="1067"/>
                  <a:pt x="933" y="1067"/>
                </a:cubicBezTo>
                <a:cubicBezTo>
                  <a:pt x="933" y="1067"/>
                  <a:pt x="933" y="1067"/>
                  <a:pt x="933" y="1067"/>
                </a:cubicBezTo>
                <a:cubicBezTo>
                  <a:pt x="932" y="1067"/>
                  <a:pt x="932" y="1066"/>
                  <a:pt x="931" y="1066"/>
                </a:cubicBezTo>
                <a:cubicBezTo>
                  <a:pt x="931" y="1066"/>
                  <a:pt x="930" y="1066"/>
                  <a:pt x="930" y="1066"/>
                </a:cubicBezTo>
                <a:cubicBezTo>
                  <a:pt x="929" y="1066"/>
                  <a:pt x="929" y="1066"/>
                  <a:pt x="928" y="1066"/>
                </a:cubicBezTo>
                <a:cubicBezTo>
                  <a:pt x="928" y="1067"/>
                  <a:pt x="927" y="1066"/>
                  <a:pt x="927" y="1066"/>
                </a:cubicBezTo>
                <a:cubicBezTo>
                  <a:pt x="926" y="1066"/>
                  <a:pt x="926" y="1067"/>
                  <a:pt x="925" y="1067"/>
                </a:cubicBezTo>
                <a:cubicBezTo>
                  <a:pt x="924" y="1067"/>
                  <a:pt x="923" y="1068"/>
                  <a:pt x="923" y="1069"/>
                </a:cubicBezTo>
                <a:cubicBezTo>
                  <a:pt x="923" y="1069"/>
                  <a:pt x="923" y="1070"/>
                  <a:pt x="924" y="1070"/>
                </a:cubicBezTo>
                <a:cubicBezTo>
                  <a:pt x="924" y="1070"/>
                  <a:pt x="924" y="1070"/>
                  <a:pt x="924" y="1070"/>
                </a:cubicBezTo>
                <a:cubicBezTo>
                  <a:pt x="925" y="1070"/>
                  <a:pt x="925" y="1070"/>
                  <a:pt x="925" y="1070"/>
                </a:cubicBezTo>
                <a:cubicBezTo>
                  <a:pt x="926" y="1070"/>
                  <a:pt x="926" y="1070"/>
                  <a:pt x="926" y="1070"/>
                </a:cubicBezTo>
                <a:cubicBezTo>
                  <a:pt x="927" y="1070"/>
                  <a:pt x="927" y="1070"/>
                  <a:pt x="928" y="1070"/>
                </a:cubicBezTo>
                <a:cubicBezTo>
                  <a:pt x="928" y="1070"/>
                  <a:pt x="929" y="1071"/>
                  <a:pt x="929" y="1071"/>
                </a:cubicBezTo>
                <a:cubicBezTo>
                  <a:pt x="929" y="1071"/>
                  <a:pt x="930" y="1071"/>
                  <a:pt x="930" y="1072"/>
                </a:cubicBezTo>
                <a:cubicBezTo>
                  <a:pt x="931" y="1072"/>
                  <a:pt x="931" y="1072"/>
                  <a:pt x="931" y="1072"/>
                </a:cubicBezTo>
                <a:cubicBezTo>
                  <a:pt x="931" y="1072"/>
                  <a:pt x="931" y="1072"/>
                  <a:pt x="931" y="1072"/>
                </a:cubicBezTo>
                <a:cubicBezTo>
                  <a:pt x="932" y="1073"/>
                  <a:pt x="931" y="1073"/>
                  <a:pt x="931" y="1073"/>
                </a:cubicBezTo>
                <a:cubicBezTo>
                  <a:pt x="931" y="1074"/>
                  <a:pt x="931" y="1074"/>
                  <a:pt x="931" y="1074"/>
                </a:cubicBezTo>
                <a:cubicBezTo>
                  <a:pt x="931" y="1074"/>
                  <a:pt x="931" y="1074"/>
                  <a:pt x="931" y="1074"/>
                </a:cubicBezTo>
                <a:cubicBezTo>
                  <a:pt x="930" y="1075"/>
                  <a:pt x="930" y="1075"/>
                  <a:pt x="930" y="1076"/>
                </a:cubicBezTo>
                <a:cubicBezTo>
                  <a:pt x="930" y="1076"/>
                  <a:pt x="930" y="1077"/>
                  <a:pt x="930" y="1077"/>
                </a:cubicBezTo>
                <a:cubicBezTo>
                  <a:pt x="930" y="1077"/>
                  <a:pt x="931" y="1077"/>
                  <a:pt x="931" y="1077"/>
                </a:cubicBezTo>
                <a:cubicBezTo>
                  <a:pt x="931" y="1078"/>
                  <a:pt x="931" y="1078"/>
                  <a:pt x="931" y="1078"/>
                </a:cubicBezTo>
                <a:cubicBezTo>
                  <a:pt x="932" y="1078"/>
                  <a:pt x="932" y="1078"/>
                  <a:pt x="932" y="1079"/>
                </a:cubicBezTo>
                <a:cubicBezTo>
                  <a:pt x="933" y="1079"/>
                  <a:pt x="933" y="1080"/>
                  <a:pt x="933" y="1080"/>
                </a:cubicBezTo>
                <a:cubicBezTo>
                  <a:pt x="934" y="1080"/>
                  <a:pt x="934" y="1080"/>
                  <a:pt x="934" y="1080"/>
                </a:cubicBezTo>
                <a:cubicBezTo>
                  <a:pt x="934" y="1081"/>
                  <a:pt x="935" y="1081"/>
                  <a:pt x="935" y="1081"/>
                </a:cubicBezTo>
                <a:cubicBezTo>
                  <a:pt x="936" y="1081"/>
                  <a:pt x="936" y="1082"/>
                  <a:pt x="936" y="1082"/>
                </a:cubicBezTo>
                <a:cubicBezTo>
                  <a:pt x="936" y="1083"/>
                  <a:pt x="935" y="1083"/>
                  <a:pt x="935" y="1083"/>
                </a:cubicBezTo>
                <a:cubicBezTo>
                  <a:pt x="935" y="1083"/>
                  <a:pt x="934" y="1083"/>
                  <a:pt x="934" y="1083"/>
                </a:cubicBezTo>
                <a:cubicBezTo>
                  <a:pt x="934" y="1083"/>
                  <a:pt x="934" y="1083"/>
                  <a:pt x="933" y="1083"/>
                </a:cubicBezTo>
                <a:cubicBezTo>
                  <a:pt x="933" y="1083"/>
                  <a:pt x="933" y="1083"/>
                  <a:pt x="933" y="1083"/>
                </a:cubicBezTo>
                <a:cubicBezTo>
                  <a:pt x="933" y="1083"/>
                  <a:pt x="932" y="1083"/>
                  <a:pt x="932" y="1083"/>
                </a:cubicBezTo>
                <a:cubicBezTo>
                  <a:pt x="932" y="1083"/>
                  <a:pt x="932" y="1084"/>
                  <a:pt x="931" y="1084"/>
                </a:cubicBezTo>
                <a:cubicBezTo>
                  <a:pt x="931" y="1085"/>
                  <a:pt x="931" y="1085"/>
                  <a:pt x="930" y="1084"/>
                </a:cubicBezTo>
                <a:cubicBezTo>
                  <a:pt x="930" y="1084"/>
                  <a:pt x="929" y="1084"/>
                  <a:pt x="929" y="1084"/>
                </a:cubicBezTo>
                <a:cubicBezTo>
                  <a:pt x="928" y="1084"/>
                  <a:pt x="928" y="1084"/>
                  <a:pt x="927" y="1084"/>
                </a:cubicBezTo>
                <a:cubicBezTo>
                  <a:pt x="927" y="1084"/>
                  <a:pt x="927" y="1084"/>
                  <a:pt x="926" y="1084"/>
                </a:cubicBezTo>
                <a:cubicBezTo>
                  <a:pt x="926" y="1084"/>
                  <a:pt x="925" y="1084"/>
                  <a:pt x="925" y="1084"/>
                </a:cubicBezTo>
                <a:cubicBezTo>
                  <a:pt x="924" y="1084"/>
                  <a:pt x="924" y="1083"/>
                  <a:pt x="923" y="1083"/>
                </a:cubicBezTo>
                <a:cubicBezTo>
                  <a:pt x="923" y="1083"/>
                  <a:pt x="922" y="1084"/>
                  <a:pt x="921" y="1084"/>
                </a:cubicBezTo>
                <a:cubicBezTo>
                  <a:pt x="921" y="1084"/>
                  <a:pt x="920" y="1084"/>
                  <a:pt x="920" y="1083"/>
                </a:cubicBezTo>
                <a:cubicBezTo>
                  <a:pt x="920" y="1083"/>
                  <a:pt x="920" y="1083"/>
                  <a:pt x="921" y="1083"/>
                </a:cubicBezTo>
                <a:cubicBezTo>
                  <a:pt x="921" y="1083"/>
                  <a:pt x="921" y="1083"/>
                  <a:pt x="921" y="1083"/>
                </a:cubicBezTo>
                <a:cubicBezTo>
                  <a:pt x="921" y="1083"/>
                  <a:pt x="922" y="1083"/>
                  <a:pt x="922" y="1083"/>
                </a:cubicBezTo>
                <a:cubicBezTo>
                  <a:pt x="922" y="1082"/>
                  <a:pt x="921" y="1083"/>
                  <a:pt x="921" y="1083"/>
                </a:cubicBezTo>
                <a:cubicBezTo>
                  <a:pt x="920" y="1083"/>
                  <a:pt x="920" y="1083"/>
                  <a:pt x="920" y="1083"/>
                </a:cubicBezTo>
                <a:cubicBezTo>
                  <a:pt x="920" y="1083"/>
                  <a:pt x="920" y="1083"/>
                  <a:pt x="919" y="1083"/>
                </a:cubicBezTo>
                <a:cubicBezTo>
                  <a:pt x="919" y="1083"/>
                  <a:pt x="919" y="1083"/>
                  <a:pt x="919" y="1083"/>
                </a:cubicBezTo>
                <a:cubicBezTo>
                  <a:pt x="919" y="1083"/>
                  <a:pt x="918" y="1082"/>
                  <a:pt x="918" y="1082"/>
                </a:cubicBezTo>
                <a:cubicBezTo>
                  <a:pt x="918" y="1082"/>
                  <a:pt x="917" y="1082"/>
                  <a:pt x="917" y="1082"/>
                </a:cubicBezTo>
                <a:cubicBezTo>
                  <a:pt x="916" y="1082"/>
                  <a:pt x="916" y="1082"/>
                  <a:pt x="916" y="1082"/>
                </a:cubicBezTo>
                <a:cubicBezTo>
                  <a:pt x="916" y="1082"/>
                  <a:pt x="916" y="1082"/>
                  <a:pt x="916" y="1082"/>
                </a:cubicBezTo>
                <a:cubicBezTo>
                  <a:pt x="915" y="1082"/>
                  <a:pt x="915" y="1082"/>
                  <a:pt x="914" y="1082"/>
                </a:cubicBezTo>
                <a:cubicBezTo>
                  <a:pt x="914" y="1082"/>
                  <a:pt x="914" y="1082"/>
                  <a:pt x="913" y="1082"/>
                </a:cubicBezTo>
                <a:cubicBezTo>
                  <a:pt x="913" y="1082"/>
                  <a:pt x="912" y="1082"/>
                  <a:pt x="912" y="1083"/>
                </a:cubicBezTo>
                <a:cubicBezTo>
                  <a:pt x="911" y="1083"/>
                  <a:pt x="911" y="1084"/>
                  <a:pt x="911" y="1084"/>
                </a:cubicBezTo>
                <a:cubicBezTo>
                  <a:pt x="911" y="1085"/>
                  <a:pt x="911" y="1085"/>
                  <a:pt x="912" y="1085"/>
                </a:cubicBezTo>
                <a:cubicBezTo>
                  <a:pt x="912" y="1086"/>
                  <a:pt x="913" y="1086"/>
                  <a:pt x="913" y="1086"/>
                </a:cubicBezTo>
                <a:cubicBezTo>
                  <a:pt x="913" y="1086"/>
                  <a:pt x="914" y="1086"/>
                  <a:pt x="914" y="1086"/>
                </a:cubicBezTo>
                <a:cubicBezTo>
                  <a:pt x="915" y="1086"/>
                  <a:pt x="915" y="1086"/>
                  <a:pt x="916" y="1087"/>
                </a:cubicBezTo>
                <a:cubicBezTo>
                  <a:pt x="916" y="1087"/>
                  <a:pt x="916" y="1087"/>
                  <a:pt x="917" y="1088"/>
                </a:cubicBezTo>
                <a:cubicBezTo>
                  <a:pt x="917" y="1088"/>
                  <a:pt x="917" y="1088"/>
                  <a:pt x="917" y="1088"/>
                </a:cubicBezTo>
                <a:cubicBezTo>
                  <a:pt x="917" y="1088"/>
                  <a:pt x="918" y="1089"/>
                  <a:pt x="918" y="1089"/>
                </a:cubicBezTo>
                <a:cubicBezTo>
                  <a:pt x="918" y="1089"/>
                  <a:pt x="918" y="1090"/>
                  <a:pt x="919" y="1090"/>
                </a:cubicBezTo>
                <a:cubicBezTo>
                  <a:pt x="919" y="1090"/>
                  <a:pt x="920" y="1089"/>
                  <a:pt x="919" y="1089"/>
                </a:cubicBezTo>
                <a:cubicBezTo>
                  <a:pt x="919" y="1089"/>
                  <a:pt x="919" y="1088"/>
                  <a:pt x="919" y="1088"/>
                </a:cubicBezTo>
                <a:cubicBezTo>
                  <a:pt x="919" y="1088"/>
                  <a:pt x="920" y="1087"/>
                  <a:pt x="920" y="1087"/>
                </a:cubicBezTo>
                <a:cubicBezTo>
                  <a:pt x="920" y="1087"/>
                  <a:pt x="920" y="1087"/>
                  <a:pt x="921" y="1087"/>
                </a:cubicBezTo>
                <a:cubicBezTo>
                  <a:pt x="921" y="1087"/>
                  <a:pt x="921" y="1087"/>
                  <a:pt x="921" y="1087"/>
                </a:cubicBezTo>
                <a:cubicBezTo>
                  <a:pt x="922" y="1087"/>
                  <a:pt x="922" y="1087"/>
                  <a:pt x="922" y="1087"/>
                </a:cubicBezTo>
                <a:cubicBezTo>
                  <a:pt x="922" y="1087"/>
                  <a:pt x="923" y="1087"/>
                  <a:pt x="923" y="1087"/>
                </a:cubicBezTo>
                <a:cubicBezTo>
                  <a:pt x="923" y="1087"/>
                  <a:pt x="923" y="1087"/>
                  <a:pt x="923" y="1087"/>
                </a:cubicBezTo>
                <a:cubicBezTo>
                  <a:pt x="924" y="1087"/>
                  <a:pt x="924" y="1087"/>
                  <a:pt x="924" y="1087"/>
                </a:cubicBezTo>
                <a:cubicBezTo>
                  <a:pt x="925" y="1087"/>
                  <a:pt x="925" y="1087"/>
                  <a:pt x="926" y="1087"/>
                </a:cubicBezTo>
                <a:cubicBezTo>
                  <a:pt x="926" y="1087"/>
                  <a:pt x="927" y="1087"/>
                  <a:pt x="927" y="1087"/>
                </a:cubicBezTo>
                <a:cubicBezTo>
                  <a:pt x="928" y="1087"/>
                  <a:pt x="928" y="1087"/>
                  <a:pt x="929" y="1088"/>
                </a:cubicBezTo>
                <a:cubicBezTo>
                  <a:pt x="929" y="1088"/>
                  <a:pt x="930" y="1088"/>
                  <a:pt x="930" y="1088"/>
                </a:cubicBezTo>
                <a:cubicBezTo>
                  <a:pt x="931" y="1088"/>
                  <a:pt x="931" y="1088"/>
                  <a:pt x="931" y="1088"/>
                </a:cubicBezTo>
                <a:cubicBezTo>
                  <a:pt x="932" y="1088"/>
                  <a:pt x="933" y="1088"/>
                  <a:pt x="933" y="1087"/>
                </a:cubicBezTo>
                <a:cubicBezTo>
                  <a:pt x="934" y="1087"/>
                  <a:pt x="934" y="1087"/>
                  <a:pt x="934" y="1087"/>
                </a:cubicBezTo>
                <a:cubicBezTo>
                  <a:pt x="934" y="1087"/>
                  <a:pt x="935" y="1087"/>
                  <a:pt x="935" y="1087"/>
                </a:cubicBezTo>
                <a:cubicBezTo>
                  <a:pt x="936" y="1087"/>
                  <a:pt x="937" y="1087"/>
                  <a:pt x="938" y="1087"/>
                </a:cubicBezTo>
                <a:cubicBezTo>
                  <a:pt x="939" y="1087"/>
                  <a:pt x="939" y="1087"/>
                  <a:pt x="940" y="1087"/>
                </a:cubicBezTo>
                <a:cubicBezTo>
                  <a:pt x="940" y="1087"/>
                  <a:pt x="941" y="1088"/>
                  <a:pt x="941" y="1088"/>
                </a:cubicBezTo>
                <a:cubicBezTo>
                  <a:pt x="942" y="1088"/>
                  <a:pt x="942" y="1089"/>
                  <a:pt x="942" y="1089"/>
                </a:cubicBezTo>
                <a:cubicBezTo>
                  <a:pt x="943" y="1090"/>
                  <a:pt x="944" y="1090"/>
                  <a:pt x="944" y="1090"/>
                </a:cubicBezTo>
                <a:cubicBezTo>
                  <a:pt x="944" y="1091"/>
                  <a:pt x="943" y="1091"/>
                  <a:pt x="944" y="1091"/>
                </a:cubicBezTo>
                <a:cubicBezTo>
                  <a:pt x="944" y="1091"/>
                  <a:pt x="944" y="1091"/>
                  <a:pt x="944" y="1092"/>
                </a:cubicBezTo>
                <a:cubicBezTo>
                  <a:pt x="944" y="1092"/>
                  <a:pt x="943" y="1093"/>
                  <a:pt x="944" y="1093"/>
                </a:cubicBezTo>
                <a:cubicBezTo>
                  <a:pt x="945" y="1093"/>
                  <a:pt x="945" y="1093"/>
                  <a:pt x="945" y="1093"/>
                </a:cubicBezTo>
                <a:cubicBezTo>
                  <a:pt x="946" y="1093"/>
                  <a:pt x="946" y="1094"/>
                  <a:pt x="946" y="1094"/>
                </a:cubicBezTo>
                <a:cubicBezTo>
                  <a:pt x="947" y="1095"/>
                  <a:pt x="947" y="1092"/>
                  <a:pt x="947" y="1092"/>
                </a:cubicBezTo>
                <a:cubicBezTo>
                  <a:pt x="948" y="1091"/>
                  <a:pt x="948" y="1091"/>
                  <a:pt x="949" y="1090"/>
                </a:cubicBezTo>
                <a:cubicBezTo>
                  <a:pt x="949" y="1090"/>
                  <a:pt x="949" y="1090"/>
                  <a:pt x="949" y="1090"/>
                </a:cubicBezTo>
                <a:cubicBezTo>
                  <a:pt x="949" y="1090"/>
                  <a:pt x="949" y="1089"/>
                  <a:pt x="949" y="1089"/>
                </a:cubicBezTo>
                <a:cubicBezTo>
                  <a:pt x="949" y="1089"/>
                  <a:pt x="950" y="1089"/>
                  <a:pt x="950" y="1089"/>
                </a:cubicBezTo>
                <a:cubicBezTo>
                  <a:pt x="950" y="1088"/>
                  <a:pt x="950" y="1088"/>
                  <a:pt x="950" y="1088"/>
                </a:cubicBezTo>
                <a:cubicBezTo>
                  <a:pt x="950" y="1087"/>
                  <a:pt x="950" y="1087"/>
                  <a:pt x="950" y="1087"/>
                </a:cubicBezTo>
                <a:cubicBezTo>
                  <a:pt x="950" y="1086"/>
                  <a:pt x="950" y="1086"/>
                  <a:pt x="950" y="1086"/>
                </a:cubicBezTo>
                <a:cubicBezTo>
                  <a:pt x="951" y="1086"/>
                  <a:pt x="951" y="1087"/>
                  <a:pt x="951" y="1087"/>
                </a:cubicBezTo>
                <a:cubicBezTo>
                  <a:pt x="952" y="1087"/>
                  <a:pt x="952" y="1086"/>
                  <a:pt x="952" y="1086"/>
                </a:cubicBezTo>
                <a:cubicBezTo>
                  <a:pt x="953" y="1085"/>
                  <a:pt x="953" y="1085"/>
                  <a:pt x="954" y="1085"/>
                </a:cubicBezTo>
                <a:cubicBezTo>
                  <a:pt x="954" y="1085"/>
                  <a:pt x="954" y="1085"/>
                  <a:pt x="954" y="1085"/>
                </a:cubicBezTo>
                <a:cubicBezTo>
                  <a:pt x="955" y="1084"/>
                  <a:pt x="955" y="1085"/>
                  <a:pt x="956" y="1085"/>
                </a:cubicBezTo>
                <a:cubicBezTo>
                  <a:pt x="956" y="1085"/>
                  <a:pt x="956" y="1085"/>
                  <a:pt x="956" y="1086"/>
                </a:cubicBezTo>
                <a:cubicBezTo>
                  <a:pt x="956" y="1086"/>
                  <a:pt x="955" y="1086"/>
                  <a:pt x="956" y="1086"/>
                </a:cubicBezTo>
                <a:cubicBezTo>
                  <a:pt x="956" y="1086"/>
                  <a:pt x="956" y="1086"/>
                  <a:pt x="956" y="1087"/>
                </a:cubicBezTo>
                <a:cubicBezTo>
                  <a:pt x="956" y="1087"/>
                  <a:pt x="956" y="1087"/>
                  <a:pt x="956" y="1087"/>
                </a:cubicBezTo>
                <a:cubicBezTo>
                  <a:pt x="957" y="1088"/>
                  <a:pt x="957" y="1087"/>
                  <a:pt x="958" y="1087"/>
                </a:cubicBezTo>
                <a:cubicBezTo>
                  <a:pt x="958" y="1087"/>
                  <a:pt x="959" y="1087"/>
                  <a:pt x="959" y="1087"/>
                </a:cubicBezTo>
                <a:cubicBezTo>
                  <a:pt x="960" y="1087"/>
                  <a:pt x="960" y="1087"/>
                  <a:pt x="961" y="1087"/>
                </a:cubicBezTo>
                <a:cubicBezTo>
                  <a:pt x="961" y="1086"/>
                  <a:pt x="961" y="1086"/>
                  <a:pt x="961" y="1085"/>
                </a:cubicBezTo>
                <a:cubicBezTo>
                  <a:pt x="962" y="1085"/>
                  <a:pt x="962" y="1085"/>
                  <a:pt x="962" y="1084"/>
                </a:cubicBezTo>
                <a:cubicBezTo>
                  <a:pt x="963" y="1084"/>
                  <a:pt x="963" y="1084"/>
                  <a:pt x="964" y="1084"/>
                </a:cubicBezTo>
                <a:cubicBezTo>
                  <a:pt x="964" y="1084"/>
                  <a:pt x="964" y="1084"/>
                  <a:pt x="964" y="1084"/>
                </a:cubicBezTo>
                <a:cubicBezTo>
                  <a:pt x="964" y="1084"/>
                  <a:pt x="965" y="1084"/>
                  <a:pt x="965" y="1084"/>
                </a:cubicBezTo>
                <a:cubicBezTo>
                  <a:pt x="965" y="1084"/>
                  <a:pt x="965" y="1084"/>
                  <a:pt x="966" y="1084"/>
                </a:cubicBezTo>
                <a:cubicBezTo>
                  <a:pt x="966" y="1084"/>
                  <a:pt x="966" y="1084"/>
                  <a:pt x="966" y="1084"/>
                </a:cubicBezTo>
                <a:cubicBezTo>
                  <a:pt x="967" y="1085"/>
                  <a:pt x="967" y="1084"/>
                  <a:pt x="967" y="1084"/>
                </a:cubicBezTo>
                <a:cubicBezTo>
                  <a:pt x="967" y="1084"/>
                  <a:pt x="967" y="1084"/>
                  <a:pt x="968" y="1085"/>
                </a:cubicBezTo>
                <a:cubicBezTo>
                  <a:pt x="968" y="1085"/>
                  <a:pt x="968" y="1084"/>
                  <a:pt x="968" y="1084"/>
                </a:cubicBezTo>
                <a:cubicBezTo>
                  <a:pt x="969" y="1084"/>
                  <a:pt x="969" y="1084"/>
                  <a:pt x="970" y="1084"/>
                </a:cubicBezTo>
                <a:cubicBezTo>
                  <a:pt x="970" y="1084"/>
                  <a:pt x="971" y="1084"/>
                  <a:pt x="971" y="1084"/>
                </a:cubicBezTo>
                <a:cubicBezTo>
                  <a:pt x="972" y="1084"/>
                  <a:pt x="972" y="1085"/>
                  <a:pt x="972" y="1085"/>
                </a:cubicBezTo>
                <a:cubicBezTo>
                  <a:pt x="972" y="1085"/>
                  <a:pt x="973" y="1085"/>
                  <a:pt x="973" y="1085"/>
                </a:cubicBezTo>
                <a:cubicBezTo>
                  <a:pt x="973" y="1085"/>
                  <a:pt x="973" y="1085"/>
                  <a:pt x="973" y="1085"/>
                </a:cubicBezTo>
                <a:cubicBezTo>
                  <a:pt x="974" y="1085"/>
                  <a:pt x="974" y="1085"/>
                  <a:pt x="974" y="1085"/>
                </a:cubicBezTo>
                <a:cubicBezTo>
                  <a:pt x="974" y="1084"/>
                  <a:pt x="975" y="1084"/>
                  <a:pt x="975" y="1085"/>
                </a:cubicBezTo>
                <a:cubicBezTo>
                  <a:pt x="976" y="1085"/>
                  <a:pt x="976" y="1085"/>
                  <a:pt x="976" y="1086"/>
                </a:cubicBezTo>
                <a:cubicBezTo>
                  <a:pt x="976" y="1086"/>
                  <a:pt x="977" y="1087"/>
                  <a:pt x="977" y="1087"/>
                </a:cubicBezTo>
                <a:cubicBezTo>
                  <a:pt x="977" y="1087"/>
                  <a:pt x="976" y="1087"/>
                  <a:pt x="976" y="1087"/>
                </a:cubicBezTo>
                <a:cubicBezTo>
                  <a:pt x="976" y="1087"/>
                  <a:pt x="977" y="1087"/>
                  <a:pt x="977" y="1087"/>
                </a:cubicBezTo>
                <a:cubicBezTo>
                  <a:pt x="977" y="1088"/>
                  <a:pt x="977" y="1088"/>
                  <a:pt x="977" y="1088"/>
                </a:cubicBezTo>
                <a:cubicBezTo>
                  <a:pt x="977" y="1088"/>
                  <a:pt x="978" y="1088"/>
                  <a:pt x="978" y="1088"/>
                </a:cubicBezTo>
                <a:cubicBezTo>
                  <a:pt x="979" y="1088"/>
                  <a:pt x="979" y="1088"/>
                  <a:pt x="978" y="1087"/>
                </a:cubicBezTo>
                <a:cubicBezTo>
                  <a:pt x="978" y="1087"/>
                  <a:pt x="978" y="1088"/>
                  <a:pt x="978" y="1087"/>
                </a:cubicBezTo>
                <a:cubicBezTo>
                  <a:pt x="977" y="1087"/>
                  <a:pt x="977" y="1087"/>
                  <a:pt x="977" y="1087"/>
                </a:cubicBezTo>
                <a:cubicBezTo>
                  <a:pt x="978" y="1086"/>
                  <a:pt x="978" y="1086"/>
                  <a:pt x="978" y="1086"/>
                </a:cubicBezTo>
                <a:close/>
                <a:moveTo>
                  <a:pt x="974" y="1157"/>
                </a:moveTo>
                <a:cubicBezTo>
                  <a:pt x="973" y="1156"/>
                  <a:pt x="973" y="1156"/>
                  <a:pt x="973" y="1156"/>
                </a:cubicBezTo>
                <a:cubicBezTo>
                  <a:pt x="972" y="1155"/>
                  <a:pt x="971" y="1155"/>
                  <a:pt x="972" y="1156"/>
                </a:cubicBezTo>
                <a:cubicBezTo>
                  <a:pt x="972" y="1156"/>
                  <a:pt x="973" y="1157"/>
                  <a:pt x="974" y="1157"/>
                </a:cubicBezTo>
                <a:cubicBezTo>
                  <a:pt x="974" y="1157"/>
                  <a:pt x="974" y="1158"/>
                  <a:pt x="975" y="1158"/>
                </a:cubicBezTo>
                <a:cubicBezTo>
                  <a:pt x="975" y="1158"/>
                  <a:pt x="975" y="1159"/>
                  <a:pt x="975" y="1159"/>
                </a:cubicBezTo>
                <a:cubicBezTo>
                  <a:pt x="976" y="1158"/>
                  <a:pt x="974" y="1157"/>
                  <a:pt x="974" y="1157"/>
                </a:cubicBezTo>
                <a:close/>
                <a:moveTo>
                  <a:pt x="880" y="1090"/>
                </a:moveTo>
                <a:cubicBezTo>
                  <a:pt x="881" y="1090"/>
                  <a:pt x="881" y="1091"/>
                  <a:pt x="881" y="1091"/>
                </a:cubicBezTo>
                <a:cubicBezTo>
                  <a:pt x="881" y="1092"/>
                  <a:pt x="882" y="1091"/>
                  <a:pt x="882" y="1091"/>
                </a:cubicBezTo>
                <a:cubicBezTo>
                  <a:pt x="882" y="1091"/>
                  <a:pt x="883" y="1091"/>
                  <a:pt x="883" y="1091"/>
                </a:cubicBezTo>
                <a:cubicBezTo>
                  <a:pt x="883" y="1091"/>
                  <a:pt x="883" y="1091"/>
                  <a:pt x="883" y="1090"/>
                </a:cubicBezTo>
                <a:cubicBezTo>
                  <a:pt x="884" y="1090"/>
                  <a:pt x="885" y="1090"/>
                  <a:pt x="885" y="1090"/>
                </a:cubicBezTo>
                <a:cubicBezTo>
                  <a:pt x="886" y="1090"/>
                  <a:pt x="886" y="1091"/>
                  <a:pt x="887" y="1091"/>
                </a:cubicBezTo>
                <a:cubicBezTo>
                  <a:pt x="887" y="1091"/>
                  <a:pt x="888" y="1091"/>
                  <a:pt x="889" y="1091"/>
                </a:cubicBezTo>
                <a:cubicBezTo>
                  <a:pt x="889" y="1091"/>
                  <a:pt x="891" y="1091"/>
                  <a:pt x="891" y="1090"/>
                </a:cubicBezTo>
                <a:cubicBezTo>
                  <a:pt x="890" y="1090"/>
                  <a:pt x="890" y="1090"/>
                  <a:pt x="890" y="1089"/>
                </a:cubicBezTo>
                <a:cubicBezTo>
                  <a:pt x="890" y="1089"/>
                  <a:pt x="890" y="1089"/>
                  <a:pt x="890" y="1089"/>
                </a:cubicBezTo>
                <a:cubicBezTo>
                  <a:pt x="890" y="1088"/>
                  <a:pt x="889" y="1088"/>
                  <a:pt x="889" y="1088"/>
                </a:cubicBezTo>
                <a:cubicBezTo>
                  <a:pt x="889" y="1088"/>
                  <a:pt x="889" y="1088"/>
                  <a:pt x="889" y="1088"/>
                </a:cubicBezTo>
                <a:cubicBezTo>
                  <a:pt x="889" y="1087"/>
                  <a:pt x="888" y="1087"/>
                  <a:pt x="888" y="1087"/>
                </a:cubicBezTo>
                <a:cubicBezTo>
                  <a:pt x="887" y="1087"/>
                  <a:pt x="887" y="1087"/>
                  <a:pt x="886" y="1087"/>
                </a:cubicBezTo>
                <a:cubicBezTo>
                  <a:pt x="886" y="1087"/>
                  <a:pt x="886" y="1086"/>
                  <a:pt x="885" y="1086"/>
                </a:cubicBezTo>
                <a:cubicBezTo>
                  <a:pt x="885" y="1086"/>
                  <a:pt x="885" y="1086"/>
                  <a:pt x="884" y="1086"/>
                </a:cubicBezTo>
                <a:cubicBezTo>
                  <a:pt x="884" y="1086"/>
                  <a:pt x="884" y="1086"/>
                  <a:pt x="884" y="1086"/>
                </a:cubicBezTo>
                <a:cubicBezTo>
                  <a:pt x="884" y="1085"/>
                  <a:pt x="883" y="1085"/>
                  <a:pt x="883" y="1085"/>
                </a:cubicBezTo>
                <a:cubicBezTo>
                  <a:pt x="883" y="1084"/>
                  <a:pt x="882" y="1084"/>
                  <a:pt x="882" y="1084"/>
                </a:cubicBezTo>
                <a:cubicBezTo>
                  <a:pt x="881" y="1084"/>
                  <a:pt x="881" y="1084"/>
                  <a:pt x="880" y="1084"/>
                </a:cubicBezTo>
                <a:cubicBezTo>
                  <a:pt x="880" y="1084"/>
                  <a:pt x="880" y="1084"/>
                  <a:pt x="879" y="1084"/>
                </a:cubicBezTo>
                <a:cubicBezTo>
                  <a:pt x="879" y="1084"/>
                  <a:pt x="878" y="1083"/>
                  <a:pt x="878" y="1084"/>
                </a:cubicBezTo>
                <a:cubicBezTo>
                  <a:pt x="877" y="1084"/>
                  <a:pt x="877" y="1084"/>
                  <a:pt x="876" y="1084"/>
                </a:cubicBezTo>
                <a:cubicBezTo>
                  <a:pt x="876" y="1083"/>
                  <a:pt x="876" y="1083"/>
                  <a:pt x="875" y="1083"/>
                </a:cubicBezTo>
                <a:cubicBezTo>
                  <a:pt x="874" y="1084"/>
                  <a:pt x="874" y="1083"/>
                  <a:pt x="874" y="1083"/>
                </a:cubicBezTo>
                <a:cubicBezTo>
                  <a:pt x="873" y="1083"/>
                  <a:pt x="873" y="1083"/>
                  <a:pt x="872" y="1083"/>
                </a:cubicBezTo>
                <a:cubicBezTo>
                  <a:pt x="872" y="1083"/>
                  <a:pt x="871" y="1083"/>
                  <a:pt x="871" y="1083"/>
                </a:cubicBezTo>
                <a:cubicBezTo>
                  <a:pt x="870" y="1085"/>
                  <a:pt x="867" y="1083"/>
                  <a:pt x="867" y="1085"/>
                </a:cubicBezTo>
                <a:cubicBezTo>
                  <a:pt x="867" y="1085"/>
                  <a:pt x="867" y="1085"/>
                  <a:pt x="866" y="1085"/>
                </a:cubicBezTo>
                <a:cubicBezTo>
                  <a:pt x="866" y="1085"/>
                  <a:pt x="866" y="1085"/>
                  <a:pt x="866" y="1085"/>
                </a:cubicBezTo>
                <a:cubicBezTo>
                  <a:pt x="866" y="1086"/>
                  <a:pt x="866" y="1086"/>
                  <a:pt x="866" y="1086"/>
                </a:cubicBezTo>
                <a:cubicBezTo>
                  <a:pt x="867" y="1087"/>
                  <a:pt x="867" y="1087"/>
                  <a:pt x="868" y="1087"/>
                </a:cubicBezTo>
                <a:cubicBezTo>
                  <a:pt x="868" y="1087"/>
                  <a:pt x="869" y="1087"/>
                  <a:pt x="869" y="1087"/>
                </a:cubicBezTo>
                <a:cubicBezTo>
                  <a:pt x="870" y="1087"/>
                  <a:pt x="869" y="1087"/>
                  <a:pt x="870" y="1088"/>
                </a:cubicBezTo>
                <a:cubicBezTo>
                  <a:pt x="870" y="1088"/>
                  <a:pt x="870" y="1088"/>
                  <a:pt x="870" y="1088"/>
                </a:cubicBezTo>
                <a:cubicBezTo>
                  <a:pt x="870" y="1088"/>
                  <a:pt x="870" y="1088"/>
                  <a:pt x="871" y="1089"/>
                </a:cubicBezTo>
                <a:cubicBezTo>
                  <a:pt x="871" y="1089"/>
                  <a:pt x="871" y="1089"/>
                  <a:pt x="872" y="1089"/>
                </a:cubicBezTo>
                <a:cubicBezTo>
                  <a:pt x="872" y="1089"/>
                  <a:pt x="872" y="1089"/>
                  <a:pt x="872" y="1090"/>
                </a:cubicBezTo>
                <a:cubicBezTo>
                  <a:pt x="872" y="1090"/>
                  <a:pt x="872" y="1090"/>
                  <a:pt x="872" y="1090"/>
                </a:cubicBezTo>
                <a:cubicBezTo>
                  <a:pt x="873" y="1090"/>
                  <a:pt x="872" y="1091"/>
                  <a:pt x="873" y="1091"/>
                </a:cubicBezTo>
                <a:cubicBezTo>
                  <a:pt x="873" y="1091"/>
                  <a:pt x="873" y="1091"/>
                  <a:pt x="873" y="1091"/>
                </a:cubicBezTo>
                <a:cubicBezTo>
                  <a:pt x="874" y="1091"/>
                  <a:pt x="874" y="1091"/>
                  <a:pt x="874" y="1091"/>
                </a:cubicBezTo>
                <a:cubicBezTo>
                  <a:pt x="875" y="1091"/>
                  <a:pt x="876" y="1091"/>
                  <a:pt x="876" y="1091"/>
                </a:cubicBezTo>
                <a:cubicBezTo>
                  <a:pt x="876" y="1091"/>
                  <a:pt x="877" y="1091"/>
                  <a:pt x="877" y="1091"/>
                </a:cubicBezTo>
                <a:cubicBezTo>
                  <a:pt x="877" y="1091"/>
                  <a:pt x="878" y="1092"/>
                  <a:pt x="878" y="1092"/>
                </a:cubicBezTo>
                <a:cubicBezTo>
                  <a:pt x="878" y="1092"/>
                  <a:pt x="879" y="1093"/>
                  <a:pt x="879" y="1093"/>
                </a:cubicBezTo>
                <a:cubicBezTo>
                  <a:pt x="879" y="1093"/>
                  <a:pt x="881" y="1093"/>
                  <a:pt x="880" y="1092"/>
                </a:cubicBezTo>
                <a:cubicBezTo>
                  <a:pt x="880" y="1092"/>
                  <a:pt x="880" y="1092"/>
                  <a:pt x="879" y="1092"/>
                </a:cubicBezTo>
                <a:cubicBezTo>
                  <a:pt x="879" y="1092"/>
                  <a:pt x="879" y="1092"/>
                  <a:pt x="880" y="1092"/>
                </a:cubicBezTo>
                <a:cubicBezTo>
                  <a:pt x="880" y="1091"/>
                  <a:pt x="880" y="1090"/>
                  <a:pt x="880" y="1090"/>
                </a:cubicBezTo>
                <a:close/>
                <a:moveTo>
                  <a:pt x="847" y="1070"/>
                </a:moveTo>
                <a:cubicBezTo>
                  <a:pt x="847" y="1070"/>
                  <a:pt x="846" y="1071"/>
                  <a:pt x="846" y="1071"/>
                </a:cubicBezTo>
                <a:cubicBezTo>
                  <a:pt x="847" y="1071"/>
                  <a:pt x="847" y="1071"/>
                  <a:pt x="847" y="1070"/>
                </a:cubicBezTo>
                <a:cubicBezTo>
                  <a:pt x="847" y="1070"/>
                  <a:pt x="848" y="1070"/>
                  <a:pt x="848" y="1070"/>
                </a:cubicBezTo>
                <a:cubicBezTo>
                  <a:pt x="848" y="1070"/>
                  <a:pt x="847" y="1070"/>
                  <a:pt x="847" y="1070"/>
                </a:cubicBezTo>
                <a:close/>
                <a:moveTo>
                  <a:pt x="832" y="1075"/>
                </a:moveTo>
                <a:cubicBezTo>
                  <a:pt x="832" y="1075"/>
                  <a:pt x="833" y="1074"/>
                  <a:pt x="833" y="1074"/>
                </a:cubicBezTo>
                <a:cubicBezTo>
                  <a:pt x="834" y="1074"/>
                  <a:pt x="834" y="1074"/>
                  <a:pt x="834" y="1074"/>
                </a:cubicBezTo>
                <a:cubicBezTo>
                  <a:pt x="835" y="1074"/>
                  <a:pt x="835" y="1074"/>
                  <a:pt x="835" y="1074"/>
                </a:cubicBezTo>
                <a:cubicBezTo>
                  <a:pt x="835" y="1074"/>
                  <a:pt x="835" y="1074"/>
                  <a:pt x="835" y="1074"/>
                </a:cubicBezTo>
                <a:cubicBezTo>
                  <a:pt x="834" y="1073"/>
                  <a:pt x="834" y="1074"/>
                  <a:pt x="833" y="1074"/>
                </a:cubicBezTo>
                <a:cubicBezTo>
                  <a:pt x="833" y="1074"/>
                  <a:pt x="833" y="1074"/>
                  <a:pt x="833" y="1073"/>
                </a:cubicBezTo>
                <a:cubicBezTo>
                  <a:pt x="833" y="1073"/>
                  <a:pt x="833" y="1074"/>
                  <a:pt x="832" y="1074"/>
                </a:cubicBezTo>
                <a:cubicBezTo>
                  <a:pt x="832" y="1074"/>
                  <a:pt x="832" y="1073"/>
                  <a:pt x="832" y="1073"/>
                </a:cubicBezTo>
                <a:cubicBezTo>
                  <a:pt x="831" y="1073"/>
                  <a:pt x="831" y="1073"/>
                  <a:pt x="831" y="1073"/>
                </a:cubicBezTo>
                <a:cubicBezTo>
                  <a:pt x="831" y="1073"/>
                  <a:pt x="831" y="1074"/>
                  <a:pt x="831" y="1074"/>
                </a:cubicBezTo>
                <a:cubicBezTo>
                  <a:pt x="831" y="1074"/>
                  <a:pt x="832" y="1074"/>
                  <a:pt x="832" y="1074"/>
                </a:cubicBezTo>
                <a:cubicBezTo>
                  <a:pt x="832" y="1074"/>
                  <a:pt x="831" y="1075"/>
                  <a:pt x="832" y="1075"/>
                </a:cubicBezTo>
                <a:close/>
                <a:moveTo>
                  <a:pt x="894" y="1067"/>
                </a:moveTo>
                <a:cubicBezTo>
                  <a:pt x="894" y="1067"/>
                  <a:pt x="895" y="1066"/>
                  <a:pt x="895" y="1066"/>
                </a:cubicBezTo>
                <a:cubicBezTo>
                  <a:pt x="896" y="1067"/>
                  <a:pt x="896" y="1067"/>
                  <a:pt x="896" y="1067"/>
                </a:cubicBezTo>
                <a:cubicBezTo>
                  <a:pt x="897" y="1067"/>
                  <a:pt x="897" y="1067"/>
                  <a:pt x="897" y="1067"/>
                </a:cubicBezTo>
                <a:cubicBezTo>
                  <a:pt x="898" y="1067"/>
                  <a:pt x="898" y="1067"/>
                  <a:pt x="898" y="1068"/>
                </a:cubicBezTo>
                <a:cubicBezTo>
                  <a:pt x="899" y="1068"/>
                  <a:pt x="899" y="1068"/>
                  <a:pt x="899" y="1068"/>
                </a:cubicBezTo>
                <a:cubicBezTo>
                  <a:pt x="900" y="1067"/>
                  <a:pt x="901" y="1068"/>
                  <a:pt x="902" y="1067"/>
                </a:cubicBezTo>
                <a:cubicBezTo>
                  <a:pt x="902" y="1067"/>
                  <a:pt x="902" y="1067"/>
                  <a:pt x="903" y="1067"/>
                </a:cubicBezTo>
                <a:cubicBezTo>
                  <a:pt x="903" y="1067"/>
                  <a:pt x="903" y="1067"/>
                  <a:pt x="903" y="1067"/>
                </a:cubicBezTo>
                <a:cubicBezTo>
                  <a:pt x="904" y="1067"/>
                  <a:pt x="904" y="1067"/>
                  <a:pt x="904" y="1067"/>
                </a:cubicBezTo>
                <a:cubicBezTo>
                  <a:pt x="905" y="1067"/>
                  <a:pt x="905" y="1067"/>
                  <a:pt x="905" y="1066"/>
                </a:cubicBezTo>
                <a:cubicBezTo>
                  <a:pt x="906" y="1066"/>
                  <a:pt x="906" y="1066"/>
                  <a:pt x="906" y="1066"/>
                </a:cubicBezTo>
                <a:cubicBezTo>
                  <a:pt x="907" y="1065"/>
                  <a:pt x="907" y="1066"/>
                  <a:pt x="907" y="1065"/>
                </a:cubicBezTo>
                <a:cubicBezTo>
                  <a:pt x="908" y="1065"/>
                  <a:pt x="908" y="1065"/>
                  <a:pt x="908" y="1065"/>
                </a:cubicBezTo>
                <a:cubicBezTo>
                  <a:pt x="909" y="1065"/>
                  <a:pt x="910" y="1065"/>
                  <a:pt x="910" y="1065"/>
                </a:cubicBezTo>
                <a:cubicBezTo>
                  <a:pt x="911" y="1065"/>
                  <a:pt x="912" y="1065"/>
                  <a:pt x="912" y="1065"/>
                </a:cubicBezTo>
                <a:cubicBezTo>
                  <a:pt x="913" y="1065"/>
                  <a:pt x="913" y="1065"/>
                  <a:pt x="913" y="1065"/>
                </a:cubicBezTo>
                <a:cubicBezTo>
                  <a:pt x="914" y="1065"/>
                  <a:pt x="914" y="1065"/>
                  <a:pt x="914" y="1064"/>
                </a:cubicBezTo>
                <a:cubicBezTo>
                  <a:pt x="914" y="1064"/>
                  <a:pt x="915" y="1063"/>
                  <a:pt x="915" y="1063"/>
                </a:cubicBezTo>
                <a:cubicBezTo>
                  <a:pt x="915" y="1062"/>
                  <a:pt x="914" y="1062"/>
                  <a:pt x="914" y="1062"/>
                </a:cubicBezTo>
                <a:cubicBezTo>
                  <a:pt x="914" y="1062"/>
                  <a:pt x="914" y="1062"/>
                  <a:pt x="913" y="1062"/>
                </a:cubicBezTo>
                <a:cubicBezTo>
                  <a:pt x="913" y="1062"/>
                  <a:pt x="912" y="1062"/>
                  <a:pt x="912" y="1062"/>
                </a:cubicBezTo>
                <a:cubicBezTo>
                  <a:pt x="912" y="1062"/>
                  <a:pt x="912" y="1061"/>
                  <a:pt x="912" y="1061"/>
                </a:cubicBezTo>
                <a:cubicBezTo>
                  <a:pt x="911" y="1061"/>
                  <a:pt x="911" y="1061"/>
                  <a:pt x="911" y="1061"/>
                </a:cubicBezTo>
                <a:cubicBezTo>
                  <a:pt x="911" y="1061"/>
                  <a:pt x="910" y="1061"/>
                  <a:pt x="910" y="1061"/>
                </a:cubicBezTo>
                <a:cubicBezTo>
                  <a:pt x="910" y="1061"/>
                  <a:pt x="910" y="1060"/>
                  <a:pt x="910" y="1060"/>
                </a:cubicBezTo>
                <a:cubicBezTo>
                  <a:pt x="909" y="1059"/>
                  <a:pt x="908" y="1060"/>
                  <a:pt x="908" y="1059"/>
                </a:cubicBezTo>
                <a:cubicBezTo>
                  <a:pt x="908" y="1059"/>
                  <a:pt x="908" y="1058"/>
                  <a:pt x="907" y="1058"/>
                </a:cubicBezTo>
                <a:cubicBezTo>
                  <a:pt x="907" y="1058"/>
                  <a:pt x="907" y="1058"/>
                  <a:pt x="906" y="1058"/>
                </a:cubicBezTo>
                <a:cubicBezTo>
                  <a:pt x="906" y="1058"/>
                  <a:pt x="906" y="1058"/>
                  <a:pt x="906" y="1058"/>
                </a:cubicBezTo>
                <a:cubicBezTo>
                  <a:pt x="906" y="1058"/>
                  <a:pt x="905" y="1058"/>
                  <a:pt x="905" y="1058"/>
                </a:cubicBezTo>
                <a:cubicBezTo>
                  <a:pt x="905" y="1058"/>
                  <a:pt x="905" y="1057"/>
                  <a:pt x="905" y="1057"/>
                </a:cubicBezTo>
                <a:cubicBezTo>
                  <a:pt x="905" y="1057"/>
                  <a:pt x="905" y="1057"/>
                  <a:pt x="905" y="1057"/>
                </a:cubicBezTo>
                <a:cubicBezTo>
                  <a:pt x="904" y="1057"/>
                  <a:pt x="904" y="1058"/>
                  <a:pt x="904" y="1058"/>
                </a:cubicBezTo>
                <a:cubicBezTo>
                  <a:pt x="903" y="1058"/>
                  <a:pt x="903" y="1058"/>
                  <a:pt x="903" y="1058"/>
                </a:cubicBezTo>
                <a:cubicBezTo>
                  <a:pt x="903" y="1057"/>
                  <a:pt x="902" y="1057"/>
                  <a:pt x="902" y="1057"/>
                </a:cubicBezTo>
                <a:cubicBezTo>
                  <a:pt x="902" y="1057"/>
                  <a:pt x="902" y="1058"/>
                  <a:pt x="901" y="1058"/>
                </a:cubicBezTo>
                <a:cubicBezTo>
                  <a:pt x="901" y="1058"/>
                  <a:pt x="901" y="1058"/>
                  <a:pt x="901" y="1057"/>
                </a:cubicBezTo>
                <a:cubicBezTo>
                  <a:pt x="900" y="1057"/>
                  <a:pt x="900" y="1057"/>
                  <a:pt x="900" y="1057"/>
                </a:cubicBezTo>
                <a:cubicBezTo>
                  <a:pt x="900" y="1057"/>
                  <a:pt x="899" y="1058"/>
                  <a:pt x="899" y="1057"/>
                </a:cubicBezTo>
                <a:cubicBezTo>
                  <a:pt x="899" y="1057"/>
                  <a:pt x="899" y="1057"/>
                  <a:pt x="899" y="1057"/>
                </a:cubicBezTo>
                <a:cubicBezTo>
                  <a:pt x="899" y="1057"/>
                  <a:pt x="899" y="1056"/>
                  <a:pt x="899" y="1056"/>
                </a:cubicBezTo>
                <a:cubicBezTo>
                  <a:pt x="898" y="1056"/>
                  <a:pt x="898" y="1056"/>
                  <a:pt x="898" y="1056"/>
                </a:cubicBezTo>
                <a:cubicBezTo>
                  <a:pt x="898" y="1056"/>
                  <a:pt x="898" y="1056"/>
                  <a:pt x="898" y="1056"/>
                </a:cubicBezTo>
                <a:cubicBezTo>
                  <a:pt x="898" y="1057"/>
                  <a:pt x="898" y="1057"/>
                  <a:pt x="898" y="1057"/>
                </a:cubicBezTo>
                <a:cubicBezTo>
                  <a:pt x="898" y="1057"/>
                  <a:pt x="898" y="1058"/>
                  <a:pt x="898" y="1058"/>
                </a:cubicBezTo>
                <a:cubicBezTo>
                  <a:pt x="898" y="1058"/>
                  <a:pt x="898" y="1058"/>
                  <a:pt x="898" y="1057"/>
                </a:cubicBezTo>
                <a:cubicBezTo>
                  <a:pt x="898" y="1057"/>
                  <a:pt x="898" y="1057"/>
                  <a:pt x="897" y="1057"/>
                </a:cubicBezTo>
                <a:cubicBezTo>
                  <a:pt x="897" y="1057"/>
                  <a:pt x="897" y="1058"/>
                  <a:pt x="897" y="1058"/>
                </a:cubicBezTo>
                <a:cubicBezTo>
                  <a:pt x="896" y="1058"/>
                  <a:pt x="896" y="1057"/>
                  <a:pt x="896" y="1057"/>
                </a:cubicBezTo>
                <a:cubicBezTo>
                  <a:pt x="896" y="1057"/>
                  <a:pt x="896" y="1057"/>
                  <a:pt x="896" y="1056"/>
                </a:cubicBezTo>
                <a:cubicBezTo>
                  <a:pt x="896" y="1056"/>
                  <a:pt x="897" y="1056"/>
                  <a:pt x="896" y="1056"/>
                </a:cubicBezTo>
                <a:cubicBezTo>
                  <a:pt x="896" y="1056"/>
                  <a:pt x="896" y="1055"/>
                  <a:pt x="896" y="1055"/>
                </a:cubicBezTo>
                <a:cubicBezTo>
                  <a:pt x="896" y="1055"/>
                  <a:pt x="897" y="1055"/>
                  <a:pt x="897" y="1055"/>
                </a:cubicBezTo>
                <a:cubicBezTo>
                  <a:pt x="897" y="1055"/>
                  <a:pt x="897" y="1056"/>
                  <a:pt x="897" y="1056"/>
                </a:cubicBezTo>
                <a:cubicBezTo>
                  <a:pt x="897" y="1056"/>
                  <a:pt x="898" y="1056"/>
                  <a:pt x="898" y="1056"/>
                </a:cubicBezTo>
                <a:cubicBezTo>
                  <a:pt x="898" y="1056"/>
                  <a:pt x="897" y="1055"/>
                  <a:pt x="897" y="1055"/>
                </a:cubicBezTo>
                <a:cubicBezTo>
                  <a:pt x="897" y="1055"/>
                  <a:pt x="898" y="1055"/>
                  <a:pt x="898" y="1054"/>
                </a:cubicBezTo>
                <a:cubicBezTo>
                  <a:pt x="898" y="1054"/>
                  <a:pt x="898" y="1054"/>
                  <a:pt x="898" y="1053"/>
                </a:cubicBezTo>
                <a:cubicBezTo>
                  <a:pt x="897" y="1053"/>
                  <a:pt x="897" y="1053"/>
                  <a:pt x="896" y="1053"/>
                </a:cubicBezTo>
                <a:cubicBezTo>
                  <a:pt x="896" y="1053"/>
                  <a:pt x="896" y="1053"/>
                  <a:pt x="896" y="1053"/>
                </a:cubicBezTo>
                <a:cubicBezTo>
                  <a:pt x="896" y="1053"/>
                  <a:pt x="896" y="1053"/>
                  <a:pt x="895" y="1053"/>
                </a:cubicBezTo>
                <a:cubicBezTo>
                  <a:pt x="895" y="1053"/>
                  <a:pt x="895" y="1053"/>
                  <a:pt x="895" y="1053"/>
                </a:cubicBezTo>
                <a:cubicBezTo>
                  <a:pt x="894" y="1053"/>
                  <a:pt x="894" y="1053"/>
                  <a:pt x="894" y="1053"/>
                </a:cubicBezTo>
                <a:cubicBezTo>
                  <a:pt x="894" y="1053"/>
                  <a:pt x="894" y="1054"/>
                  <a:pt x="893" y="1053"/>
                </a:cubicBezTo>
                <a:cubicBezTo>
                  <a:pt x="893" y="1053"/>
                  <a:pt x="893" y="1053"/>
                  <a:pt x="893" y="1053"/>
                </a:cubicBezTo>
                <a:cubicBezTo>
                  <a:pt x="892" y="1053"/>
                  <a:pt x="892" y="1053"/>
                  <a:pt x="892" y="1053"/>
                </a:cubicBezTo>
                <a:cubicBezTo>
                  <a:pt x="891" y="1053"/>
                  <a:pt x="891" y="1052"/>
                  <a:pt x="891" y="1052"/>
                </a:cubicBezTo>
                <a:cubicBezTo>
                  <a:pt x="891" y="1052"/>
                  <a:pt x="890" y="1052"/>
                  <a:pt x="890" y="1052"/>
                </a:cubicBezTo>
                <a:cubicBezTo>
                  <a:pt x="890" y="1051"/>
                  <a:pt x="889" y="1051"/>
                  <a:pt x="888" y="1051"/>
                </a:cubicBezTo>
                <a:cubicBezTo>
                  <a:pt x="888" y="1051"/>
                  <a:pt x="888" y="1051"/>
                  <a:pt x="887" y="1051"/>
                </a:cubicBezTo>
                <a:cubicBezTo>
                  <a:pt x="887" y="1051"/>
                  <a:pt x="887" y="1050"/>
                  <a:pt x="887" y="1051"/>
                </a:cubicBezTo>
                <a:cubicBezTo>
                  <a:pt x="887" y="1051"/>
                  <a:pt x="887" y="1051"/>
                  <a:pt x="887" y="1051"/>
                </a:cubicBezTo>
                <a:cubicBezTo>
                  <a:pt x="887" y="1051"/>
                  <a:pt x="887" y="1051"/>
                  <a:pt x="887" y="1051"/>
                </a:cubicBezTo>
                <a:cubicBezTo>
                  <a:pt x="887" y="1051"/>
                  <a:pt x="887" y="1051"/>
                  <a:pt x="887" y="1051"/>
                </a:cubicBezTo>
                <a:cubicBezTo>
                  <a:pt x="888" y="1052"/>
                  <a:pt x="888" y="1052"/>
                  <a:pt x="888" y="1052"/>
                </a:cubicBezTo>
                <a:cubicBezTo>
                  <a:pt x="887" y="1052"/>
                  <a:pt x="887" y="1052"/>
                  <a:pt x="887" y="1052"/>
                </a:cubicBezTo>
                <a:cubicBezTo>
                  <a:pt x="887" y="1052"/>
                  <a:pt x="886" y="1052"/>
                  <a:pt x="886" y="1052"/>
                </a:cubicBezTo>
                <a:cubicBezTo>
                  <a:pt x="886" y="1052"/>
                  <a:pt x="886" y="1051"/>
                  <a:pt x="886" y="1051"/>
                </a:cubicBezTo>
                <a:cubicBezTo>
                  <a:pt x="886" y="1051"/>
                  <a:pt x="885" y="1051"/>
                  <a:pt x="885" y="1051"/>
                </a:cubicBezTo>
                <a:cubicBezTo>
                  <a:pt x="885" y="1051"/>
                  <a:pt x="886" y="1051"/>
                  <a:pt x="886" y="1051"/>
                </a:cubicBezTo>
                <a:cubicBezTo>
                  <a:pt x="886" y="1050"/>
                  <a:pt x="886" y="1050"/>
                  <a:pt x="885" y="1050"/>
                </a:cubicBezTo>
                <a:cubicBezTo>
                  <a:pt x="885" y="1050"/>
                  <a:pt x="884" y="1050"/>
                  <a:pt x="884" y="1050"/>
                </a:cubicBezTo>
                <a:cubicBezTo>
                  <a:pt x="884" y="1050"/>
                  <a:pt x="883" y="1049"/>
                  <a:pt x="883" y="1049"/>
                </a:cubicBezTo>
                <a:cubicBezTo>
                  <a:pt x="883" y="1049"/>
                  <a:pt x="883" y="1049"/>
                  <a:pt x="882" y="1049"/>
                </a:cubicBezTo>
                <a:cubicBezTo>
                  <a:pt x="882" y="1049"/>
                  <a:pt x="882" y="1049"/>
                  <a:pt x="882" y="1049"/>
                </a:cubicBezTo>
                <a:cubicBezTo>
                  <a:pt x="882" y="1048"/>
                  <a:pt x="882" y="1048"/>
                  <a:pt x="882" y="1048"/>
                </a:cubicBezTo>
                <a:cubicBezTo>
                  <a:pt x="881" y="1048"/>
                  <a:pt x="881" y="1048"/>
                  <a:pt x="881" y="1047"/>
                </a:cubicBezTo>
                <a:cubicBezTo>
                  <a:pt x="881" y="1047"/>
                  <a:pt x="881" y="1047"/>
                  <a:pt x="880" y="1047"/>
                </a:cubicBezTo>
                <a:cubicBezTo>
                  <a:pt x="880" y="1047"/>
                  <a:pt x="881" y="1048"/>
                  <a:pt x="880" y="1049"/>
                </a:cubicBezTo>
                <a:cubicBezTo>
                  <a:pt x="879" y="1049"/>
                  <a:pt x="879" y="1049"/>
                  <a:pt x="878" y="1048"/>
                </a:cubicBezTo>
                <a:cubicBezTo>
                  <a:pt x="878" y="1048"/>
                  <a:pt x="878" y="1048"/>
                  <a:pt x="878" y="1047"/>
                </a:cubicBezTo>
                <a:cubicBezTo>
                  <a:pt x="878" y="1047"/>
                  <a:pt x="878" y="1047"/>
                  <a:pt x="877" y="1047"/>
                </a:cubicBezTo>
                <a:cubicBezTo>
                  <a:pt x="877" y="1047"/>
                  <a:pt x="877" y="1046"/>
                  <a:pt x="877" y="1046"/>
                </a:cubicBezTo>
                <a:cubicBezTo>
                  <a:pt x="877" y="1046"/>
                  <a:pt x="876" y="1046"/>
                  <a:pt x="876" y="1045"/>
                </a:cubicBezTo>
                <a:cubicBezTo>
                  <a:pt x="877" y="1045"/>
                  <a:pt x="877" y="1046"/>
                  <a:pt x="878" y="1046"/>
                </a:cubicBezTo>
                <a:cubicBezTo>
                  <a:pt x="878" y="1047"/>
                  <a:pt x="878" y="1047"/>
                  <a:pt x="878" y="1047"/>
                </a:cubicBezTo>
                <a:cubicBezTo>
                  <a:pt x="878" y="1047"/>
                  <a:pt x="878" y="1047"/>
                  <a:pt x="878" y="1047"/>
                </a:cubicBezTo>
                <a:cubicBezTo>
                  <a:pt x="879" y="1047"/>
                  <a:pt x="878" y="1048"/>
                  <a:pt x="879" y="1048"/>
                </a:cubicBezTo>
                <a:cubicBezTo>
                  <a:pt x="879" y="1048"/>
                  <a:pt x="879" y="1047"/>
                  <a:pt x="879" y="1047"/>
                </a:cubicBezTo>
                <a:cubicBezTo>
                  <a:pt x="880" y="1047"/>
                  <a:pt x="880" y="1047"/>
                  <a:pt x="880" y="1047"/>
                </a:cubicBezTo>
                <a:cubicBezTo>
                  <a:pt x="881" y="1047"/>
                  <a:pt x="879" y="1046"/>
                  <a:pt x="879" y="1046"/>
                </a:cubicBezTo>
                <a:cubicBezTo>
                  <a:pt x="879" y="1046"/>
                  <a:pt x="879" y="1046"/>
                  <a:pt x="878" y="1046"/>
                </a:cubicBezTo>
                <a:cubicBezTo>
                  <a:pt x="878" y="1046"/>
                  <a:pt x="878" y="1045"/>
                  <a:pt x="878" y="1045"/>
                </a:cubicBezTo>
                <a:cubicBezTo>
                  <a:pt x="877" y="1045"/>
                  <a:pt x="877" y="1045"/>
                  <a:pt x="876" y="1044"/>
                </a:cubicBezTo>
                <a:cubicBezTo>
                  <a:pt x="876" y="1044"/>
                  <a:pt x="876" y="1043"/>
                  <a:pt x="876" y="1043"/>
                </a:cubicBezTo>
                <a:cubicBezTo>
                  <a:pt x="875" y="1043"/>
                  <a:pt x="875" y="1043"/>
                  <a:pt x="875" y="1043"/>
                </a:cubicBezTo>
                <a:cubicBezTo>
                  <a:pt x="874" y="1043"/>
                  <a:pt x="874" y="1043"/>
                  <a:pt x="874" y="1042"/>
                </a:cubicBezTo>
                <a:cubicBezTo>
                  <a:pt x="874" y="1042"/>
                  <a:pt x="875" y="1042"/>
                  <a:pt x="875" y="1042"/>
                </a:cubicBezTo>
                <a:cubicBezTo>
                  <a:pt x="875" y="1042"/>
                  <a:pt x="875" y="1042"/>
                  <a:pt x="875" y="1042"/>
                </a:cubicBezTo>
                <a:cubicBezTo>
                  <a:pt x="875" y="1041"/>
                  <a:pt x="875" y="1041"/>
                  <a:pt x="875" y="1041"/>
                </a:cubicBezTo>
                <a:cubicBezTo>
                  <a:pt x="874" y="1041"/>
                  <a:pt x="874" y="1041"/>
                  <a:pt x="874" y="1041"/>
                </a:cubicBezTo>
                <a:cubicBezTo>
                  <a:pt x="874" y="1041"/>
                  <a:pt x="873" y="1040"/>
                  <a:pt x="874" y="1041"/>
                </a:cubicBezTo>
                <a:cubicBezTo>
                  <a:pt x="874" y="1041"/>
                  <a:pt x="874" y="1041"/>
                  <a:pt x="874" y="1042"/>
                </a:cubicBezTo>
                <a:cubicBezTo>
                  <a:pt x="873" y="1042"/>
                  <a:pt x="873" y="1041"/>
                  <a:pt x="873" y="1041"/>
                </a:cubicBezTo>
                <a:cubicBezTo>
                  <a:pt x="873" y="1041"/>
                  <a:pt x="872" y="1041"/>
                  <a:pt x="872" y="1041"/>
                </a:cubicBezTo>
                <a:cubicBezTo>
                  <a:pt x="872" y="1041"/>
                  <a:pt x="872" y="1040"/>
                  <a:pt x="872" y="1040"/>
                </a:cubicBezTo>
                <a:cubicBezTo>
                  <a:pt x="872" y="1040"/>
                  <a:pt x="871" y="1040"/>
                  <a:pt x="871" y="1040"/>
                </a:cubicBezTo>
                <a:cubicBezTo>
                  <a:pt x="871" y="1039"/>
                  <a:pt x="871" y="1039"/>
                  <a:pt x="871" y="1039"/>
                </a:cubicBezTo>
                <a:cubicBezTo>
                  <a:pt x="870" y="1039"/>
                  <a:pt x="870" y="1039"/>
                  <a:pt x="870" y="1039"/>
                </a:cubicBezTo>
                <a:cubicBezTo>
                  <a:pt x="869" y="1038"/>
                  <a:pt x="869" y="1038"/>
                  <a:pt x="869" y="1038"/>
                </a:cubicBezTo>
                <a:cubicBezTo>
                  <a:pt x="869" y="1038"/>
                  <a:pt x="869" y="1038"/>
                  <a:pt x="869" y="1037"/>
                </a:cubicBezTo>
                <a:cubicBezTo>
                  <a:pt x="869" y="1037"/>
                  <a:pt x="869" y="1036"/>
                  <a:pt x="868" y="1037"/>
                </a:cubicBezTo>
                <a:cubicBezTo>
                  <a:pt x="868" y="1037"/>
                  <a:pt x="867" y="1037"/>
                  <a:pt x="867" y="1037"/>
                </a:cubicBezTo>
                <a:cubicBezTo>
                  <a:pt x="867" y="1037"/>
                  <a:pt x="866" y="1037"/>
                  <a:pt x="866" y="1036"/>
                </a:cubicBezTo>
                <a:cubicBezTo>
                  <a:pt x="866" y="1036"/>
                  <a:pt x="866" y="1036"/>
                  <a:pt x="866" y="1036"/>
                </a:cubicBezTo>
                <a:cubicBezTo>
                  <a:pt x="865" y="1036"/>
                  <a:pt x="865" y="1036"/>
                  <a:pt x="865" y="1036"/>
                </a:cubicBezTo>
                <a:cubicBezTo>
                  <a:pt x="865" y="1036"/>
                  <a:pt x="864" y="1036"/>
                  <a:pt x="864" y="1036"/>
                </a:cubicBezTo>
                <a:cubicBezTo>
                  <a:pt x="864" y="1036"/>
                  <a:pt x="864" y="1036"/>
                  <a:pt x="863" y="1036"/>
                </a:cubicBezTo>
                <a:cubicBezTo>
                  <a:pt x="863" y="1036"/>
                  <a:pt x="863" y="1036"/>
                  <a:pt x="862" y="1036"/>
                </a:cubicBezTo>
                <a:cubicBezTo>
                  <a:pt x="862" y="1036"/>
                  <a:pt x="863" y="1036"/>
                  <a:pt x="863" y="1036"/>
                </a:cubicBezTo>
                <a:cubicBezTo>
                  <a:pt x="863" y="1036"/>
                  <a:pt x="863" y="1037"/>
                  <a:pt x="864" y="1037"/>
                </a:cubicBezTo>
                <a:cubicBezTo>
                  <a:pt x="864" y="1037"/>
                  <a:pt x="864" y="1037"/>
                  <a:pt x="864" y="1037"/>
                </a:cubicBezTo>
                <a:cubicBezTo>
                  <a:pt x="864" y="1037"/>
                  <a:pt x="864" y="1037"/>
                  <a:pt x="865" y="1037"/>
                </a:cubicBezTo>
                <a:cubicBezTo>
                  <a:pt x="865" y="1037"/>
                  <a:pt x="865" y="1036"/>
                  <a:pt x="865" y="1037"/>
                </a:cubicBezTo>
                <a:cubicBezTo>
                  <a:pt x="866" y="1037"/>
                  <a:pt x="865" y="1037"/>
                  <a:pt x="866" y="1037"/>
                </a:cubicBezTo>
                <a:cubicBezTo>
                  <a:pt x="866" y="1037"/>
                  <a:pt x="866" y="1037"/>
                  <a:pt x="867" y="1037"/>
                </a:cubicBezTo>
                <a:cubicBezTo>
                  <a:pt x="867" y="1037"/>
                  <a:pt x="867" y="1038"/>
                  <a:pt x="867" y="1038"/>
                </a:cubicBezTo>
                <a:cubicBezTo>
                  <a:pt x="867" y="1038"/>
                  <a:pt x="868" y="1038"/>
                  <a:pt x="868" y="1039"/>
                </a:cubicBezTo>
                <a:cubicBezTo>
                  <a:pt x="868" y="1039"/>
                  <a:pt x="868" y="1039"/>
                  <a:pt x="869" y="1039"/>
                </a:cubicBezTo>
                <a:cubicBezTo>
                  <a:pt x="869" y="1039"/>
                  <a:pt x="869" y="1039"/>
                  <a:pt x="869" y="1039"/>
                </a:cubicBezTo>
                <a:cubicBezTo>
                  <a:pt x="870" y="1039"/>
                  <a:pt x="870" y="1039"/>
                  <a:pt x="870" y="1039"/>
                </a:cubicBezTo>
                <a:cubicBezTo>
                  <a:pt x="871" y="1040"/>
                  <a:pt x="870" y="1040"/>
                  <a:pt x="870" y="1040"/>
                </a:cubicBezTo>
                <a:cubicBezTo>
                  <a:pt x="870" y="1040"/>
                  <a:pt x="869" y="1039"/>
                  <a:pt x="869" y="1040"/>
                </a:cubicBezTo>
                <a:cubicBezTo>
                  <a:pt x="869" y="1040"/>
                  <a:pt x="870" y="1040"/>
                  <a:pt x="870" y="1040"/>
                </a:cubicBezTo>
                <a:cubicBezTo>
                  <a:pt x="870" y="1040"/>
                  <a:pt x="870" y="1040"/>
                  <a:pt x="870" y="1041"/>
                </a:cubicBezTo>
                <a:cubicBezTo>
                  <a:pt x="870" y="1041"/>
                  <a:pt x="870" y="1041"/>
                  <a:pt x="870" y="1041"/>
                </a:cubicBezTo>
                <a:cubicBezTo>
                  <a:pt x="871" y="1041"/>
                  <a:pt x="871" y="1041"/>
                  <a:pt x="871" y="1041"/>
                </a:cubicBezTo>
                <a:cubicBezTo>
                  <a:pt x="872" y="1041"/>
                  <a:pt x="872" y="1041"/>
                  <a:pt x="871" y="1041"/>
                </a:cubicBezTo>
                <a:cubicBezTo>
                  <a:pt x="871" y="1041"/>
                  <a:pt x="871" y="1041"/>
                  <a:pt x="871" y="1042"/>
                </a:cubicBezTo>
                <a:cubicBezTo>
                  <a:pt x="871" y="1042"/>
                  <a:pt x="871" y="1042"/>
                  <a:pt x="872" y="1042"/>
                </a:cubicBezTo>
                <a:cubicBezTo>
                  <a:pt x="872" y="1042"/>
                  <a:pt x="872" y="1042"/>
                  <a:pt x="872" y="1042"/>
                </a:cubicBezTo>
                <a:cubicBezTo>
                  <a:pt x="872" y="1042"/>
                  <a:pt x="872" y="1042"/>
                  <a:pt x="873" y="1042"/>
                </a:cubicBezTo>
                <a:cubicBezTo>
                  <a:pt x="873" y="1043"/>
                  <a:pt x="873" y="1043"/>
                  <a:pt x="873" y="1043"/>
                </a:cubicBezTo>
                <a:cubicBezTo>
                  <a:pt x="873" y="1043"/>
                  <a:pt x="874" y="1043"/>
                  <a:pt x="874" y="1043"/>
                </a:cubicBezTo>
                <a:cubicBezTo>
                  <a:pt x="874" y="1043"/>
                  <a:pt x="875" y="1044"/>
                  <a:pt x="875" y="1044"/>
                </a:cubicBezTo>
                <a:cubicBezTo>
                  <a:pt x="875" y="1044"/>
                  <a:pt x="875" y="1044"/>
                  <a:pt x="876" y="1045"/>
                </a:cubicBezTo>
                <a:cubicBezTo>
                  <a:pt x="876" y="1045"/>
                  <a:pt x="876" y="1045"/>
                  <a:pt x="876" y="1045"/>
                </a:cubicBezTo>
                <a:cubicBezTo>
                  <a:pt x="876" y="1046"/>
                  <a:pt x="876" y="1045"/>
                  <a:pt x="875" y="1045"/>
                </a:cubicBezTo>
                <a:cubicBezTo>
                  <a:pt x="875" y="1045"/>
                  <a:pt x="874" y="1045"/>
                  <a:pt x="873" y="1045"/>
                </a:cubicBezTo>
                <a:cubicBezTo>
                  <a:pt x="873" y="1044"/>
                  <a:pt x="873" y="1044"/>
                  <a:pt x="873" y="1044"/>
                </a:cubicBezTo>
                <a:cubicBezTo>
                  <a:pt x="872" y="1044"/>
                  <a:pt x="872" y="1044"/>
                  <a:pt x="872" y="1043"/>
                </a:cubicBezTo>
                <a:cubicBezTo>
                  <a:pt x="872" y="1042"/>
                  <a:pt x="872" y="1044"/>
                  <a:pt x="871" y="1044"/>
                </a:cubicBezTo>
                <a:cubicBezTo>
                  <a:pt x="871" y="1044"/>
                  <a:pt x="871" y="1043"/>
                  <a:pt x="871" y="1043"/>
                </a:cubicBezTo>
                <a:cubicBezTo>
                  <a:pt x="871" y="1043"/>
                  <a:pt x="870" y="1043"/>
                  <a:pt x="870" y="1043"/>
                </a:cubicBezTo>
                <a:cubicBezTo>
                  <a:pt x="870" y="1042"/>
                  <a:pt x="870" y="1042"/>
                  <a:pt x="870" y="1042"/>
                </a:cubicBezTo>
                <a:cubicBezTo>
                  <a:pt x="870" y="1041"/>
                  <a:pt x="869" y="1041"/>
                  <a:pt x="869" y="1041"/>
                </a:cubicBezTo>
                <a:cubicBezTo>
                  <a:pt x="868" y="1041"/>
                  <a:pt x="868" y="1041"/>
                  <a:pt x="868" y="1041"/>
                </a:cubicBezTo>
                <a:cubicBezTo>
                  <a:pt x="868" y="1041"/>
                  <a:pt x="867" y="1041"/>
                  <a:pt x="867" y="1041"/>
                </a:cubicBezTo>
                <a:cubicBezTo>
                  <a:pt x="867" y="1040"/>
                  <a:pt x="866" y="1040"/>
                  <a:pt x="866" y="1040"/>
                </a:cubicBezTo>
                <a:cubicBezTo>
                  <a:pt x="865" y="1039"/>
                  <a:pt x="865" y="1040"/>
                  <a:pt x="864" y="1039"/>
                </a:cubicBezTo>
                <a:cubicBezTo>
                  <a:pt x="864" y="1039"/>
                  <a:pt x="864" y="1039"/>
                  <a:pt x="864" y="1039"/>
                </a:cubicBezTo>
                <a:cubicBezTo>
                  <a:pt x="864" y="1039"/>
                  <a:pt x="863" y="1039"/>
                  <a:pt x="863" y="1038"/>
                </a:cubicBezTo>
                <a:cubicBezTo>
                  <a:pt x="863" y="1038"/>
                  <a:pt x="862" y="1037"/>
                  <a:pt x="862" y="1038"/>
                </a:cubicBezTo>
                <a:cubicBezTo>
                  <a:pt x="862" y="1038"/>
                  <a:pt x="862" y="1038"/>
                  <a:pt x="862" y="1039"/>
                </a:cubicBezTo>
                <a:cubicBezTo>
                  <a:pt x="861" y="1039"/>
                  <a:pt x="862" y="1038"/>
                  <a:pt x="861" y="1038"/>
                </a:cubicBezTo>
                <a:cubicBezTo>
                  <a:pt x="861" y="1037"/>
                  <a:pt x="860" y="1038"/>
                  <a:pt x="859" y="1038"/>
                </a:cubicBezTo>
                <a:cubicBezTo>
                  <a:pt x="859" y="1038"/>
                  <a:pt x="858" y="1038"/>
                  <a:pt x="857" y="1038"/>
                </a:cubicBezTo>
                <a:cubicBezTo>
                  <a:pt x="856" y="1038"/>
                  <a:pt x="856" y="1038"/>
                  <a:pt x="855" y="1037"/>
                </a:cubicBezTo>
                <a:cubicBezTo>
                  <a:pt x="855" y="1037"/>
                  <a:pt x="855" y="1037"/>
                  <a:pt x="854" y="1037"/>
                </a:cubicBezTo>
                <a:cubicBezTo>
                  <a:pt x="854" y="1036"/>
                  <a:pt x="854" y="1036"/>
                  <a:pt x="854" y="1036"/>
                </a:cubicBezTo>
                <a:cubicBezTo>
                  <a:pt x="853" y="1036"/>
                  <a:pt x="853" y="1035"/>
                  <a:pt x="852" y="1035"/>
                </a:cubicBezTo>
                <a:cubicBezTo>
                  <a:pt x="852" y="1035"/>
                  <a:pt x="852" y="1034"/>
                  <a:pt x="852" y="1034"/>
                </a:cubicBezTo>
                <a:cubicBezTo>
                  <a:pt x="852" y="1033"/>
                  <a:pt x="852" y="1033"/>
                  <a:pt x="851" y="1033"/>
                </a:cubicBezTo>
                <a:cubicBezTo>
                  <a:pt x="851" y="1033"/>
                  <a:pt x="851" y="1033"/>
                  <a:pt x="850" y="1033"/>
                </a:cubicBezTo>
                <a:cubicBezTo>
                  <a:pt x="850" y="1033"/>
                  <a:pt x="849" y="1033"/>
                  <a:pt x="849" y="1032"/>
                </a:cubicBezTo>
                <a:cubicBezTo>
                  <a:pt x="849" y="1032"/>
                  <a:pt x="849" y="1032"/>
                  <a:pt x="849" y="1032"/>
                </a:cubicBezTo>
                <a:cubicBezTo>
                  <a:pt x="849" y="1032"/>
                  <a:pt x="848" y="1032"/>
                  <a:pt x="848" y="1032"/>
                </a:cubicBezTo>
                <a:cubicBezTo>
                  <a:pt x="848" y="1032"/>
                  <a:pt x="848" y="1031"/>
                  <a:pt x="848" y="1031"/>
                </a:cubicBezTo>
                <a:cubicBezTo>
                  <a:pt x="847" y="1031"/>
                  <a:pt x="847" y="1031"/>
                  <a:pt x="847" y="1031"/>
                </a:cubicBezTo>
                <a:cubicBezTo>
                  <a:pt x="846" y="1031"/>
                  <a:pt x="845" y="1031"/>
                  <a:pt x="844" y="1031"/>
                </a:cubicBezTo>
                <a:cubicBezTo>
                  <a:pt x="844" y="1031"/>
                  <a:pt x="843" y="1031"/>
                  <a:pt x="844" y="1031"/>
                </a:cubicBezTo>
                <a:cubicBezTo>
                  <a:pt x="844" y="1031"/>
                  <a:pt x="845" y="1031"/>
                  <a:pt x="844" y="1030"/>
                </a:cubicBezTo>
                <a:cubicBezTo>
                  <a:pt x="844" y="1030"/>
                  <a:pt x="843" y="1031"/>
                  <a:pt x="843" y="1031"/>
                </a:cubicBezTo>
                <a:cubicBezTo>
                  <a:pt x="843" y="1031"/>
                  <a:pt x="843" y="1031"/>
                  <a:pt x="842" y="1031"/>
                </a:cubicBezTo>
                <a:cubicBezTo>
                  <a:pt x="842" y="1030"/>
                  <a:pt x="842" y="1030"/>
                  <a:pt x="841" y="1030"/>
                </a:cubicBezTo>
                <a:cubicBezTo>
                  <a:pt x="841" y="1029"/>
                  <a:pt x="840" y="1029"/>
                  <a:pt x="840" y="1029"/>
                </a:cubicBezTo>
                <a:cubicBezTo>
                  <a:pt x="840" y="1029"/>
                  <a:pt x="840" y="1029"/>
                  <a:pt x="839" y="1029"/>
                </a:cubicBezTo>
                <a:cubicBezTo>
                  <a:pt x="839" y="1029"/>
                  <a:pt x="838" y="1029"/>
                  <a:pt x="838" y="1029"/>
                </a:cubicBezTo>
                <a:cubicBezTo>
                  <a:pt x="838" y="1029"/>
                  <a:pt x="838" y="1030"/>
                  <a:pt x="837" y="1030"/>
                </a:cubicBezTo>
                <a:cubicBezTo>
                  <a:pt x="837" y="1030"/>
                  <a:pt x="836" y="1030"/>
                  <a:pt x="837" y="1029"/>
                </a:cubicBezTo>
                <a:cubicBezTo>
                  <a:pt x="837" y="1029"/>
                  <a:pt x="837" y="1029"/>
                  <a:pt x="837" y="1029"/>
                </a:cubicBezTo>
                <a:cubicBezTo>
                  <a:pt x="837" y="1029"/>
                  <a:pt x="837" y="1029"/>
                  <a:pt x="837" y="1029"/>
                </a:cubicBezTo>
                <a:cubicBezTo>
                  <a:pt x="836" y="1029"/>
                  <a:pt x="836" y="1029"/>
                  <a:pt x="836" y="1029"/>
                </a:cubicBezTo>
                <a:cubicBezTo>
                  <a:pt x="836" y="1029"/>
                  <a:pt x="835" y="1030"/>
                  <a:pt x="835" y="1030"/>
                </a:cubicBezTo>
                <a:cubicBezTo>
                  <a:pt x="834" y="1030"/>
                  <a:pt x="834" y="1029"/>
                  <a:pt x="834" y="1029"/>
                </a:cubicBezTo>
                <a:cubicBezTo>
                  <a:pt x="833" y="1029"/>
                  <a:pt x="833" y="1029"/>
                  <a:pt x="833" y="1029"/>
                </a:cubicBezTo>
                <a:cubicBezTo>
                  <a:pt x="834" y="1028"/>
                  <a:pt x="834" y="1028"/>
                  <a:pt x="834" y="1028"/>
                </a:cubicBezTo>
                <a:cubicBezTo>
                  <a:pt x="834" y="1028"/>
                  <a:pt x="833" y="1028"/>
                  <a:pt x="833" y="1028"/>
                </a:cubicBezTo>
                <a:cubicBezTo>
                  <a:pt x="833" y="1028"/>
                  <a:pt x="832" y="1029"/>
                  <a:pt x="832" y="1029"/>
                </a:cubicBezTo>
                <a:cubicBezTo>
                  <a:pt x="832" y="1029"/>
                  <a:pt x="831" y="1030"/>
                  <a:pt x="830" y="1030"/>
                </a:cubicBezTo>
                <a:cubicBezTo>
                  <a:pt x="830" y="1029"/>
                  <a:pt x="830" y="1029"/>
                  <a:pt x="830" y="1029"/>
                </a:cubicBezTo>
                <a:cubicBezTo>
                  <a:pt x="830" y="1028"/>
                  <a:pt x="829" y="1028"/>
                  <a:pt x="829" y="1028"/>
                </a:cubicBezTo>
                <a:cubicBezTo>
                  <a:pt x="828" y="1028"/>
                  <a:pt x="827" y="1028"/>
                  <a:pt x="827" y="1028"/>
                </a:cubicBezTo>
                <a:cubicBezTo>
                  <a:pt x="826" y="1028"/>
                  <a:pt x="826" y="1028"/>
                  <a:pt x="826" y="1028"/>
                </a:cubicBezTo>
                <a:cubicBezTo>
                  <a:pt x="825" y="1028"/>
                  <a:pt x="825" y="1028"/>
                  <a:pt x="825" y="1028"/>
                </a:cubicBezTo>
                <a:cubicBezTo>
                  <a:pt x="824" y="1028"/>
                  <a:pt x="823" y="1028"/>
                  <a:pt x="823" y="1028"/>
                </a:cubicBezTo>
                <a:cubicBezTo>
                  <a:pt x="822" y="1028"/>
                  <a:pt x="821" y="1028"/>
                  <a:pt x="821" y="1028"/>
                </a:cubicBezTo>
                <a:cubicBezTo>
                  <a:pt x="820" y="1028"/>
                  <a:pt x="820" y="1028"/>
                  <a:pt x="820" y="1028"/>
                </a:cubicBezTo>
                <a:cubicBezTo>
                  <a:pt x="820" y="1029"/>
                  <a:pt x="819" y="1029"/>
                  <a:pt x="819" y="1029"/>
                </a:cubicBezTo>
                <a:cubicBezTo>
                  <a:pt x="819" y="1029"/>
                  <a:pt x="819" y="1030"/>
                  <a:pt x="818" y="1030"/>
                </a:cubicBezTo>
                <a:cubicBezTo>
                  <a:pt x="818" y="1030"/>
                  <a:pt x="817" y="1030"/>
                  <a:pt x="816" y="1030"/>
                </a:cubicBezTo>
                <a:cubicBezTo>
                  <a:pt x="816" y="1030"/>
                  <a:pt x="816" y="1030"/>
                  <a:pt x="816" y="1030"/>
                </a:cubicBezTo>
                <a:cubicBezTo>
                  <a:pt x="816" y="1030"/>
                  <a:pt x="816" y="1030"/>
                  <a:pt x="816" y="1030"/>
                </a:cubicBezTo>
                <a:cubicBezTo>
                  <a:pt x="816" y="1030"/>
                  <a:pt x="815" y="1030"/>
                  <a:pt x="815" y="1030"/>
                </a:cubicBezTo>
                <a:cubicBezTo>
                  <a:pt x="815" y="1030"/>
                  <a:pt x="815" y="1030"/>
                  <a:pt x="814" y="1030"/>
                </a:cubicBezTo>
                <a:cubicBezTo>
                  <a:pt x="814" y="1030"/>
                  <a:pt x="814" y="1031"/>
                  <a:pt x="813" y="1031"/>
                </a:cubicBezTo>
                <a:cubicBezTo>
                  <a:pt x="813" y="1030"/>
                  <a:pt x="813" y="1030"/>
                  <a:pt x="813" y="1030"/>
                </a:cubicBezTo>
                <a:cubicBezTo>
                  <a:pt x="813" y="1030"/>
                  <a:pt x="813" y="1030"/>
                  <a:pt x="813" y="1030"/>
                </a:cubicBezTo>
                <a:cubicBezTo>
                  <a:pt x="812" y="1030"/>
                  <a:pt x="812" y="1030"/>
                  <a:pt x="812" y="1030"/>
                </a:cubicBezTo>
                <a:cubicBezTo>
                  <a:pt x="812" y="1030"/>
                  <a:pt x="811" y="1031"/>
                  <a:pt x="811" y="1031"/>
                </a:cubicBezTo>
                <a:cubicBezTo>
                  <a:pt x="811" y="1030"/>
                  <a:pt x="811" y="1030"/>
                  <a:pt x="811" y="1030"/>
                </a:cubicBezTo>
                <a:cubicBezTo>
                  <a:pt x="811" y="1030"/>
                  <a:pt x="810" y="1030"/>
                  <a:pt x="810" y="1030"/>
                </a:cubicBezTo>
                <a:cubicBezTo>
                  <a:pt x="810" y="1030"/>
                  <a:pt x="810" y="1030"/>
                  <a:pt x="810" y="1031"/>
                </a:cubicBezTo>
                <a:cubicBezTo>
                  <a:pt x="810" y="1031"/>
                  <a:pt x="810" y="1030"/>
                  <a:pt x="810" y="1030"/>
                </a:cubicBezTo>
                <a:cubicBezTo>
                  <a:pt x="809" y="1031"/>
                  <a:pt x="809" y="1031"/>
                  <a:pt x="809" y="1031"/>
                </a:cubicBezTo>
                <a:cubicBezTo>
                  <a:pt x="808" y="1031"/>
                  <a:pt x="808" y="1032"/>
                  <a:pt x="808" y="1031"/>
                </a:cubicBezTo>
                <a:cubicBezTo>
                  <a:pt x="807" y="1031"/>
                  <a:pt x="807" y="1031"/>
                  <a:pt x="807" y="1031"/>
                </a:cubicBezTo>
                <a:cubicBezTo>
                  <a:pt x="807" y="1031"/>
                  <a:pt x="807" y="1032"/>
                  <a:pt x="807" y="1032"/>
                </a:cubicBezTo>
                <a:cubicBezTo>
                  <a:pt x="807" y="1032"/>
                  <a:pt x="807" y="1032"/>
                  <a:pt x="807" y="1032"/>
                </a:cubicBezTo>
                <a:cubicBezTo>
                  <a:pt x="806" y="1032"/>
                  <a:pt x="806" y="1032"/>
                  <a:pt x="806" y="1032"/>
                </a:cubicBezTo>
                <a:cubicBezTo>
                  <a:pt x="805" y="1033"/>
                  <a:pt x="805" y="1033"/>
                  <a:pt x="805" y="1033"/>
                </a:cubicBezTo>
                <a:cubicBezTo>
                  <a:pt x="804" y="1033"/>
                  <a:pt x="804" y="1032"/>
                  <a:pt x="804" y="1033"/>
                </a:cubicBezTo>
                <a:cubicBezTo>
                  <a:pt x="804" y="1033"/>
                  <a:pt x="804" y="1033"/>
                  <a:pt x="803" y="1033"/>
                </a:cubicBezTo>
                <a:cubicBezTo>
                  <a:pt x="803" y="1033"/>
                  <a:pt x="803" y="1033"/>
                  <a:pt x="803" y="1033"/>
                </a:cubicBezTo>
                <a:cubicBezTo>
                  <a:pt x="803" y="1033"/>
                  <a:pt x="803" y="1034"/>
                  <a:pt x="803" y="1034"/>
                </a:cubicBezTo>
                <a:cubicBezTo>
                  <a:pt x="802" y="1034"/>
                  <a:pt x="802" y="1034"/>
                  <a:pt x="802" y="1034"/>
                </a:cubicBezTo>
                <a:cubicBezTo>
                  <a:pt x="801" y="1034"/>
                  <a:pt x="801" y="1034"/>
                  <a:pt x="801" y="1034"/>
                </a:cubicBezTo>
                <a:cubicBezTo>
                  <a:pt x="801" y="1035"/>
                  <a:pt x="801" y="1035"/>
                  <a:pt x="800" y="1035"/>
                </a:cubicBezTo>
                <a:cubicBezTo>
                  <a:pt x="800" y="1035"/>
                  <a:pt x="800" y="1036"/>
                  <a:pt x="799" y="1036"/>
                </a:cubicBezTo>
                <a:cubicBezTo>
                  <a:pt x="799" y="1037"/>
                  <a:pt x="798" y="1037"/>
                  <a:pt x="798" y="1037"/>
                </a:cubicBezTo>
                <a:cubicBezTo>
                  <a:pt x="798" y="1038"/>
                  <a:pt x="798" y="1038"/>
                  <a:pt x="797" y="1038"/>
                </a:cubicBezTo>
                <a:cubicBezTo>
                  <a:pt x="797" y="1039"/>
                  <a:pt x="797" y="1039"/>
                  <a:pt x="797" y="1039"/>
                </a:cubicBezTo>
                <a:cubicBezTo>
                  <a:pt x="797" y="1039"/>
                  <a:pt x="797" y="1040"/>
                  <a:pt x="797" y="1040"/>
                </a:cubicBezTo>
                <a:cubicBezTo>
                  <a:pt x="797" y="1040"/>
                  <a:pt x="798" y="1040"/>
                  <a:pt x="798" y="1041"/>
                </a:cubicBezTo>
                <a:cubicBezTo>
                  <a:pt x="798" y="1041"/>
                  <a:pt x="798" y="1041"/>
                  <a:pt x="798" y="1041"/>
                </a:cubicBezTo>
                <a:cubicBezTo>
                  <a:pt x="798" y="1042"/>
                  <a:pt x="799" y="1042"/>
                  <a:pt x="799" y="1042"/>
                </a:cubicBezTo>
                <a:cubicBezTo>
                  <a:pt x="799" y="1042"/>
                  <a:pt x="798" y="1042"/>
                  <a:pt x="798" y="1042"/>
                </a:cubicBezTo>
                <a:cubicBezTo>
                  <a:pt x="798" y="1042"/>
                  <a:pt x="798" y="1042"/>
                  <a:pt x="797" y="1042"/>
                </a:cubicBezTo>
                <a:cubicBezTo>
                  <a:pt x="797" y="1042"/>
                  <a:pt x="797" y="1042"/>
                  <a:pt x="796" y="1042"/>
                </a:cubicBezTo>
                <a:cubicBezTo>
                  <a:pt x="796" y="1042"/>
                  <a:pt x="796" y="1042"/>
                  <a:pt x="796" y="1042"/>
                </a:cubicBezTo>
                <a:cubicBezTo>
                  <a:pt x="796" y="1042"/>
                  <a:pt x="796" y="1042"/>
                  <a:pt x="796" y="1042"/>
                </a:cubicBezTo>
                <a:cubicBezTo>
                  <a:pt x="795" y="1042"/>
                  <a:pt x="795" y="1042"/>
                  <a:pt x="794" y="1043"/>
                </a:cubicBezTo>
                <a:cubicBezTo>
                  <a:pt x="794" y="1043"/>
                  <a:pt x="793" y="1043"/>
                  <a:pt x="793" y="1043"/>
                </a:cubicBezTo>
                <a:cubicBezTo>
                  <a:pt x="793" y="1043"/>
                  <a:pt x="793" y="1043"/>
                  <a:pt x="792" y="1044"/>
                </a:cubicBezTo>
                <a:cubicBezTo>
                  <a:pt x="792" y="1044"/>
                  <a:pt x="792" y="1043"/>
                  <a:pt x="792" y="1043"/>
                </a:cubicBezTo>
                <a:cubicBezTo>
                  <a:pt x="791" y="1043"/>
                  <a:pt x="791" y="1044"/>
                  <a:pt x="791" y="1044"/>
                </a:cubicBezTo>
                <a:cubicBezTo>
                  <a:pt x="792" y="1045"/>
                  <a:pt x="793" y="1044"/>
                  <a:pt x="794" y="1043"/>
                </a:cubicBezTo>
                <a:cubicBezTo>
                  <a:pt x="795" y="1043"/>
                  <a:pt x="795" y="1043"/>
                  <a:pt x="795" y="1043"/>
                </a:cubicBezTo>
                <a:cubicBezTo>
                  <a:pt x="796" y="1043"/>
                  <a:pt x="797" y="1043"/>
                  <a:pt x="797" y="1044"/>
                </a:cubicBezTo>
                <a:cubicBezTo>
                  <a:pt x="796" y="1044"/>
                  <a:pt x="796" y="1044"/>
                  <a:pt x="796" y="1045"/>
                </a:cubicBezTo>
                <a:cubicBezTo>
                  <a:pt x="796" y="1045"/>
                  <a:pt x="797" y="1045"/>
                  <a:pt x="797" y="1045"/>
                </a:cubicBezTo>
                <a:cubicBezTo>
                  <a:pt x="798" y="1045"/>
                  <a:pt x="798" y="1044"/>
                  <a:pt x="798" y="1044"/>
                </a:cubicBezTo>
                <a:cubicBezTo>
                  <a:pt x="798" y="1044"/>
                  <a:pt x="798" y="1044"/>
                  <a:pt x="799" y="1044"/>
                </a:cubicBezTo>
                <a:cubicBezTo>
                  <a:pt x="799" y="1044"/>
                  <a:pt x="799" y="1043"/>
                  <a:pt x="800" y="1043"/>
                </a:cubicBezTo>
                <a:cubicBezTo>
                  <a:pt x="800" y="1043"/>
                  <a:pt x="800" y="1043"/>
                  <a:pt x="801" y="1043"/>
                </a:cubicBezTo>
                <a:cubicBezTo>
                  <a:pt x="801" y="1043"/>
                  <a:pt x="801" y="1043"/>
                  <a:pt x="801" y="1043"/>
                </a:cubicBezTo>
                <a:cubicBezTo>
                  <a:pt x="802" y="1043"/>
                  <a:pt x="802" y="1043"/>
                  <a:pt x="802" y="1042"/>
                </a:cubicBezTo>
                <a:cubicBezTo>
                  <a:pt x="802" y="1042"/>
                  <a:pt x="802" y="1042"/>
                  <a:pt x="802" y="1042"/>
                </a:cubicBezTo>
                <a:cubicBezTo>
                  <a:pt x="802" y="1042"/>
                  <a:pt x="802" y="1042"/>
                  <a:pt x="802" y="1041"/>
                </a:cubicBezTo>
                <a:cubicBezTo>
                  <a:pt x="802" y="1041"/>
                  <a:pt x="802" y="1041"/>
                  <a:pt x="802" y="1041"/>
                </a:cubicBezTo>
                <a:cubicBezTo>
                  <a:pt x="802" y="1040"/>
                  <a:pt x="803" y="1040"/>
                  <a:pt x="804" y="1040"/>
                </a:cubicBezTo>
                <a:cubicBezTo>
                  <a:pt x="804" y="1040"/>
                  <a:pt x="806" y="1041"/>
                  <a:pt x="806" y="1040"/>
                </a:cubicBezTo>
                <a:cubicBezTo>
                  <a:pt x="806" y="1040"/>
                  <a:pt x="806" y="1040"/>
                  <a:pt x="806" y="1040"/>
                </a:cubicBezTo>
                <a:cubicBezTo>
                  <a:pt x="807" y="1039"/>
                  <a:pt x="807" y="1040"/>
                  <a:pt x="807" y="1040"/>
                </a:cubicBezTo>
                <a:cubicBezTo>
                  <a:pt x="808" y="1041"/>
                  <a:pt x="808" y="1040"/>
                  <a:pt x="809" y="1040"/>
                </a:cubicBezTo>
                <a:cubicBezTo>
                  <a:pt x="809" y="1040"/>
                  <a:pt x="809" y="1040"/>
                  <a:pt x="809" y="1040"/>
                </a:cubicBezTo>
                <a:cubicBezTo>
                  <a:pt x="810" y="1039"/>
                  <a:pt x="810" y="1038"/>
                  <a:pt x="810" y="1038"/>
                </a:cubicBezTo>
                <a:cubicBezTo>
                  <a:pt x="811" y="1038"/>
                  <a:pt x="811" y="1039"/>
                  <a:pt x="811" y="1038"/>
                </a:cubicBezTo>
                <a:cubicBezTo>
                  <a:pt x="812" y="1038"/>
                  <a:pt x="812" y="1037"/>
                  <a:pt x="813" y="1036"/>
                </a:cubicBezTo>
                <a:cubicBezTo>
                  <a:pt x="813" y="1036"/>
                  <a:pt x="813" y="1036"/>
                  <a:pt x="813" y="1036"/>
                </a:cubicBezTo>
                <a:cubicBezTo>
                  <a:pt x="813" y="1036"/>
                  <a:pt x="813" y="1036"/>
                  <a:pt x="813" y="1036"/>
                </a:cubicBezTo>
                <a:cubicBezTo>
                  <a:pt x="814" y="1036"/>
                  <a:pt x="814" y="1036"/>
                  <a:pt x="814" y="1036"/>
                </a:cubicBezTo>
                <a:cubicBezTo>
                  <a:pt x="815" y="1036"/>
                  <a:pt x="816" y="1035"/>
                  <a:pt x="816" y="1034"/>
                </a:cubicBezTo>
                <a:cubicBezTo>
                  <a:pt x="816" y="1034"/>
                  <a:pt x="816" y="1034"/>
                  <a:pt x="817" y="1034"/>
                </a:cubicBezTo>
                <a:cubicBezTo>
                  <a:pt x="817" y="1034"/>
                  <a:pt x="817" y="1034"/>
                  <a:pt x="818" y="1034"/>
                </a:cubicBezTo>
                <a:cubicBezTo>
                  <a:pt x="819" y="1034"/>
                  <a:pt x="820" y="1034"/>
                  <a:pt x="822" y="1034"/>
                </a:cubicBezTo>
                <a:cubicBezTo>
                  <a:pt x="823" y="1034"/>
                  <a:pt x="823" y="1034"/>
                  <a:pt x="824" y="1034"/>
                </a:cubicBezTo>
                <a:cubicBezTo>
                  <a:pt x="825" y="1034"/>
                  <a:pt x="826" y="1034"/>
                  <a:pt x="826" y="1034"/>
                </a:cubicBezTo>
                <a:cubicBezTo>
                  <a:pt x="827" y="1034"/>
                  <a:pt x="827" y="1034"/>
                  <a:pt x="827" y="1035"/>
                </a:cubicBezTo>
                <a:cubicBezTo>
                  <a:pt x="828" y="1035"/>
                  <a:pt x="828" y="1035"/>
                  <a:pt x="828" y="1035"/>
                </a:cubicBezTo>
                <a:cubicBezTo>
                  <a:pt x="828" y="1035"/>
                  <a:pt x="829" y="1036"/>
                  <a:pt x="829" y="1036"/>
                </a:cubicBezTo>
                <a:cubicBezTo>
                  <a:pt x="828" y="1037"/>
                  <a:pt x="828" y="1037"/>
                  <a:pt x="827" y="1037"/>
                </a:cubicBezTo>
                <a:cubicBezTo>
                  <a:pt x="827" y="1037"/>
                  <a:pt x="827" y="1037"/>
                  <a:pt x="826" y="1037"/>
                </a:cubicBezTo>
                <a:cubicBezTo>
                  <a:pt x="826" y="1037"/>
                  <a:pt x="826" y="1037"/>
                  <a:pt x="825" y="1037"/>
                </a:cubicBezTo>
                <a:cubicBezTo>
                  <a:pt x="825" y="1037"/>
                  <a:pt x="825" y="1037"/>
                  <a:pt x="824" y="1037"/>
                </a:cubicBezTo>
                <a:cubicBezTo>
                  <a:pt x="824" y="1037"/>
                  <a:pt x="824" y="1037"/>
                  <a:pt x="823" y="1037"/>
                </a:cubicBezTo>
                <a:cubicBezTo>
                  <a:pt x="822" y="1037"/>
                  <a:pt x="823" y="1038"/>
                  <a:pt x="824" y="1038"/>
                </a:cubicBezTo>
                <a:cubicBezTo>
                  <a:pt x="824" y="1038"/>
                  <a:pt x="824" y="1038"/>
                  <a:pt x="824" y="1039"/>
                </a:cubicBezTo>
                <a:cubicBezTo>
                  <a:pt x="825" y="1039"/>
                  <a:pt x="825" y="1039"/>
                  <a:pt x="825" y="1039"/>
                </a:cubicBezTo>
                <a:cubicBezTo>
                  <a:pt x="825" y="1039"/>
                  <a:pt x="825" y="1039"/>
                  <a:pt x="826" y="1039"/>
                </a:cubicBezTo>
                <a:cubicBezTo>
                  <a:pt x="826" y="1039"/>
                  <a:pt x="826" y="1040"/>
                  <a:pt x="827" y="1041"/>
                </a:cubicBezTo>
                <a:cubicBezTo>
                  <a:pt x="827" y="1041"/>
                  <a:pt x="828" y="1040"/>
                  <a:pt x="828" y="1040"/>
                </a:cubicBezTo>
                <a:cubicBezTo>
                  <a:pt x="828" y="1040"/>
                  <a:pt x="828" y="1040"/>
                  <a:pt x="829" y="1040"/>
                </a:cubicBezTo>
                <a:cubicBezTo>
                  <a:pt x="829" y="1040"/>
                  <a:pt x="830" y="1040"/>
                  <a:pt x="831" y="1040"/>
                </a:cubicBezTo>
                <a:cubicBezTo>
                  <a:pt x="831" y="1040"/>
                  <a:pt x="831" y="1040"/>
                  <a:pt x="831" y="1041"/>
                </a:cubicBezTo>
                <a:cubicBezTo>
                  <a:pt x="832" y="1041"/>
                  <a:pt x="832" y="1041"/>
                  <a:pt x="832" y="1041"/>
                </a:cubicBezTo>
                <a:cubicBezTo>
                  <a:pt x="832" y="1042"/>
                  <a:pt x="831" y="1042"/>
                  <a:pt x="831" y="1042"/>
                </a:cubicBezTo>
                <a:cubicBezTo>
                  <a:pt x="831" y="1042"/>
                  <a:pt x="831" y="1042"/>
                  <a:pt x="832" y="1042"/>
                </a:cubicBezTo>
                <a:cubicBezTo>
                  <a:pt x="832" y="1042"/>
                  <a:pt x="832" y="1042"/>
                  <a:pt x="832" y="1042"/>
                </a:cubicBezTo>
                <a:cubicBezTo>
                  <a:pt x="832" y="1042"/>
                  <a:pt x="833" y="1041"/>
                  <a:pt x="833" y="1041"/>
                </a:cubicBezTo>
                <a:cubicBezTo>
                  <a:pt x="834" y="1041"/>
                  <a:pt x="833" y="1042"/>
                  <a:pt x="833" y="1042"/>
                </a:cubicBezTo>
                <a:cubicBezTo>
                  <a:pt x="834" y="1042"/>
                  <a:pt x="835" y="1042"/>
                  <a:pt x="834" y="1043"/>
                </a:cubicBezTo>
                <a:cubicBezTo>
                  <a:pt x="834" y="1043"/>
                  <a:pt x="834" y="1043"/>
                  <a:pt x="834" y="1043"/>
                </a:cubicBezTo>
                <a:cubicBezTo>
                  <a:pt x="835" y="1043"/>
                  <a:pt x="834" y="1042"/>
                  <a:pt x="834" y="1042"/>
                </a:cubicBezTo>
                <a:cubicBezTo>
                  <a:pt x="834" y="1042"/>
                  <a:pt x="834" y="1042"/>
                  <a:pt x="834" y="1041"/>
                </a:cubicBezTo>
                <a:cubicBezTo>
                  <a:pt x="834" y="1041"/>
                  <a:pt x="834" y="1041"/>
                  <a:pt x="834" y="1041"/>
                </a:cubicBezTo>
                <a:cubicBezTo>
                  <a:pt x="834" y="1041"/>
                  <a:pt x="833" y="1040"/>
                  <a:pt x="834" y="1039"/>
                </a:cubicBezTo>
                <a:cubicBezTo>
                  <a:pt x="834" y="1039"/>
                  <a:pt x="835" y="1040"/>
                  <a:pt x="835" y="1041"/>
                </a:cubicBezTo>
                <a:cubicBezTo>
                  <a:pt x="835" y="1041"/>
                  <a:pt x="835" y="1042"/>
                  <a:pt x="836" y="1042"/>
                </a:cubicBezTo>
                <a:cubicBezTo>
                  <a:pt x="837" y="1042"/>
                  <a:pt x="837" y="1042"/>
                  <a:pt x="838" y="1042"/>
                </a:cubicBezTo>
                <a:cubicBezTo>
                  <a:pt x="839" y="1042"/>
                  <a:pt x="839" y="1042"/>
                  <a:pt x="840" y="1042"/>
                </a:cubicBezTo>
                <a:cubicBezTo>
                  <a:pt x="840" y="1042"/>
                  <a:pt x="840" y="1042"/>
                  <a:pt x="841" y="1042"/>
                </a:cubicBezTo>
                <a:cubicBezTo>
                  <a:pt x="841" y="1042"/>
                  <a:pt x="841" y="1042"/>
                  <a:pt x="841" y="1042"/>
                </a:cubicBezTo>
                <a:cubicBezTo>
                  <a:pt x="842" y="1042"/>
                  <a:pt x="842" y="1042"/>
                  <a:pt x="842" y="1041"/>
                </a:cubicBezTo>
                <a:cubicBezTo>
                  <a:pt x="842" y="1041"/>
                  <a:pt x="842" y="1042"/>
                  <a:pt x="843" y="1042"/>
                </a:cubicBezTo>
                <a:cubicBezTo>
                  <a:pt x="843" y="1042"/>
                  <a:pt x="843" y="1043"/>
                  <a:pt x="843" y="1043"/>
                </a:cubicBezTo>
                <a:cubicBezTo>
                  <a:pt x="844" y="1043"/>
                  <a:pt x="844" y="1043"/>
                  <a:pt x="844" y="1044"/>
                </a:cubicBezTo>
                <a:cubicBezTo>
                  <a:pt x="845" y="1044"/>
                  <a:pt x="845" y="1044"/>
                  <a:pt x="845" y="1045"/>
                </a:cubicBezTo>
                <a:cubicBezTo>
                  <a:pt x="846" y="1045"/>
                  <a:pt x="846" y="1045"/>
                  <a:pt x="846" y="1045"/>
                </a:cubicBezTo>
                <a:cubicBezTo>
                  <a:pt x="846" y="1045"/>
                  <a:pt x="847" y="1045"/>
                  <a:pt x="847" y="1045"/>
                </a:cubicBezTo>
                <a:cubicBezTo>
                  <a:pt x="847" y="1045"/>
                  <a:pt x="847" y="1045"/>
                  <a:pt x="848" y="1046"/>
                </a:cubicBezTo>
                <a:cubicBezTo>
                  <a:pt x="848" y="1046"/>
                  <a:pt x="848" y="1046"/>
                  <a:pt x="848" y="1046"/>
                </a:cubicBezTo>
                <a:cubicBezTo>
                  <a:pt x="849" y="1046"/>
                  <a:pt x="849" y="1046"/>
                  <a:pt x="849" y="1046"/>
                </a:cubicBezTo>
                <a:cubicBezTo>
                  <a:pt x="850" y="1046"/>
                  <a:pt x="849" y="1046"/>
                  <a:pt x="850" y="1046"/>
                </a:cubicBezTo>
                <a:cubicBezTo>
                  <a:pt x="850" y="1046"/>
                  <a:pt x="850" y="1046"/>
                  <a:pt x="850" y="1046"/>
                </a:cubicBezTo>
                <a:cubicBezTo>
                  <a:pt x="851" y="1046"/>
                  <a:pt x="851" y="1046"/>
                  <a:pt x="851" y="1046"/>
                </a:cubicBezTo>
                <a:cubicBezTo>
                  <a:pt x="852" y="1046"/>
                  <a:pt x="852" y="1047"/>
                  <a:pt x="852" y="1047"/>
                </a:cubicBezTo>
                <a:cubicBezTo>
                  <a:pt x="852" y="1047"/>
                  <a:pt x="853" y="1047"/>
                  <a:pt x="853" y="1047"/>
                </a:cubicBezTo>
                <a:cubicBezTo>
                  <a:pt x="853" y="1047"/>
                  <a:pt x="853" y="1047"/>
                  <a:pt x="854" y="1047"/>
                </a:cubicBezTo>
                <a:cubicBezTo>
                  <a:pt x="854" y="1047"/>
                  <a:pt x="854" y="1047"/>
                  <a:pt x="855" y="1047"/>
                </a:cubicBezTo>
                <a:cubicBezTo>
                  <a:pt x="855" y="1047"/>
                  <a:pt x="855" y="1047"/>
                  <a:pt x="856" y="1048"/>
                </a:cubicBezTo>
                <a:cubicBezTo>
                  <a:pt x="856" y="1048"/>
                  <a:pt x="857" y="1048"/>
                  <a:pt x="857" y="1048"/>
                </a:cubicBezTo>
                <a:cubicBezTo>
                  <a:pt x="858" y="1048"/>
                  <a:pt x="858" y="1047"/>
                  <a:pt x="858" y="1047"/>
                </a:cubicBezTo>
                <a:cubicBezTo>
                  <a:pt x="859" y="1047"/>
                  <a:pt x="859" y="1047"/>
                  <a:pt x="860" y="1047"/>
                </a:cubicBezTo>
                <a:cubicBezTo>
                  <a:pt x="860" y="1047"/>
                  <a:pt x="861" y="1047"/>
                  <a:pt x="861" y="1047"/>
                </a:cubicBezTo>
                <a:cubicBezTo>
                  <a:pt x="862" y="1047"/>
                  <a:pt x="862" y="1047"/>
                  <a:pt x="862" y="1047"/>
                </a:cubicBezTo>
                <a:cubicBezTo>
                  <a:pt x="862" y="1048"/>
                  <a:pt x="861" y="1047"/>
                  <a:pt x="862" y="1048"/>
                </a:cubicBezTo>
                <a:cubicBezTo>
                  <a:pt x="862" y="1048"/>
                  <a:pt x="863" y="1048"/>
                  <a:pt x="863" y="1048"/>
                </a:cubicBezTo>
                <a:cubicBezTo>
                  <a:pt x="863" y="1048"/>
                  <a:pt x="864" y="1049"/>
                  <a:pt x="864" y="1050"/>
                </a:cubicBezTo>
                <a:cubicBezTo>
                  <a:pt x="864" y="1050"/>
                  <a:pt x="864" y="1051"/>
                  <a:pt x="864" y="1052"/>
                </a:cubicBezTo>
                <a:cubicBezTo>
                  <a:pt x="864" y="1052"/>
                  <a:pt x="865" y="1052"/>
                  <a:pt x="865" y="1053"/>
                </a:cubicBezTo>
                <a:cubicBezTo>
                  <a:pt x="865" y="1053"/>
                  <a:pt x="865" y="1053"/>
                  <a:pt x="865" y="1054"/>
                </a:cubicBezTo>
                <a:cubicBezTo>
                  <a:pt x="865" y="1054"/>
                  <a:pt x="866" y="1054"/>
                  <a:pt x="866" y="1055"/>
                </a:cubicBezTo>
                <a:cubicBezTo>
                  <a:pt x="867" y="1055"/>
                  <a:pt x="868" y="1056"/>
                  <a:pt x="869" y="1057"/>
                </a:cubicBezTo>
                <a:cubicBezTo>
                  <a:pt x="870" y="1058"/>
                  <a:pt x="870" y="1058"/>
                  <a:pt x="871" y="1058"/>
                </a:cubicBezTo>
                <a:cubicBezTo>
                  <a:pt x="871" y="1058"/>
                  <a:pt x="871" y="1058"/>
                  <a:pt x="872" y="1058"/>
                </a:cubicBezTo>
                <a:cubicBezTo>
                  <a:pt x="872" y="1057"/>
                  <a:pt x="872" y="1058"/>
                  <a:pt x="873" y="1058"/>
                </a:cubicBezTo>
                <a:cubicBezTo>
                  <a:pt x="873" y="1058"/>
                  <a:pt x="873" y="1058"/>
                  <a:pt x="874" y="1058"/>
                </a:cubicBezTo>
                <a:cubicBezTo>
                  <a:pt x="874" y="1058"/>
                  <a:pt x="875" y="1058"/>
                  <a:pt x="875" y="1058"/>
                </a:cubicBezTo>
                <a:cubicBezTo>
                  <a:pt x="875" y="1058"/>
                  <a:pt x="875" y="1058"/>
                  <a:pt x="876" y="1058"/>
                </a:cubicBezTo>
                <a:cubicBezTo>
                  <a:pt x="876" y="1058"/>
                  <a:pt x="877" y="1058"/>
                  <a:pt x="878" y="1058"/>
                </a:cubicBezTo>
                <a:cubicBezTo>
                  <a:pt x="878" y="1058"/>
                  <a:pt x="878" y="1058"/>
                  <a:pt x="879" y="1059"/>
                </a:cubicBezTo>
                <a:cubicBezTo>
                  <a:pt x="879" y="1059"/>
                  <a:pt x="879" y="1059"/>
                  <a:pt x="880" y="1059"/>
                </a:cubicBezTo>
                <a:cubicBezTo>
                  <a:pt x="880" y="1059"/>
                  <a:pt x="879" y="1059"/>
                  <a:pt x="879" y="1060"/>
                </a:cubicBezTo>
                <a:cubicBezTo>
                  <a:pt x="879" y="1060"/>
                  <a:pt x="880" y="1060"/>
                  <a:pt x="880" y="1060"/>
                </a:cubicBezTo>
                <a:cubicBezTo>
                  <a:pt x="880" y="1060"/>
                  <a:pt x="881" y="1060"/>
                  <a:pt x="881" y="1060"/>
                </a:cubicBezTo>
                <a:cubicBezTo>
                  <a:pt x="881" y="1060"/>
                  <a:pt x="881" y="1060"/>
                  <a:pt x="881" y="1060"/>
                </a:cubicBezTo>
                <a:cubicBezTo>
                  <a:pt x="881" y="1060"/>
                  <a:pt x="881" y="1060"/>
                  <a:pt x="881" y="1061"/>
                </a:cubicBezTo>
                <a:cubicBezTo>
                  <a:pt x="881" y="1061"/>
                  <a:pt x="881" y="1061"/>
                  <a:pt x="881" y="1062"/>
                </a:cubicBezTo>
                <a:cubicBezTo>
                  <a:pt x="880" y="1062"/>
                  <a:pt x="880" y="1062"/>
                  <a:pt x="880" y="1063"/>
                </a:cubicBezTo>
                <a:cubicBezTo>
                  <a:pt x="880" y="1063"/>
                  <a:pt x="880" y="1063"/>
                  <a:pt x="879" y="1063"/>
                </a:cubicBezTo>
                <a:cubicBezTo>
                  <a:pt x="879" y="1063"/>
                  <a:pt x="879" y="1063"/>
                  <a:pt x="879" y="1063"/>
                </a:cubicBezTo>
                <a:cubicBezTo>
                  <a:pt x="878" y="1064"/>
                  <a:pt x="878" y="1064"/>
                  <a:pt x="878" y="1064"/>
                </a:cubicBezTo>
                <a:cubicBezTo>
                  <a:pt x="877" y="1064"/>
                  <a:pt x="877" y="1064"/>
                  <a:pt x="876" y="1065"/>
                </a:cubicBezTo>
                <a:cubicBezTo>
                  <a:pt x="876" y="1065"/>
                  <a:pt x="875" y="1066"/>
                  <a:pt x="874" y="1066"/>
                </a:cubicBezTo>
                <a:cubicBezTo>
                  <a:pt x="874" y="1066"/>
                  <a:pt x="874" y="1067"/>
                  <a:pt x="874" y="1067"/>
                </a:cubicBezTo>
                <a:cubicBezTo>
                  <a:pt x="874" y="1067"/>
                  <a:pt x="874" y="1067"/>
                  <a:pt x="873" y="1068"/>
                </a:cubicBezTo>
                <a:cubicBezTo>
                  <a:pt x="873" y="1068"/>
                  <a:pt x="873" y="1068"/>
                  <a:pt x="874" y="1069"/>
                </a:cubicBezTo>
                <a:cubicBezTo>
                  <a:pt x="874" y="1069"/>
                  <a:pt x="874" y="1068"/>
                  <a:pt x="875" y="1068"/>
                </a:cubicBezTo>
                <a:cubicBezTo>
                  <a:pt x="875" y="1068"/>
                  <a:pt x="875" y="1068"/>
                  <a:pt x="875" y="1068"/>
                </a:cubicBezTo>
                <a:cubicBezTo>
                  <a:pt x="876" y="1068"/>
                  <a:pt x="877" y="1069"/>
                  <a:pt x="878" y="1068"/>
                </a:cubicBezTo>
                <a:cubicBezTo>
                  <a:pt x="878" y="1068"/>
                  <a:pt x="878" y="1068"/>
                  <a:pt x="878" y="1068"/>
                </a:cubicBezTo>
                <a:cubicBezTo>
                  <a:pt x="879" y="1068"/>
                  <a:pt x="879" y="1068"/>
                  <a:pt x="879" y="1068"/>
                </a:cubicBezTo>
                <a:cubicBezTo>
                  <a:pt x="879" y="1068"/>
                  <a:pt x="879" y="1068"/>
                  <a:pt x="879" y="1067"/>
                </a:cubicBezTo>
                <a:cubicBezTo>
                  <a:pt x="880" y="1067"/>
                  <a:pt x="880" y="1067"/>
                  <a:pt x="880" y="1067"/>
                </a:cubicBezTo>
                <a:cubicBezTo>
                  <a:pt x="880" y="1068"/>
                  <a:pt x="880" y="1068"/>
                  <a:pt x="880" y="1068"/>
                </a:cubicBezTo>
                <a:cubicBezTo>
                  <a:pt x="881" y="1068"/>
                  <a:pt x="881" y="1068"/>
                  <a:pt x="881" y="1068"/>
                </a:cubicBezTo>
                <a:cubicBezTo>
                  <a:pt x="881" y="1068"/>
                  <a:pt x="882" y="1068"/>
                  <a:pt x="882" y="1068"/>
                </a:cubicBezTo>
                <a:cubicBezTo>
                  <a:pt x="883" y="1068"/>
                  <a:pt x="883" y="1068"/>
                  <a:pt x="883" y="1067"/>
                </a:cubicBezTo>
                <a:cubicBezTo>
                  <a:pt x="884" y="1067"/>
                  <a:pt x="885" y="1067"/>
                  <a:pt x="885" y="1067"/>
                </a:cubicBezTo>
                <a:cubicBezTo>
                  <a:pt x="887" y="1067"/>
                  <a:pt x="888" y="1067"/>
                  <a:pt x="890" y="1066"/>
                </a:cubicBezTo>
                <a:cubicBezTo>
                  <a:pt x="890" y="1066"/>
                  <a:pt x="891" y="1066"/>
                  <a:pt x="892" y="1066"/>
                </a:cubicBezTo>
                <a:cubicBezTo>
                  <a:pt x="892" y="1067"/>
                  <a:pt x="893" y="1067"/>
                  <a:pt x="894" y="1067"/>
                </a:cubicBezTo>
                <a:close/>
                <a:moveTo>
                  <a:pt x="850" y="1070"/>
                </a:moveTo>
                <a:cubicBezTo>
                  <a:pt x="850" y="1070"/>
                  <a:pt x="850" y="1070"/>
                  <a:pt x="850" y="1070"/>
                </a:cubicBezTo>
                <a:cubicBezTo>
                  <a:pt x="850" y="1070"/>
                  <a:pt x="849" y="1070"/>
                  <a:pt x="849" y="1070"/>
                </a:cubicBezTo>
                <a:cubicBezTo>
                  <a:pt x="849" y="1071"/>
                  <a:pt x="850" y="1070"/>
                  <a:pt x="850" y="1070"/>
                </a:cubicBezTo>
                <a:cubicBezTo>
                  <a:pt x="850" y="1070"/>
                  <a:pt x="850" y="1070"/>
                  <a:pt x="850" y="1070"/>
                </a:cubicBezTo>
                <a:cubicBezTo>
                  <a:pt x="850" y="1070"/>
                  <a:pt x="850" y="1070"/>
                  <a:pt x="851" y="1070"/>
                </a:cubicBezTo>
                <a:cubicBezTo>
                  <a:pt x="851" y="1070"/>
                  <a:pt x="851" y="1069"/>
                  <a:pt x="850" y="1070"/>
                </a:cubicBezTo>
                <a:close/>
                <a:moveTo>
                  <a:pt x="1025" y="1083"/>
                </a:moveTo>
                <a:cubicBezTo>
                  <a:pt x="1024" y="1083"/>
                  <a:pt x="1024" y="1084"/>
                  <a:pt x="1024" y="1084"/>
                </a:cubicBezTo>
                <a:cubicBezTo>
                  <a:pt x="1025" y="1084"/>
                  <a:pt x="1025" y="1084"/>
                  <a:pt x="1025" y="1084"/>
                </a:cubicBezTo>
                <a:cubicBezTo>
                  <a:pt x="1025" y="1083"/>
                  <a:pt x="1026" y="1084"/>
                  <a:pt x="1026" y="1083"/>
                </a:cubicBezTo>
                <a:cubicBezTo>
                  <a:pt x="1026" y="1083"/>
                  <a:pt x="1025" y="1083"/>
                  <a:pt x="1025" y="1083"/>
                </a:cubicBezTo>
                <a:close/>
                <a:moveTo>
                  <a:pt x="1019" y="1085"/>
                </a:moveTo>
                <a:cubicBezTo>
                  <a:pt x="1018" y="1084"/>
                  <a:pt x="1017" y="1085"/>
                  <a:pt x="1018" y="1085"/>
                </a:cubicBezTo>
                <a:cubicBezTo>
                  <a:pt x="1018" y="1085"/>
                  <a:pt x="1019" y="1085"/>
                  <a:pt x="1019" y="1085"/>
                </a:cubicBezTo>
                <a:cubicBezTo>
                  <a:pt x="1019" y="1086"/>
                  <a:pt x="1019" y="1086"/>
                  <a:pt x="1019" y="1086"/>
                </a:cubicBezTo>
                <a:cubicBezTo>
                  <a:pt x="1020" y="1086"/>
                  <a:pt x="1019" y="1085"/>
                  <a:pt x="1019" y="1085"/>
                </a:cubicBezTo>
                <a:close/>
                <a:moveTo>
                  <a:pt x="1025" y="1080"/>
                </a:moveTo>
                <a:cubicBezTo>
                  <a:pt x="1025" y="1080"/>
                  <a:pt x="1025" y="1080"/>
                  <a:pt x="1024" y="1080"/>
                </a:cubicBezTo>
                <a:cubicBezTo>
                  <a:pt x="1024" y="1080"/>
                  <a:pt x="1024" y="1081"/>
                  <a:pt x="1024" y="1081"/>
                </a:cubicBezTo>
                <a:cubicBezTo>
                  <a:pt x="1024" y="1081"/>
                  <a:pt x="1025" y="1080"/>
                  <a:pt x="1025" y="1080"/>
                </a:cubicBezTo>
                <a:cubicBezTo>
                  <a:pt x="1025" y="1081"/>
                  <a:pt x="1025" y="1081"/>
                  <a:pt x="1026" y="1081"/>
                </a:cubicBezTo>
                <a:cubicBezTo>
                  <a:pt x="1026" y="1080"/>
                  <a:pt x="1025" y="1080"/>
                  <a:pt x="1025" y="1080"/>
                </a:cubicBezTo>
                <a:close/>
                <a:moveTo>
                  <a:pt x="1023" y="1085"/>
                </a:moveTo>
                <a:cubicBezTo>
                  <a:pt x="1022" y="1085"/>
                  <a:pt x="1022" y="1085"/>
                  <a:pt x="1022" y="1085"/>
                </a:cubicBezTo>
                <a:cubicBezTo>
                  <a:pt x="1023" y="1085"/>
                  <a:pt x="1023" y="1085"/>
                  <a:pt x="1023" y="1085"/>
                </a:cubicBezTo>
                <a:close/>
                <a:moveTo>
                  <a:pt x="998" y="750"/>
                </a:moveTo>
                <a:cubicBezTo>
                  <a:pt x="998" y="750"/>
                  <a:pt x="999" y="750"/>
                  <a:pt x="999" y="750"/>
                </a:cubicBezTo>
                <a:cubicBezTo>
                  <a:pt x="999" y="749"/>
                  <a:pt x="998" y="750"/>
                  <a:pt x="998" y="750"/>
                </a:cubicBezTo>
                <a:cubicBezTo>
                  <a:pt x="997" y="750"/>
                  <a:pt x="997" y="751"/>
                  <a:pt x="997" y="751"/>
                </a:cubicBezTo>
                <a:cubicBezTo>
                  <a:pt x="998" y="751"/>
                  <a:pt x="998" y="750"/>
                  <a:pt x="998" y="750"/>
                </a:cubicBezTo>
                <a:close/>
                <a:moveTo>
                  <a:pt x="831" y="1046"/>
                </a:moveTo>
                <a:cubicBezTo>
                  <a:pt x="831" y="1046"/>
                  <a:pt x="831" y="1047"/>
                  <a:pt x="831" y="1047"/>
                </a:cubicBezTo>
                <a:cubicBezTo>
                  <a:pt x="830" y="1047"/>
                  <a:pt x="830" y="1047"/>
                  <a:pt x="830" y="1047"/>
                </a:cubicBezTo>
                <a:cubicBezTo>
                  <a:pt x="829" y="1047"/>
                  <a:pt x="828" y="1047"/>
                  <a:pt x="828" y="1048"/>
                </a:cubicBezTo>
                <a:cubicBezTo>
                  <a:pt x="828" y="1048"/>
                  <a:pt x="829" y="1048"/>
                  <a:pt x="830" y="1048"/>
                </a:cubicBezTo>
                <a:cubicBezTo>
                  <a:pt x="830" y="1047"/>
                  <a:pt x="830" y="1047"/>
                  <a:pt x="831" y="1047"/>
                </a:cubicBezTo>
                <a:cubicBezTo>
                  <a:pt x="831" y="1047"/>
                  <a:pt x="832" y="1047"/>
                  <a:pt x="831" y="1046"/>
                </a:cubicBezTo>
                <a:close/>
                <a:moveTo>
                  <a:pt x="1020" y="1093"/>
                </a:moveTo>
                <a:cubicBezTo>
                  <a:pt x="1020" y="1093"/>
                  <a:pt x="1021" y="1093"/>
                  <a:pt x="1021" y="1093"/>
                </a:cubicBezTo>
                <a:cubicBezTo>
                  <a:pt x="1021" y="1093"/>
                  <a:pt x="1022" y="1093"/>
                  <a:pt x="1022" y="1093"/>
                </a:cubicBezTo>
                <a:cubicBezTo>
                  <a:pt x="1022" y="1093"/>
                  <a:pt x="1023" y="1093"/>
                  <a:pt x="1023" y="1092"/>
                </a:cubicBezTo>
                <a:cubicBezTo>
                  <a:pt x="1022" y="1092"/>
                  <a:pt x="1022" y="1092"/>
                  <a:pt x="1022" y="1092"/>
                </a:cubicBezTo>
                <a:cubicBezTo>
                  <a:pt x="1022" y="1092"/>
                  <a:pt x="1022" y="1092"/>
                  <a:pt x="1022" y="1092"/>
                </a:cubicBezTo>
                <a:cubicBezTo>
                  <a:pt x="1021" y="1092"/>
                  <a:pt x="1021" y="1092"/>
                  <a:pt x="1021" y="1092"/>
                </a:cubicBezTo>
                <a:cubicBezTo>
                  <a:pt x="1021" y="1092"/>
                  <a:pt x="1020" y="1092"/>
                  <a:pt x="1020" y="1092"/>
                </a:cubicBezTo>
                <a:cubicBezTo>
                  <a:pt x="1019" y="1092"/>
                  <a:pt x="1019" y="1093"/>
                  <a:pt x="1020" y="1093"/>
                </a:cubicBezTo>
                <a:cubicBezTo>
                  <a:pt x="1020" y="1093"/>
                  <a:pt x="1020" y="1093"/>
                  <a:pt x="1020" y="1093"/>
                </a:cubicBezTo>
                <a:close/>
                <a:moveTo>
                  <a:pt x="1022" y="915"/>
                </a:moveTo>
                <a:cubicBezTo>
                  <a:pt x="1023" y="914"/>
                  <a:pt x="1023" y="914"/>
                  <a:pt x="1022" y="913"/>
                </a:cubicBezTo>
                <a:cubicBezTo>
                  <a:pt x="1022" y="913"/>
                  <a:pt x="1021" y="914"/>
                  <a:pt x="1021" y="914"/>
                </a:cubicBezTo>
                <a:cubicBezTo>
                  <a:pt x="1020" y="915"/>
                  <a:pt x="1020" y="916"/>
                  <a:pt x="1021" y="916"/>
                </a:cubicBezTo>
                <a:cubicBezTo>
                  <a:pt x="1021" y="916"/>
                  <a:pt x="1022" y="916"/>
                  <a:pt x="1022" y="915"/>
                </a:cubicBezTo>
                <a:close/>
                <a:moveTo>
                  <a:pt x="1014" y="1172"/>
                </a:moveTo>
                <a:cubicBezTo>
                  <a:pt x="1015" y="1173"/>
                  <a:pt x="1015" y="1173"/>
                  <a:pt x="1016" y="1172"/>
                </a:cubicBezTo>
                <a:cubicBezTo>
                  <a:pt x="1016" y="1172"/>
                  <a:pt x="1016" y="1172"/>
                  <a:pt x="1016" y="1171"/>
                </a:cubicBezTo>
                <a:cubicBezTo>
                  <a:pt x="1015" y="1171"/>
                  <a:pt x="1013" y="1172"/>
                  <a:pt x="1014" y="1172"/>
                </a:cubicBezTo>
                <a:close/>
                <a:moveTo>
                  <a:pt x="994" y="1091"/>
                </a:moveTo>
                <a:cubicBezTo>
                  <a:pt x="995" y="1090"/>
                  <a:pt x="995" y="1091"/>
                  <a:pt x="996" y="1091"/>
                </a:cubicBezTo>
                <a:cubicBezTo>
                  <a:pt x="996" y="1091"/>
                  <a:pt x="997" y="1091"/>
                  <a:pt x="997" y="1091"/>
                </a:cubicBezTo>
                <a:cubicBezTo>
                  <a:pt x="997" y="1091"/>
                  <a:pt x="997" y="1090"/>
                  <a:pt x="997" y="1090"/>
                </a:cubicBezTo>
                <a:cubicBezTo>
                  <a:pt x="998" y="1090"/>
                  <a:pt x="999" y="1090"/>
                  <a:pt x="999" y="1090"/>
                </a:cubicBezTo>
                <a:cubicBezTo>
                  <a:pt x="999" y="1090"/>
                  <a:pt x="1000" y="1091"/>
                  <a:pt x="1000" y="1090"/>
                </a:cubicBezTo>
                <a:cubicBezTo>
                  <a:pt x="1000" y="1090"/>
                  <a:pt x="1001" y="1090"/>
                  <a:pt x="1001" y="1090"/>
                </a:cubicBezTo>
                <a:cubicBezTo>
                  <a:pt x="1001" y="1090"/>
                  <a:pt x="1002" y="1091"/>
                  <a:pt x="1002" y="1091"/>
                </a:cubicBezTo>
                <a:cubicBezTo>
                  <a:pt x="1002" y="1090"/>
                  <a:pt x="1002" y="1090"/>
                  <a:pt x="1003" y="1090"/>
                </a:cubicBezTo>
                <a:cubicBezTo>
                  <a:pt x="1003" y="1090"/>
                  <a:pt x="1004" y="1090"/>
                  <a:pt x="1004" y="1091"/>
                </a:cubicBezTo>
                <a:cubicBezTo>
                  <a:pt x="1005" y="1091"/>
                  <a:pt x="1005" y="1090"/>
                  <a:pt x="1006" y="1090"/>
                </a:cubicBezTo>
                <a:cubicBezTo>
                  <a:pt x="1006" y="1090"/>
                  <a:pt x="1007" y="1090"/>
                  <a:pt x="1007" y="1090"/>
                </a:cubicBezTo>
                <a:cubicBezTo>
                  <a:pt x="1007" y="1090"/>
                  <a:pt x="1007" y="1090"/>
                  <a:pt x="1007" y="1090"/>
                </a:cubicBezTo>
                <a:cubicBezTo>
                  <a:pt x="1008" y="1090"/>
                  <a:pt x="1008" y="1090"/>
                  <a:pt x="1008" y="1090"/>
                </a:cubicBezTo>
                <a:cubicBezTo>
                  <a:pt x="1008" y="1090"/>
                  <a:pt x="1009" y="1089"/>
                  <a:pt x="1009" y="1088"/>
                </a:cubicBezTo>
                <a:cubicBezTo>
                  <a:pt x="1009" y="1088"/>
                  <a:pt x="1010" y="1088"/>
                  <a:pt x="1010" y="1087"/>
                </a:cubicBezTo>
                <a:cubicBezTo>
                  <a:pt x="1011" y="1087"/>
                  <a:pt x="1011" y="1087"/>
                  <a:pt x="1011" y="1086"/>
                </a:cubicBezTo>
                <a:cubicBezTo>
                  <a:pt x="1011" y="1086"/>
                  <a:pt x="1010" y="1086"/>
                  <a:pt x="1010" y="1086"/>
                </a:cubicBezTo>
                <a:cubicBezTo>
                  <a:pt x="1011" y="1086"/>
                  <a:pt x="1011" y="1086"/>
                  <a:pt x="1011" y="1085"/>
                </a:cubicBezTo>
                <a:cubicBezTo>
                  <a:pt x="1011" y="1085"/>
                  <a:pt x="1011" y="1085"/>
                  <a:pt x="1010" y="1085"/>
                </a:cubicBezTo>
                <a:cubicBezTo>
                  <a:pt x="1010" y="1085"/>
                  <a:pt x="1010" y="1086"/>
                  <a:pt x="1010" y="1086"/>
                </a:cubicBezTo>
                <a:cubicBezTo>
                  <a:pt x="1010" y="1085"/>
                  <a:pt x="1010" y="1085"/>
                  <a:pt x="1010" y="1085"/>
                </a:cubicBezTo>
                <a:cubicBezTo>
                  <a:pt x="1009" y="1085"/>
                  <a:pt x="1009" y="1085"/>
                  <a:pt x="1009" y="1085"/>
                </a:cubicBezTo>
                <a:cubicBezTo>
                  <a:pt x="1008" y="1085"/>
                  <a:pt x="1008" y="1084"/>
                  <a:pt x="1007" y="1084"/>
                </a:cubicBezTo>
                <a:cubicBezTo>
                  <a:pt x="1007" y="1084"/>
                  <a:pt x="1006" y="1084"/>
                  <a:pt x="1005" y="1084"/>
                </a:cubicBezTo>
                <a:cubicBezTo>
                  <a:pt x="1005" y="1085"/>
                  <a:pt x="1004" y="1084"/>
                  <a:pt x="1003" y="1084"/>
                </a:cubicBezTo>
                <a:cubicBezTo>
                  <a:pt x="1003" y="1084"/>
                  <a:pt x="1003" y="1084"/>
                  <a:pt x="1002" y="1084"/>
                </a:cubicBezTo>
                <a:cubicBezTo>
                  <a:pt x="1002" y="1084"/>
                  <a:pt x="1002" y="1084"/>
                  <a:pt x="1001" y="1084"/>
                </a:cubicBezTo>
                <a:cubicBezTo>
                  <a:pt x="1001" y="1084"/>
                  <a:pt x="1000" y="1084"/>
                  <a:pt x="999" y="1084"/>
                </a:cubicBezTo>
                <a:cubicBezTo>
                  <a:pt x="999" y="1084"/>
                  <a:pt x="999" y="1084"/>
                  <a:pt x="998" y="1084"/>
                </a:cubicBezTo>
                <a:cubicBezTo>
                  <a:pt x="998" y="1084"/>
                  <a:pt x="998" y="1084"/>
                  <a:pt x="998" y="1084"/>
                </a:cubicBezTo>
                <a:cubicBezTo>
                  <a:pt x="997" y="1084"/>
                  <a:pt x="996" y="1084"/>
                  <a:pt x="996" y="1084"/>
                </a:cubicBezTo>
                <a:cubicBezTo>
                  <a:pt x="995" y="1084"/>
                  <a:pt x="994" y="1084"/>
                  <a:pt x="994" y="1084"/>
                </a:cubicBezTo>
                <a:cubicBezTo>
                  <a:pt x="993" y="1085"/>
                  <a:pt x="993" y="1085"/>
                  <a:pt x="993" y="1085"/>
                </a:cubicBezTo>
                <a:cubicBezTo>
                  <a:pt x="993" y="1085"/>
                  <a:pt x="993" y="1085"/>
                  <a:pt x="992" y="1086"/>
                </a:cubicBezTo>
                <a:cubicBezTo>
                  <a:pt x="992" y="1086"/>
                  <a:pt x="993" y="1087"/>
                  <a:pt x="993" y="1087"/>
                </a:cubicBezTo>
                <a:cubicBezTo>
                  <a:pt x="994" y="1088"/>
                  <a:pt x="993" y="1088"/>
                  <a:pt x="993" y="1089"/>
                </a:cubicBezTo>
                <a:cubicBezTo>
                  <a:pt x="993" y="1089"/>
                  <a:pt x="993" y="1089"/>
                  <a:pt x="993" y="1090"/>
                </a:cubicBezTo>
                <a:cubicBezTo>
                  <a:pt x="993" y="1090"/>
                  <a:pt x="993" y="1090"/>
                  <a:pt x="993" y="1090"/>
                </a:cubicBezTo>
                <a:cubicBezTo>
                  <a:pt x="992" y="1091"/>
                  <a:pt x="994" y="1091"/>
                  <a:pt x="994" y="1091"/>
                </a:cubicBezTo>
                <a:close/>
                <a:moveTo>
                  <a:pt x="1013" y="1088"/>
                </a:moveTo>
                <a:cubicBezTo>
                  <a:pt x="1013" y="1087"/>
                  <a:pt x="1011" y="1088"/>
                  <a:pt x="1011" y="1089"/>
                </a:cubicBezTo>
                <a:cubicBezTo>
                  <a:pt x="1012" y="1089"/>
                  <a:pt x="1012" y="1089"/>
                  <a:pt x="1012" y="1088"/>
                </a:cubicBezTo>
                <a:cubicBezTo>
                  <a:pt x="1013" y="1088"/>
                  <a:pt x="1013" y="1088"/>
                  <a:pt x="1013" y="1088"/>
                </a:cubicBezTo>
                <a:cubicBezTo>
                  <a:pt x="1014" y="1088"/>
                  <a:pt x="1014" y="1088"/>
                  <a:pt x="1014" y="1088"/>
                </a:cubicBezTo>
                <a:cubicBezTo>
                  <a:pt x="1014" y="1088"/>
                  <a:pt x="1014" y="1088"/>
                  <a:pt x="1014" y="1088"/>
                </a:cubicBezTo>
                <a:cubicBezTo>
                  <a:pt x="1014" y="1088"/>
                  <a:pt x="1014" y="1088"/>
                  <a:pt x="1014" y="1088"/>
                </a:cubicBezTo>
                <a:cubicBezTo>
                  <a:pt x="1014" y="1088"/>
                  <a:pt x="1013" y="1088"/>
                  <a:pt x="1013" y="1088"/>
                </a:cubicBezTo>
                <a:close/>
                <a:moveTo>
                  <a:pt x="1014" y="1085"/>
                </a:moveTo>
                <a:cubicBezTo>
                  <a:pt x="1014" y="1085"/>
                  <a:pt x="1014" y="1086"/>
                  <a:pt x="1014" y="1086"/>
                </a:cubicBezTo>
                <a:cubicBezTo>
                  <a:pt x="1015" y="1086"/>
                  <a:pt x="1015" y="1085"/>
                  <a:pt x="1014" y="1085"/>
                </a:cubicBezTo>
                <a:close/>
                <a:moveTo>
                  <a:pt x="1023" y="1083"/>
                </a:moveTo>
                <a:cubicBezTo>
                  <a:pt x="1023" y="1083"/>
                  <a:pt x="1023" y="1084"/>
                  <a:pt x="1023" y="1084"/>
                </a:cubicBezTo>
                <a:cubicBezTo>
                  <a:pt x="1023" y="1084"/>
                  <a:pt x="1022" y="1084"/>
                  <a:pt x="1022" y="1084"/>
                </a:cubicBezTo>
                <a:cubicBezTo>
                  <a:pt x="1022" y="1084"/>
                  <a:pt x="1022" y="1084"/>
                  <a:pt x="1021" y="1084"/>
                </a:cubicBezTo>
                <a:cubicBezTo>
                  <a:pt x="1021" y="1085"/>
                  <a:pt x="1020" y="1085"/>
                  <a:pt x="1020" y="1085"/>
                </a:cubicBezTo>
                <a:cubicBezTo>
                  <a:pt x="1020" y="1085"/>
                  <a:pt x="1020" y="1086"/>
                  <a:pt x="1021" y="1086"/>
                </a:cubicBezTo>
                <a:cubicBezTo>
                  <a:pt x="1021" y="1085"/>
                  <a:pt x="1021" y="1085"/>
                  <a:pt x="1022" y="1085"/>
                </a:cubicBezTo>
                <a:cubicBezTo>
                  <a:pt x="1022" y="1085"/>
                  <a:pt x="1022" y="1084"/>
                  <a:pt x="1022" y="1084"/>
                </a:cubicBezTo>
                <a:cubicBezTo>
                  <a:pt x="1023" y="1084"/>
                  <a:pt x="1023" y="1084"/>
                  <a:pt x="1023" y="1084"/>
                </a:cubicBezTo>
                <a:cubicBezTo>
                  <a:pt x="1023" y="1084"/>
                  <a:pt x="1023" y="1083"/>
                  <a:pt x="1023" y="1083"/>
                </a:cubicBezTo>
                <a:close/>
                <a:moveTo>
                  <a:pt x="843" y="1004"/>
                </a:moveTo>
                <a:cubicBezTo>
                  <a:pt x="842" y="1004"/>
                  <a:pt x="841" y="1006"/>
                  <a:pt x="841" y="1006"/>
                </a:cubicBezTo>
                <a:cubicBezTo>
                  <a:pt x="841" y="1006"/>
                  <a:pt x="842" y="1006"/>
                  <a:pt x="842" y="1006"/>
                </a:cubicBezTo>
                <a:cubicBezTo>
                  <a:pt x="842" y="1005"/>
                  <a:pt x="843" y="1005"/>
                  <a:pt x="843" y="1004"/>
                </a:cubicBezTo>
                <a:close/>
                <a:moveTo>
                  <a:pt x="841" y="1028"/>
                </a:moveTo>
                <a:cubicBezTo>
                  <a:pt x="841" y="1028"/>
                  <a:pt x="841" y="1028"/>
                  <a:pt x="841" y="1028"/>
                </a:cubicBezTo>
                <a:cubicBezTo>
                  <a:pt x="842" y="1028"/>
                  <a:pt x="842" y="1028"/>
                  <a:pt x="842" y="1029"/>
                </a:cubicBezTo>
                <a:cubicBezTo>
                  <a:pt x="842" y="1029"/>
                  <a:pt x="842" y="1028"/>
                  <a:pt x="842" y="1028"/>
                </a:cubicBezTo>
                <a:cubicBezTo>
                  <a:pt x="842" y="1028"/>
                  <a:pt x="842" y="1028"/>
                  <a:pt x="842" y="1028"/>
                </a:cubicBezTo>
                <a:cubicBezTo>
                  <a:pt x="841" y="1028"/>
                  <a:pt x="841" y="1028"/>
                  <a:pt x="841" y="1028"/>
                </a:cubicBezTo>
                <a:close/>
                <a:moveTo>
                  <a:pt x="837" y="1008"/>
                </a:moveTo>
                <a:cubicBezTo>
                  <a:pt x="837" y="1009"/>
                  <a:pt x="836" y="1009"/>
                  <a:pt x="836" y="1009"/>
                </a:cubicBezTo>
                <a:cubicBezTo>
                  <a:pt x="836" y="1009"/>
                  <a:pt x="835" y="1009"/>
                  <a:pt x="835" y="1009"/>
                </a:cubicBezTo>
                <a:cubicBezTo>
                  <a:pt x="835" y="1010"/>
                  <a:pt x="837" y="1009"/>
                  <a:pt x="837" y="1008"/>
                </a:cubicBezTo>
                <a:close/>
                <a:moveTo>
                  <a:pt x="909" y="1858"/>
                </a:moveTo>
                <a:cubicBezTo>
                  <a:pt x="909" y="1858"/>
                  <a:pt x="909" y="1858"/>
                  <a:pt x="909" y="1858"/>
                </a:cubicBezTo>
                <a:cubicBezTo>
                  <a:pt x="909" y="1858"/>
                  <a:pt x="909" y="1857"/>
                  <a:pt x="909" y="1857"/>
                </a:cubicBezTo>
                <a:cubicBezTo>
                  <a:pt x="909" y="1857"/>
                  <a:pt x="910" y="1857"/>
                  <a:pt x="910" y="1857"/>
                </a:cubicBezTo>
                <a:cubicBezTo>
                  <a:pt x="910" y="1856"/>
                  <a:pt x="910" y="1856"/>
                  <a:pt x="910" y="1856"/>
                </a:cubicBezTo>
                <a:cubicBezTo>
                  <a:pt x="909" y="1856"/>
                  <a:pt x="909" y="1857"/>
                  <a:pt x="909" y="1857"/>
                </a:cubicBezTo>
                <a:cubicBezTo>
                  <a:pt x="909" y="1857"/>
                  <a:pt x="909" y="1858"/>
                  <a:pt x="909" y="1858"/>
                </a:cubicBezTo>
                <a:close/>
                <a:moveTo>
                  <a:pt x="840" y="1007"/>
                </a:moveTo>
                <a:cubicBezTo>
                  <a:pt x="840" y="1007"/>
                  <a:pt x="838" y="1008"/>
                  <a:pt x="838" y="1008"/>
                </a:cubicBezTo>
                <a:cubicBezTo>
                  <a:pt x="839" y="1008"/>
                  <a:pt x="839" y="1008"/>
                  <a:pt x="839" y="1007"/>
                </a:cubicBezTo>
                <a:cubicBezTo>
                  <a:pt x="839" y="1007"/>
                  <a:pt x="840" y="1007"/>
                  <a:pt x="840" y="1007"/>
                </a:cubicBezTo>
                <a:close/>
                <a:moveTo>
                  <a:pt x="834" y="1010"/>
                </a:moveTo>
                <a:cubicBezTo>
                  <a:pt x="833" y="1010"/>
                  <a:pt x="833" y="1010"/>
                  <a:pt x="833" y="1010"/>
                </a:cubicBezTo>
                <a:cubicBezTo>
                  <a:pt x="833" y="1009"/>
                  <a:pt x="832" y="1010"/>
                  <a:pt x="833" y="1010"/>
                </a:cubicBezTo>
                <a:cubicBezTo>
                  <a:pt x="833" y="1010"/>
                  <a:pt x="834" y="1010"/>
                  <a:pt x="834" y="1010"/>
                </a:cubicBezTo>
                <a:close/>
                <a:moveTo>
                  <a:pt x="857" y="1036"/>
                </a:moveTo>
                <a:cubicBezTo>
                  <a:pt x="857" y="1036"/>
                  <a:pt x="858" y="1036"/>
                  <a:pt x="858" y="1036"/>
                </a:cubicBezTo>
                <a:cubicBezTo>
                  <a:pt x="858" y="1036"/>
                  <a:pt x="857" y="1035"/>
                  <a:pt x="857" y="1035"/>
                </a:cubicBezTo>
                <a:cubicBezTo>
                  <a:pt x="857" y="1034"/>
                  <a:pt x="857" y="1034"/>
                  <a:pt x="857" y="1035"/>
                </a:cubicBezTo>
                <a:cubicBezTo>
                  <a:pt x="857" y="1035"/>
                  <a:pt x="857" y="1035"/>
                  <a:pt x="857" y="1035"/>
                </a:cubicBezTo>
                <a:cubicBezTo>
                  <a:pt x="857" y="1035"/>
                  <a:pt x="856" y="1035"/>
                  <a:pt x="856" y="1035"/>
                </a:cubicBezTo>
                <a:cubicBezTo>
                  <a:pt x="856" y="1035"/>
                  <a:pt x="856" y="1035"/>
                  <a:pt x="856" y="1035"/>
                </a:cubicBezTo>
                <a:cubicBezTo>
                  <a:pt x="857" y="1036"/>
                  <a:pt x="857" y="1035"/>
                  <a:pt x="857" y="1035"/>
                </a:cubicBezTo>
                <a:cubicBezTo>
                  <a:pt x="857" y="1036"/>
                  <a:pt x="857" y="1036"/>
                  <a:pt x="857" y="1036"/>
                </a:cubicBezTo>
                <a:close/>
                <a:moveTo>
                  <a:pt x="844" y="1002"/>
                </a:moveTo>
                <a:cubicBezTo>
                  <a:pt x="844" y="1002"/>
                  <a:pt x="843" y="1003"/>
                  <a:pt x="843" y="1003"/>
                </a:cubicBezTo>
                <a:cubicBezTo>
                  <a:pt x="843" y="1004"/>
                  <a:pt x="844" y="1003"/>
                  <a:pt x="844" y="1003"/>
                </a:cubicBezTo>
                <a:cubicBezTo>
                  <a:pt x="844" y="1003"/>
                  <a:pt x="845" y="1002"/>
                  <a:pt x="845" y="1002"/>
                </a:cubicBezTo>
                <a:cubicBezTo>
                  <a:pt x="845" y="1001"/>
                  <a:pt x="844" y="1002"/>
                  <a:pt x="844" y="1002"/>
                </a:cubicBezTo>
                <a:close/>
                <a:moveTo>
                  <a:pt x="846" y="1030"/>
                </a:moveTo>
                <a:cubicBezTo>
                  <a:pt x="846" y="1030"/>
                  <a:pt x="847" y="1030"/>
                  <a:pt x="847" y="1030"/>
                </a:cubicBezTo>
                <a:cubicBezTo>
                  <a:pt x="847" y="1030"/>
                  <a:pt x="847" y="1030"/>
                  <a:pt x="847" y="1030"/>
                </a:cubicBezTo>
                <a:cubicBezTo>
                  <a:pt x="847" y="1030"/>
                  <a:pt x="846" y="1030"/>
                  <a:pt x="846" y="1030"/>
                </a:cubicBezTo>
                <a:cubicBezTo>
                  <a:pt x="846" y="1030"/>
                  <a:pt x="846" y="1030"/>
                  <a:pt x="846" y="1030"/>
                </a:cubicBezTo>
                <a:close/>
                <a:moveTo>
                  <a:pt x="849" y="1030"/>
                </a:moveTo>
                <a:cubicBezTo>
                  <a:pt x="849" y="1031"/>
                  <a:pt x="849" y="1031"/>
                  <a:pt x="849" y="1031"/>
                </a:cubicBezTo>
                <a:cubicBezTo>
                  <a:pt x="850" y="1031"/>
                  <a:pt x="850" y="1032"/>
                  <a:pt x="850" y="1032"/>
                </a:cubicBezTo>
                <a:cubicBezTo>
                  <a:pt x="851" y="1032"/>
                  <a:pt x="850" y="1031"/>
                  <a:pt x="850" y="1031"/>
                </a:cubicBezTo>
                <a:cubicBezTo>
                  <a:pt x="849" y="1031"/>
                  <a:pt x="849" y="1030"/>
                  <a:pt x="849" y="1030"/>
                </a:cubicBezTo>
                <a:close/>
                <a:moveTo>
                  <a:pt x="853" y="1033"/>
                </a:moveTo>
                <a:cubicBezTo>
                  <a:pt x="853" y="1033"/>
                  <a:pt x="853" y="1034"/>
                  <a:pt x="853" y="1034"/>
                </a:cubicBezTo>
                <a:cubicBezTo>
                  <a:pt x="853" y="1034"/>
                  <a:pt x="854" y="1034"/>
                  <a:pt x="854" y="1034"/>
                </a:cubicBezTo>
                <a:cubicBezTo>
                  <a:pt x="854" y="1034"/>
                  <a:pt x="854" y="1034"/>
                  <a:pt x="854" y="1035"/>
                </a:cubicBezTo>
                <a:cubicBezTo>
                  <a:pt x="855" y="1035"/>
                  <a:pt x="855" y="1034"/>
                  <a:pt x="855" y="1034"/>
                </a:cubicBezTo>
                <a:cubicBezTo>
                  <a:pt x="854" y="1034"/>
                  <a:pt x="854" y="1034"/>
                  <a:pt x="853" y="1034"/>
                </a:cubicBezTo>
                <a:cubicBezTo>
                  <a:pt x="853" y="1033"/>
                  <a:pt x="853" y="1033"/>
                  <a:pt x="853" y="1033"/>
                </a:cubicBezTo>
                <a:close/>
                <a:moveTo>
                  <a:pt x="821" y="1036"/>
                </a:moveTo>
                <a:cubicBezTo>
                  <a:pt x="820" y="1036"/>
                  <a:pt x="820" y="1037"/>
                  <a:pt x="820" y="1037"/>
                </a:cubicBezTo>
                <a:cubicBezTo>
                  <a:pt x="821" y="1037"/>
                  <a:pt x="821" y="1036"/>
                  <a:pt x="821" y="1036"/>
                </a:cubicBezTo>
                <a:close/>
                <a:moveTo>
                  <a:pt x="811" y="1045"/>
                </a:moveTo>
                <a:cubicBezTo>
                  <a:pt x="811" y="1045"/>
                  <a:pt x="811" y="1045"/>
                  <a:pt x="811" y="1045"/>
                </a:cubicBezTo>
                <a:cubicBezTo>
                  <a:pt x="811" y="1045"/>
                  <a:pt x="811" y="1045"/>
                  <a:pt x="811" y="1045"/>
                </a:cubicBezTo>
                <a:close/>
                <a:moveTo>
                  <a:pt x="830" y="1011"/>
                </a:moveTo>
                <a:cubicBezTo>
                  <a:pt x="830" y="1011"/>
                  <a:pt x="831" y="1011"/>
                  <a:pt x="831" y="1010"/>
                </a:cubicBezTo>
                <a:cubicBezTo>
                  <a:pt x="830" y="1010"/>
                  <a:pt x="830" y="1010"/>
                  <a:pt x="830" y="1010"/>
                </a:cubicBezTo>
                <a:cubicBezTo>
                  <a:pt x="829" y="1010"/>
                  <a:pt x="828" y="1011"/>
                  <a:pt x="828" y="1011"/>
                </a:cubicBezTo>
                <a:cubicBezTo>
                  <a:pt x="829" y="1011"/>
                  <a:pt x="829" y="1011"/>
                  <a:pt x="830" y="1011"/>
                </a:cubicBezTo>
                <a:close/>
                <a:moveTo>
                  <a:pt x="808" y="1043"/>
                </a:moveTo>
                <a:cubicBezTo>
                  <a:pt x="808" y="1043"/>
                  <a:pt x="809" y="1043"/>
                  <a:pt x="809" y="1043"/>
                </a:cubicBezTo>
                <a:cubicBezTo>
                  <a:pt x="809" y="1043"/>
                  <a:pt x="809" y="1043"/>
                  <a:pt x="809" y="1043"/>
                </a:cubicBezTo>
                <a:cubicBezTo>
                  <a:pt x="809" y="1043"/>
                  <a:pt x="808" y="1043"/>
                  <a:pt x="808" y="1043"/>
                </a:cubicBezTo>
                <a:close/>
                <a:moveTo>
                  <a:pt x="824" y="1047"/>
                </a:moveTo>
                <a:cubicBezTo>
                  <a:pt x="824" y="1047"/>
                  <a:pt x="823" y="1048"/>
                  <a:pt x="823" y="1048"/>
                </a:cubicBezTo>
                <a:cubicBezTo>
                  <a:pt x="824" y="1048"/>
                  <a:pt x="824" y="1048"/>
                  <a:pt x="825" y="1047"/>
                </a:cubicBezTo>
                <a:cubicBezTo>
                  <a:pt x="825" y="1047"/>
                  <a:pt x="827" y="1047"/>
                  <a:pt x="826" y="1047"/>
                </a:cubicBezTo>
                <a:cubicBezTo>
                  <a:pt x="826" y="1047"/>
                  <a:pt x="826" y="1047"/>
                  <a:pt x="826" y="1047"/>
                </a:cubicBezTo>
                <a:cubicBezTo>
                  <a:pt x="825" y="1047"/>
                  <a:pt x="825" y="1047"/>
                  <a:pt x="824" y="1047"/>
                </a:cubicBezTo>
                <a:close/>
                <a:moveTo>
                  <a:pt x="820" y="1048"/>
                </a:moveTo>
                <a:cubicBezTo>
                  <a:pt x="819" y="1048"/>
                  <a:pt x="819" y="1048"/>
                  <a:pt x="820" y="1048"/>
                </a:cubicBezTo>
                <a:cubicBezTo>
                  <a:pt x="820" y="1048"/>
                  <a:pt x="820" y="1048"/>
                  <a:pt x="820" y="1048"/>
                </a:cubicBezTo>
                <a:cubicBezTo>
                  <a:pt x="821" y="1048"/>
                  <a:pt x="821" y="1048"/>
                  <a:pt x="821" y="1048"/>
                </a:cubicBezTo>
                <a:cubicBezTo>
                  <a:pt x="821" y="1048"/>
                  <a:pt x="821" y="1048"/>
                  <a:pt x="822" y="1048"/>
                </a:cubicBezTo>
                <a:cubicBezTo>
                  <a:pt x="822" y="1047"/>
                  <a:pt x="821" y="1048"/>
                  <a:pt x="820" y="1048"/>
                </a:cubicBezTo>
                <a:cubicBezTo>
                  <a:pt x="820" y="1048"/>
                  <a:pt x="820" y="1047"/>
                  <a:pt x="820" y="1048"/>
                </a:cubicBezTo>
                <a:close/>
                <a:moveTo>
                  <a:pt x="818" y="1046"/>
                </a:moveTo>
                <a:cubicBezTo>
                  <a:pt x="818" y="1045"/>
                  <a:pt x="818" y="1046"/>
                  <a:pt x="818" y="1045"/>
                </a:cubicBezTo>
                <a:cubicBezTo>
                  <a:pt x="817" y="1045"/>
                  <a:pt x="817" y="1045"/>
                  <a:pt x="817" y="1045"/>
                </a:cubicBezTo>
                <a:cubicBezTo>
                  <a:pt x="817" y="1044"/>
                  <a:pt x="817" y="1044"/>
                  <a:pt x="817" y="1044"/>
                </a:cubicBezTo>
                <a:cubicBezTo>
                  <a:pt x="816" y="1044"/>
                  <a:pt x="816" y="1044"/>
                  <a:pt x="816" y="1043"/>
                </a:cubicBezTo>
                <a:cubicBezTo>
                  <a:pt x="815" y="1043"/>
                  <a:pt x="814" y="1043"/>
                  <a:pt x="814" y="1043"/>
                </a:cubicBezTo>
                <a:cubicBezTo>
                  <a:pt x="813" y="1043"/>
                  <a:pt x="813" y="1044"/>
                  <a:pt x="813" y="1044"/>
                </a:cubicBezTo>
                <a:cubicBezTo>
                  <a:pt x="813" y="1044"/>
                  <a:pt x="813" y="1044"/>
                  <a:pt x="812" y="1045"/>
                </a:cubicBezTo>
                <a:cubicBezTo>
                  <a:pt x="812" y="1045"/>
                  <a:pt x="812" y="1045"/>
                  <a:pt x="813" y="1046"/>
                </a:cubicBezTo>
                <a:cubicBezTo>
                  <a:pt x="813" y="1046"/>
                  <a:pt x="813" y="1046"/>
                  <a:pt x="813" y="1046"/>
                </a:cubicBezTo>
                <a:cubicBezTo>
                  <a:pt x="813" y="1047"/>
                  <a:pt x="813" y="1047"/>
                  <a:pt x="813" y="1047"/>
                </a:cubicBezTo>
                <a:cubicBezTo>
                  <a:pt x="813" y="1047"/>
                  <a:pt x="814" y="1047"/>
                  <a:pt x="814" y="1047"/>
                </a:cubicBezTo>
                <a:cubicBezTo>
                  <a:pt x="814" y="1048"/>
                  <a:pt x="814" y="1047"/>
                  <a:pt x="813" y="1048"/>
                </a:cubicBezTo>
                <a:cubicBezTo>
                  <a:pt x="813" y="1048"/>
                  <a:pt x="813" y="1048"/>
                  <a:pt x="813" y="1048"/>
                </a:cubicBezTo>
                <a:cubicBezTo>
                  <a:pt x="812" y="1048"/>
                  <a:pt x="812" y="1047"/>
                  <a:pt x="811" y="1047"/>
                </a:cubicBezTo>
                <a:cubicBezTo>
                  <a:pt x="811" y="1047"/>
                  <a:pt x="812" y="1048"/>
                  <a:pt x="812" y="1048"/>
                </a:cubicBezTo>
                <a:cubicBezTo>
                  <a:pt x="812" y="1048"/>
                  <a:pt x="812" y="1048"/>
                  <a:pt x="812" y="1049"/>
                </a:cubicBezTo>
                <a:cubicBezTo>
                  <a:pt x="813" y="1049"/>
                  <a:pt x="813" y="1049"/>
                  <a:pt x="813" y="1049"/>
                </a:cubicBezTo>
                <a:cubicBezTo>
                  <a:pt x="814" y="1049"/>
                  <a:pt x="814" y="1049"/>
                  <a:pt x="814" y="1049"/>
                </a:cubicBezTo>
                <a:cubicBezTo>
                  <a:pt x="815" y="1049"/>
                  <a:pt x="816" y="1049"/>
                  <a:pt x="816" y="1049"/>
                </a:cubicBezTo>
                <a:cubicBezTo>
                  <a:pt x="817" y="1048"/>
                  <a:pt x="819" y="1048"/>
                  <a:pt x="818" y="1047"/>
                </a:cubicBezTo>
                <a:cubicBezTo>
                  <a:pt x="818" y="1047"/>
                  <a:pt x="818" y="1047"/>
                  <a:pt x="818" y="1046"/>
                </a:cubicBezTo>
                <a:cubicBezTo>
                  <a:pt x="818" y="1046"/>
                  <a:pt x="819" y="1046"/>
                  <a:pt x="818" y="1046"/>
                </a:cubicBezTo>
                <a:close/>
                <a:moveTo>
                  <a:pt x="824" y="1012"/>
                </a:moveTo>
                <a:cubicBezTo>
                  <a:pt x="824" y="1012"/>
                  <a:pt x="826" y="1012"/>
                  <a:pt x="826" y="1011"/>
                </a:cubicBezTo>
                <a:cubicBezTo>
                  <a:pt x="826" y="1011"/>
                  <a:pt x="825" y="1011"/>
                  <a:pt x="824" y="1011"/>
                </a:cubicBezTo>
                <a:cubicBezTo>
                  <a:pt x="824" y="1011"/>
                  <a:pt x="823" y="1012"/>
                  <a:pt x="824" y="1012"/>
                </a:cubicBezTo>
                <a:close/>
                <a:moveTo>
                  <a:pt x="823" y="988"/>
                </a:moveTo>
                <a:cubicBezTo>
                  <a:pt x="823" y="988"/>
                  <a:pt x="823" y="988"/>
                  <a:pt x="823" y="988"/>
                </a:cubicBezTo>
                <a:cubicBezTo>
                  <a:pt x="823" y="988"/>
                  <a:pt x="823" y="989"/>
                  <a:pt x="824" y="989"/>
                </a:cubicBezTo>
                <a:cubicBezTo>
                  <a:pt x="824" y="989"/>
                  <a:pt x="824" y="989"/>
                  <a:pt x="824" y="989"/>
                </a:cubicBezTo>
                <a:cubicBezTo>
                  <a:pt x="824" y="989"/>
                  <a:pt x="824" y="988"/>
                  <a:pt x="824" y="988"/>
                </a:cubicBezTo>
                <a:cubicBezTo>
                  <a:pt x="824" y="987"/>
                  <a:pt x="822" y="988"/>
                  <a:pt x="823" y="988"/>
                </a:cubicBezTo>
                <a:close/>
                <a:moveTo>
                  <a:pt x="806" y="1043"/>
                </a:moveTo>
                <a:cubicBezTo>
                  <a:pt x="806" y="1043"/>
                  <a:pt x="808" y="1042"/>
                  <a:pt x="806" y="1043"/>
                </a:cubicBezTo>
                <a:cubicBezTo>
                  <a:pt x="806" y="1043"/>
                  <a:pt x="806" y="1043"/>
                  <a:pt x="806" y="1043"/>
                </a:cubicBezTo>
                <a:close/>
                <a:moveTo>
                  <a:pt x="822" y="1012"/>
                </a:moveTo>
                <a:cubicBezTo>
                  <a:pt x="821" y="1012"/>
                  <a:pt x="821" y="1012"/>
                  <a:pt x="820" y="1012"/>
                </a:cubicBezTo>
                <a:cubicBezTo>
                  <a:pt x="820" y="1012"/>
                  <a:pt x="819" y="1012"/>
                  <a:pt x="819" y="1012"/>
                </a:cubicBezTo>
                <a:cubicBezTo>
                  <a:pt x="819" y="1013"/>
                  <a:pt x="822" y="1012"/>
                  <a:pt x="822" y="1012"/>
                </a:cubicBezTo>
                <a:close/>
                <a:moveTo>
                  <a:pt x="794" y="948"/>
                </a:moveTo>
                <a:cubicBezTo>
                  <a:pt x="794" y="947"/>
                  <a:pt x="794" y="947"/>
                  <a:pt x="793" y="947"/>
                </a:cubicBezTo>
                <a:cubicBezTo>
                  <a:pt x="793" y="948"/>
                  <a:pt x="793" y="948"/>
                  <a:pt x="792" y="948"/>
                </a:cubicBezTo>
                <a:cubicBezTo>
                  <a:pt x="792" y="948"/>
                  <a:pt x="790" y="948"/>
                  <a:pt x="790" y="949"/>
                </a:cubicBezTo>
                <a:cubicBezTo>
                  <a:pt x="790" y="950"/>
                  <a:pt x="792" y="949"/>
                  <a:pt x="792" y="949"/>
                </a:cubicBezTo>
                <a:cubicBezTo>
                  <a:pt x="792" y="948"/>
                  <a:pt x="793" y="948"/>
                  <a:pt x="794" y="948"/>
                </a:cubicBezTo>
                <a:close/>
                <a:moveTo>
                  <a:pt x="853" y="1020"/>
                </a:moveTo>
                <a:cubicBezTo>
                  <a:pt x="853" y="1019"/>
                  <a:pt x="852" y="1019"/>
                  <a:pt x="852" y="1018"/>
                </a:cubicBezTo>
                <a:cubicBezTo>
                  <a:pt x="852" y="1018"/>
                  <a:pt x="852" y="1018"/>
                  <a:pt x="852" y="1017"/>
                </a:cubicBezTo>
                <a:cubicBezTo>
                  <a:pt x="852" y="1017"/>
                  <a:pt x="851" y="1016"/>
                  <a:pt x="851" y="1015"/>
                </a:cubicBezTo>
                <a:cubicBezTo>
                  <a:pt x="850" y="1015"/>
                  <a:pt x="850" y="1015"/>
                  <a:pt x="849" y="1015"/>
                </a:cubicBezTo>
                <a:cubicBezTo>
                  <a:pt x="848" y="1015"/>
                  <a:pt x="847" y="1016"/>
                  <a:pt x="846" y="1016"/>
                </a:cubicBezTo>
                <a:cubicBezTo>
                  <a:pt x="845" y="1016"/>
                  <a:pt x="845" y="1016"/>
                  <a:pt x="844" y="1016"/>
                </a:cubicBezTo>
                <a:cubicBezTo>
                  <a:pt x="844" y="1017"/>
                  <a:pt x="844" y="1017"/>
                  <a:pt x="845" y="1016"/>
                </a:cubicBezTo>
                <a:cubicBezTo>
                  <a:pt x="845" y="1016"/>
                  <a:pt x="846" y="1016"/>
                  <a:pt x="846" y="1016"/>
                </a:cubicBezTo>
                <a:cubicBezTo>
                  <a:pt x="847" y="1016"/>
                  <a:pt x="848" y="1016"/>
                  <a:pt x="849" y="1016"/>
                </a:cubicBezTo>
                <a:cubicBezTo>
                  <a:pt x="849" y="1015"/>
                  <a:pt x="850" y="1015"/>
                  <a:pt x="850" y="1016"/>
                </a:cubicBezTo>
                <a:cubicBezTo>
                  <a:pt x="851" y="1016"/>
                  <a:pt x="851" y="1017"/>
                  <a:pt x="851" y="1017"/>
                </a:cubicBezTo>
                <a:cubicBezTo>
                  <a:pt x="852" y="1018"/>
                  <a:pt x="852" y="1019"/>
                  <a:pt x="852" y="1019"/>
                </a:cubicBezTo>
                <a:cubicBezTo>
                  <a:pt x="852" y="1020"/>
                  <a:pt x="852" y="1020"/>
                  <a:pt x="852" y="1020"/>
                </a:cubicBezTo>
                <a:cubicBezTo>
                  <a:pt x="853" y="1021"/>
                  <a:pt x="853" y="1021"/>
                  <a:pt x="854" y="1022"/>
                </a:cubicBezTo>
                <a:cubicBezTo>
                  <a:pt x="854" y="1022"/>
                  <a:pt x="854" y="1023"/>
                  <a:pt x="854" y="1023"/>
                </a:cubicBezTo>
                <a:cubicBezTo>
                  <a:pt x="855" y="1023"/>
                  <a:pt x="854" y="1022"/>
                  <a:pt x="854" y="1021"/>
                </a:cubicBezTo>
                <a:cubicBezTo>
                  <a:pt x="853" y="1021"/>
                  <a:pt x="853" y="1020"/>
                  <a:pt x="853" y="1020"/>
                </a:cubicBezTo>
                <a:close/>
                <a:moveTo>
                  <a:pt x="1134" y="320"/>
                </a:moveTo>
                <a:cubicBezTo>
                  <a:pt x="1134" y="320"/>
                  <a:pt x="1133" y="318"/>
                  <a:pt x="1133" y="320"/>
                </a:cubicBezTo>
                <a:cubicBezTo>
                  <a:pt x="1133" y="320"/>
                  <a:pt x="1133" y="320"/>
                  <a:pt x="1133" y="320"/>
                </a:cubicBezTo>
                <a:cubicBezTo>
                  <a:pt x="1133" y="321"/>
                  <a:pt x="1133" y="321"/>
                  <a:pt x="1134" y="321"/>
                </a:cubicBezTo>
                <a:cubicBezTo>
                  <a:pt x="1134" y="321"/>
                  <a:pt x="1134" y="321"/>
                  <a:pt x="1134" y="322"/>
                </a:cubicBezTo>
                <a:cubicBezTo>
                  <a:pt x="1134" y="322"/>
                  <a:pt x="1135" y="321"/>
                  <a:pt x="1135" y="321"/>
                </a:cubicBezTo>
                <a:cubicBezTo>
                  <a:pt x="1135" y="321"/>
                  <a:pt x="1136" y="322"/>
                  <a:pt x="1136" y="322"/>
                </a:cubicBezTo>
                <a:cubicBezTo>
                  <a:pt x="1137" y="321"/>
                  <a:pt x="1135" y="320"/>
                  <a:pt x="1134" y="320"/>
                </a:cubicBezTo>
                <a:close/>
                <a:moveTo>
                  <a:pt x="1137" y="680"/>
                </a:moveTo>
                <a:cubicBezTo>
                  <a:pt x="1136" y="680"/>
                  <a:pt x="1137" y="680"/>
                  <a:pt x="1137" y="680"/>
                </a:cubicBezTo>
                <a:cubicBezTo>
                  <a:pt x="1137" y="680"/>
                  <a:pt x="1137" y="680"/>
                  <a:pt x="1138" y="680"/>
                </a:cubicBezTo>
                <a:cubicBezTo>
                  <a:pt x="1138" y="680"/>
                  <a:pt x="1138" y="680"/>
                  <a:pt x="1138" y="680"/>
                </a:cubicBezTo>
                <a:cubicBezTo>
                  <a:pt x="1138" y="679"/>
                  <a:pt x="1137" y="679"/>
                  <a:pt x="1137" y="680"/>
                </a:cubicBezTo>
                <a:close/>
                <a:moveTo>
                  <a:pt x="1143" y="708"/>
                </a:moveTo>
                <a:cubicBezTo>
                  <a:pt x="1142" y="708"/>
                  <a:pt x="1142" y="709"/>
                  <a:pt x="1142" y="709"/>
                </a:cubicBezTo>
                <a:cubicBezTo>
                  <a:pt x="1142" y="709"/>
                  <a:pt x="1141" y="710"/>
                  <a:pt x="1142" y="710"/>
                </a:cubicBezTo>
                <a:cubicBezTo>
                  <a:pt x="1142" y="710"/>
                  <a:pt x="1143" y="709"/>
                  <a:pt x="1143" y="708"/>
                </a:cubicBezTo>
                <a:close/>
                <a:moveTo>
                  <a:pt x="1167" y="333"/>
                </a:moveTo>
                <a:cubicBezTo>
                  <a:pt x="1166" y="332"/>
                  <a:pt x="1165" y="332"/>
                  <a:pt x="1164" y="332"/>
                </a:cubicBezTo>
                <a:cubicBezTo>
                  <a:pt x="1164" y="332"/>
                  <a:pt x="1163" y="332"/>
                  <a:pt x="1162" y="332"/>
                </a:cubicBezTo>
                <a:cubicBezTo>
                  <a:pt x="1161" y="331"/>
                  <a:pt x="1160" y="331"/>
                  <a:pt x="1159" y="331"/>
                </a:cubicBezTo>
                <a:cubicBezTo>
                  <a:pt x="1158" y="331"/>
                  <a:pt x="1158" y="330"/>
                  <a:pt x="1157" y="329"/>
                </a:cubicBezTo>
                <a:cubicBezTo>
                  <a:pt x="1157" y="329"/>
                  <a:pt x="1156" y="329"/>
                  <a:pt x="1156" y="328"/>
                </a:cubicBezTo>
                <a:cubicBezTo>
                  <a:pt x="1155" y="328"/>
                  <a:pt x="1155" y="327"/>
                  <a:pt x="1155" y="327"/>
                </a:cubicBezTo>
                <a:cubicBezTo>
                  <a:pt x="1154" y="326"/>
                  <a:pt x="1153" y="325"/>
                  <a:pt x="1152" y="325"/>
                </a:cubicBezTo>
                <a:cubicBezTo>
                  <a:pt x="1150" y="324"/>
                  <a:pt x="1148" y="324"/>
                  <a:pt x="1147" y="323"/>
                </a:cubicBezTo>
                <a:cubicBezTo>
                  <a:pt x="1145" y="323"/>
                  <a:pt x="1143" y="323"/>
                  <a:pt x="1141" y="323"/>
                </a:cubicBezTo>
                <a:cubicBezTo>
                  <a:pt x="1139" y="323"/>
                  <a:pt x="1138" y="323"/>
                  <a:pt x="1136" y="323"/>
                </a:cubicBezTo>
                <a:cubicBezTo>
                  <a:pt x="1136" y="324"/>
                  <a:pt x="1135" y="324"/>
                  <a:pt x="1135" y="325"/>
                </a:cubicBezTo>
                <a:cubicBezTo>
                  <a:pt x="1135" y="326"/>
                  <a:pt x="1134" y="327"/>
                  <a:pt x="1135" y="327"/>
                </a:cubicBezTo>
                <a:cubicBezTo>
                  <a:pt x="1135" y="328"/>
                  <a:pt x="1136" y="328"/>
                  <a:pt x="1136" y="328"/>
                </a:cubicBezTo>
                <a:cubicBezTo>
                  <a:pt x="1136" y="328"/>
                  <a:pt x="1136" y="329"/>
                  <a:pt x="1136" y="329"/>
                </a:cubicBezTo>
                <a:cubicBezTo>
                  <a:pt x="1137" y="329"/>
                  <a:pt x="1138" y="330"/>
                  <a:pt x="1138" y="330"/>
                </a:cubicBezTo>
                <a:cubicBezTo>
                  <a:pt x="1137" y="330"/>
                  <a:pt x="1137" y="330"/>
                  <a:pt x="1137" y="330"/>
                </a:cubicBezTo>
                <a:cubicBezTo>
                  <a:pt x="1136" y="330"/>
                  <a:pt x="1135" y="330"/>
                  <a:pt x="1135" y="330"/>
                </a:cubicBezTo>
                <a:cubicBezTo>
                  <a:pt x="1134" y="331"/>
                  <a:pt x="1135" y="332"/>
                  <a:pt x="1135" y="333"/>
                </a:cubicBezTo>
                <a:cubicBezTo>
                  <a:pt x="1135" y="333"/>
                  <a:pt x="1136" y="333"/>
                  <a:pt x="1136" y="333"/>
                </a:cubicBezTo>
                <a:cubicBezTo>
                  <a:pt x="1136" y="334"/>
                  <a:pt x="1136" y="334"/>
                  <a:pt x="1137" y="334"/>
                </a:cubicBezTo>
                <a:cubicBezTo>
                  <a:pt x="1137" y="335"/>
                  <a:pt x="1139" y="335"/>
                  <a:pt x="1139" y="335"/>
                </a:cubicBezTo>
                <a:cubicBezTo>
                  <a:pt x="1138" y="335"/>
                  <a:pt x="1137" y="335"/>
                  <a:pt x="1137" y="335"/>
                </a:cubicBezTo>
                <a:cubicBezTo>
                  <a:pt x="1136" y="335"/>
                  <a:pt x="1136" y="335"/>
                  <a:pt x="1135" y="335"/>
                </a:cubicBezTo>
                <a:cubicBezTo>
                  <a:pt x="1135" y="335"/>
                  <a:pt x="1134" y="335"/>
                  <a:pt x="1134" y="335"/>
                </a:cubicBezTo>
                <a:cubicBezTo>
                  <a:pt x="1133" y="335"/>
                  <a:pt x="1134" y="335"/>
                  <a:pt x="1134" y="336"/>
                </a:cubicBezTo>
                <a:cubicBezTo>
                  <a:pt x="1134" y="336"/>
                  <a:pt x="1135" y="336"/>
                  <a:pt x="1136" y="337"/>
                </a:cubicBezTo>
                <a:cubicBezTo>
                  <a:pt x="1137" y="337"/>
                  <a:pt x="1137" y="337"/>
                  <a:pt x="1138" y="337"/>
                </a:cubicBezTo>
                <a:cubicBezTo>
                  <a:pt x="1139" y="337"/>
                  <a:pt x="1140" y="337"/>
                  <a:pt x="1140" y="338"/>
                </a:cubicBezTo>
                <a:cubicBezTo>
                  <a:pt x="1142" y="338"/>
                  <a:pt x="1144" y="338"/>
                  <a:pt x="1145" y="339"/>
                </a:cubicBezTo>
                <a:cubicBezTo>
                  <a:pt x="1145" y="339"/>
                  <a:pt x="1145" y="340"/>
                  <a:pt x="1145" y="340"/>
                </a:cubicBezTo>
                <a:cubicBezTo>
                  <a:pt x="1145" y="340"/>
                  <a:pt x="1146" y="340"/>
                  <a:pt x="1146" y="340"/>
                </a:cubicBezTo>
                <a:cubicBezTo>
                  <a:pt x="1147" y="340"/>
                  <a:pt x="1148" y="340"/>
                  <a:pt x="1149" y="340"/>
                </a:cubicBezTo>
                <a:cubicBezTo>
                  <a:pt x="1150" y="340"/>
                  <a:pt x="1149" y="341"/>
                  <a:pt x="1148" y="341"/>
                </a:cubicBezTo>
                <a:cubicBezTo>
                  <a:pt x="1148" y="341"/>
                  <a:pt x="1147" y="341"/>
                  <a:pt x="1147" y="341"/>
                </a:cubicBezTo>
                <a:cubicBezTo>
                  <a:pt x="1146" y="341"/>
                  <a:pt x="1145" y="341"/>
                  <a:pt x="1144" y="341"/>
                </a:cubicBezTo>
                <a:cubicBezTo>
                  <a:pt x="1144" y="341"/>
                  <a:pt x="1143" y="341"/>
                  <a:pt x="1143" y="341"/>
                </a:cubicBezTo>
                <a:cubicBezTo>
                  <a:pt x="1143" y="341"/>
                  <a:pt x="1142" y="341"/>
                  <a:pt x="1142" y="341"/>
                </a:cubicBezTo>
                <a:cubicBezTo>
                  <a:pt x="1141" y="341"/>
                  <a:pt x="1141" y="341"/>
                  <a:pt x="1141" y="342"/>
                </a:cubicBezTo>
                <a:cubicBezTo>
                  <a:pt x="1141" y="342"/>
                  <a:pt x="1142" y="342"/>
                  <a:pt x="1142" y="342"/>
                </a:cubicBezTo>
                <a:cubicBezTo>
                  <a:pt x="1143" y="343"/>
                  <a:pt x="1144" y="343"/>
                  <a:pt x="1144" y="343"/>
                </a:cubicBezTo>
                <a:cubicBezTo>
                  <a:pt x="1145" y="343"/>
                  <a:pt x="1146" y="344"/>
                  <a:pt x="1147" y="344"/>
                </a:cubicBezTo>
                <a:cubicBezTo>
                  <a:pt x="1148" y="345"/>
                  <a:pt x="1150" y="344"/>
                  <a:pt x="1152" y="344"/>
                </a:cubicBezTo>
                <a:cubicBezTo>
                  <a:pt x="1154" y="343"/>
                  <a:pt x="1156" y="343"/>
                  <a:pt x="1158" y="342"/>
                </a:cubicBezTo>
                <a:cubicBezTo>
                  <a:pt x="1159" y="342"/>
                  <a:pt x="1160" y="341"/>
                  <a:pt x="1161" y="341"/>
                </a:cubicBezTo>
                <a:cubicBezTo>
                  <a:pt x="1162" y="341"/>
                  <a:pt x="1162" y="341"/>
                  <a:pt x="1163" y="340"/>
                </a:cubicBezTo>
                <a:cubicBezTo>
                  <a:pt x="1163" y="340"/>
                  <a:pt x="1164" y="340"/>
                  <a:pt x="1164" y="340"/>
                </a:cubicBezTo>
                <a:cubicBezTo>
                  <a:pt x="1165" y="340"/>
                  <a:pt x="1169" y="337"/>
                  <a:pt x="1168" y="336"/>
                </a:cubicBezTo>
                <a:cubicBezTo>
                  <a:pt x="1168" y="336"/>
                  <a:pt x="1167" y="336"/>
                  <a:pt x="1167" y="336"/>
                </a:cubicBezTo>
                <a:cubicBezTo>
                  <a:pt x="1167" y="335"/>
                  <a:pt x="1167" y="335"/>
                  <a:pt x="1167" y="335"/>
                </a:cubicBezTo>
                <a:cubicBezTo>
                  <a:pt x="1168" y="334"/>
                  <a:pt x="1168" y="333"/>
                  <a:pt x="1167" y="333"/>
                </a:cubicBezTo>
                <a:close/>
                <a:moveTo>
                  <a:pt x="862" y="987"/>
                </a:moveTo>
                <a:cubicBezTo>
                  <a:pt x="862" y="987"/>
                  <a:pt x="861" y="987"/>
                  <a:pt x="861" y="986"/>
                </a:cubicBezTo>
                <a:cubicBezTo>
                  <a:pt x="861" y="986"/>
                  <a:pt x="861" y="986"/>
                  <a:pt x="860" y="985"/>
                </a:cubicBezTo>
                <a:cubicBezTo>
                  <a:pt x="860" y="985"/>
                  <a:pt x="859" y="985"/>
                  <a:pt x="860" y="986"/>
                </a:cubicBezTo>
                <a:cubicBezTo>
                  <a:pt x="860" y="986"/>
                  <a:pt x="861" y="986"/>
                  <a:pt x="862" y="987"/>
                </a:cubicBezTo>
                <a:cubicBezTo>
                  <a:pt x="862" y="987"/>
                  <a:pt x="862" y="988"/>
                  <a:pt x="863" y="988"/>
                </a:cubicBezTo>
                <a:cubicBezTo>
                  <a:pt x="863" y="988"/>
                  <a:pt x="864" y="987"/>
                  <a:pt x="864" y="987"/>
                </a:cubicBezTo>
                <a:cubicBezTo>
                  <a:pt x="864" y="987"/>
                  <a:pt x="864" y="987"/>
                  <a:pt x="865" y="987"/>
                </a:cubicBezTo>
                <a:cubicBezTo>
                  <a:pt x="865" y="987"/>
                  <a:pt x="866" y="986"/>
                  <a:pt x="867" y="986"/>
                </a:cubicBezTo>
                <a:cubicBezTo>
                  <a:pt x="868" y="986"/>
                  <a:pt x="869" y="986"/>
                  <a:pt x="870" y="986"/>
                </a:cubicBezTo>
                <a:cubicBezTo>
                  <a:pt x="870" y="986"/>
                  <a:pt x="871" y="986"/>
                  <a:pt x="871" y="986"/>
                </a:cubicBezTo>
                <a:cubicBezTo>
                  <a:pt x="872" y="986"/>
                  <a:pt x="872" y="987"/>
                  <a:pt x="872" y="987"/>
                </a:cubicBezTo>
                <a:cubicBezTo>
                  <a:pt x="872" y="987"/>
                  <a:pt x="872" y="986"/>
                  <a:pt x="872" y="986"/>
                </a:cubicBezTo>
                <a:cubicBezTo>
                  <a:pt x="871" y="985"/>
                  <a:pt x="872" y="984"/>
                  <a:pt x="871" y="984"/>
                </a:cubicBezTo>
                <a:cubicBezTo>
                  <a:pt x="871" y="984"/>
                  <a:pt x="871" y="985"/>
                  <a:pt x="871" y="985"/>
                </a:cubicBezTo>
                <a:cubicBezTo>
                  <a:pt x="870" y="985"/>
                  <a:pt x="870" y="985"/>
                  <a:pt x="870" y="985"/>
                </a:cubicBezTo>
                <a:cubicBezTo>
                  <a:pt x="869" y="985"/>
                  <a:pt x="869" y="985"/>
                  <a:pt x="868" y="985"/>
                </a:cubicBezTo>
                <a:cubicBezTo>
                  <a:pt x="868" y="985"/>
                  <a:pt x="868" y="985"/>
                  <a:pt x="867" y="984"/>
                </a:cubicBezTo>
                <a:cubicBezTo>
                  <a:pt x="867" y="984"/>
                  <a:pt x="867" y="985"/>
                  <a:pt x="867" y="985"/>
                </a:cubicBezTo>
                <a:cubicBezTo>
                  <a:pt x="867" y="986"/>
                  <a:pt x="866" y="985"/>
                  <a:pt x="866" y="985"/>
                </a:cubicBezTo>
                <a:cubicBezTo>
                  <a:pt x="866" y="985"/>
                  <a:pt x="866" y="985"/>
                  <a:pt x="865" y="985"/>
                </a:cubicBezTo>
                <a:cubicBezTo>
                  <a:pt x="865" y="985"/>
                  <a:pt x="865" y="984"/>
                  <a:pt x="865" y="984"/>
                </a:cubicBezTo>
                <a:cubicBezTo>
                  <a:pt x="865" y="984"/>
                  <a:pt x="865" y="985"/>
                  <a:pt x="864" y="985"/>
                </a:cubicBezTo>
                <a:cubicBezTo>
                  <a:pt x="864" y="984"/>
                  <a:pt x="864" y="984"/>
                  <a:pt x="864" y="984"/>
                </a:cubicBezTo>
                <a:cubicBezTo>
                  <a:pt x="864" y="983"/>
                  <a:pt x="864" y="985"/>
                  <a:pt x="864" y="985"/>
                </a:cubicBezTo>
                <a:cubicBezTo>
                  <a:pt x="864" y="985"/>
                  <a:pt x="864" y="985"/>
                  <a:pt x="864" y="985"/>
                </a:cubicBezTo>
                <a:cubicBezTo>
                  <a:pt x="864" y="986"/>
                  <a:pt x="863" y="987"/>
                  <a:pt x="862" y="987"/>
                </a:cubicBezTo>
                <a:close/>
                <a:moveTo>
                  <a:pt x="1143" y="678"/>
                </a:moveTo>
                <a:cubicBezTo>
                  <a:pt x="1143" y="678"/>
                  <a:pt x="1143" y="677"/>
                  <a:pt x="1142" y="677"/>
                </a:cubicBezTo>
                <a:cubicBezTo>
                  <a:pt x="1142" y="678"/>
                  <a:pt x="1142" y="678"/>
                  <a:pt x="1142" y="678"/>
                </a:cubicBezTo>
                <a:cubicBezTo>
                  <a:pt x="1142" y="678"/>
                  <a:pt x="1141" y="678"/>
                  <a:pt x="1141" y="678"/>
                </a:cubicBezTo>
                <a:cubicBezTo>
                  <a:pt x="1141" y="678"/>
                  <a:pt x="1141" y="679"/>
                  <a:pt x="1141" y="679"/>
                </a:cubicBezTo>
                <a:cubicBezTo>
                  <a:pt x="1141" y="680"/>
                  <a:pt x="1141" y="680"/>
                  <a:pt x="1141" y="680"/>
                </a:cubicBezTo>
                <a:cubicBezTo>
                  <a:pt x="1142" y="680"/>
                  <a:pt x="1142" y="680"/>
                  <a:pt x="1142" y="680"/>
                </a:cubicBezTo>
                <a:cubicBezTo>
                  <a:pt x="1143" y="679"/>
                  <a:pt x="1145" y="679"/>
                  <a:pt x="1144" y="679"/>
                </a:cubicBezTo>
                <a:cubicBezTo>
                  <a:pt x="1144" y="678"/>
                  <a:pt x="1143" y="678"/>
                  <a:pt x="1143" y="678"/>
                </a:cubicBezTo>
                <a:close/>
                <a:moveTo>
                  <a:pt x="1023" y="705"/>
                </a:moveTo>
                <a:cubicBezTo>
                  <a:pt x="1022" y="705"/>
                  <a:pt x="1022" y="706"/>
                  <a:pt x="1022" y="706"/>
                </a:cubicBezTo>
                <a:cubicBezTo>
                  <a:pt x="1023" y="707"/>
                  <a:pt x="1023" y="706"/>
                  <a:pt x="1023" y="706"/>
                </a:cubicBezTo>
                <a:cubicBezTo>
                  <a:pt x="1024" y="705"/>
                  <a:pt x="1024" y="706"/>
                  <a:pt x="1024" y="705"/>
                </a:cubicBezTo>
                <a:cubicBezTo>
                  <a:pt x="1024" y="705"/>
                  <a:pt x="1025" y="705"/>
                  <a:pt x="1024" y="704"/>
                </a:cubicBezTo>
                <a:cubicBezTo>
                  <a:pt x="1024" y="704"/>
                  <a:pt x="1024" y="705"/>
                  <a:pt x="1024" y="705"/>
                </a:cubicBezTo>
                <a:cubicBezTo>
                  <a:pt x="1023" y="705"/>
                  <a:pt x="1023" y="705"/>
                  <a:pt x="1023" y="705"/>
                </a:cubicBezTo>
                <a:close/>
                <a:moveTo>
                  <a:pt x="1066" y="1136"/>
                </a:moveTo>
                <a:cubicBezTo>
                  <a:pt x="1066" y="1135"/>
                  <a:pt x="1066" y="1135"/>
                  <a:pt x="1066" y="1135"/>
                </a:cubicBezTo>
                <a:cubicBezTo>
                  <a:pt x="1065" y="1134"/>
                  <a:pt x="1065" y="1135"/>
                  <a:pt x="1065" y="1135"/>
                </a:cubicBezTo>
                <a:cubicBezTo>
                  <a:pt x="1065" y="1136"/>
                  <a:pt x="1065" y="1136"/>
                  <a:pt x="1064" y="1137"/>
                </a:cubicBezTo>
                <a:cubicBezTo>
                  <a:pt x="1064" y="1137"/>
                  <a:pt x="1064" y="1137"/>
                  <a:pt x="1064" y="1138"/>
                </a:cubicBezTo>
                <a:cubicBezTo>
                  <a:pt x="1064" y="1138"/>
                  <a:pt x="1064" y="1138"/>
                  <a:pt x="1064" y="1139"/>
                </a:cubicBezTo>
                <a:cubicBezTo>
                  <a:pt x="1065" y="1139"/>
                  <a:pt x="1065" y="1139"/>
                  <a:pt x="1065" y="1139"/>
                </a:cubicBezTo>
                <a:cubicBezTo>
                  <a:pt x="1066" y="1139"/>
                  <a:pt x="1065" y="1139"/>
                  <a:pt x="1066" y="1140"/>
                </a:cubicBezTo>
                <a:cubicBezTo>
                  <a:pt x="1066" y="1140"/>
                  <a:pt x="1066" y="1139"/>
                  <a:pt x="1066" y="1139"/>
                </a:cubicBezTo>
                <a:cubicBezTo>
                  <a:pt x="1066" y="1138"/>
                  <a:pt x="1066" y="1138"/>
                  <a:pt x="1066" y="1138"/>
                </a:cubicBezTo>
                <a:cubicBezTo>
                  <a:pt x="1066" y="1137"/>
                  <a:pt x="1066" y="1137"/>
                  <a:pt x="1066" y="1137"/>
                </a:cubicBezTo>
                <a:cubicBezTo>
                  <a:pt x="1067" y="1136"/>
                  <a:pt x="1066" y="1136"/>
                  <a:pt x="1066" y="1136"/>
                </a:cubicBezTo>
                <a:close/>
                <a:moveTo>
                  <a:pt x="1080" y="1147"/>
                </a:moveTo>
                <a:cubicBezTo>
                  <a:pt x="1080" y="1147"/>
                  <a:pt x="1080" y="1147"/>
                  <a:pt x="1081" y="1147"/>
                </a:cubicBezTo>
                <a:cubicBezTo>
                  <a:pt x="1081" y="1147"/>
                  <a:pt x="1081" y="1147"/>
                  <a:pt x="1081" y="1147"/>
                </a:cubicBezTo>
                <a:cubicBezTo>
                  <a:pt x="1081" y="1148"/>
                  <a:pt x="1081" y="1148"/>
                  <a:pt x="1082" y="1147"/>
                </a:cubicBezTo>
                <a:cubicBezTo>
                  <a:pt x="1082" y="1147"/>
                  <a:pt x="1082" y="1147"/>
                  <a:pt x="1082" y="1147"/>
                </a:cubicBezTo>
                <a:cubicBezTo>
                  <a:pt x="1082" y="1146"/>
                  <a:pt x="1082" y="1146"/>
                  <a:pt x="1082" y="1146"/>
                </a:cubicBezTo>
                <a:cubicBezTo>
                  <a:pt x="1081" y="1145"/>
                  <a:pt x="1081" y="1145"/>
                  <a:pt x="1081" y="1144"/>
                </a:cubicBezTo>
                <a:cubicBezTo>
                  <a:pt x="1080" y="1144"/>
                  <a:pt x="1080" y="1144"/>
                  <a:pt x="1080" y="1145"/>
                </a:cubicBezTo>
                <a:cubicBezTo>
                  <a:pt x="1080" y="1145"/>
                  <a:pt x="1080" y="1145"/>
                  <a:pt x="1080" y="1146"/>
                </a:cubicBezTo>
                <a:cubicBezTo>
                  <a:pt x="1080" y="1146"/>
                  <a:pt x="1080" y="1146"/>
                  <a:pt x="1080" y="1147"/>
                </a:cubicBezTo>
                <a:close/>
                <a:moveTo>
                  <a:pt x="1048" y="728"/>
                </a:moveTo>
                <a:cubicBezTo>
                  <a:pt x="1049" y="728"/>
                  <a:pt x="1049" y="728"/>
                  <a:pt x="1050" y="728"/>
                </a:cubicBezTo>
                <a:cubicBezTo>
                  <a:pt x="1050" y="727"/>
                  <a:pt x="1050" y="727"/>
                  <a:pt x="1050" y="727"/>
                </a:cubicBezTo>
                <a:cubicBezTo>
                  <a:pt x="1051" y="727"/>
                  <a:pt x="1051" y="726"/>
                  <a:pt x="1052" y="726"/>
                </a:cubicBezTo>
                <a:cubicBezTo>
                  <a:pt x="1052" y="726"/>
                  <a:pt x="1053" y="726"/>
                  <a:pt x="1053" y="726"/>
                </a:cubicBezTo>
                <a:cubicBezTo>
                  <a:pt x="1053" y="725"/>
                  <a:pt x="1052" y="725"/>
                  <a:pt x="1052" y="725"/>
                </a:cubicBezTo>
                <a:cubicBezTo>
                  <a:pt x="1051" y="725"/>
                  <a:pt x="1050" y="725"/>
                  <a:pt x="1050" y="725"/>
                </a:cubicBezTo>
                <a:cubicBezTo>
                  <a:pt x="1047" y="725"/>
                  <a:pt x="1045" y="725"/>
                  <a:pt x="1042" y="725"/>
                </a:cubicBezTo>
                <a:cubicBezTo>
                  <a:pt x="1040" y="725"/>
                  <a:pt x="1038" y="725"/>
                  <a:pt x="1037" y="725"/>
                </a:cubicBezTo>
                <a:cubicBezTo>
                  <a:pt x="1036" y="725"/>
                  <a:pt x="1035" y="725"/>
                  <a:pt x="1034" y="725"/>
                </a:cubicBezTo>
                <a:cubicBezTo>
                  <a:pt x="1033" y="725"/>
                  <a:pt x="1033" y="725"/>
                  <a:pt x="1032" y="725"/>
                </a:cubicBezTo>
                <a:cubicBezTo>
                  <a:pt x="1032" y="725"/>
                  <a:pt x="1031" y="725"/>
                  <a:pt x="1031" y="725"/>
                </a:cubicBezTo>
                <a:cubicBezTo>
                  <a:pt x="1031" y="724"/>
                  <a:pt x="1031" y="724"/>
                  <a:pt x="1032" y="724"/>
                </a:cubicBezTo>
                <a:cubicBezTo>
                  <a:pt x="1032" y="724"/>
                  <a:pt x="1032" y="723"/>
                  <a:pt x="1031" y="723"/>
                </a:cubicBezTo>
                <a:cubicBezTo>
                  <a:pt x="1031" y="723"/>
                  <a:pt x="1031" y="722"/>
                  <a:pt x="1030" y="722"/>
                </a:cubicBezTo>
                <a:cubicBezTo>
                  <a:pt x="1030" y="722"/>
                  <a:pt x="1030" y="721"/>
                  <a:pt x="1029" y="721"/>
                </a:cubicBezTo>
                <a:cubicBezTo>
                  <a:pt x="1029" y="720"/>
                  <a:pt x="1030" y="720"/>
                  <a:pt x="1030" y="720"/>
                </a:cubicBezTo>
                <a:cubicBezTo>
                  <a:pt x="1030" y="719"/>
                  <a:pt x="1030" y="718"/>
                  <a:pt x="1030" y="718"/>
                </a:cubicBezTo>
                <a:cubicBezTo>
                  <a:pt x="1030" y="717"/>
                  <a:pt x="1029" y="717"/>
                  <a:pt x="1029" y="718"/>
                </a:cubicBezTo>
                <a:cubicBezTo>
                  <a:pt x="1028" y="719"/>
                  <a:pt x="1028" y="719"/>
                  <a:pt x="1027" y="720"/>
                </a:cubicBezTo>
                <a:cubicBezTo>
                  <a:pt x="1027" y="720"/>
                  <a:pt x="1027" y="720"/>
                  <a:pt x="1026" y="720"/>
                </a:cubicBezTo>
                <a:cubicBezTo>
                  <a:pt x="1026" y="721"/>
                  <a:pt x="1026" y="721"/>
                  <a:pt x="1026" y="721"/>
                </a:cubicBezTo>
                <a:cubicBezTo>
                  <a:pt x="1026" y="722"/>
                  <a:pt x="1025" y="723"/>
                  <a:pt x="1026" y="723"/>
                </a:cubicBezTo>
                <a:cubicBezTo>
                  <a:pt x="1026" y="723"/>
                  <a:pt x="1026" y="723"/>
                  <a:pt x="1026" y="723"/>
                </a:cubicBezTo>
                <a:cubicBezTo>
                  <a:pt x="1027" y="723"/>
                  <a:pt x="1027" y="723"/>
                  <a:pt x="1027" y="723"/>
                </a:cubicBezTo>
                <a:cubicBezTo>
                  <a:pt x="1028" y="723"/>
                  <a:pt x="1029" y="723"/>
                  <a:pt x="1029" y="724"/>
                </a:cubicBezTo>
                <a:cubicBezTo>
                  <a:pt x="1029" y="724"/>
                  <a:pt x="1029" y="725"/>
                  <a:pt x="1029" y="725"/>
                </a:cubicBezTo>
                <a:cubicBezTo>
                  <a:pt x="1029" y="725"/>
                  <a:pt x="1029" y="726"/>
                  <a:pt x="1029" y="726"/>
                </a:cubicBezTo>
                <a:cubicBezTo>
                  <a:pt x="1030" y="727"/>
                  <a:pt x="1029" y="727"/>
                  <a:pt x="1030" y="727"/>
                </a:cubicBezTo>
                <a:cubicBezTo>
                  <a:pt x="1031" y="726"/>
                  <a:pt x="1032" y="726"/>
                  <a:pt x="1032" y="727"/>
                </a:cubicBezTo>
                <a:cubicBezTo>
                  <a:pt x="1032" y="728"/>
                  <a:pt x="1032" y="728"/>
                  <a:pt x="1033" y="728"/>
                </a:cubicBezTo>
                <a:cubicBezTo>
                  <a:pt x="1033" y="728"/>
                  <a:pt x="1033" y="728"/>
                  <a:pt x="1034" y="729"/>
                </a:cubicBezTo>
                <a:cubicBezTo>
                  <a:pt x="1034" y="729"/>
                  <a:pt x="1034" y="729"/>
                  <a:pt x="1035" y="729"/>
                </a:cubicBezTo>
                <a:cubicBezTo>
                  <a:pt x="1035" y="729"/>
                  <a:pt x="1036" y="729"/>
                  <a:pt x="1037" y="730"/>
                </a:cubicBezTo>
                <a:cubicBezTo>
                  <a:pt x="1037" y="730"/>
                  <a:pt x="1037" y="730"/>
                  <a:pt x="1038" y="730"/>
                </a:cubicBezTo>
                <a:cubicBezTo>
                  <a:pt x="1039" y="731"/>
                  <a:pt x="1038" y="729"/>
                  <a:pt x="1039" y="729"/>
                </a:cubicBezTo>
                <a:cubicBezTo>
                  <a:pt x="1040" y="729"/>
                  <a:pt x="1041" y="729"/>
                  <a:pt x="1041" y="729"/>
                </a:cubicBezTo>
                <a:cubicBezTo>
                  <a:pt x="1042" y="730"/>
                  <a:pt x="1041" y="731"/>
                  <a:pt x="1042" y="732"/>
                </a:cubicBezTo>
                <a:cubicBezTo>
                  <a:pt x="1043" y="732"/>
                  <a:pt x="1043" y="732"/>
                  <a:pt x="1044" y="733"/>
                </a:cubicBezTo>
                <a:cubicBezTo>
                  <a:pt x="1045" y="733"/>
                  <a:pt x="1046" y="733"/>
                  <a:pt x="1046" y="733"/>
                </a:cubicBezTo>
                <a:cubicBezTo>
                  <a:pt x="1047" y="733"/>
                  <a:pt x="1047" y="733"/>
                  <a:pt x="1047" y="732"/>
                </a:cubicBezTo>
                <a:cubicBezTo>
                  <a:pt x="1048" y="732"/>
                  <a:pt x="1047" y="732"/>
                  <a:pt x="1047" y="732"/>
                </a:cubicBezTo>
                <a:cubicBezTo>
                  <a:pt x="1047" y="732"/>
                  <a:pt x="1047" y="731"/>
                  <a:pt x="1047" y="731"/>
                </a:cubicBezTo>
                <a:cubicBezTo>
                  <a:pt x="1047" y="730"/>
                  <a:pt x="1046" y="731"/>
                  <a:pt x="1047" y="730"/>
                </a:cubicBezTo>
                <a:cubicBezTo>
                  <a:pt x="1047" y="729"/>
                  <a:pt x="1048" y="728"/>
                  <a:pt x="1048" y="728"/>
                </a:cubicBezTo>
                <a:close/>
                <a:moveTo>
                  <a:pt x="1056" y="711"/>
                </a:moveTo>
                <a:cubicBezTo>
                  <a:pt x="1057" y="711"/>
                  <a:pt x="1057" y="710"/>
                  <a:pt x="1057" y="710"/>
                </a:cubicBezTo>
                <a:cubicBezTo>
                  <a:pt x="1058" y="709"/>
                  <a:pt x="1057" y="709"/>
                  <a:pt x="1057" y="709"/>
                </a:cubicBezTo>
                <a:cubicBezTo>
                  <a:pt x="1056" y="709"/>
                  <a:pt x="1056" y="710"/>
                  <a:pt x="1056" y="710"/>
                </a:cubicBezTo>
                <a:cubicBezTo>
                  <a:pt x="1056" y="710"/>
                  <a:pt x="1055" y="711"/>
                  <a:pt x="1055" y="711"/>
                </a:cubicBezTo>
                <a:cubicBezTo>
                  <a:pt x="1054" y="712"/>
                  <a:pt x="1054" y="712"/>
                  <a:pt x="1053" y="713"/>
                </a:cubicBezTo>
                <a:cubicBezTo>
                  <a:pt x="1053" y="713"/>
                  <a:pt x="1053" y="715"/>
                  <a:pt x="1054" y="715"/>
                </a:cubicBezTo>
                <a:cubicBezTo>
                  <a:pt x="1054" y="715"/>
                  <a:pt x="1054" y="715"/>
                  <a:pt x="1054" y="715"/>
                </a:cubicBezTo>
                <a:cubicBezTo>
                  <a:pt x="1054" y="715"/>
                  <a:pt x="1055" y="715"/>
                  <a:pt x="1055" y="715"/>
                </a:cubicBezTo>
                <a:cubicBezTo>
                  <a:pt x="1055" y="714"/>
                  <a:pt x="1055" y="714"/>
                  <a:pt x="1055" y="714"/>
                </a:cubicBezTo>
                <a:cubicBezTo>
                  <a:pt x="1055" y="713"/>
                  <a:pt x="1054" y="713"/>
                  <a:pt x="1055" y="712"/>
                </a:cubicBezTo>
                <a:cubicBezTo>
                  <a:pt x="1055" y="712"/>
                  <a:pt x="1056" y="712"/>
                  <a:pt x="1056" y="711"/>
                </a:cubicBezTo>
                <a:close/>
                <a:moveTo>
                  <a:pt x="1056" y="686"/>
                </a:moveTo>
                <a:cubicBezTo>
                  <a:pt x="1056" y="685"/>
                  <a:pt x="1055" y="685"/>
                  <a:pt x="1055" y="684"/>
                </a:cubicBezTo>
                <a:cubicBezTo>
                  <a:pt x="1054" y="684"/>
                  <a:pt x="1054" y="683"/>
                  <a:pt x="1053" y="683"/>
                </a:cubicBezTo>
                <a:cubicBezTo>
                  <a:pt x="1051" y="683"/>
                  <a:pt x="1050" y="682"/>
                  <a:pt x="1048" y="681"/>
                </a:cubicBezTo>
                <a:cubicBezTo>
                  <a:pt x="1048" y="681"/>
                  <a:pt x="1047" y="680"/>
                  <a:pt x="1046" y="680"/>
                </a:cubicBezTo>
                <a:cubicBezTo>
                  <a:pt x="1046" y="679"/>
                  <a:pt x="1045" y="679"/>
                  <a:pt x="1044" y="679"/>
                </a:cubicBezTo>
                <a:cubicBezTo>
                  <a:pt x="1042" y="679"/>
                  <a:pt x="1041" y="677"/>
                  <a:pt x="1039" y="677"/>
                </a:cubicBezTo>
                <a:cubicBezTo>
                  <a:pt x="1038" y="677"/>
                  <a:pt x="1036" y="676"/>
                  <a:pt x="1035" y="676"/>
                </a:cubicBezTo>
                <a:cubicBezTo>
                  <a:pt x="1033" y="675"/>
                  <a:pt x="1031" y="675"/>
                  <a:pt x="1030" y="675"/>
                </a:cubicBezTo>
                <a:cubicBezTo>
                  <a:pt x="1029" y="675"/>
                  <a:pt x="1028" y="675"/>
                  <a:pt x="1027" y="676"/>
                </a:cubicBezTo>
                <a:cubicBezTo>
                  <a:pt x="1026" y="676"/>
                  <a:pt x="1026" y="676"/>
                  <a:pt x="1025" y="676"/>
                </a:cubicBezTo>
                <a:cubicBezTo>
                  <a:pt x="1025" y="676"/>
                  <a:pt x="1024" y="675"/>
                  <a:pt x="1024" y="676"/>
                </a:cubicBezTo>
                <a:cubicBezTo>
                  <a:pt x="1023" y="676"/>
                  <a:pt x="1026" y="677"/>
                  <a:pt x="1026" y="677"/>
                </a:cubicBezTo>
                <a:cubicBezTo>
                  <a:pt x="1027" y="677"/>
                  <a:pt x="1028" y="677"/>
                  <a:pt x="1029" y="678"/>
                </a:cubicBezTo>
                <a:cubicBezTo>
                  <a:pt x="1029" y="678"/>
                  <a:pt x="1029" y="678"/>
                  <a:pt x="1030" y="678"/>
                </a:cubicBezTo>
                <a:cubicBezTo>
                  <a:pt x="1030" y="678"/>
                  <a:pt x="1031" y="678"/>
                  <a:pt x="1031" y="679"/>
                </a:cubicBezTo>
                <a:cubicBezTo>
                  <a:pt x="1032" y="679"/>
                  <a:pt x="1032" y="679"/>
                  <a:pt x="1033" y="680"/>
                </a:cubicBezTo>
                <a:cubicBezTo>
                  <a:pt x="1033" y="680"/>
                  <a:pt x="1034" y="681"/>
                  <a:pt x="1034" y="681"/>
                </a:cubicBezTo>
                <a:cubicBezTo>
                  <a:pt x="1035" y="682"/>
                  <a:pt x="1034" y="683"/>
                  <a:pt x="1035" y="683"/>
                </a:cubicBezTo>
                <a:cubicBezTo>
                  <a:pt x="1036" y="684"/>
                  <a:pt x="1037" y="684"/>
                  <a:pt x="1038" y="684"/>
                </a:cubicBezTo>
                <a:cubicBezTo>
                  <a:pt x="1038" y="684"/>
                  <a:pt x="1039" y="684"/>
                  <a:pt x="1040" y="685"/>
                </a:cubicBezTo>
                <a:cubicBezTo>
                  <a:pt x="1041" y="685"/>
                  <a:pt x="1041" y="686"/>
                  <a:pt x="1042" y="686"/>
                </a:cubicBezTo>
                <a:cubicBezTo>
                  <a:pt x="1043" y="686"/>
                  <a:pt x="1044" y="686"/>
                  <a:pt x="1045" y="686"/>
                </a:cubicBezTo>
                <a:cubicBezTo>
                  <a:pt x="1046" y="686"/>
                  <a:pt x="1047" y="687"/>
                  <a:pt x="1047" y="687"/>
                </a:cubicBezTo>
                <a:cubicBezTo>
                  <a:pt x="1048" y="687"/>
                  <a:pt x="1049" y="687"/>
                  <a:pt x="1050" y="687"/>
                </a:cubicBezTo>
                <a:cubicBezTo>
                  <a:pt x="1051" y="687"/>
                  <a:pt x="1052" y="688"/>
                  <a:pt x="1053" y="688"/>
                </a:cubicBezTo>
                <a:cubicBezTo>
                  <a:pt x="1053" y="688"/>
                  <a:pt x="1054" y="687"/>
                  <a:pt x="1055" y="687"/>
                </a:cubicBezTo>
                <a:cubicBezTo>
                  <a:pt x="1056" y="687"/>
                  <a:pt x="1057" y="687"/>
                  <a:pt x="1056" y="686"/>
                </a:cubicBezTo>
                <a:close/>
                <a:moveTo>
                  <a:pt x="473" y="961"/>
                </a:moveTo>
                <a:cubicBezTo>
                  <a:pt x="473" y="961"/>
                  <a:pt x="473" y="962"/>
                  <a:pt x="474" y="962"/>
                </a:cubicBezTo>
                <a:cubicBezTo>
                  <a:pt x="474" y="961"/>
                  <a:pt x="474" y="961"/>
                  <a:pt x="473" y="961"/>
                </a:cubicBezTo>
                <a:cubicBezTo>
                  <a:pt x="473" y="961"/>
                  <a:pt x="473" y="960"/>
                  <a:pt x="473" y="961"/>
                </a:cubicBezTo>
                <a:close/>
                <a:moveTo>
                  <a:pt x="466" y="951"/>
                </a:moveTo>
                <a:cubicBezTo>
                  <a:pt x="466" y="951"/>
                  <a:pt x="466" y="950"/>
                  <a:pt x="466" y="950"/>
                </a:cubicBezTo>
                <a:cubicBezTo>
                  <a:pt x="466" y="950"/>
                  <a:pt x="466" y="950"/>
                  <a:pt x="465" y="950"/>
                </a:cubicBezTo>
                <a:cubicBezTo>
                  <a:pt x="465" y="950"/>
                  <a:pt x="465" y="949"/>
                  <a:pt x="465" y="949"/>
                </a:cubicBezTo>
                <a:cubicBezTo>
                  <a:pt x="465" y="949"/>
                  <a:pt x="465" y="949"/>
                  <a:pt x="465" y="950"/>
                </a:cubicBezTo>
                <a:cubicBezTo>
                  <a:pt x="465" y="950"/>
                  <a:pt x="465" y="951"/>
                  <a:pt x="465" y="951"/>
                </a:cubicBezTo>
                <a:cubicBezTo>
                  <a:pt x="465" y="952"/>
                  <a:pt x="465" y="952"/>
                  <a:pt x="465" y="953"/>
                </a:cubicBezTo>
                <a:cubicBezTo>
                  <a:pt x="465" y="953"/>
                  <a:pt x="466" y="953"/>
                  <a:pt x="466" y="953"/>
                </a:cubicBezTo>
                <a:cubicBezTo>
                  <a:pt x="466" y="954"/>
                  <a:pt x="466" y="954"/>
                  <a:pt x="467" y="954"/>
                </a:cubicBezTo>
                <a:cubicBezTo>
                  <a:pt x="467" y="955"/>
                  <a:pt x="468" y="955"/>
                  <a:pt x="468" y="956"/>
                </a:cubicBezTo>
                <a:cubicBezTo>
                  <a:pt x="469" y="956"/>
                  <a:pt x="469" y="958"/>
                  <a:pt x="470" y="957"/>
                </a:cubicBezTo>
                <a:cubicBezTo>
                  <a:pt x="470" y="956"/>
                  <a:pt x="469" y="955"/>
                  <a:pt x="469" y="954"/>
                </a:cubicBezTo>
                <a:cubicBezTo>
                  <a:pt x="469" y="953"/>
                  <a:pt x="469" y="953"/>
                  <a:pt x="468" y="953"/>
                </a:cubicBezTo>
                <a:cubicBezTo>
                  <a:pt x="468" y="953"/>
                  <a:pt x="467" y="953"/>
                  <a:pt x="467" y="953"/>
                </a:cubicBezTo>
                <a:cubicBezTo>
                  <a:pt x="467" y="952"/>
                  <a:pt x="467" y="952"/>
                  <a:pt x="467" y="952"/>
                </a:cubicBezTo>
                <a:cubicBezTo>
                  <a:pt x="467" y="951"/>
                  <a:pt x="467" y="951"/>
                  <a:pt x="466" y="951"/>
                </a:cubicBezTo>
                <a:close/>
                <a:moveTo>
                  <a:pt x="498" y="1005"/>
                </a:moveTo>
                <a:cubicBezTo>
                  <a:pt x="497" y="1005"/>
                  <a:pt x="498" y="1006"/>
                  <a:pt x="498" y="1006"/>
                </a:cubicBezTo>
                <a:cubicBezTo>
                  <a:pt x="498" y="1006"/>
                  <a:pt x="498" y="1006"/>
                  <a:pt x="498" y="1007"/>
                </a:cubicBezTo>
                <a:cubicBezTo>
                  <a:pt x="498" y="1007"/>
                  <a:pt x="498" y="1007"/>
                  <a:pt x="498" y="1008"/>
                </a:cubicBezTo>
                <a:cubicBezTo>
                  <a:pt x="499" y="1008"/>
                  <a:pt x="499" y="1008"/>
                  <a:pt x="499" y="1007"/>
                </a:cubicBezTo>
                <a:cubicBezTo>
                  <a:pt x="499" y="1007"/>
                  <a:pt x="499" y="1006"/>
                  <a:pt x="498" y="1006"/>
                </a:cubicBezTo>
                <a:cubicBezTo>
                  <a:pt x="498" y="1005"/>
                  <a:pt x="498" y="1004"/>
                  <a:pt x="498" y="1005"/>
                </a:cubicBezTo>
                <a:close/>
                <a:moveTo>
                  <a:pt x="507" y="1014"/>
                </a:moveTo>
                <a:cubicBezTo>
                  <a:pt x="506" y="1014"/>
                  <a:pt x="507" y="1015"/>
                  <a:pt x="507" y="1015"/>
                </a:cubicBezTo>
                <a:cubicBezTo>
                  <a:pt x="508" y="1016"/>
                  <a:pt x="508" y="1016"/>
                  <a:pt x="508" y="1015"/>
                </a:cubicBezTo>
                <a:cubicBezTo>
                  <a:pt x="508" y="1015"/>
                  <a:pt x="508" y="1014"/>
                  <a:pt x="507" y="1014"/>
                </a:cubicBezTo>
                <a:cubicBezTo>
                  <a:pt x="507" y="1014"/>
                  <a:pt x="507" y="1014"/>
                  <a:pt x="507" y="1014"/>
                </a:cubicBezTo>
                <a:close/>
                <a:moveTo>
                  <a:pt x="501" y="1012"/>
                </a:moveTo>
                <a:cubicBezTo>
                  <a:pt x="501" y="1012"/>
                  <a:pt x="501" y="1013"/>
                  <a:pt x="502" y="1012"/>
                </a:cubicBezTo>
                <a:cubicBezTo>
                  <a:pt x="502" y="1012"/>
                  <a:pt x="502" y="1012"/>
                  <a:pt x="501" y="1012"/>
                </a:cubicBezTo>
                <a:close/>
                <a:moveTo>
                  <a:pt x="852" y="644"/>
                </a:moveTo>
                <a:cubicBezTo>
                  <a:pt x="853" y="644"/>
                  <a:pt x="853" y="644"/>
                  <a:pt x="853" y="645"/>
                </a:cubicBezTo>
                <a:cubicBezTo>
                  <a:pt x="853" y="645"/>
                  <a:pt x="854" y="645"/>
                  <a:pt x="854" y="645"/>
                </a:cubicBezTo>
                <a:cubicBezTo>
                  <a:pt x="854" y="644"/>
                  <a:pt x="854" y="644"/>
                  <a:pt x="855" y="643"/>
                </a:cubicBezTo>
                <a:cubicBezTo>
                  <a:pt x="855" y="643"/>
                  <a:pt x="856" y="643"/>
                  <a:pt x="856" y="643"/>
                </a:cubicBezTo>
                <a:cubicBezTo>
                  <a:pt x="856" y="642"/>
                  <a:pt x="856" y="642"/>
                  <a:pt x="855" y="642"/>
                </a:cubicBezTo>
                <a:cubicBezTo>
                  <a:pt x="855" y="642"/>
                  <a:pt x="855" y="642"/>
                  <a:pt x="854" y="643"/>
                </a:cubicBezTo>
                <a:cubicBezTo>
                  <a:pt x="854" y="643"/>
                  <a:pt x="851" y="643"/>
                  <a:pt x="851" y="644"/>
                </a:cubicBezTo>
                <a:cubicBezTo>
                  <a:pt x="851" y="644"/>
                  <a:pt x="852" y="644"/>
                  <a:pt x="852" y="644"/>
                </a:cubicBezTo>
                <a:close/>
                <a:moveTo>
                  <a:pt x="1127" y="650"/>
                </a:moveTo>
                <a:cubicBezTo>
                  <a:pt x="1127" y="649"/>
                  <a:pt x="1126" y="650"/>
                  <a:pt x="1126" y="650"/>
                </a:cubicBezTo>
                <a:cubicBezTo>
                  <a:pt x="1126" y="650"/>
                  <a:pt x="1125" y="650"/>
                  <a:pt x="1125" y="650"/>
                </a:cubicBezTo>
                <a:cubicBezTo>
                  <a:pt x="1125" y="650"/>
                  <a:pt x="1124" y="650"/>
                  <a:pt x="1124" y="651"/>
                </a:cubicBezTo>
                <a:cubicBezTo>
                  <a:pt x="1124" y="651"/>
                  <a:pt x="1125" y="651"/>
                  <a:pt x="1125" y="651"/>
                </a:cubicBezTo>
                <a:cubicBezTo>
                  <a:pt x="1124" y="651"/>
                  <a:pt x="1124" y="651"/>
                  <a:pt x="1124" y="651"/>
                </a:cubicBezTo>
                <a:cubicBezTo>
                  <a:pt x="1124" y="651"/>
                  <a:pt x="1123" y="651"/>
                  <a:pt x="1123" y="651"/>
                </a:cubicBezTo>
                <a:cubicBezTo>
                  <a:pt x="1123" y="651"/>
                  <a:pt x="1123" y="650"/>
                  <a:pt x="1122" y="650"/>
                </a:cubicBezTo>
                <a:cubicBezTo>
                  <a:pt x="1122" y="649"/>
                  <a:pt x="1121" y="650"/>
                  <a:pt x="1121" y="650"/>
                </a:cubicBezTo>
                <a:cubicBezTo>
                  <a:pt x="1120" y="651"/>
                  <a:pt x="1120" y="651"/>
                  <a:pt x="1119" y="651"/>
                </a:cubicBezTo>
                <a:cubicBezTo>
                  <a:pt x="1119" y="651"/>
                  <a:pt x="1119" y="651"/>
                  <a:pt x="1118" y="652"/>
                </a:cubicBezTo>
                <a:cubicBezTo>
                  <a:pt x="1118" y="652"/>
                  <a:pt x="1117" y="653"/>
                  <a:pt x="1116" y="653"/>
                </a:cubicBezTo>
                <a:cubicBezTo>
                  <a:pt x="1115" y="653"/>
                  <a:pt x="1115" y="653"/>
                  <a:pt x="1114" y="653"/>
                </a:cubicBezTo>
                <a:cubicBezTo>
                  <a:pt x="1114" y="653"/>
                  <a:pt x="1113" y="654"/>
                  <a:pt x="1112" y="655"/>
                </a:cubicBezTo>
                <a:cubicBezTo>
                  <a:pt x="1112" y="656"/>
                  <a:pt x="1112" y="656"/>
                  <a:pt x="1111" y="657"/>
                </a:cubicBezTo>
                <a:cubicBezTo>
                  <a:pt x="1111" y="658"/>
                  <a:pt x="1110" y="658"/>
                  <a:pt x="1110" y="658"/>
                </a:cubicBezTo>
                <a:cubicBezTo>
                  <a:pt x="1109" y="658"/>
                  <a:pt x="1109" y="658"/>
                  <a:pt x="1109" y="659"/>
                </a:cubicBezTo>
                <a:cubicBezTo>
                  <a:pt x="1109" y="659"/>
                  <a:pt x="1110" y="659"/>
                  <a:pt x="1110" y="659"/>
                </a:cubicBezTo>
                <a:cubicBezTo>
                  <a:pt x="1110" y="660"/>
                  <a:pt x="1110" y="661"/>
                  <a:pt x="1109" y="661"/>
                </a:cubicBezTo>
                <a:cubicBezTo>
                  <a:pt x="1109" y="662"/>
                  <a:pt x="1108" y="663"/>
                  <a:pt x="1107" y="663"/>
                </a:cubicBezTo>
                <a:cubicBezTo>
                  <a:pt x="1107" y="663"/>
                  <a:pt x="1106" y="663"/>
                  <a:pt x="1106" y="663"/>
                </a:cubicBezTo>
                <a:cubicBezTo>
                  <a:pt x="1106" y="663"/>
                  <a:pt x="1106" y="664"/>
                  <a:pt x="1106" y="664"/>
                </a:cubicBezTo>
                <a:cubicBezTo>
                  <a:pt x="1106" y="664"/>
                  <a:pt x="1107" y="664"/>
                  <a:pt x="1107" y="664"/>
                </a:cubicBezTo>
                <a:cubicBezTo>
                  <a:pt x="1107" y="665"/>
                  <a:pt x="1107" y="665"/>
                  <a:pt x="1107" y="665"/>
                </a:cubicBezTo>
                <a:cubicBezTo>
                  <a:pt x="1106" y="665"/>
                  <a:pt x="1106" y="665"/>
                  <a:pt x="1106" y="665"/>
                </a:cubicBezTo>
                <a:cubicBezTo>
                  <a:pt x="1105" y="666"/>
                  <a:pt x="1104" y="667"/>
                  <a:pt x="1104" y="668"/>
                </a:cubicBezTo>
                <a:cubicBezTo>
                  <a:pt x="1104" y="669"/>
                  <a:pt x="1104" y="669"/>
                  <a:pt x="1103" y="670"/>
                </a:cubicBezTo>
                <a:cubicBezTo>
                  <a:pt x="1102" y="672"/>
                  <a:pt x="1101" y="674"/>
                  <a:pt x="1100" y="677"/>
                </a:cubicBezTo>
                <a:cubicBezTo>
                  <a:pt x="1099" y="677"/>
                  <a:pt x="1099" y="678"/>
                  <a:pt x="1099" y="679"/>
                </a:cubicBezTo>
                <a:cubicBezTo>
                  <a:pt x="1099" y="680"/>
                  <a:pt x="1098" y="680"/>
                  <a:pt x="1098" y="681"/>
                </a:cubicBezTo>
                <a:cubicBezTo>
                  <a:pt x="1097" y="682"/>
                  <a:pt x="1094" y="683"/>
                  <a:pt x="1096" y="684"/>
                </a:cubicBezTo>
                <a:cubicBezTo>
                  <a:pt x="1096" y="684"/>
                  <a:pt x="1097" y="684"/>
                  <a:pt x="1097" y="685"/>
                </a:cubicBezTo>
                <a:cubicBezTo>
                  <a:pt x="1097" y="685"/>
                  <a:pt x="1097" y="685"/>
                  <a:pt x="1098" y="686"/>
                </a:cubicBezTo>
                <a:cubicBezTo>
                  <a:pt x="1098" y="686"/>
                  <a:pt x="1098" y="686"/>
                  <a:pt x="1099" y="686"/>
                </a:cubicBezTo>
                <a:cubicBezTo>
                  <a:pt x="1099" y="686"/>
                  <a:pt x="1099" y="686"/>
                  <a:pt x="1100" y="686"/>
                </a:cubicBezTo>
                <a:cubicBezTo>
                  <a:pt x="1100" y="687"/>
                  <a:pt x="1099" y="686"/>
                  <a:pt x="1099" y="686"/>
                </a:cubicBezTo>
                <a:cubicBezTo>
                  <a:pt x="1098" y="686"/>
                  <a:pt x="1097" y="686"/>
                  <a:pt x="1097" y="686"/>
                </a:cubicBezTo>
                <a:cubicBezTo>
                  <a:pt x="1096" y="686"/>
                  <a:pt x="1097" y="687"/>
                  <a:pt x="1097" y="688"/>
                </a:cubicBezTo>
                <a:cubicBezTo>
                  <a:pt x="1097" y="688"/>
                  <a:pt x="1097" y="688"/>
                  <a:pt x="1097" y="688"/>
                </a:cubicBezTo>
                <a:cubicBezTo>
                  <a:pt x="1098" y="689"/>
                  <a:pt x="1097" y="689"/>
                  <a:pt x="1097" y="688"/>
                </a:cubicBezTo>
                <a:cubicBezTo>
                  <a:pt x="1096" y="688"/>
                  <a:pt x="1096" y="688"/>
                  <a:pt x="1095" y="688"/>
                </a:cubicBezTo>
                <a:cubicBezTo>
                  <a:pt x="1095" y="687"/>
                  <a:pt x="1094" y="686"/>
                  <a:pt x="1094" y="687"/>
                </a:cubicBezTo>
                <a:cubicBezTo>
                  <a:pt x="1094" y="687"/>
                  <a:pt x="1094" y="688"/>
                  <a:pt x="1094" y="688"/>
                </a:cubicBezTo>
                <a:cubicBezTo>
                  <a:pt x="1093" y="688"/>
                  <a:pt x="1093" y="688"/>
                  <a:pt x="1093" y="688"/>
                </a:cubicBezTo>
                <a:cubicBezTo>
                  <a:pt x="1092" y="689"/>
                  <a:pt x="1092" y="690"/>
                  <a:pt x="1092" y="690"/>
                </a:cubicBezTo>
                <a:cubicBezTo>
                  <a:pt x="1092" y="691"/>
                  <a:pt x="1092" y="692"/>
                  <a:pt x="1091" y="692"/>
                </a:cubicBezTo>
                <a:cubicBezTo>
                  <a:pt x="1090" y="693"/>
                  <a:pt x="1091" y="694"/>
                  <a:pt x="1090" y="695"/>
                </a:cubicBezTo>
                <a:cubicBezTo>
                  <a:pt x="1090" y="695"/>
                  <a:pt x="1090" y="695"/>
                  <a:pt x="1089" y="695"/>
                </a:cubicBezTo>
                <a:cubicBezTo>
                  <a:pt x="1089" y="695"/>
                  <a:pt x="1088" y="695"/>
                  <a:pt x="1088" y="695"/>
                </a:cubicBezTo>
                <a:cubicBezTo>
                  <a:pt x="1087" y="695"/>
                  <a:pt x="1088" y="694"/>
                  <a:pt x="1088" y="694"/>
                </a:cubicBezTo>
                <a:cubicBezTo>
                  <a:pt x="1089" y="693"/>
                  <a:pt x="1089" y="693"/>
                  <a:pt x="1089" y="693"/>
                </a:cubicBezTo>
                <a:cubicBezTo>
                  <a:pt x="1089" y="693"/>
                  <a:pt x="1090" y="692"/>
                  <a:pt x="1090" y="692"/>
                </a:cubicBezTo>
                <a:cubicBezTo>
                  <a:pt x="1090" y="692"/>
                  <a:pt x="1088" y="693"/>
                  <a:pt x="1088" y="693"/>
                </a:cubicBezTo>
                <a:cubicBezTo>
                  <a:pt x="1088" y="693"/>
                  <a:pt x="1087" y="693"/>
                  <a:pt x="1087" y="694"/>
                </a:cubicBezTo>
                <a:cubicBezTo>
                  <a:pt x="1086" y="694"/>
                  <a:pt x="1086" y="694"/>
                  <a:pt x="1085" y="695"/>
                </a:cubicBezTo>
                <a:cubicBezTo>
                  <a:pt x="1085" y="695"/>
                  <a:pt x="1084" y="696"/>
                  <a:pt x="1084" y="696"/>
                </a:cubicBezTo>
                <a:cubicBezTo>
                  <a:pt x="1085" y="697"/>
                  <a:pt x="1085" y="696"/>
                  <a:pt x="1086" y="696"/>
                </a:cubicBezTo>
                <a:cubicBezTo>
                  <a:pt x="1087" y="695"/>
                  <a:pt x="1088" y="696"/>
                  <a:pt x="1089" y="696"/>
                </a:cubicBezTo>
                <a:cubicBezTo>
                  <a:pt x="1090" y="696"/>
                  <a:pt x="1092" y="695"/>
                  <a:pt x="1093" y="696"/>
                </a:cubicBezTo>
                <a:cubicBezTo>
                  <a:pt x="1094" y="696"/>
                  <a:pt x="1094" y="696"/>
                  <a:pt x="1094" y="696"/>
                </a:cubicBezTo>
                <a:cubicBezTo>
                  <a:pt x="1093" y="696"/>
                  <a:pt x="1093" y="696"/>
                  <a:pt x="1093" y="696"/>
                </a:cubicBezTo>
                <a:cubicBezTo>
                  <a:pt x="1092" y="697"/>
                  <a:pt x="1092" y="697"/>
                  <a:pt x="1092" y="697"/>
                </a:cubicBezTo>
                <a:cubicBezTo>
                  <a:pt x="1091" y="698"/>
                  <a:pt x="1091" y="698"/>
                  <a:pt x="1090" y="698"/>
                </a:cubicBezTo>
                <a:cubicBezTo>
                  <a:pt x="1090" y="699"/>
                  <a:pt x="1089" y="699"/>
                  <a:pt x="1089" y="700"/>
                </a:cubicBezTo>
                <a:cubicBezTo>
                  <a:pt x="1089" y="700"/>
                  <a:pt x="1088" y="701"/>
                  <a:pt x="1088" y="701"/>
                </a:cubicBezTo>
                <a:cubicBezTo>
                  <a:pt x="1087" y="702"/>
                  <a:pt x="1086" y="702"/>
                  <a:pt x="1086" y="702"/>
                </a:cubicBezTo>
                <a:cubicBezTo>
                  <a:pt x="1085" y="703"/>
                  <a:pt x="1085" y="703"/>
                  <a:pt x="1084" y="703"/>
                </a:cubicBezTo>
                <a:cubicBezTo>
                  <a:pt x="1083" y="704"/>
                  <a:pt x="1082" y="704"/>
                  <a:pt x="1082" y="705"/>
                </a:cubicBezTo>
                <a:cubicBezTo>
                  <a:pt x="1082" y="705"/>
                  <a:pt x="1083" y="705"/>
                  <a:pt x="1083" y="706"/>
                </a:cubicBezTo>
                <a:cubicBezTo>
                  <a:pt x="1083" y="706"/>
                  <a:pt x="1083" y="706"/>
                  <a:pt x="1083" y="707"/>
                </a:cubicBezTo>
                <a:cubicBezTo>
                  <a:pt x="1084" y="708"/>
                  <a:pt x="1083" y="708"/>
                  <a:pt x="1084" y="709"/>
                </a:cubicBezTo>
                <a:cubicBezTo>
                  <a:pt x="1085" y="709"/>
                  <a:pt x="1086" y="710"/>
                  <a:pt x="1086" y="710"/>
                </a:cubicBezTo>
                <a:cubicBezTo>
                  <a:pt x="1087" y="710"/>
                  <a:pt x="1088" y="709"/>
                  <a:pt x="1088" y="709"/>
                </a:cubicBezTo>
                <a:cubicBezTo>
                  <a:pt x="1089" y="709"/>
                  <a:pt x="1089" y="709"/>
                  <a:pt x="1090" y="709"/>
                </a:cubicBezTo>
                <a:cubicBezTo>
                  <a:pt x="1091" y="709"/>
                  <a:pt x="1092" y="708"/>
                  <a:pt x="1094" y="709"/>
                </a:cubicBezTo>
                <a:cubicBezTo>
                  <a:pt x="1094" y="709"/>
                  <a:pt x="1096" y="709"/>
                  <a:pt x="1096" y="708"/>
                </a:cubicBezTo>
                <a:cubicBezTo>
                  <a:pt x="1095" y="708"/>
                  <a:pt x="1095" y="708"/>
                  <a:pt x="1095" y="708"/>
                </a:cubicBezTo>
                <a:cubicBezTo>
                  <a:pt x="1096" y="708"/>
                  <a:pt x="1096" y="708"/>
                  <a:pt x="1097" y="708"/>
                </a:cubicBezTo>
                <a:cubicBezTo>
                  <a:pt x="1097" y="708"/>
                  <a:pt x="1098" y="708"/>
                  <a:pt x="1099" y="708"/>
                </a:cubicBezTo>
                <a:cubicBezTo>
                  <a:pt x="1100" y="708"/>
                  <a:pt x="1101" y="708"/>
                  <a:pt x="1101" y="708"/>
                </a:cubicBezTo>
                <a:cubicBezTo>
                  <a:pt x="1102" y="708"/>
                  <a:pt x="1103" y="709"/>
                  <a:pt x="1104" y="709"/>
                </a:cubicBezTo>
                <a:cubicBezTo>
                  <a:pt x="1104" y="709"/>
                  <a:pt x="1105" y="709"/>
                  <a:pt x="1105" y="709"/>
                </a:cubicBezTo>
                <a:cubicBezTo>
                  <a:pt x="1107" y="709"/>
                  <a:pt x="1109" y="708"/>
                  <a:pt x="1110" y="709"/>
                </a:cubicBezTo>
                <a:cubicBezTo>
                  <a:pt x="1111" y="710"/>
                  <a:pt x="1111" y="710"/>
                  <a:pt x="1112" y="710"/>
                </a:cubicBezTo>
                <a:cubicBezTo>
                  <a:pt x="1113" y="710"/>
                  <a:pt x="1113" y="710"/>
                  <a:pt x="1113" y="709"/>
                </a:cubicBezTo>
                <a:cubicBezTo>
                  <a:pt x="1113" y="709"/>
                  <a:pt x="1113" y="709"/>
                  <a:pt x="1114" y="709"/>
                </a:cubicBezTo>
                <a:cubicBezTo>
                  <a:pt x="1114" y="709"/>
                  <a:pt x="1114" y="709"/>
                  <a:pt x="1115" y="709"/>
                </a:cubicBezTo>
                <a:cubicBezTo>
                  <a:pt x="1115" y="709"/>
                  <a:pt x="1116" y="709"/>
                  <a:pt x="1116" y="709"/>
                </a:cubicBezTo>
                <a:cubicBezTo>
                  <a:pt x="1117" y="709"/>
                  <a:pt x="1117" y="709"/>
                  <a:pt x="1118" y="709"/>
                </a:cubicBezTo>
                <a:cubicBezTo>
                  <a:pt x="1118" y="708"/>
                  <a:pt x="1118" y="707"/>
                  <a:pt x="1118" y="707"/>
                </a:cubicBezTo>
                <a:cubicBezTo>
                  <a:pt x="1119" y="707"/>
                  <a:pt x="1119" y="708"/>
                  <a:pt x="1120" y="708"/>
                </a:cubicBezTo>
                <a:cubicBezTo>
                  <a:pt x="1120" y="707"/>
                  <a:pt x="1120" y="706"/>
                  <a:pt x="1120" y="706"/>
                </a:cubicBezTo>
                <a:cubicBezTo>
                  <a:pt x="1121" y="707"/>
                  <a:pt x="1121" y="707"/>
                  <a:pt x="1121" y="707"/>
                </a:cubicBezTo>
                <a:cubicBezTo>
                  <a:pt x="1122" y="707"/>
                  <a:pt x="1122" y="707"/>
                  <a:pt x="1123" y="707"/>
                </a:cubicBezTo>
                <a:cubicBezTo>
                  <a:pt x="1123" y="707"/>
                  <a:pt x="1123" y="708"/>
                  <a:pt x="1123" y="708"/>
                </a:cubicBezTo>
                <a:cubicBezTo>
                  <a:pt x="1122" y="709"/>
                  <a:pt x="1124" y="708"/>
                  <a:pt x="1124" y="709"/>
                </a:cubicBezTo>
                <a:cubicBezTo>
                  <a:pt x="1124" y="709"/>
                  <a:pt x="1122" y="709"/>
                  <a:pt x="1122" y="710"/>
                </a:cubicBezTo>
                <a:cubicBezTo>
                  <a:pt x="1121" y="710"/>
                  <a:pt x="1121" y="710"/>
                  <a:pt x="1121" y="710"/>
                </a:cubicBezTo>
                <a:cubicBezTo>
                  <a:pt x="1120" y="710"/>
                  <a:pt x="1120" y="710"/>
                  <a:pt x="1120" y="711"/>
                </a:cubicBezTo>
                <a:cubicBezTo>
                  <a:pt x="1119" y="712"/>
                  <a:pt x="1121" y="710"/>
                  <a:pt x="1121" y="710"/>
                </a:cubicBezTo>
                <a:cubicBezTo>
                  <a:pt x="1122" y="710"/>
                  <a:pt x="1123" y="710"/>
                  <a:pt x="1123" y="710"/>
                </a:cubicBezTo>
                <a:cubicBezTo>
                  <a:pt x="1124" y="710"/>
                  <a:pt x="1122" y="711"/>
                  <a:pt x="1123" y="711"/>
                </a:cubicBezTo>
                <a:cubicBezTo>
                  <a:pt x="1123" y="712"/>
                  <a:pt x="1123" y="711"/>
                  <a:pt x="1124" y="711"/>
                </a:cubicBezTo>
                <a:cubicBezTo>
                  <a:pt x="1124" y="711"/>
                  <a:pt x="1124" y="711"/>
                  <a:pt x="1125" y="711"/>
                </a:cubicBezTo>
                <a:cubicBezTo>
                  <a:pt x="1125" y="711"/>
                  <a:pt x="1125" y="711"/>
                  <a:pt x="1126" y="711"/>
                </a:cubicBezTo>
                <a:cubicBezTo>
                  <a:pt x="1127" y="710"/>
                  <a:pt x="1126" y="711"/>
                  <a:pt x="1127" y="711"/>
                </a:cubicBezTo>
                <a:cubicBezTo>
                  <a:pt x="1127" y="711"/>
                  <a:pt x="1127" y="711"/>
                  <a:pt x="1128" y="711"/>
                </a:cubicBezTo>
                <a:cubicBezTo>
                  <a:pt x="1128" y="711"/>
                  <a:pt x="1128" y="711"/>
                  <a:pt x="1128" y="710"/>
                </a:cubicBezTo>
                <a:cubicBezTo>
                  <a:pt x="1128" y="710"/>
                  <a:pt x="1128" y="710"/>
                  <a:pt x="1128" y="709"/>
                </a:cubicBezTo>
                <a:cubicBezTo>
                  <a:pt x="1128" y="709"/>
                  <a:pt x="1128" y="709"/>
                  <a:pt x="1128" y="708"/>
                </a:cubicBezTo>
                <a:cubicBezTo>
                  <a:pt x="1128" y="708"/>
                  <a:pt x="1128" y="707"/>
                  <a:pt x="1128" y="707"/>
                </a:cubicBezTo>
                <a:cubicBezTo>
                  <a:pt x="1129" y="708"/>
                  <a:pt x="1129" y="708"/>
                  <a:pt x="1129" y="708"/>
                </a:cubicBezTo>
                <a:cubicBezTo>
                  <a:pt x="1129" y="709"/>
                  <a:pt x="1130" y="708"/>
                  <a:pt x="1131" y="708"/>
                </a:cubicBezTo>
                <a:cubicBezTo>
                  <a:pt x="1131" y="709"/>
                  <a:pt x="1132" y="710"/>
                  <a:pt x="1132" y="709"/>
                </a:cubicBezTo>
                <a:cubicBezTo>
                  <a:pt x="1132" y="709"/>
                  <a:pt x="1132" y="707"/>
                  <a:pt x="1133" y="707"/>
                </a:cubicBezTo>
                <a:cubicBezTo>
                  <a:pt x="1133" y="708"/>
                  <a:pt x="1133" y="710"/>
                  <a:pt x="1134" y="709"/>
                </a:cubicBezTo>
                <a:cubicBezTo>
                  <a:pt x="1134" y="709"/>
                  <a:pt x="1134" y="709"/>
                  <a:pt x="1134" y="709"/>
                </a:cubicBezTo>
                <a:cubicBezTo>
                  <a:pt x="1135" y="708"/>
                  <a:pt x="1135" y="709"/>
                  <a:pt x="1135" y="709"/>
                </a:cubicBezTo>
                <a:cubicBezTo>
                  <a:pt x="1135" y="709"/>
                  <a:pt x="1135" y="710"/>
                  <a:pt x="1134" y="710"/>
                </a:cubicBezTo>
                <a:cubicBezTo>
                  <a:pt x="1134" y="710"/>
                  <a:pt x="1133" y="710"/>
                  <a:pt x="1132" y="710"/>
                </a:cubicBezTo>
                <a:cubicBezTo>
                  <a:pt x="1132" y="711"/>
                  <a:pt x="1132" y="711"/>
                  <a:pt x="1131" y="711"/>
                </a:cubicBezTo>
                <a:cubicBezTo>
                  <a:pt x="1130" y="712"/>
                  <a:pt x="1130" y="712"/>
                  <a:pt x="1129" y="713"/>
                </a:cubicBezTo>
                <a:cubicBezTo>
                  <a:pt x="1128" y="714"/>
                  <a:pt x="1126" y="714"/>
                  <a:pt x="1125" y="715"/>
                </a:cubicBezTo>
                <a:cubicBezTo>
                  <a:pt x="1125" y="716"/>
                  <a:pt x="1123" y="716"/>
                  <a:pt x="1123" y="717"/>
                </a:cubicBezTo>
                <a:cubicBezTo>
                  <a:pt x="1123" y="718"/>
                  <a:pt x="1123" y="718"/>
                  <a:pt x="1122" y="718"/>
                </a:cubicBezTo>
                <a:cubicBezTo>
                  <a:pt x="1122" y="719"/>
                  <a:pt x="1122" y="719"/>
                  <a:pt x="1123" y="720"/>
                </a:cubicBezTo>
                <a:cubicBezTo>
                  <a:pt x="1123" y="720"/>
                  <a:pt x="1123" y="720"/>
                  <a:pt x="1124" y="720"/>
                </a:cubicBezTo>
                <a:cubicBezTo>
                  <a:pt x="1124" y="720"/>
                  <a:pt x="1125" y="720"/>
                  <a:pt x="1125" y="720"/>
                </a:cubicBezTo>
                <a:cubicBezTo>
                  <a:pt x="1126" y="720"/>
                  <a:pt x="1126" y="719"/>
                  <a:pt x="1127" y="719"/>
                </a:cubicBezTo>
                <a:cubicBezTo>
                  <a:pt x="1127" y="719"/>
                  <a:pt x="1128" y="720"/>
                  <a:pt x="1128" y="720"/>
                </a:cubicBezTo>
                <a:cubicBezTo>
                  <a:pt x="1129" y="720"/>
                  <a:pt x="1129" y="719"/>
                  <a:pt x="1129" y="719"/>
                </a:cubicBezTo>
                <a:cubicBezTo>
                  <a:pt x="1130" y="719"/>
                  <a:pt x="1130" y="718"/>
                  <a:pt x="1130" y="718"/>
                </a:cubicBezTo>
                <a:cubicBezTo>
                  <a:pt x="1130" y="717"/>
                  <a:pt x="1131" y="717"/>
                  <a:pt x="1132" y="717"/>
                </a:cubicBezTo>
                <a:cubicBezTo>
                  <a:pt x="1132" y="716"/>
                  <a:pt x="1132" y="716"/>
                  <a:pt x="1132" y="715"/>
                </a:cubicBezTo>
                <a:cubicBezTo>
                  <a:pt x="1133" y="715"/>
                  <a:pt x="1133" y="714"/>
                  <a:pt x="1133" y="714"/>
                </a:cubicBezTo>
                <a:cubicBezTo>
                  <a:pt x="1133" y="714"/>
                  <a:pt x="1133" y="714"/>
                  <a:pt x="1134" y="713"/>
                </a:cubicBezTo>
                <a:cubicBezTo>
                  <a:pt x="1134" y="713"/>
                  <a:pt x="1134" y="713"/>
                  <a:pt x="1134" y="712"/>
                </a:cubicBezTo>
                <a:cubicBezTo>
                  <a:pt x="1135" y="712"/>
                  <a:pt x="1135" y="712"/>
                  <a:pt x="1135" y="713"/>
                </a:cubicBezTo>
                <a:cubicBezTo>
                  <a:pt x="1136" y="713"/>
                  <a:pt x="1136" y="713"/>
                  <a:pt x="1136" y="713"/>
                </a:cubicBezTo>
                <a:cubicBezTo>
                  <a:pt x="1137" y="713"/>
                  <a:pt x="1137" y="712"/>
                  <a:pt x="1137" y="712"/>
                </a:cubicBezTo>
                <a:cubicBezTo>
                  <a:pt x="1138" y="712"/>
                  <a:pt x="1139" y="712"/>
                  <a:pt x="1139" y="712"/>
                </a:cubicBezTo>
                <a:cubicBezTo>
                  <a:pt x="1140" y="711"/>
                  <a:pt x="1140" y="710"/>
                  <a:pt x="1140" y="709"/>
                </a:cubicBezTo>
                <a:cubicBezTo>
                  <a:pt x="1140" y="709"/>
                  <a:pt x="1141" y="708"/>
                  <a:pt x="1141" y="708"/>
                </a:cubicBezTo>
                <a:cubicBezTo>
                  <a:pt x="1142" y="707"/>
                  <a:pt x="1142" y="706"/>
                  <a:pt x="1142" y="706"/>
                </a:cubicBezTo>
                <a:cubicBezTo>
                  <a:pt x="1143" y="705"/>
                  <a:pt x="1144" y="706"/>
                  <a:pt x="1144" y="707"/>
                </a:cubicBezTo>
                <a:cubicBezTo>
                  <a:pt x="1144" y="708"/>
                  <a:pt x="1144" y="708"/>
                  <a:pt x="1145" y="709"/>
                </a:cubicBezTo>
                <a:cubicBezTo>
                  <a:pt x="1145" y="710"/>
                  <a:pt x="1145" y="710"/>
                  <a:pt x="1145" y="711"/>
                </a:cubicBezTo>
                <a:cubicBezTo>
                  <a:pt x="1145" y="711"/>
                  <a:pt x="1145" y="712"/>
                  <a:pt x="1145" y="713"/>
                </a:cubicBezTo>
                <a:cubicBezTo>
                  <a:pt x="1145" y="714"/>
                  <a:pt x="1144" y="714"/>
                  <a:pt x="1144" y="714"/>
                </a:cubicBezTo>
                <a:cubicBezTo>
                  <a:pt x="1143" y="715"/>
                  <a:pt x="1144" y="715"/>
                  <a:pt x="1143" y="716"/>
                </a:cubicBezTo>
                <a:cubicBezTo>
                  <a:pt x="1143" y="717"/>
                  <a:pt x="1142" y="718"/>
                  <a:pt x="1142" y="718"/>
                </a:cubicBezTo>
                <a:cubicBezTo>
                  <a:pt x="1142" y="719"/>
                  <a:pt x="1142" y="720"/>
                  <a:pt x="1143" y="721"/>
                </a:cubicBezTo>
                <a:cubicBezTo>
                  <a:pt x="1143" y="721"/>
                  <a:pt x="1144" y="720"/>
                  <a:pt x="1145" y="720"/>
                </a:cubicBezTo>
                <a:cubicBezTo>
                  <a:pt x="1145" y="719"/>
                  <a:pt x="1146" y="719"/>
                  <a:pt x="1147" y="718"/>
                </a:cubicBezTo>
                <a:cubicBezTo>
                  <a:pt x="1147" y="718"/>
                  <a:pt x="1149" y="714"/>
                  <a:pt x="1149" y="716"/>
                </a:cubicBezTo>
                <a:cubicBezTo>
                  <a:pt x="1150" y="716"/>
                  <a:pt x="1149" y="717"/>
                  <a:pt x="1148" y="717"/>
                </a:cubicBezTo>
                <a:cubicBezTo>
                  <a:pt x="1148" y="718"/>
                  <a:pt x="1149" y="718"/>
                  <a:pt x="1149" y="719"/>
                </a:cubicBezTo>
                <a:cubicBezTo>
                  <a:pt x="1148" y="719"/>
                  <a:pt x="1148" y="720"/>
                  <a:pt x="1148" y="720"/>
                </a:cubicBezTo>
                <a:cubicBezTo>
                  <a:pt x="1148" y="720"/>
                  <a:pt x="1149" y="720"/>
                  <a:pt x="1149" y="720"/>
                </a:cubicBezTo>
                <a:cubicBezTo>
                  <a:pt x="1149" y="721"/>
                  <a:pt x="1149" y="721"/>
                  <a:pt x="1149" y="721"/>
                </a:cubicBezTo>
                <a:cubicBezTo>
                  <a:pt x="1148" y="721"/>
                  <a:pt x="1148" y="722"/>
                  <a:pt x="1148" y="722"/>
                </a:cubicBezTo>
                <a:cubicBezTo>
                  <a:pt x="1149" y="723"/>
                  <a:pt x="1149" y="723"/>
                  <a:pt x="1149" y="723"/>
                </a:cubicBezTo>
                <a:cubicBezTo>
                  <a:pt x="1149" y="723"/>
                  <a:pt x="1150" y="723"/>
                  <a:pt x="1150" y="723"/>
                </a:cubicBezTo>
                <a:cubicBezTo>
                  <a:pt x="1150" y="723"/>
                  <a:pt x="1151" y="722"/>
                  <a:pt x="1151" y="722"/>
                </a:cubicBezTo>
                <a:cubicBezTo>
                  <a:pt x="1151" y="722"/>
                  <a:pt x="1151" y="721"/>
                  <a:pt x="1152" y="722"/>
                </a:cubicBezTo>
                <a:cubicBezTo>
                  <a:pt x="1152" y="722"/>
                  <a:pt x="1152" y="722"/>
                  <a:pt x="1152" y="722"/>
                </a:cubicBezTo>
                <a:cubicBezTo>
                  <a:pt x="1152" y="722"/>
                  <a:pt x="1152" y="722"/>
                  <a:pt x="1152" y="722"/>
                </a:cubicBezTo>
                <a:cubicBezTo>
                  <a:pt x="1153" y="722"/>
                  <a:pt x="1153" y="723"/>
                  <a:pt x="1153" y="723"/>
                </a:cubicBezTo>
                <a:cubicBezTo>
                  <a:pt x="1153" y="723"/>
                  <a:pt x="1154" y="723"/>
                  <a:pt x="1154" y="723"/>
                </a:cubicBezTo>
                <a:cubicBezTo>
                  <a:pt x="1155" y="723"/>
                  <a:pt x="1155" y="722"/>
                  <a:pt x="1155" y="722"/>
                </a:cubicBezTo>
                <a:cubicBezTo>
                  <a:pt x="1155" y="722"/>
                  <a:pt x="1155" y="721"/>
                  <a:pt x="1155" y="721"/>
                </a:cubicBezTo>
                <a:cubicBezTo>
                  <a:pt x="1156" y="720"/>
                  <a:pt x="1156" y="720"/>
                  <a:pt x="1157" y="718"/>
                </a:cubicBezTo>
                <a:cubicBezTo>
                  <a:pt x="1157" y="718"/>
                  <a:pt x="1157" y="717"/>
                  <a:pt x="1157" y="717"/>
                </a:cubicBezTo>
                <a:cubicBezTo>
                  <a:pt x="1157" y="716"/>
                  <a:pt x="1157" y="716"/>
                  <a:pt x="1157" y="715"/>
                </a:cubicBezTo>
                <a:cubicBezTo>
                  <a:pt x="1158" y="715"/>
                  <a:pt x="1158" y="714"/>
                  <a:pt x="1158" y="714"/>
                </a:cubicBezTo>
                <a:cubicBezTo>
                  <a:pt x="1159" y="713"/>
                  <a:pt x="1159" y="712"/>
                  <a:pt x="1159" y="712"/>
                </a:cubicBezTo>
                <a:cubicBezTo>
                  <a:pt x="1160" y="711"/>
                  <a:pt x="1160" y="710"/>
                  <a:pt x="1159" y="710"/>
                </a:cubicBezTo>
                <a:cubicBezTo>
                  <a:pt x="1159" y="709"/>
                  <a:pt x="1159" y="709"/>
                  <a:pt x="1159" y="709"/>
                </a:cubicBezTo>
                <a:cubicBezTo>
                  <a:pt x="1158" y="709"/>
                  <a:pt x="1158" y="709"/>
                  <a:pt x="1158" y="708"/>
                </a:cubicBezTo>
                <a:cubicBezTo>
                  <a:pt x="1158" y="708"/>
                  <a:pt x="1157" y="707"/>
                  <a:pt x="1157" y="708"/>
                </a:cubicBezTo>
                <a:cubicBezTo>
                  <a:pt x="1157" y="708"/>
                  <a:pt x="1157" y="709"/>
                  <a:pt x="1157" y="709"/>
                </a:cubicBezTo>
                <a:cubicBezTo>
                  <a:pt x="1157" y="710"/>
                  <a:pt x="1156" y="710"/>
                  <a:pt x="1156" y="710"/>
                </a:cubicBezTo>
                <a:cubicBezTo>
                  <a:pt x="1155" y="710"/>
                  <a:pt x="1155" y="711"/>
                  <a:pt x="1154" y="711"/>
                </a:cubicBezTo>
                <a:cubicBezTo>
                  <a:pt x="1153" y="711"/>
                  <a:pt x="1153" y="711"/>
                  <a:pt x="1153" y="711"/>
                </a:cubicBezTo>
                <a:cubicBezTo>
                  <a:pt x="1153" y="710"/>
                  <a:pt x="1153" y="710"/>
                  <a:pt x="1153" y="709"/>
                </a:cubicBezTo>
                <a:cubicBezTo>
                  <a:pt x="1153" y="709"/>
                  <a:pt x="1153" y="709"/>
                  <a:pt x="1153" y="708"/>
                </a:cubicBezTo>
                <a:cubicBezTo>
                  <a:pt x="1153" y="707"/>
                  <a:pt x="1154" y="707"/>
                  <a:pt x="1155" y="706"/>
                </a:cubicBezTo>
                <a:cubicBezTo>
                  <a:pt x="1155" y="705"/>
                  <a:pt x="1155" y="704"/>
                  <a:pt x="1155" y="704"/>
                </a:cubicBezTo>
                <a:cubicBezTo>
                  <a:pt x="1156" y="703"/>
                  <a:pt x="1156" y="703"/>
                  <a:pt x="1156" y="703"/>
                </a:cubicBezTo>
                <a:cubicBezTo>
                  <a:pt x="1156" y="703"/>
                  <a:pt x="1156" y="703"/>
                  <a:pt x="1156" y="702"/>
                </a:cubicBezTo>
                <a:cubicBezTo>
                  <a:pt x="1156" y="702"/>
                  <a:pt x="1158" y="701"/>
                  <a:pt x="1157" y="701"/>
                </a:cubicBezTo>
                <a:cubicBezTo>
                  <a:pt x="1157" y="701"/>
                  <a:pt x="1156" y="702"/>
                  <a:pt x="1156" y="702"/>
                </a:cubicBezTo>
                <a:cubicBezTo>
                  <a:pt x="1155" y="702"/>
                  <a:pt x="1155" y="702"/>
                  <a:pt x="1155" y="702"/>
                </a:cubicBezTo>
                <a:cubicBezTo>
                  <a:pt x="1154" y="702"/>
                  <a:pt x="1153" y="703"/>
                  <a:pt x="1152" y="703"/>
                </a:cubicBezTo>
                <a:cubicBezTo>
                  <a:pt x="1152" y="704"/>
                  <a:pt x="1151" y="704"/>
                  <a:pt x="1151" y="704"/>
                </a:cubicBezTo>
                <a:cubicBezTo>
                  <a:pt x="1151" y="705"/>
                  <a:pt x="1151" y="705"/>
                  <a:pt x="1151" y="706"/>
                </a:cubicBezTo>
                <a:cubicBezTo>
                  <a:pt x="1150" y="706"/>
                  <a:pt x="1150" y="706"/>
                  <a:pt x="1150" y="707"/>
                </a:cubicBezTo>
                <a:cubicBezTo>
                  <a:pt x="1150" y="708"/>
                  <a:pt x="1149" y="711"/>
                  <a:pt x="1148" y="709"/>
                </a:cubicBezTo>
                <a:cubicBezTo>
                  <a:pt x="1147" y="709"/>
                  <a:pt x="1147" y="709"/>
                  <a:pt x="1147" y="709"/>
                </a:cubicBezTo>
                <a:cubicBezTo>
                  <a:pt x="1147" y="708"/>
                  <a:pt x="1146" y="708"/>
                  <a:pt x="1146" y="708"/>
                </a:cubicBezTo>
                <a:cubicBezTo>
                  <a:pt x="1146" y="707"/>
                  <a:pt x="1146" y="707"/>
                  <a:pt x="1147" y="706"/>
                </a:cubicBezTo>
                <a:cubicBezTo>
                  <a:pt x="1147" y="705"/>
                  <a:pt x="1147" y="705"/>
                  <a:pt x="1148" y="704"/>
                </a:cubicBezTo>
                <a:cubicBezTo>
                  <a:pt x="1148" y="704"/>
                  <a:pt x="1148" y="704"/>
                  <a:pt x="1148" y="703"/>
                </a:cubicBezTo>
                <a:cubicBezTo>
                  <a:pt x="1148" y="703"/>
                  <a:pt x="1148" y="703"/>
                  <a:pt x="1148" y="702"/>
                </a:cubicBezTo>
                <a:cubicBezTo>
                  <a:pt x="1148" y="702"/>
                  <a:pt x="1148" y="702"/>
                  <a:pt x="1148" y="701"/>
                </a:cubicBezTo>
                <a:cubicBezTo>
                  <a:pt x="1148" y="701"/>
                  <a:pt x="1147" y="701"/>
                  <a:pt x="1147" y="701"/>
                </a:cubicBezTo>
                <a:cubicBezTo>
                  <a:pt x="1147" y="701"/>
                  <a:pt x="1146" y="701"/>
                  <a:pt x="1146" y="702"/>
                </a:cubicBezTo>
                <a:cubicBezTo>
                  <a:pt x="1146" y="702"/>
                  <a:pt x="1147" y="702"/>
                  <a:pt x="1147" y="702"/>
                </a:cubicBezTo>
                <a:cubicBezTo>
                  <a:pt x="1146" y="703"/>
                  <a:pt x="1146" y="703"/>
                  <a:pt x="1146" y="702"/>
                </a:cubicBezTo>
                <a:cubicBezTo>
                  <a:pt x="1146" y="702"/>
                  <a:pt x="1146" y="702"/>
                  <a:pt x="1146" y="702"/>
                </a:cubicBezTo>
                <a:cubicBezTo>
                  <a:pt x="1146" y="701"/>
                  <a:pt x="1146" y="701"/>
                  <a:pt x="1146" y="701"/>
                </a:cubicBezTo>
                <a:cubicBezTo>
                  <a:pt x="1146" y="701"/>
                  <a:pt x="1146" y="701"/>
                  <a:pt x="1147" y="701"/>
                </a:cubicBezTo>
                <a:cubicBezTo>
                  <a:pt x="1147" y="701"/>
                  <a:pt x="1147" y="701"/>
                  <a:pt x="1147" y="701"/>
                </a:cubicBezTo>
                <a:cubicBezTo>
                  <a:pt x="1148" y="701"/>
                  <a:pt x="1148" y="702"/>
                  <a:pt x="1149" y="702"/>
                </a:cubicBezTo>
                <a:cubicBezTo>
                  <a:pt x="1149" y="701"/>
                  <a:pt x="1148" y="701"/>
                  <a:pt x="1149" y="701"/>
                </a:cubicBezTo>
                <a:cubicBezTo>
                  <a:pt x="1149" y="700"/>
                  <a:pt x="1149" y="700"/>
                  <a:pt x="1150" y="700"/>
                </a:cubicBezTo>
                <a:cubicBezTo>
                  <a:pt x="1150" y="700"/>
                  <a:pt x="1150" y="700"/>
                  <a:pt x="1150" y="700"/>
                </a:cubicBezTo>
                <a:cubicBezTo>
                  <a:pt x="1150" y="699"/>
                  <a:pt x="1151" y="699"/>
                  <a:pt x="1151" y="699"/>
                </a:cubicBezTo>
                <a:cubicBezTo>
                  <a:pt x="1152" y="699"/>
                  <a:pt x="1151" y="698"/>
                  <a:pt x="1152" y="697"/>
                </a:cubicBezTo>
                <a:cubicBezTo>
                  <a:pt x="1153" y="697"/>
                  <a:pt x="1153" y="699"/>
                  <a:pt x="1154" y="698"/>
                </a:cubicBezTo>
                <a:cubicBezTo>
                  <a:pt x="1154" y="698"/>
                  <a:pt x="1154" y="697"/>
                  <a:pt x="1154" y="697"/>
                </a:cubicBezTo>
                <a:cubicBezTo>
                  <a:pt x="1154" y="697"/>
                  <a:pt x="1155" y="696"/>
                  <a:pt x="1155" y="696"/>
                </a:cubicBezTo>
                <a:cubicBezTo>
                  <a:pt x="1155" y="696"/>
                  <a:pt x="1156" y="694"/>
                  <a:pt x="1155" y="694"/>
                </a:cubicBezTo>
                <a:cubicBezTo>
                  <a:pt x="1154" y="693"/>
                  <a:pt x="1154" y="695"/>
                  <a:pt x="1153" y="695"/>
                </a:cubicBezTo>
                <a:cubicBezTo>
                  <a:pt x="1153" y="695"/>
                  <a:pt x="1153" y="695"/>
                  <a:pt x="1153" y="695"/>
                </a:cubicBezTo>
                <a:cubicBezTo>
                  <a:pt x="1153" y="695"/>
                  <a:pt x="1152" y="696"/>
                  <a:pt x="1152" y="696"/>
                </a:cubicBezTo>
                <a:cubicBezTo>
                  <a:pt x="1152" y="696"/>
                  <a:pt x="1152" y="696"/>
                  <a:pt x="1151" y="695"/>
                </a:cubicBezTo>
                <a:cubicBezTo>
                  <a:pt x="1151" y="695"/>
                  <a:pt x="1152" y="695"/>
                  <a:pt x="1151" y="694"/>
                </a:cubicBezTo>
                <a:cubicBezTo>
                  <a:pt x="1151" y="694"/>
                  <a:pt x="1151" y="694"/>
                  <a:pt x="1150" y="694"/>
                </a:cubicBezTo>
                <a:cubicBezTo>
                  <a:pt x="1150" y="694"/>
                  <a:pt x="1150" y="695"/>
                  <a:pt x="1150" y="695"/>
                </a:cubicBezTo>
                <a:cubicBezTo>
                  <a:pt x="1150" y="696"/>
                  <a:pt x="1150" y="697"/>
                  <a:pt x="1148" y="697"/>
                </a:cubicBezTo>
                <a:cubicBezTo>
                  <a:pt x="1148" y="697"/>
                  <a:pt x="1148" y="696"/>
                  <a:pt x="1148" y="696"/>
                </a:cubicBezTo>
                <a:cubicBezTo>
                  <a:pt x="1148" y="696"/>
                  <a:pt x="1147" y="696"/>
                  <a:pt x="1147" y="696"/>
                </a:cubicBezTo>
                <a:cubicBezTo>
                  <a:pt x="1147" y="696"/>
                  <a:pt x="1146" y="696"/>
                  <a:pt x="1146" y="696"/>
                </a:cubicBezTo>
                <a:cubicBezTo>
                  <a:pt x="1147" y="695"/>
                  <a:pt x="1147" y="695"/>
                  <a:pt x="1147" y="695"/>
                </a:cubicBezTo>
                <a:cubicBezTo>
                  <a:pt x="1147" y="695"/>
                  <a:pt x="1147" y="695"/>
                  <a:pt x="1147" y="695"/>
                </a:cubicBezTo>
                <a:cubicBezTo>
                  <a:pt x="1147" y="695"/>
                  <a:pt x="1147" y="695"/>
                  <a:pt x="1147" y="694"/>
                </a:cubicBezTo>
                <a:cubicBezTo>
                  <a:pt x="1147" y="694"/>
                  <a:pt x="1147" y="694"/>
                  <a:pt x="1147" y="694"/>
                </a:cubicBezTo>
                <a:cubicBezTo>
                  <a:pt x="1147" y="694"/>
                  <a:pt x="1148" y="694"/>
                  <a:pt x="1148" y="694"/>
                </a:cubicBezTo>
                <a:cubicBezTo>
                  <a:pt x="1149" y="693"/>
                  <a:pt x="1148" y="693"/>
                  <a:pt x="1148" y="693"/>
                </a:cubicBezTo>
                <a:cubicBezTo>
                  <a:pt x="1148" y="693"/>
                  <a:pt x="1147" y="693"/>
                  <a:pt x="1147" y="693"/>
                </a:cubicBezTo>
                <a:cubicBezTo>
                  <a:pt x="1146" y="693"/>
                  <a:pt x="1146" y="693"/>
                  <a:pt x="1146" y="693"/>
                </a:cubicBezTo>
                <a:cubicBezTo>
                  <a:pt x="1145" y="694"/>
                  <a:pt x="1146" y="694"/>
                  <a:pt x="1145" y="694"/>
                </a:cubicBezTo>
                <a:cubicBezTo>
                  <a:pt x="1145" y="694"/>
                  <a:pt x="1144" y="694"/>
                  <a:pt x="1144" y="694"/>
                </a:cubicBezTo>
                <a:cubicBezTo>
                  <a:pt x="1144" y="693"/>
                  <a:pt x="1145" y="693"/>
                  <a:pt x="1146" y="692"/>
                </a:cubicBezTo>
                <a:cubicBezTo>
                  <a:pt x="1146" y="692"/>
                  <a:pt x="1146" y="692"/>
                  <a:pt x="1146" y="692"/>
                </a:cubicBezTo>
                <a:cubicBezTo>
                  <a:pt x="1146" y="692"/>
                  <a:pt x="1146" y="692"/>
                  <a:pt x="1146" y="691"/>
                </a:cubicBezTo>
                <a:cubicBezTo>
                  <a:pt x="1147" y="691"/>
                  <a:pt x="1146" y="691"/>
                  <a:pt x="1146" y="691"/>
                </a:cubicBezTo>
                <a:cubicBezTo>
                  <a:pt x="1145" y="691"/>
                  <a:pt x="1145" y="692"/>
                  <a:pt x="1145" y="692"/>
                </a:cubicBezTo>
                <a:cubicBezTo>
                  <a:pt x="1145" y="692"/>
                  <a:pt x="1144" y="692"/>
                  <a:pt x="1144" y="692"/>
                </a:cubicBezTo>
                <a:cubicBezTo>
                  <a:pt x="1143" y="691"/>
                  <a:pt x="1144" y="691"/>
                  <a:pt x="1145" y="691"/>
                </a:cubicBezTo>
                <a:cubicBezTo>
                  <a:pt x="1145" y="691"/>
                  <a:pt x="1146" y="690"/>
                  <a:pt x="1146" y="689"/>
                </a:cubicBezTo>
                <a:cubicBezTo>
                  <a:pt x="1146" y="689"/>
                  <a:pt x="1147" y="689"/>
                  <a:pt x="1148" y="688"/>
                </a:cubicBezTo>
                <a:cubicBezTo>
                  <a:pt x="1148" y="688"/>
                  <a:pt x="1149" y="688"/>
                  <a:pt x="1149" y="688"/>
                </a:cubicBezTo>
                <a:cubicBezTo>
                  <a:pt x="1149" y="687"/>
                  <a:pt x="1149" y="687"/>
                  <a:pt x="1149" y="686"/>
                </a:cubicBezTo>
                <a:cubicBezTo>
                  <a:pt x="1150" y="686"/>
                  <a:pt x="1151" y="685"/>
                  <a:pt x="1150" y="685"/>
                </a:cubicBezTo>
                <a:cubicBezTo>
                  <a:pt x="1150" y="684"/>
                  <a:pt x="1149" y="684"/>
                  <a:pt x="1149" y="684"/>
                </a:cubicBezTo>
                <a:cubicBezTo>
                  <a:pt x="1148" y="684"/>
                  <a:pt x="1148" y="684"/>
                  <a:pt x="1148" y="683"/>
                </a:cubicBezTo>
                <a:cubicBezTo>
                  <a:pt x="1148" y="683"/>
                  <a:pt x="1147" y="683"/>
                  <a:pt x="1147" y="683"/>
                </a:cubicBezTo>
                <a:cubicBezTo>
                  <a:pt x="1146" y="682"/>
                  <a:pt x="1145" y="682"/>
                  <a:pt x="1144" y="682"/>
                </a:cubicBezTo>
                <a:cubicBezTo>
                  <a:pt x="1144" y="682"/>
                  <a:pt x="1143" y="682"/>
                  <a:pt x="1143" y="682"/>
                </a:cubicBezTo>
                <a:cubicBezTo>
                  <a:pt x="1142" y="682"/>
                  <a:pt x="1143" y="683"/>
                  <a:pt x="1142" y="683"/>
                </a:cubicBezTo>
                <a:cubicBezTo>
                  <a:pt x="1141" y="684"/>
                  <a:pt x="1141" y="682"/>
                  <a:pt x="1140" y="683"/>
                </a:cubicBezTo>
                <a:cubicBezTo>
                  <a:pt x="1139" y="683"/>
                  <a:pt x="1139" y="683"/>
                  <a:pt x="1139" y="683"/>
                </a:cubicBezTo>
                <a:cubicBezTo>
                  <a:pt x="1138" y="684"/>
                  <a:pt x="1139" y="682"/>
                  <a:pt x="1139" y="682"/>
                </a:cubicBezTo>
                <a:cubicBezTo>
                  <a:pt x="1139" y="681"/>
                  <a:pt x="1139" y="681"/>
                  <a:pt x="1138" y="681"/>
                </a:cubicBezTo>
                <a:cubicBezTo>
                  <a:pt x="1138" y="681"/>
                  <a:pt x="1138" y="681"/>
                  <a:pt x="1137" y="681"/>
                </a:cubicBezTo>
                <a:cubicBezTo>
                  <a:pt x="1137" y="681"/>
                  <a:pt x="1137" y="682"/>
                  <a:pt x="1137" y="682"/>
                </a:cubicBezTo>
                <a:cubicBezTo>
                  <a:pt x="1137" y="683"/>
                  <a:pt x="1135" y="684"/>
                  <a:pt x="1134" y="684"/>
                </a:cubicBezTo>
                <a:cubicBezTo>
                  <a:pt x="1134" y="684"/>
                  <a:pt x="1134" y="684"/>
                  <a:pt x="1133" y="684"/>
                </a:cubicBezTo>
                <a:cubicBezTo>
                  <a:pt x="1132" y="684"/>
                  <a:pt x="1132" y="685"/>
                  <a:pt x="1131" y="685"/>
                </a:cubicBezTo>
                <a:cubicBezTo>
                  <a:pt x="1131" y="685"/>
                  <a:pt x="1131" y="685"/>
                  <a:pt x="1130" y="685"/>
                </a:cubicBezTo>
                <a:cubicBezTo>
                  <a:pt x="1130" y="685"/>
                  <a:pt x="1130" y="684"/>
                  <a:pt x="1130" y="684"/>
                </a:cubicBezTo>
                <a:cubicBezTo>
                  <a:pt x="1130" y="683"/>
                  <a:pt x="1130" y="683"/>
                  <a:pt x="1131" y="683"/>
                </a:cubicBezTo>
                <a:cubicBezTo>
                  <a:pt x="1131" y="683"/>
                  <a:pt x="1131" y="682"/>
                  <a:pt x="1131" y="682"/>
                </a:cubicBezTo>
                <a:cubicBezTo>
                  <a:pt x="1131" y="681"/>
                  <a:pt x="1130" y="680"/>
                  <a:pt x="1129" y="681"/>
                </a:cubicBezTo>
                <a:cubicBezTo>
                  <a:pt x="1129" y="681"/>
                  <a:pt x="1129" y="681"/>
                  <a:pt x="1129" y="682"/>
                </a:cubicBezTo>
                <a:cubicBezTo>
                  <a:pt x="1129" y="682"/>
                  <a:pt x="1129" y="682"/>
                  <a:pt x="1129" y="682"/>
                </a:cubicBezTo>
                <a:cubicBezTo>
                  <a:pt x="1129" y="683"/>
                  <a:pt x="1129" y="683"/>
                  <a:pt x="1129" y="683"/>
                </a:cubicBezTo>
                <a:cubicBezTo>
                  <a:pt x="1129" y="683"/>
                  <a:pt x="1128" y="684"/>
                  <a:pt x="1128" y="683"/>
                </a:cubicBezTo>
                <a:cubicBezTo>
                  <a:pt x="1128" y="683"/>
                  <a:pt x="1128" y="683"/>
                  <a:pt x="1128" y="683"/>
                </a:cubicBezTo>
                <a:cubicBezTo>
                  <a:pt x="1128" y="682"/>
                  <a:pt x="1128" y="682"/>
                  <a:pt x="1128" y="682"/>
                </a:cubicBezTo>
                <a:cubicBezTo>
                  <a:pt x="1128" y="682"/>
                  <a:pt x="1128" y="682"/>
                  <a:pt x="1127" y="682"/>
                </a:cubicBezTo>
                <a:cubicBezTo>
                  <a:pt x="1127" y="681"/>
                  <a:pt x="1127" y="682"/>
                  <a:pt x="1127" y="682"/>
                </a:cubicBezTo>
                <a:cubicBezTo>
                  <a:pt x="1127" y="683"/>
                  <a:pt x="1126" y="683"/>
                  <a:pt x="1126" y="683"/>
                </a:cubicBezTo>
                <a:cubicBezTo>
                  <a:pt x="1125" y="683"/>
                  <a:pt x="1125" y="683"/>
                  <a:pt x="1125" y="683"/>
                </a:cubicBezTo>
                <a:cubicBezTo>
                  <a:pt x="1124" y="682"/>
                  <a:pt x="1124" y="682"/>
                  <a:pt x="1124" y="682"/>
                </a:cubicBezTo>
                <a:cubicBezTo>
                  <a:pt x="1124" y="682"/>
                  <a:pt x="1123" y="682"/>
                  <a:pt x="1123" y="681"/>
                </a:cubicBezTo>
                <a:cubicBezTo>
                  <a:pt x="1123" y="681"/>
                  <a:pt x="1122" y="681"/>
                  <a:pt x="1122" y="681"/>
                </a:cubicBezTo>
                <a:cubicBezTo>
                  <a:pt x="1122" y="680"/>
                  <a:pt x="1122" y="680"/>
                  <a:pt x="1123" y="680"/>
                </a:cubicBezTo>
                <a:cubicBezTo>
                  <a:pt x="1123" y="680"/>
                  <a:pt x="1123" y="679"/>
                  <a:pt x="1122" y="679"/>
                </a:cubicBezTo>
                <a:cubicBezTo>
                  <a:pt x="1122" y="678"/>
                  <a:pt x="1122" y="678"/>
                  <a:pt x="1122" y="678"/>
                </a:cubicBezTo>
                <a:cubicBezTo>
                  <a:pt x="1121" y="679"/>
                  <a:pt x="1121" y="679"/>
                  <a:pt x="1121" y="679"/>
                </a:cubicBezTo>
                <a:cubicBezTo>
                  <a:pt x="1120" y="679"/>
                  <a:pt x="1120" y="679"/>
                  <a:pt x="1121" y="678"/>
                </a:cubicBezTo>
                <a:cubicBezTo>
                  <a:pt x="1121" y="678"/>
                  <a:pt x="1121" y="678"/>
                  <a:pt x="1122" y="678"/>
                </a:cubicBezTo>
                <a:cubicBezTo>
                  <a:pt x="1122" y="677"/>
                  <a:pt x="1122" y="677"/>
                  <a:pt x="1123" y="677"/>
                </a:cubicBezTo>
                <a:cubicBezTo>
                  <a:pt x="1123" y="677"/>
                  <a:pt x="1123" y="677"/>
                  <a:pt x="1124" y="677"/>
                </a:cubicBezTo>
                <a:cubicBezTo>
                  <a:pt x="1124" y="677"/>
                  <a:pt x="1124" y="677"/>
                  <a:pt x="1125" y="676"/>
                </a:cubicBezTo>
                <a:cubicBezTo>
                  <a:pt x="1125" y="676"/>
                  <a:pt x="1125" y="676"/>
                  <a:pt x="1126" y="676"/>
                </a:cubicBezTo>
                <a:cubicBezTo>
                  <a:pt x="1126" y="675"/>
                  <a:pt x="1126" y="675"/>
                  <a:pt x="1126" y="675"/>
                </a:cubicBezTo>
                <a:cubicBezTo>
                  <a:pt x="1127" y="675"/>
                  <a:pt x="1128" y="675"/>
                  <a:pt x="1128" y="674"/>
                </a:cubicBezTo>
                <a:cubicBezTo>
                  <a:pt x="1128" y="674"/>
                  <a:pt x="1126" y="674"/>
                  <a:pt x="1125" y="674"/>
                </a:cubicBezTo>
                <a:cubicBezTo>
                  <a:pt x="1125" y="674"/>
                  <a:pt x="1125" y="674"/>
                  <a:pt x="1124" y="675"/>
                </a:cubicBezTo>
                <a:cubicBezTo>
                  <a:pt x="1124" y="675"/>
                  <a:pt x="1123" y="675"/>
                  <a:pt x="1123" y="675"/>
                </a:cubicBezTo>
                <a:cubicBezTo>
                  <a:pt x="1123" y="674"/>
                  <a:pt x="1123" y="674"/>
                  <a:pt x="1123" y="673"/>
                </a:cubicBezTo>
                <a:cubicBezTo>
                  <a:pt x="1122" y="673"/>
                  <a:pt x="1122" y="673"/>
                  <a:pt x="1121" y="673"/>
                </a:cubicBezTo>
                <a:cubicBezTo>
                  <a:pt x="1121" y="674"/>
                  <a:pt x="1121" y="674"/>
                  <a:pt x="1121" y="674"/>
                </a:cubicBezTo>
                <a:cubicBezTo>
                  <a:pt x="1121" y="674"/>
                  <a:pt x="1121" y="674"/>
                  <a:pt x="1120" y="674"/>
                </a:cubicBezTo>
                <a:cubicBezTo>
                  <a:pt x="1120" y="674"/>
                  <a:pt x="1120" y="674"/>
                  <a:pt x="1120" y="674"/>
                </a:cubicBezTo>
                <a:cubicBezTo>
                  <a:pt x="1119" y="674"/>
                  <a:pt x="1119" y="675"/>
                  <a:pt x="1119" y="674"/>
                </a:cubicBezTo>
                <a:cubicBezTo>
                  <a:pt x="1119" y="674"/>
                  <a:pt x="1119" y="673"/>
                  <a:pt x="1119" y="673"/>
                </a:cubicBezTo>
                <a:cubicBezTo>
                  <a:pt x="1119" y="673"/>
                  <a:pt x="1119" y="672"/>
                  <a:pt x="1119" y="672"/>
                </a:cubicBezTo>
                <a:cubicBezTo>
                  <a:pt x="1119" y="671"/>
                  <a:pt x="1118" y="672"/>
                  <a:pt x="1118" y="672"/>
                </a:cubicBezTo>
                <a:cubicBezTo>
                  <a:pt x="1118" y="673"/>
                  <a:pt x="1118" y="673"/>
                  <a:pt x="1118" y="674"/>
                </a:cubicBezTo>
                <a:cubicBezTo>
                  <a:pt x="1117" y="674"/>
                  <a:pt x="1117" y="674"/>
                  <a:pt x="1117" y="674"/>
                </a:cubicBezTo>
                <a:cubicBezTo>
                  <a:pt x="1117" y="675"/>
                  <a:pt x="1117" y="676"/>
                  <a:pt x="1116" y="676"/>
                </a:cubicBezTo>
                <a:cubicBezTo>
                  <a:pt x="1116" y="676"/>
                  <a:pt x="1115" y="676"/>
                  <a:pt x="1115" y="677"/>
                </a:cubicBezTo>
                <a:cubicBezTo>
                  <a:pt x="1114" y="677"/>
                  <a:pt x="1114" y="678"/>
                  <a:pt x="1114" y="678"/>
                </a:cubicBezTo>
                <a:cubicBezTo>
                  <a:pt x="1113" y="679"/>
                  <a:pt x="1113" y="679"/>
                  <a:pt x="1112" y="680"/>
                </a:cubicBezTo>
                <a:cubicBezTo>
                  <a:pt x="1112" y="680"/>
                  <a:pt x="1112" y="681"/>
                  <a:pt x="1112" y="680"/>
                </a:cubicBezTo>
                <a:cubicBezTo>
                  <a:pt x="1112" y="679"/>
                  <a:pt x="1112" y="679"/>
                  <a:pt x="1112" y="678"/>
                </a:cubicBezTo>
                <a:cubicBezTo>
                  <a:pt x="1112" y="678"/>
                  <a:pt x="1111" y="677"/>
                  <a:pt x="1111" y="677"/>
                </a:cubicBezTo>
                <a:cubicBezTo>
                  <a:pt x="1111" y="676"/>
                  <a:pt x="1112" y="675"/>
                  <a:pt x="1113" y="674"/>
                </a:cubicBezTo>
                <a:cubicBezTo>
                  <a:pt x="1113" y="673"/>
                  <a:pt x="1113" y="672"/>
                  <a:pt x="1114" y="671"/>
                </a:cubicBezTo>
                <a:cubicBezTo>
                  <a:pt x="1114" y="671"/>
                  <a:pt x="1115" y="670"/>
                  <a:pt x="1115" y="669"/>
                </a:cubicBezTo>
                <a:cubicBezTo>
                  <a:pt x="1116" y="668"/>
                  <a:pt x="1117" y="667"/>
                  <a:pt x="1119" y="666"/>
                </a:cubicBezTo>
                <a:cubicBezTo>
                  <a:pt x="1119" y="665"/>
                  <a:pt x="1120" y="665"/>
                  <a:pt x="1120" y="664"/>
                </a:cubicBezTo>
                <a:cubicBezTo>
                  <a:pt x="1120" y="663"/>
                  <a:pt x="1121" y="662"/>
                  <a:pt x="1121" y="662"/>
                </a:cubicBezTo>
                <a:cubicBezTo>
                  <a:pt x="1122" y="661"/>
                  <a:pt x="1123" y="661"/>
                  <a:pt x="1123" y="660"/>
                </a:cubicBezTo>
                <a:cubicBezTo>
                  <a:pt x="1123" y="659"/>
                  <a:pt x="1123" y="659"/>
                  <a:pt x="1123" y="659"/>
                </a:cubicBezTo>
                <a:cubicBezTo>
                  <a:pt x="1123" y="658"/>
                  <a:pt x="1123" y="657"/>
                  <a:pt x="1124" y="657"/>
                </a:cubicBezTo>
                <a:cubicBezTo>
                  <a:pt x="1124" y="657"/>
                  <a:pt x="1124" y="655"/>
                  <a:pt x="1123" y="655"/>
                </a:cubicBezTo>
                <a:cubicBezTo>
                  <a:pt x="1123" y="655"/>
                  <a:pt x="1123" y="656"/>
                  <a:pt x="1123" y="656"/>
                </a:cubicBezTo>
                <a:cubicBezTo>
                  <a:pt x="1122" y="656"/>
                  <a:pt x="1122" y="656"/>
                  <a:pt x="1121" y="656"/>
                </a:cubicBezTo>
                <a:cubicBezTo>
                  <a:pt x="1121" y="656"/>
                  <a:pt x="1121" y="656"/>
                  <a:pt x="1121" y="655"/>
                </a:cubicBezTo>
                <a:cubicBezTo>
                  <a:pt x="1121" y="655"/>
                  <a:pt x="1120" y="654"/>
                  <a:pt x="1120" y="654"/>
                </a:cubicBezTo>
                <a:cubicBezTo>
                  <a:pt x="1120" y="653"/>
                  <a:pt x="1122" y="654"/>
                  <a:pt x="1122" y="654"/>
                </a:cubicBezTo>
                <a:cubicBezTo>
                  <a:pt x="1123" y="654"/>
                  <a:pt x="1123" y="654"/>
                  <a:pt x="1124" y="654"/>
                </a:cubicBezTo>
                <a:cubicBezTo>
                  <a:pt x="1124" y="654"/>
                  <a:pt x="1124" y="654"/>
                  <a:pt x="1125" y="654"/>
                </a:cubicBezTo>
                <a:cubicBezTo>
                  <a:pt x="1125" y="654"/>
                  <a:pt x="1126" y="655"/>
                  <a:pt x="1127" y="653"/>
                </a:cubicBezTo>
                <a:cubicBezTo>
                  <a:pt x="1127" y="653"/>
                  <a:pt x="1127" y="653"/>
                  <a:pt x="1127" y="652"/>
                </a:cubicBezTo>
                <a:cubicBezTo>
                  <a:pt x="1127" y="652"/>
                  <a:pt x="1128" y="652"/>
                  <a:pt x="1128" y="651"/>
                </a:cubicBezTo>
                <a:cubicBezTo>
                  <a:pt x="1128" y="651"/>
                  <a:pt x="1128" y="650"/>
                  <a:pt x="1127" y="650"/>
                </a:cubicBezTo>
                <a:close/>
                <a:moveTo>
                  <a:pt x="355" y="695"/>
                </a:moveTo>
                <a:cubicBezTo>
                  <a:pt x="355" y="695"/>
                  <a:pt x="355" y="696"/>
                  <a:pt x="355" y="696"/>
                </a:cubicBezTo>
                <a:cubicBezTo>
                  <a:pt x="355" y="696"/>
                  <a:pt x="356" y="696"/>
                  <a:pt x="356" y="696"/>
                </a:cubicBezTo>
                <a:cubicBezTo>
                  <a:pt x="356" y="696"/>
                  <a:pt x="356" y="696"/>
                  <a:pt x="357" y="697"/>
                </a:cubicBezTo>
                <a:cubicBezTo>
                  <a:pt x="357" y="697"/>
                  <a:pt x="357" y="697"/>
                  <a:pt x="357" y="697"/>
                </a:cubicBezTo>
                <a:cubicBezTo>
                  <a:pt x="358" y="697"/>
                  <a:pt x="358" y="696"/>
                  <a:pt x="357" y="696"/>
                </a:cubicBezTo>
                <a:cubicBezTo>
                  <a:pt x="357" y="696"/>
                  <a:pt x="357" y="696"/>
                  <a:pt x="357" y="695"/>
                </a:cubicBezTo>
                <a:cubicBezTo>
                  <a:pt x="356" y="695"/>
                  <a:pt x="356" y="694"/>
                  <a:pt x="355" y="695"/>
                </a:cubicBezTo>
                <a:close/>
                <a:moveTo>
                  <a:pt x="527" y="376"/>
                </a:moveTo>
                <a:cubicBezTo>
                  <a:pt x="526" y="376"/>
                  <a:pt x="526" y="377"/>
                  <a:pt x="527" y="378"/>
                </a:cubicBezTo>
                <a:cubicBezTo>
                  <a:pt x="527" y="378"/>
                  <a:pt x="527" y="380"/>
                  <a:pt x="528" y="379"/>
                </a:cubicBezTo>
                <a:cubicBezTo>
                  <a:pt x="528" y="379"/>
                  <a:pt x="528" y="379"/>
                  <a:pt x="529" y="378"/>
                </a:cubicBezTo>
                <a:cubicBezTo>
                  <a:pt x="529" y="378"/>
                  <a:pt x="529" y="378"/>
                  <a:pt x="529" y="377"/>
                </a:cubicBezTo>
                <a:cubicBezTo>
                  <a:pt x="529" y="376"/>
                  <a:pt x="529" y="375"/>
                  <a:pt x="527" y="376"/>
                </a:cubicBezTo>
                <a:close/>
                <a:moveTo>
                  <a:pt x="529" y="380"/>
                </a:moveTo>
                <a:cubicBezTo>
                  <a:pt x="528" y="380"/>
                  <a:pt x="528" y="380"/>
                  <a:pt x="528" y="380"/>
                </a:cubicBezTo>
                <a:cubicBezTo>
                  <a:pt x="527" y="380"/>
                  <a:pt x="527" y="380"/>
                  <a:pt x="527" y="381"/>
                </a:cubicBezTo>
                <a:cubicBezTo>
                  <a:pt x="527" y="381"/>
                  <a:pt x="528" y="381"/>
                  <a:pt x="528" y="381"/>
                </a:cubicBezTo>
                <a:cubicBezTo>
                  <a:pt x="528" y="382"/>
                  <a:pt x="529" y="383"/>
                  <a:pt x="529" y="382"/>
                </a:cubicBezTo>
                <a:cubicBezTo>
                  <a:pt x="530" y="382"/>
                  <a:pt x="529" y="382"/>
                  <a:pt x="529" y="381"/>
                </a:cubicBezTo>
                <a:cubicBezTo>
                  <a:pt x="529" y="381"/>
                  <a:pt x="530" y="381"/>
                  <a:pt x="530" y="380"/>
                </a:cubicBezTo>
                <a:cubicBezTo>
                  <a:pt x="530" y="380"/>
                  <a:pt x="529" y="379"/>
                  <a:pt x="529" y="380"/>
                </a:cubicBezTo>
                <a:close/>
                <a:moveTo>
                  <a:pt x="359" y="694"/>
                </a:moveTo>
                <a:cubicBezTo>
                  <a:pt x="359" y="694"/>
                  <a:pt x="359" y="694"/>
                  <a:pt x="359" y="694"/>
                </a:cubicBezTo>
                <a:cubicBezTo>
                  <a:pt x="360" y="694"/>
                  <a:pt x="360" y="694"/>
                  <a:pt x="360" y="694"/>
                </a:cubicBezTo>
                <a:cubicBezTo>
                  <a:pt x="359" y="693"/>
                  <a:pt x="359" y="694"/>
                  <a:pt x="359" y="693"/>
                </a:cubicBezTo>
                <a:cubicBezTo>
                  <a:pt x="359" y="693"/>
                  <a:pt x="359" y="692"/>
                  <a:pt x="358" y="693"/>
                </a:cubicBezTo>
                <a:cubicBezTo>
                  <a:pt x="358" y="693"/>
                  <a:pt x="358" y="694"/>
                  <a:pt x="357" y="694"/>
                </a:cubicBezTo>
                <a:cubicBezTo>
                  <a:pt x="357" y="694"/>
                  <a:pt x="357" y="695"/>
                  <a:pt x="357" y="695"/>
                </a:cubicBezTo>
                <a:cubicBezTo>
                  <a:pt x="358" y="695"/>
                  <a:pt x="358" y="695"/>
                  <a:pt x="359" y="694"/>
                </a:cubicBezTo>
                <a:close/>
                <a:moveTo>
                  <a:pt x="1056" y="1100"/>
                </a:moveTo>
                <a:cubicBezTo>
                  <a:pt x="1056" y="1100"/>
                  <a:pt x="1056" y="1100"/>
                  <a:pt x="1055" y="1100"/>
                </a:cubicBezTo>
                <a:cubicBezTo>
                  <a:pt x="1055" y="1100"/>
                  <a:pt x="1055" y="1100"/>
                  <a:pt x="1055" y="1099"/>
                </a:cubicBezTo>
                <a:cubicBezTo>
                  <a:pt x="1055" y="1099"/>
                  <a:pt x="1054" y="1099"/>
                  <a:pt x="1054" y="1099"/>
                </a:cubicBezTo>
                <a:cubicBezTo>
                  <a:pt x="1054" y="1100"/>
                  <a:pt x="1055" y="1100"/>
                  <a:pt x="1054" y="1100"/>
                </a:cubicBezTo>
                <a:cubicBezTo>
                  <a:pt x="1054" y="1101"/>
                  <a:pt x="1054" y="1101"/>
                  <a:pt x="1055" y="1101"/>
                </a:cubicBezTo>
                <a:cubicBezTo>
                  <a:pt x="1055" y="1101"/>
                  <a:pt x="1055" y="1101"/>
                  <a:pt x="1056" y="1101"/>
                </a:cubicBezTo>
                <a:cubicBezTo>
                  <a:pt x="1056" y="1101"/>
                  <a:pt x="1056" y="1101"/>
                  <a:pt x="1056" y="1101"/>
                </a:cubicBezTo>
                <a:cubicBezTo>
                  <a:pt x="1057" y="1100"/>
                  <a:pt x="1057" y="1100"/>
                  <a:pt x="1056" y="1100"/>
                </a:cubicBezTo>
                <a:close/>
                <a:moveTo>
                  <a:pt x="1051" y="1105"/>
                </a:moveTo>
                <a:cubicBezTo>
                  <a:pt x="1051" y="1105"/>
                  <a:pt x="1051" y="1105"/>
                  <a:pt x="1051" y="1104"/>
                </a:cubicBezTo>
                <a:cubicBezTo>
                  <a:pt x="1051" y="1104"/>
                  <a:pt x="1051" y="1105"/>
                  <a:pt x="1051" y="1105"/>
                </a:cubicBezTo>
                <a:close/>
                <a:moveTo>
                  <a:pt x="1046" y="1099"/>
                </a:moveTo>
                <a:cubicBezTo>
                  <a:pt x="1046" y="1099"/>
                  <a:pt x="1046" y="1099"/>
                  <a:pt x="1046" y="1099"/>
                </a:cubicBezTo>
                <a:cubicBezTo>
                  <a:pt x="1046" y="1100"/>
                  <a:pt x="1046" y="1100"/>
                  <a:pt x="1046" y="1100"/>
                </a:cubicBezTo>
                <a:cubicBezTo>
                  <a:pt x="1046" y="1100"/>
                  <a:pt x="1046" y="1101"/>
                  <a:pt x="1046" y="1101"/>
                </a:cubicBezTo>
                <a:cubicBezTo>
                  <a:pt x="1046" y="1101"/>
                  <a:pt x="1047" y="1101"/>
                  <a:pt x="1047" y="1101"/>
                </a:cubicBezTo>
                <a:cubicBezTo>
                  <a:pt x="1047" y="1100"/>
                  <a:pt x="1047" y="1100"/>
                  <a:pt x="1047" y="1100"/>
                </a:cubicBezTo>
                <a:cubicBezTo>
                  <a:pt x="1047" y="1100"/>
                  <a:pt x="1047" y="1099"/>
                  <a:pt x="1046" y="1099"/>
                </a:cubicBezTo>
                <a:close/>
                <a:moveTo>
                  <a:pt x="1067" y="1169"/>
                </a:moveTo>
                <a:cubicBezTo>
                  <a:pt x="1068" y="1169"/>
                  <a:pt x="1068" y="1169"/>
                  <a:pt x="1068" y="1169"/>
                </a:cubicBezTo>
                <a:cubicBezTo>
                  <a:pt x="1069" y="1169"/>
                  <a:pt x="1069" y="1168"/>
                  <a:pt x="1069" y="1168"/>
                </a:cubicBezTo>
                <a:cubicBezTo>
                  <a:pt x="1069" y="1168"/>
                  <a:pt x="1070" y="1168"/>
                  <a:pt x="1070" y="1168"/>
                </a:cubicBezTo>
                <a:cubicBezTo>
                  <a:pt x="1070" y="1167"/>
                  <a:pt x="1070" y="1166"/>
                  <a:pt x="1069" y="1167"/>
                </a:cubicBezTo>
                <a:cubicBezTo>
                  <a:pt x="1069" y="1167"/>
                  <a:pt x="1069" y="1167"/>
                  <a:pt x="1068" y="1167"/>
                </a:cubicBezTo>
                <a:cubicBezTo>
                  <a:pt x="1068" y="1168"/>
                  <a:pt x="1068" y="1168"/>
                  <a:pt x="1067" y="1168"/>
                </a:cubicBezTo>
                <a:cubicBezTo>
                  <a:pt x="1067" y="1169"/>
                  <a:pt x="1066" y="1169"/>
                  <a:pt x="1066" y="1170"/>
                </a:cubicBezTo>
                <a:cubicBezTo>
                  <a:pt x="1067" y="1170"/>
                  <a:pt x="1067" y="1169"/>
                  <a:pt x="1067" y="1169"/>
                </a:cubicBezTo>
                <a:close/>
                <a:moveTo>
                  <a:pt x="1062" y="1151"/>
                </a:moveTo>
                <a:cubicBezTo>
                  <a:pt x="1062" y="1151"/>
                  <a:pt x="1061" y="1152"/>
                  <a:pt x="1061" y="1152"/>
                </a:cubicBezTo>
                <a:cubicBezTo>
                  <a:pt x="1062" y="1153"/>
                  <a:pt x="1062" y="1153"/>
                  <a:pt x="1062" y="1153"/>
                </a:cubicBezTo>
                <a:cubicBezTo>
                  <a:pt x="1062" y="1153"/>
                  <a:pt x="1062" y="1152"/>
                  <a:pt x="1062" y="1152"/>
                </a:cubicBezTo>
                <a:cubicBezTo>
                  <a:pt x="1062" y="1152"/>
                  <a:pt x="1062" y="1151"/>
                  <a:pt x="1062" y="1151"/>
                </a:cubicBezTo>
                <a:close/>
                <a:moveTo>
                  <a:pt x="1045" y="1099"/>
                </a:moveTo>
                <a:cubicBezTo>
                  <a:pt x="1045" y="1099"/>
                  <a:pt x="1045" y="1098"/>
                  <a:pt x="1045" y="1098"/>
                </a:cubicBezTo>
                <a:cubicBezTo>
                  <a:pt x="1044" y="1098"/>
                  <a:pt x="1045" y="1099"/>
                  <a:pt x="1045" y="1099"/>
                </a:cubicBezTo>
                <a:close/>
                <a:moveTo>
                  <a:pt x="1061" y="1155"/>
                </a:moveTo>
                <a:cubicBezTo>
                  <a:pt x="1061" y="1155"/>
                  <a:pt x="1061" y="1155"/>
                  <a:pt x="1061" y="1155"/>
                </a:cubicBezTo>
                <a:cubicBezTo>
                  <a:pt x="1061" y="1154"/>
                  <a:pt x="1062" y="1154"/>
                  <a:pt x="1062" y="1154"/>
                </a:cubicBezTo>
                <a:cubicBezTo>
                  <a:pt x="1062" y="1154"/>
                  <a:pt x="1062" y="1153"/>
                  <a:pt x="1062" y="1153"/>
                </a:cubicBezTo>
                <a:cubicBezTo>
                  <a:pt x="1061" y="1153"/>
                  <a:pt x="1061" y="1154"/>
                  <a:pt x="1061" y="1154"/>
                </a:cubicBezTo>
                <a:cubicBezTo>
                  <a:pt x="1061" y="1154"/>
                  <a:pt x="1061" y="1154"/>
                  <a:pt x="1061" y="1154"/>
                </a:cubicBezTo>
                <a:cubicBezTo>
                  <a:pt x="1060" y="1154"/>
                  <a:pt x="1060" y="1155"/>
                  <a:pt x="1061" y="1155"/>
                </a:cubicBezTo>
                <a:close/>
                <a:moveTo>
                  <a:pt x="1042" y="1095"/>
                </a:moveTo>
                <a:cubicBezTo>
                  <a:pt x="1041" y="1095"/>
                  <a:pt x="1041" y="1096"/>
                  <a:pt x="1041" y="1096"/>
                </a:cubicBezTo>
                <a:cubicBezTo>
                  <a:pt x="1042" y="1097"/>
                  <a:pt x="1042" y="1096"/>
                  <a:pt x="1042" y="1095"/>
                </a:cubicBezTo>
                <a:close/>
                <a:moveTo>
                  <a:pt x="1040" y="1089"/>
                </a:moveTo>
                <a:cubicBezTo>
                  <a:pt x="1040" y="1089"/>
                  <a:pt x="1039" y="1089"/>
                  <a:pt x="1039" y="1089"/>
                </a:cubicBezTo>
                <a:cubicBezTo>
                  <a:pt x="1039" y="1089"/>
                  <a:pt x="1040" y="1089"/>
                  <a:pt x="1040" y="1089"/>
                </a:cubicBezTo>
                <a:cubicBezTo>
                  <a:pt x="1040" y="1089"/>
                  <a:pt x="1040" y="1090"/>
                  <a:pt x="1040" y="1090"/>
                </a:cubicBezTo>
                <a:cubicBezTo>
                  <a:pt x="1041" y="1089"/>
                  <a:pt x="1041" y="1089"/>
                  <a:pt x="1041" y="1088"/>
                </a:cubicBezTo>
                <a:cubicBezTo>
                  <a:pt x="1041" y="1088"/>
                  <a:pt x="1040" y="1089"/>
                  <a:pt x="1040" y="1089"/>
                </a:cubicBezTo>
                <a:close/>
                <a:moveTo>
                  <a:pt x="1043" y="1097"/>
                </a:moveTo>
                <a:cubicBezTo>
                  <a:pt x="1044" y="1098"/>
                  <a:pt x="1044" y="1098"/>
                  <a:pt x="1044" y="1098"/>
                </a:cubicBezTo>
                <a:cubicBezTo>
                  <a:pt x="1044" y="1098"/>
                  <a:pt x="1044" y="1098"/>
                  <a:pt x="1044" y="1098"/>
                </a:cubicBezTo>
                <a:cubicBezTo>
                  <a:pt x="1045" y="1097"/>
                  <a:pt x="1043" y="1096"/>
                  <a:pt x="1043" y="1097"/>
                </a:cubicBezTo>
                <a:cubicBezTo>
                  <a:pt x="1043" y="1097"/>
                  <a:pt x="1043" y="1097"/>
                  <a:pt x="1043" y="1097"/>
                </a:cubicBezTo>
                <a:close/>
                <a:moveTo>
                  <a:pt x="1042" y="1091"/>
                </a:moveTo>
                <a:cubicBezTo>
                  <a:pt x="1043" y="1091"/>
                  <a:pt x="1043" y="1091"/>
                  <a:pt x="1043" y="1091"/>
                </a:cubicBezTo>
                <a:cubicBezTo>
                  <a:pt x="1043" y="1090"/>
                  <a:pt x="1042" y="1090"/>
                  <a:pt x="1042" y="1091"/>
                </a:cubicBezTo>
                <a:close/>
                <a:moveTo>
                  <a:pt x="1039" y="1088"/>
                </a:moveTo>
                <a:cubicBezTo>
                  <a:pt x="1039" y="1088"/>
                  <a:pt x="1039" y="1088"/>
                  <a:pt x="1039" y="1088"/>
                </a:cubicBezTo>
                <a:cubicBezTo>
                  <a:pt x="1040" y="1088"/>
                  <a:pt x="1040" y="1088"/>
                  <a:pt x="1040" y="1088"/>
                </a:cubicBezTo>
                <a:cubicBezTo>
                  <a:pt x="1041" y="1087"/>
                  <a:pt x="1041" y="1087"/>
                  <a:pt x="1041" y="1086"/>
                </a:cubicBezTo>
                <a:cubicBezTo>
                  <a:pt x="1041" y="1086"/>
                  <a:pt x="1039" y="1087"/>
                  <a:pt x="1039" y="1088"/>
                </a:cubicBezTo>
                <a:close/>
                <a:moveTo>
                  <a:pt x="1056" y="1157"/>
                </a:moveTo>
                <a:cubicBezTo>
                  <a:pt x="1056" y="1158"/>
                  <a:pt x="1056" y="1158"/>
                  <a:pt x="1056" y="1159"/>
                </a:cubicBezTo>
                <a:cubicBezTo>
                  <a:pt x="1056" y="1159"/>
                  <a:pt x="1055" y="1159"/>
                  <a:pt x="1055" y="1159"/>
                </a:cubicBezTo>
                <a:cubicBezTo>
                  <a:pt x="1056" y="1159"/>
                  <a:pt x="1056" y="1159"/>
                  <a:pt x="1056" y="1159"/>
                </a:cubicBezTo>
                <a:cubicBezTo>
                  <a:pt x="1057" y="1159"/>
                  <a:pt x="1057" y="1159"/>
                  <a:pt x="1057" y="1159"/>
                </a:cubicBezTo>
                <a:cubicBezTo>
                  <a:pt x="1057" y="1158"/>
                  <a:pt x="1057" y="1158"/>
                  <a:pt x="1057" y="1157"/>
                </a:cubicBezTo>
                <a:cubicBezTo>
                  <a:pt x="1057" y="1157"/>
                  <a:pt x="1058" y="1157"/>
                  <a:pt x="1057" y="1157"/>
                </a:cubicBezTo>
                <a:cubicBezTo>
                  <a:pt x="1057" y="1156"/>
                  <a:pt x="1056" y="1157"/>
                  <a:pt x="1056" y="1157"/>
                </a:cubicBezTo>
                <a:close/>
                <a:moveTo>
                  <a:pt x="904" y="1891"/>
                </a:moveTo>
                <a:cubicBezTo>
                  <a:pt x="904" y="1891"/>
                  <a:pt x="906" y="1892"/>
                  <a:pt x="906" y="1891"/>
                </a:cubicBezTo>
                <a:cubicBezTo>
                  <a:pt x="906" y="1891"/>
                  <a:pt x="907" y="1889"/>
                  <a:pt x="906" y="1889"/>
                </a:cubicBezTo>
                <a:cubicBezTo>
                  <a:pt x="906" y="1888"/>
                  <a:pt x="905" y="1889"/>
                  <a:pt x="905" y="1889"/>
                </a:cubicBezTo>
                <a:cubicBezTo>
                  <a:pt x="905" y="1890"/>
                  <a:pt x="905" y="1890"/>
                  <a:pt x="904" y="1890"/>
                </a:cubicBezTo>
                <a:cubicBezTo>
                  <a:pt x="903" y="1890"/>
                  <a:pt x="901" y="1890"/>
                  <a:pt x="902" y="1891"/>
                </a:cubicBezTo>
                <a:cubicBezTo>
                  <a:pt x="902" y="1892"/>
                  <a:pt x="903" y="1891"/>
                  <a:pt x="904" y="1891"/>
                </a:cubicBezTo>
                <a:close/>
                <a:moveTo>
                  <a:pt x="1031" y="1169"/>
                </a:moveTo>
                <a:cubicBezTo>
                  <a:pt x="1030" y="1169"/>
                  <a:pt x="1030" y="1170"/>
                  <a:pt x="1030" y="1170"/>
                </a:cubicBezTo>
                <a:cubicBezTo>
                  <a:pt x="1029" y="1170"/>
                  <a:pt x="1029" y="1170"/>
                  <a:pt x="1029" y="1170"/>
                </a:cubicBezTo>
                <a:cubicBezTo>
                  <a:pt x="1029" y="1170"/>
                  <a:pt x="1029" y="1171"/>
                  <a:pt x="1029" y="1171"/>
                </a:cubicBezTo>
                <a:cubicBezTo>
                  <a:pt x="1028" y="1171"/>
                  <a:pt x="1028" y="1170"/>
                  <a:pt x="1028" y="1170"/>
                </a:cubicBezTo>
                <a:cubicBezTo>
                  <a:pt x="1027" y="1170"/>
                  <a:pt x="1026" y="1170"/>
                  <a:pt x="1026" y="1170"/>
                </a:cubicBezTo>
                <a:cubicBezTo>
                  <a:pt x="1026" y="1170"/>
                  <a:pt x="1027" y="1171"/>
                  <a:pt x="1027" y="1171"/>
                </a:cubicBezTo>
                <a:cubicBezTo>
                  <a:pt x="1028" y="1172"/>
                  <a:pt x="1028" y="1172"/>
                  <a:pt x="1028" y="1172"/>
                </a:cubicBezTo>
                <a:cubicBezTo>
                  <a:pt x="1029" y="1172"/>
                  <a:pt x="1029" y="1173"/>
                  <a:pt x="1030" y="1173"/>
                </a:cubicBezTo>
                <a:cubicBezTo>
                  <a:pt x="1030" y="1174"/>
                  <a:pt x="1030" y="1173"/>
                  <a:pt x="1031" y="1173"/>
                </a:cubicBezTo>
                <a:cubicBezTo>
                  <a:pt x="1031" y="1172"/>
                  <a:pt x="1031" y="1172"/>
                  <a:pt x="1031" y="1172"/>
                </a:cubicBezTo>
                <a:cubicBezTo>
                  <a:pt x="1032" y="1172"/>
                  <a:pt x="1032" y="1172"/>
                  <a:pt x="1032" y="1171"/>
                </a:cubicBezTo>
                <a:cubicBezTo>
                  <a:pt x="1032" y="1171"/>
                  <a:pt x="1032" y="1171"/>
                  <a:pt x="1032" y="1170"/>
                </a:cubicBezTo>
                <a:cubicBezTo>
                  <a:pt x="1032" y="1170"/>
                  <a:pt x="1032" y="1169"/>
                  <a:pt x="1031" y="1169"/>
                </a:cubicBezTo>
                <a:close/>
                <a:moveTo>
                  <a:pt x="1054" y="1092"/>
                </a:moveTo>
                <a:cubicBezTo>
                  <a:pt x="1054" y="1092"/>
                  <a:pt x="1054" y="1093"/>
                  <a:pt x="1054" y="1094"/>
                </a:cubicBezTo>
                <a:cubicBezTo>
                  <a:pt x="1054" y="1094"/>
                  <a:pt x="1055" y="1094"/>
                  <a:pt x="1055" y="1094"/>
                </a:cubicBezTo>
                <a:cubicBezTo>
                  <a:pt x="1055" y="1094"/>
                  <a:pt x="1056" y="1095"/>
                  <a:pt x="1056" y="1094"/>
                </a:cubicBezTo>
                <a:cubicBezTo>
                  <a:pt x="1056" y="1094"/>
                  <a:pt x="1055" y="1093"/>
                  <a:pt x="1055" y="1093"/>
                </a:cubicBezTo>
                <a:cubicBezTo>
                  <a:pt x="1055" y="1093"/>
                  <a:pt x="1055" y="1092"/>
                  <a:pt x="1054" y="1092"/>
                </a:cubicBezTo>
                <a:close/>
                <a:moveTo>
                  <a:pt x="1065" y="1174"/>
                </a:moveTo>
                <a:cubicBezTo>
                  <a:pt x="1065" y="1174"/>
                  <a:pt x="1065" y="1173"/>
                  <a:pt x="1065" y="1173"/>
                </a:cubicBezTo>
                <a:cubicBezTo>
                  <a:pt x="1065" y="1173"/>
                  <a:pt x="1064" y="1173"/>
                  <a:pt x="1064" y="1173"/>
                </a:cubicBezTo>
                <a:cubicBezTo>
                  <a:pt x="1063" y="1173"/>
                  <a:pt x="1062" y="1173"/>
                  <a:pt x="1061" y="1173"/>
                </a:cubicBezTo>
                <a:cubicBezTo>
                  <a:pt x="1060" y="1173"/>
                  <a:pt x="1059" y="1174"/>
                  <a:pt x="1059" y="1174"/>
                </a:cubicBezTo>
                <a:cubicBezTo>
                  <a:pt x="1058" y="1174"/>
                  <a:pt x="1057" y="1173"/>
                  <a:pt x="1057" y="1174"/>
                </a:cubicBezTo>
                <a:cubicBezTo>
                  <a:pt x="1058" y="1175"/>
                  <a:pt x="1058" y="1175"/>
                  <a:pt x="1058" y="1176"/>
                </a:cubicBezTo>
                <a:cubicBezTo>
                  <a:pt x="1059" y="1176"/>
                  <a:pt x="1059" y="1176"/>
                  <a:pt x="1059" y="1177"/>
                </a:cubicBezTo>
                <a:cubicBezTo>
                  <a:pt x="1059" y="1178"/>
                  <a:pt x="1059" y="1179"/>
                  <a:pt x="1059" y="1179"/>
                </a:cubicBezTo>
                <a:cubicBezTo>
                  <a:pt x="1058" y="1180"/>
                  <a:pt x="1058" y="1180"/>
                  <a:pt x="1058" y="1180"/>
                </a:cubicBezTo>
                <a:cubicBezTo>
                  <a:pt x="1057" y="1180"/>
                  <a:pt x="1057" y="1180"/>
                  <a:pt x="1057" y="1180"/>
                </a:cubicBezTo>
                <a:cubicBezTo>
                  <a:pt x="1056" y="1181"/>
                  <a:pt x="1056" y="1181"/>
                  <a:pt x="1055" y="1181"/>
                </a:cubicBezTo>
                <a:cubicBezTo>
                  <a:pt x="1054" y="1181"/>
                  <a:pt x="1054" y="1181"/>
                  <a:pt x="1054" y="1182"/>
                </a:cubicBezTo>
                <a:cubicBezTo>
                  <a:pt x="1054" y="1182"/>
                  <a:pt x="1055" y="1182"/>
                  <a:pt x="1055" y="1182"/>
                </a:cubicBezTo>
                <a:cubicBezTo>
                  <a:pt x="1056" y="1182"/>
                  <a:pt x="1057" y="1182"/>
                  <a:pt x="1058" y="1182"/>
                </a:cubicBezTo>
                <a:cubicBezTo>
                  <a:pt x="1059" y="1182"/>
                  <a:pt x="1060" y="1182"/>
                  <a:pt x="1061" y="1182"/>
                </a:cubicBezTo>
                <a:cubicBezTo>
                  <a:pt x="1062" y="1182"/>
                  <a:pt x="1062" y="1182"/>
                  <a:pt x="1063" y="1181"/>
                </a:cubicBezTo>
                <a:cubicBezTo>
                  <a:pt x="1064" y="1181"/>
                  <a:pt x="1064" y="1180"/>
                  <a:pt x="1064" y="1179"/>
                </a:cubicBezTo>
                <a:cubicBezTo>
                  <a:pt x="1064" y="1179"/>
                  <a:pt x="1064" y="1178"/>
                  <a:pt x="1064" y="1178"/>
                </a:cubicBezTo>
                <a:cubicBezTo>
                  <a:pt x="1064" y="1178"/>
                  <a:pt x="1064" y="1177"/>
                  <a:pt x="1064" y="1177"/>
                </a:cubicBezTo>
                <a:cubicBezTo>
                  <a:pt x="1064" y="1176"/>
                  <a:pt x="1064" y="1175"/>
                  <a:pt x="1065" y="1174"/>
                </a:cubicBezTo>
                <a:close/>
                <a:moveTo>
                  <a:pt x="1058" y="1111"/>
                </a:moveTo>
                <a:cubicBezTo>
                  <a:pt x="1058" y="1111"/>
                  <a:pt x="1058" y="1111"/>
                  <a:pt x="1057" y="1110"/>
                </a:cubicBezTo>
                <a:cubicBezTo>
                  <a:pt x="1057" y="1110"/>
                  <a:pt x="1057" y="1110"/>
                  <a:pt x="1057" y="1109"/>
                </a:cubicBezTo>
                <a:cubicBezTo>
                  <a:pt x="1057" y="1109"/>
                  <a:pt x="1057" y="1109"/>
                  <a:pt x="1057" y="1109"/>
                </a:cubicBezTo>
                <a:cubicBezTo>
                  <a:pt x="1056" y="1108"/>
                  <a:pt x="1055" y="1108"/>
                  <a:pt x="1055" y="1109"/>
                </a:cubicBezTo>
                <a:cubicBezTo>
                  <a:pt x="1055" y="1110"/>
                  <a:pt x="1055" y="1110"/>
                  <a:pt x="1055" y="1110"/>
                </a:cubicBezTo>
                <a:cubicBezTo>
                  <a:pt x="1056" y="1111"/>
                  <a:pt x="1056" y="1111"/>
                  <a:pt x="1055" y="1112"/>
                </a:cubicBezTo>
                <a:cubicBezTo>
                  <a:pt x="1055" y="1112"/>
                  <a:pt x="1056" y="1113"/>
                  <a:pt x="1056" y="1113"/>
                </a:cubicBezTo>
                <a:cubicBezTo>
                  <a:pt x="1056" y="1113"/>
                  <a:pt x="1056" y="1114"/>
                  <a:pt x="1056" y="1114"/>
                </a:cubicBezTo>
                <a:cubicBezTo>
                  <a:pt x="1057" y="1114"/>
                  <a:pt x="1057" y="1113"/>
                  <a:pt x="1057" y="1113"/>
                </a:cubicBezTo>
                <a:cubicBezTo>
                  <a:pt x="1057" y="1113"/>
                  <a:pt x="1058" y="1113"/>
                  <a:pt x="1058" y="1112"/>
                </a:cubicBezTo>
                <a:cubicBezTo>
                  <a:pt x="1058" y="1112"/>
                  <a:pt x="1058" y="1112"/>
                  <a:pt x="1058" y="1111"/>
                </a:cubicBezTo>
                <a:close/>
                <a:moveTo>
                  <a:pt x="1062" y="1114"/>
                </a:moveTo>
                <a:cubicBezTo>
                  <a:pt x="1062" y="1114"/>
                  <a:pt x="1062" y="1114"/>
                  <a:pt x="1062" y="1114"/>
                </a:cubicBezTo>
                <a:cubicBezTo>
                  <a:pt x="1062" y="1114"/>
                  <a:pt x="1062" y="1114"/>
                  <a:pt x="1062" y="1114"/>
                </a:cubicBezTo>
                <a:cubicBezTo>
                  <a:pt x="1062" y="1113"/>
                  <a:pt x="1062" y="1113"/>
                  <a:pt x="1062" y="1113"/>
                </a:cubicBezTo>
                <a:cubicBezTo>
                  <a:pt x="1061" y="1113"/>
                  <a:pt x="1061" y="1112"/>
                  <a:pt x="1061" y="1113"/>
                </a:cubicBezTo>
                <a:cubicBezTo>
                  <a:pt x="1061" y="1113"/>
                  <a:pt x="1060" y="1114"/>
                  <a:pt x="1060" y="1114"/>
                </a:cubicBezTo>
                <a:cubicBezTo>
                  <a:pt x="1060" y="1114"/>
                  <a:pt x="1061" y="1114"/>
                  <a:pt x="1061" y="1114"/>
                </a:cubicBezTo>
                <a:cubicBezTo>
                  <a:pt x="1061" y="1114"/>
                  <a:pt x="1062" y="1115"/>
                  <a:pt x="1062" y="1114"/>
                </a:cubicBezTo>
                <a:close/>
                <a:moveTo>
                  <a:pt x="1062" y="1148"/>
                </a:moveTo>
                <a:cubicBezTo>
                  <a:pt x="1063" y="1149"/>
                  <a:pt x="1063" y="1148"/>
                  <a:pt x="1063" y="1148"/>
                </a:cubicBezTo>
                <a:cubicBezTo>
                  <a:pt x="1062" y="1147"/>
                  <a:pt x="1062" y="1148"/>
                  <a:pt x="1062" y="1148"/>
                </a:cubicBezTo>
                <a:close/>
                <a:moveTo>
                  <a:pt x="1062" y="1126"/>
                </a:moveTo>
                <a:cubicBezTo>
                  <a:pt x="1062" y="1127"/>
                  <a:pt x="1063" y="1127"/>
                  <a:pt x="1063" y="1128"/>
                </a:cubicBezTo>
                <a:cubicBezTo>
                  <a:pt x="1063" y="1128"/>
                  <a:pt x="1063" y="1128"/>
                  <a:pt x="1063" y="1129"/>
                </a:cubicBezTo>
                <a:cubicBezTo>
                  <a:pt x="1063" y="1129"/>
                  <a:pt x="1064" y="1129"/>
                  <a:pt x="1064" y="1129"/>
                </a:cubicBezTo>
                <a:cubicBezTo>
                  <a:pt x="1064" y="1130"/>
                  <a:pt x="1064" y="1130"/>
                  <a:pt x="1064" y="1130"/>
                </a:cubicBezTo>
                <a:cubicBezTo>
                  <a:pt x="1064" y="1131"/>
                  <a:pt x="1064" y="1130"/>
                  <a:pt x="1065" y="1130"/>
                </a:cubicBezTo>
                <a:cubicBezTo>
                  <a:pt x="1065" y="1130"/>
                  <a:pt x="1065" y="1130"/>
                  <a:pt x="1066" y="1131"/>
                </a:cubicBezTo>
                <a:cubicBezTo>
                  <a:pt x="1066" y="1131"/>
                  <a:pt x="1066" y="1131"/>
                  <a:pt x="1066" y="1131"/>
                </a:cubicBezTo>
                <a:cubicBezTo>
                  <a:pt x="1067" y="1131"/>
                  <a:pt x="1067" y="1130"/>
                  <a:pt x="1067" y="1129"/>
                </a:cubicBezTo>
                <a:cubicBezTo>
                  <a:pt x="1066" y="1129"/>
                  <a:pt x="1066" y="1128"/>
                  <a:pt x="1065" y="1128"/>
                </a:cubicBezTo>
                <a:cubicBezTo>
                  <a:pt x="1065" y="1127"/>
                  <a:pt x="1066" y="1127"/>
                  <a:pt x="1066" y="1127"/>
                </a:cubicBezTo>
                <a:cubicBezTo>
                  <a:pt x="1066" y="1126"/>
                  <a:pt x="1065" y="1127"/>
                  <a:pt x="1065" y="1126"/>
                </a:cubicBezTo>
                <a:cubicBezTo>
                  <a:pt x="1064" y="1126"/>
                  <a:pt x="1064" y="1126"/>
                  <a:pt x="1063" y="1125"/>
                </a:cubicBezTo>
                <a:cubicBezTo>
                  <a:pt x="1063" y="1125"/>
                  <a:pt x="1062" y="1126"/>
                  <a:pt x="1062" y="1126"/>
                </a:cubicBezTo>
                <a:close/>
                <a:moveTo>
                  <a:pt x="1060" y="1118"/>
                </a:moveTo>
                <a:cubicBezTo>
                  <a:pt x="1059" y="1118"/>
                  <a:pt x="1059" y="1117"/>
                  <a:pt x="1059" y="1117"/>
                </a:cubicBezTo>
                <a:cubicBezTo>
                  <a:pt x="1059" y="1117"/>
                  <a:pt x="1059" y="1118"/>
                  <a:pt x="1059" y="1118"/>
                </a:cubicBezTo>
                <a:cubicBezTo>
                  <a:pt x="1059" y="1118"/>
                  <a:pt x="1059" y="1119"/>
                  <a:pt x="1059" y="1119"/>
                </a:cubicBezTo>
                <a:cubicBezTo>
                  <a:pt x="1059" y="1120"/>
                  <a:pt x="1059" y="1120"/>
                  <a:pt x="1059" y="1120"/>
                </a:cubicBezTo>
                <a:cubicBezTo>
                  <a:pt x="1059" y="1120"/>
                  <a:pt x="1059" y="1120"/>
                  <a:pt x="1059" y="1121"/>
                </a:cubicBezTo>
                <a:cubicBezTo>
                  <a:pt x="1059" y="1121"/>
                  <a:pt x="1060" y="1121"/>
                  <a:pt x="1060" y="1122"/>
                </a:cubicBezTo>
                <a:cubicBezTo>
                  <a:pt x="1060" y="1122"/>
                  <a:pt x="1060" y="1123"/>
                  <a:pt x="1060" y="1123"/>
                </a:cubicBezTo>
                <a:cubicBezTo>
                  <a:pt x="1061" y="1123"/>
                  <a:pt x="1061" y="1123"/>
                  <a:pt x="1061" y="1123"/>
                </a:cubicBezTo>
                <a:cubicBezTo>
                  <a:pt x="1061" y="1122"/>
                  <a:pt x="1061" y="1122"/>
                  <a:pt x="1061" y="1122"/>
                </a:cubicBezTo>
                <a:cubicBezTo>
                  <a:pt x="1061" y="1121"/>
                  <a:pt x="1061" y="1121"/>
                  <a:pt x="1061" y="1121"/>
                </a:cubicBezTo>
                <a:cubicBezTo>
                  <a:pt x="1061" y="1120"/>
                  <a:pt x="1061" y="1120"/>
                  <a:pt x="1061" y="1119"/>
                </a:cubicBezTo>
                <a:cubicBezTo>
                  <a:pt x="1061" y="1119"/>
                  <a:pt x="1061" y="1119"/>
                  <a:pt x="1060" y="1118"/>
                </a:cubicBezTo>
                <a:cubicBezTo>
                  <a:pt x="1060" y="1118"/>
                  <a:pt x="1060" y="1118"/>
                  <a:pt x="1060" y="1118"/>
                </a:cubicBezTo>
                <a:close/>
                <a:moveTo>
                  <a:pt x="1065" y="1108"/>
                </a:moveTo>
                <a:cubicBezTo>
                  <a:pt x="1065" y="1108"/>
                  <a:pt x="1064" y="1108"/>
                  <a:pt x="1064" y="1108"/>
                </a:cubicBezTo>
                <a:cubicBezTo>
                  <a:pt x="1064" y="1108"/>
                  <a:pt x="1064" y="1109"/>
                  <a:pt x="1064" y="1109"/>
                </a:cubicBezTo>
                <a:cubicBezTo>
                  <a:pt x="1065" y="1108"/>
                  <a:pt x="1065" y="1108"/>
                  <a:pt x="1065" y="1108"/>
                </a:cubicBezTo>
                <a:close/>
                <a:moveTo>
                  <a:pt x="1064" y="1147"/>
                </a:moveTo>
                <a:cubicBezTo>
                  <a:pt x="1064" y="1146"/>
                  <a:pt x="1064" y="1146"/>
                  <a:pt x="1064" y="1145"/>
                </a:cubicBezTo>
                <a:cubicBezTo>
                  <a:pt x="1064" y="1145"/>
                  <a:pt x="1064" y="1144"/>
                  <a:pt x="1064" y="1143"/>
                </a:cubicBezTo>
                <a:cubicBezTo>
                  <a:pt x="1063" y="1143"/>
                  <a:pt x="1062" y="1145"/>
                  <a:pt x="1062" y="1146"/>
                </a:cubicBezTo>
                <a:cubicBezTo>
                  <a:pt x="1062" y="1146"/>
                  <a:pt x="1062" y="1146"/>
                  <a:pt x="1062" y="1146"/>
                </a:cubicBezTo>
                <a:cubicBezTo>
                  <a:pt x="1063" y="1146"/>
                  <a:pt x="1063" y="1146"/>
                  <a:pt x="1063" y="1147"/>
                </a:cubicBezTo>
                <a:cubicBezTo>
                  <a:pt x="1063" y="1147"/>
                  <a:pt x="1063" y="1147"/>
                  <a:pt x="1064" y="1147"/>
                </a:cubicBezTo>
                <a:close/>
                <a:moveTo>
                  <a:pt x="1126" y="662"/>
                </a:moveTo>
                <a:cubicBezTo>
                  <a:pt x="1125" y="663"/>
                  <a:pt x="1126" y="663"/>
                  <a:pt x="1126" y="663"/>
                </a:cubicBezTo>
                <a:cubicBezTo>
                  <a:pt x="1127" y="663"/>
                  <a:pt x="1127" y="663"/>
                  <a:pt x="1127" y="662"/>
                </a:cubicBezTo>
                <a:cubicBezTo>
                  <a:pt x="1128" y="662"/>
                  <a:pt x="1126" y="662"/>
                  <a:pt x="1126" y="662"/>
                </a:cubicBezTo>
                <a:close/>
                <a:moveTo>
                  <a:pt x="1699" y="587"/>
                </a:moveTo>
                <a:cubicBezTo>
                  <a:pt x="1699" y="587"/>
                  <a:pt x="1699" y="588"/>
                  <a:pt x="1699" y="589"/>
                </a:cubicBezTo>
                <a:cubicBezTo>
                  <a:pt x="1699" y="589"/>
                  <a:pt x="1700" y="590"/>
                  <a:pt x="1700" y="590"/>
                </a:cubicBezTo>
                <a:cubicBezTo>
                  <a:pt x="1701" y="590"/>
                  <a:pt x="1701" y="591"/>
                  <a:pt x="1702" y="590"/>
                </a:cubicBezTo>
                <a:cubicBezTo>
                  <a:pt x="1702" y="590"/>
                  <a:pt x="1702" y="589"/>
                  <a:pt x="1702" y="589"/>
                </a:cubicBezTo>
                <a:cubicBezTo>
                  <a:pt x="1702" y="589"/>
                  <a:pt x="1702" y="588"/>
                  <a:pt x="1702" y="588"/>
                </a:cubicBezTo>
                <a:cubicBezTo>
                  <a:pt x="1701" y="588"/>
                  <a:pt x="1701" y="588"/>
                  <a:pt x="1701" y="587"/>
                </a:cubicBezTo>
                <a:cubicBezTo>
                  <a:pt x="1701" y="587"/>
                  <a:pt x="1701" y="587"/>
                  <a:pt x="1701" y="587"/>
                </a:cubicBezTo>
                <a:cubicBezTo>
                  <a:pt x="1701" y="585"/>
                  <a:pt x="1699" y="585"/>
                  <a:pt x="1699" y="587"/>
                </a:cubicBezTo>
                <a:close/>
                <a:moveTo>
                  <a:pt x="1709" y="625"/>
                </a:moveTo>
                <a:cubicBezTo>
                  <a:pt x="1709" y="625"/>
                  <a:pt x="1709" y="625"/>
                  <a:pt x="1709" y="625"/>
                </a:cubicBezTo>
                <a:cubicBezTo>
                  <a:pt x="1710" y="626"/>
                  <a:pt x="1709" y="626"/>
                  <a:pt x="1710" y="626"/>
                </a:cubicBezTo>
                <a:cubicBezTo>
                  <a:pt x="1710" y="626"/>
                  <a:pt x="1711" y="625"/>
                  <a:pt x="1711" y="625"/>
                </a:cubicBezTo>
                <a:cubicBezTo>
                  <a:pt x="1712" y="625"/>
                  <a:pt x="1713" y="625"/>
                  <a:pt x="1713" y="624"/>
                </a:cubicBezTo>
                <a:cubicBezTo>
                  <a:pt x="1714" y="624"/>
                  <a:pt x="1713" y="623"/>
                  <a:pt x="1712" y="623"/>
                </a:cubicBezTo>
                <a:cubicBezTo>
                  <a:pt x="1711" y="623"/>
                  <a:pt x="1711" y="623"/>
                  <a:pt x="1711" y="622"/>
                </a:cubicBezTo>
                <a:cubicBezTo>
                  <a:pt x="1711" y="622"/>
                  <a:pt x="1710" y="621"/>
                  <a:pt x="1709" y="622"/>
                </a:cubicBezTo>
                <a:cubicBezTo>
                  <a:pt x="1709" y="622"/>
                  <a:pt x="1709" y="622"/>
                  <a:pt x="1708" y="622"/>
                </a:cubicBezTo>
                <a:cubicBezTo>
                  <a:pt x="1708" y="622"/>
                  <a:pt x="1708" y="622"/>
                  <a:pt x="1708" y="623"/>
                </a:cubicBezTo>
                <a:cubicBezTo>
                  <a:pt x="1708" y="624"/>
                  <a:pt x="1708" y="624"/>
                  <a:pt x="1709" y="625"/>
                </a:cubicBezTo>
                <a:close/>
                <a:moveTo>
                  <a:pt x="1731" y="682"/>
                </a:moveTo>
                <a:cubicBezTo>
                  <a:pt x="1731" y="682"/>
                  <a:pt x="1732" y="681"/>
                  <a:pt x="1731" y="681"/>
                </a:cubicBezTo>
                <a:cubicBezTo>
                  <a:pt x="1731" y="681"/>
                  <a:pt x="1730" y="682"/>
                  <a:pt x="1731" y="682"/>
                </a:cubicBezTo>
                <a:close/>
                <a:moveTo>
                  <a:pt x="1694" y="558"/>
                </a:moveTo>
                <a:cubicBezTo>
                  <a:pt x="1694" y="558"/>
                  <a:pt x="1694" y="558"/>
                  <a:pt x="1695" y="558"/>
                </a:cubicBezTo>
                <a:cubicBezTo>
                  <a:pt x="1695" y="559"/>
                  <a:pt x="1695" y="558"/>
                  <a:pt x="1696" y="558"/>
                </a:cubicBezTo>
                <a:cubicBezTo>
                  <a:pt x="1696" y="559"/>
                  <a:pt x="1695" y="559"/>
                  <a:pt x="1694" y="560"/>
                </a:cubicBezTo>
                <a:cubicBezTo>
                  <a:pt x="1694" y="560"/>
                  <a:pt x="1694" y="560"/>
                  <a:pt x="1694" y="560"/>
                </a:cubicBezTo>
                <a:cubicBezTo>
                  <a:pt x="1695" y="560"/>
                  <a:pt x="1695" y="560"/>
                  <a:pt x="1695" y="560"/>
                </a:cubicBezTo>
                <a:cubicBezTo>
                  <a:pt x="1695" y="560"/>
                  <a:pt x="1695" y="560"/>
                  <a:pt x="1695" y="561"/>
                </a:cubicBezTo>
                <a:cubicBezTo>
                  <a:pt x="1695" y="561"/>
                  <a:pt x="1696" y="561"/>
                  <a:pt x="1696" y="561"/>
                </a:cubicBezTo>
                <a:cubicBezTo>
                  <a:pt x="1696" y="561"/>
                  <a:pt x="1696" y="561"/>
                  <a:pt x="1696" y="561"/>
                </a:cubicBezTo>
                <a:cubicBezTo>
                  <a:pt x="1695" y="561"/>
                  <a:pt x="1695" y="561"/>
                  <a:pt x="1695" y="561"/>
                </a:cubicBezTo>
                <a:cubicBezTo>
                  <a:pt x="1695" y="561"/>
                  <a:pt x="1694" y="561"/>
                  <a:pt x="1694" y="562"/>
                </a:cubicBezTo>
                <a:cubicBezTo>
                  <a:pt x="1693" y="563"/>
                  <a:pt x="1695" y="562"/>
                  <a:pt x="1695" y="563"/>
                </a:cubicBezTo>
                <a:cubicBezTo>
                  <a:pt x="1695" y="563"/>
                  <a:pt x="1695" y="563"/>
                  <a:pt x="1695" y="563"/>
                </a:cubicBezTo>
                <a:cubicBezTo>
                  <a:pt x="1694" y="563"/>
                  <a:pt x="1695" y="564"/>
                  <a:pt x="1695" y="564"/>
                </a:cubicBezTo>
                <a:cubicBezTo>
                  <a:pt x="1694" y="565"/>
                  <a:pt x="1694" y="564"/>
                  <a:pt x="1694" y="564"/>
                </a:cubicBezTo>
                <a:cubicBezTo>
                  <a:pt x="1693" y="565"/>
                  <a:pt x="1694" y="565"/>
                  <a:pt x="1694" y="565"/>
                </a:cubicBezTo>
                <a:cubicBezTo>
                  <a:pt x="1694" y="566"/>
                  <a:pt x="1693" y="565"/>
                  <a:pt x="1692" y="565"/>
                </a:cubicBezTo>
                <a:cubicBezTo>
                  <a:pt x="1692" y="566"/>
                  <a:pt x="1692" y="566"/>
                  <a:pt x="1692" y="566"/>
                </a:cubicBezTo>
                <a:cubicBezTo>
                  <a:pt x="1693" y="567"/>
                  <a:pt x="1693" y="567"/>
                  <a:pt x="1693" y="567"/>
                </a:cubicBezTo>
                <a:cubicBezTo>
                  <a:pt x="1693" y="567"/>
                  <a:pt x="1692" y="567"/>
                  <a:pt x="1692" y="567"/>
                </a:cubicBezTo>
                <a:cubicBezTo>
                  <a:pt x="1691" y="568"/>
                  <a:pt x="1692" y="568"/>
                  <a:pt x="1692" y="568"/>
                </a:cubicBezTo>
                <a:cubicBezTo>
                  <a:pt x="1693" y="568"/>
                  <a:pt x="1693" y="569"/>
                  <a:pt x="1692" y="569"/>
                </a:cubicBezTo>
                <a:cubicBezTo>
                  <a:pt x="1692" y="569"/>
                  <a:pt x="1692" y="569"/>
                  <a:pt x="1692" y="569"/>
                </a:cubicBezTo>
                <a:cubicBezTo>
                  <a:pt x="1692" y="569"/>
                  <a:pt x="1691" y="569"/>
                  <a:pt x="1691" y="569"/>
                </a:cubicBezTo>
                <a:cubicBezTo>
                  <a:pt x="1691" y="569"/>
                  <a:pt x="1690" y="569"/>
                  <a:pt x="1690" y="569"/>
                </a:cubicBezTo>
                <a:cubicBezTo>
                  <a:pt x="1690" y="569"/>
                  <a:pt x="1688" y="570"/>
                  <a:pt x="1689" y="570"/>
                </a:cubicBezTo>
                <a:cubicBezTo>
                  <a:pt x="1690" y="570"/>
                  <a:pt x="1691" y="570"/>
                  <a:pt x="1691" y="570"/>
                </a:cubicBezTo>
                <a:cubicBezTo>
                  <a:pt x="1691" y="570"/>
                  <a:pt x="1692" y="570"/>
                  <a:pt x="1692" y="570"/>
                </a:cubicBezTo>
                <a:cubicBezTo>
                  <a:pt x="1692" y="570"/>
                  <a:pt x="1691" y="570"/>
                  <a:pt x="1692" y="571"/>
                </a:cubicBezTo>
                <a:cubicBezTo>
                  <a:pt x="1692" y="571"/>
                  <a:pt x="1692" y="571"/>
                  <a:pt x="1692" y="572"/>
                </a:cubicBezTo>
                <a:cubicBezTo>
                  <a:pt x="1693" y="572"/>
                  <a:pt x="1693" y="573"/>
                  <a:pt x="1694" y="572"/>
                </a:cubicBezTo>
                <a:cubicBezTo>
                  <a:pt x="1695" y="572"/>
                  <a:pt x="1695" y="573"/>
                  <a:pt x="1696" y="573"/>
                </a:cubicBezTo>
                <a:cubicBezTo>
                  <a:pt x="1696" y="573"/>
                  <a:pt x="1696" y="572"/>
                  <a:pt x="1697" y="572"/>
                </a:cubicBezTo>
                <a:cubicBezTo>
                  <a:pt x="1697" y="572"/>
                  <a:pt x="1697" y="572"/>
                  <a:pt x="1697" y="572"/>
                </a:cubicBezTo>
                <a:cubicBezTo>
                  <a:pt x="1698" y="572"/>
                  <a:pt x="1698" y="571"/>
                  <a:pt x="1698" y="571"/>
                </a:cubicBezTo>
                <a:cubicBezTo>
                  <a:pt x="1699" y="570"/>
                  <a:pt x="1699" y="570"/>
                  <a:pt x="1700" y="570"/>
                </a:cubicBezTo>
                <a:cubicBezTo>
                  <a:pt x="1700" y="570"/>
                  <a:pt x="1700" y="569"/>
                  <a:pt x="1701" y="569"/>
                </a:cubicBezTo>
                <a:cubicBezTo>
                  <a:pt x="1701" y="569"/>
                  <a:pt x="1700" y="568"/>
                  <a:pt x="1701" y="568"/>
                </a:cubicBezTo>
                <a:cubicBezTo>
                  <a:pt x="1701" y="568"/>
                  <a:pt x="1701" y="568"/>
                  <a:pt x="1701" y="569"/>
                </a:cubicBezTo>
                <a:cubicBezTo>
                  <a:pt x="1701" y="569"/>
                  <a:pt x="1701" y="569"/>
                  <a:pt x="1701" y="570"/>
                </a:cubicBezTo>
                <a:cubicBezTo>
                  <a:pt x="1701" y="570"/>
                  <a:pt x="1702" y="569"/>
                  <a:pt x="1702" y="570"/>
                </a:cubicBezTo>
                <a:cubicBezTo>
                  <a:pt x="1702" y="570"/>
                  <a:pt x="1701" y="570"/>
                  <a:pt x="1701" y="570"/>
                </a:cubicBezTo>
                <a:cubicBezTo>
                  <a:pt x="1700" y="570"/>
                  <a:pt x="1700" y="571"/>
                  <a:pt x="1699" y="571"/>
                </a:cubicBezTo>
                <a:cubicBezTo>
                  <a:pt x="1698" y="572"/>
                  <a:pt x="1698" y="572"/>
                  <a:pt x="1698" y="573"/>
                </a:cubicBezTo>
                <a:cubicBezTo>
                  <a:pt x="1698" y="573"/>
                  <a:pt x="1698" y="573"/>
                  <a:pt x="1697" y="574"/>
                </a:cubicBezTo>
                <a:cubicBezTo>
                  <a:pt x="1697" y="574"/>
                  <a:pt x="1697" y="575"/>
                  <a:pt x="1697" y="576"/>
                </a:cubicBezTo>
                <a:cubicBezTo>
                  <a:pt x="1697" y="576"/>
                  <a:pt x="1697" y="576"/>
                  <a:pt x="1697" y="577"/>
                </a:cubicBezTo>
                <a:cubicBezTo>
                  <a:pt x="1696" y="578"/>
                  <a:pt x="1697" y="578"/>
                  <a:pt x="1697" y="579"/>
                </a:cubicBezTo>
                <a:cubicBezTo>
                  <a:pt x="1696" y="580"/>
                  <a:pt x="1696" y="580"/>
                  <a:pt x="1696" y="580"/>
                </a:cubicBezTo>
                <a:cubicBezTo>
                  <a:pt x="1695" y="580"/>
                  <a:pt x="1696" y="581"/>
                  <a:pt x="1696" y="581"/>
                </a:cubicBezTo>
                <a:cubicBezTo>
                  <a:pt x="1696" y="581"/>
                  <a:pt x="1695" y="581"/>
                  <a:pt x="1695" y="582"/>
                </a:cubicBezTo>
                <a:cubicBezTo>
                  <a:pt x="1695" y="582"/>
                  <a:pt x="1695" y="582"/>
                  <a:pt x="1695" y="582"/>
                </a:cubicBezTo>
                <a:cubicBezTo>
                  <a:pt x="1696" y="583"/>
                  <a:pt x="1694" y="584"/>
                  <a:pt x="1695" y="585"/>
                </a:cubicBezTo>
                <a:cubicBezTo>
                  <a:pt x="1696" y="585"/>
                  <a:pt x="1697" y="584"/>
                  <a:pt x="1697" y="584"/>
                </a:cubicBezTo>
                <a:cubicBezTo>
                  <a:pt x="1697" y="585"/>
                  <a:pt x="1697" y="585"/>
                  <a:pt x="1696" y="585"/>
                </a:cubicBezTo>
                <a:cubicBezTo>
                  <a:pt x="1696" y="586"/>
                  <a:pt x="1695" y="586"/>
                  <a:pt x="1695" y="587"/>
                </a:cubicBezTo>
                <a:cubicBezTo>
                  <a:pt x="1694" y="588"/>
                  <a:pt x="1695" y="589"/>
                  <a:pt x="1695" y="589"/>
                </a:cubicBezTo>
                <a:cubicBezTo>
                  <a:pt x="1695" y="590"/>
                  <a:pt x="1694" y="590"/>
                  <a:pt x="1694" y="591"/>
                </a:cubicBezTo>
                <a:cubicBezTo>
                  <a:pt x="1693" y="592"/>
                  <a:pt x="1694" y="592"/>
                  <a:pt x="1695" y="592"/>
                </a:cubicBezTo>
                <a:cubicBezTo>
                  <a:pt x="1696" y="592"/>
                  <a:pt x="1697" y="593"/>
                  <a:pt x="1697" y="591"/>
                </a:cubicBezTo>
                <a:cubicBezTo>
                  <a:pt x="1697" y="591"/>
                  <a:pt x="1696" y="590"/>
                  <a:pt x="1697" y="589"/>
                </a:cubicBezTo>
                <a:cubicBezTo>
                  <a:pt x="1697" y="589"/>
                  <a:pt x="1697" y="589"/>
                  <a:pt x="1697" y="588"/>
                </a:cubicBezTo>
                <a:cubicBezTo>
                  <a:pt x="1698" y="588"/>
                  <a:pt x="1697" y="588"/>
                  <a:pt x="1697" y="587"/>
                </a:cubicBezTo>
                <a:cubicBezTo>
                  <a:pt x="1697" y="587"/>
                  <a:pt x="1697" y="586"/>
                  <a:pt x="1698" y="586"/>
                </a:cubicBezTo>
                <a:cubicBezTo>
                  <a:pt x="1698" y="585"/>
                  <a:pt x="1699" y="585"/>
                  <a:pt x="1699" y="585"/>
                </a:cubicBezTo>
                <a:cubicBezTo>
                  <a:pt x="1700" y="584"/>
                  <a:pt x="1699" y="584"/>
                  <a:pt x="1699" y="584"/>
                </a:cubicBezTo>
                <a:cubicBezTo>
                  <a:pt x="1699" y="583"/>
                  <a:pt x="1699" y="583"/>
                  <a:pt x="1699" y="583"/>
                </a:cubicBezTo>
                <a:cubicBezTo>
                  <a:pt x="1698" y="582"/>
                  <a:pt x="1698" y="582"/>
                  <a:pt x="1698" y="582"/>
                </a:cubicBezTo>
                <a:cubicBezTo>
                  <a:pt x="1698" y="581"/>
                  <a:pt x="1699" y="581"/>
                  <a:pt x="1699" y="580"/>
                </a:cubicBezTo>
                <a:cubicBezTo>
                  <a:pt x="1700" y="580"/>
                  <a:pt x="1700" y="579"/>
                  <a:pt x="1701" y="579"/>
                </a:cubicBezTo>
                <a:cubicBezTo>
                  <a:pt x="1701" y="579"/>
                  <a:pt x="1700" y="579"/>
                  <a:pt x="1700" y="580"/>
                </a:cubicBezTo>
                <a:cubicBezTo>
                  <a:pt x="1700" y="580"/>
                  <a:pt x="1700" y="580"/>
                  <a:pt x="1700" y="580"/>
                </a:cubicBezTo>
                <a:cubicBezTo>
                  <a:pt x="1700" y="581"/>
                  <a:pt x="1699" y="581"/>
                  <a:pt x="1699" y="581"/>
                </a:cubicBezTo>
                <a:cubicBezTo>
                  <a:pt x="1699" y="582"/>
                  <a:pt x="1699" y="582"/>
                  <a:pt x="1699" y="582"/>
                </a:cubicBezTo>
                <a:cubicBezTo>
                  <a:pt x="1699" y="582"/>
                  <a:pt x="1699" y="582"/>
                  <a:pt x="1700" y="583"/>
                </a:cubicBezTo>
                <a:cubicBezTo>
                  <a:pt x="1700" y="583"/>
                  <a:pt x="1700" y="583"/>
                  <a:pt x="1700" y="583"/>
                </a:cubicBezTo>
                <a:cubicBezTo>
                  <a:pt x="1700" y="584"/>
                  <a:pt x="1700" y="584"/>
                  <a:pt x="1700" y="583"/>
                </a:cubicBezTo>
                <a:cubicBezTo>
                  <a:pt x="1701" y="583"/>
                  <a:pt x="1700" y="582"/>
                  <a:pt x="1701" y="582"/>
                </a:cubicBezTo>
                <a:cubicBezTo>
                  <a:pt x="1701" y="582"/>
                  <a:pt x="1702" y="582"/>
                  <a:pt x="1702" y="583"/>
                </a:cubicBezTo>
                <a:cubicBezTo>
                  <a:pt x="1702" y="583"/>
                  <a:pt x="1702" y="583"/>
                  <a:pt x="1702" y="583"/>
                </a:cubicBezTo>
                <a:cubicBezTo>
                  <a:pt x="1703" y="584"/>
                  <a:pt x="1703" y="583"/>
                  <a:pt x="1703" y="583"/>
                </a:cubicBezTo>
                <a:cubicBezTo>
                  <a:pt x="1703" y="583"/>
                  <a:pt x="1704" y="583"/>
                  <a:pt x="1704" y="583"/>
                </a:cubicBezTo>
                <a:cubicBezTo>
                  <a:pt x="1704" y="582"/>
                  <a:pt x="1704" y="581"/>
                  <a:pt x="1704" y="580"/>
                </a:cubicBezTo>
                <a:cubicBezTo>
                  <a:pt x="1704" y="580"/>
                  <a:pt x="1705" y="580"/>
                  <a:pt x="1705" y="579"/>
                </a:cubicBezTo>
                <a:cubicBezTo>
                  <a:pt x="1705" y="579"/>
                  <a:pt x="1705" y="578"/>
                  <a:pt x="1705" y="578"/>
                </a:cubicBezTo>
                <a:cubicBezTo>
                  <a:pt x="1706" y="578"/>
                  <a:pt x="1706" y="580"/>
                  <a:pt x="1706" y="580"/>
                </a:cubicBezTo>
                <a:cubicBezTo>
                  <a:pt x="1706" y="581"/>
                  <a:pt x="1707" y="582"/>
                  <a:pt x="1707" y="582"/>
                </a:cubicBezTo>
                <a:cubicBezTo>
                  <a:pt x="1707" y="582"/>
                  <a:pt x="1706" y="582"/>
                  <a:pt x="1706" y="582"/>
                </a:cubicBezTo>
                <a:cubicBezTo>
                  <a:pt x="1706" y="582"/>
                  <a:pt x="1705" y="582"/>
                  <a:pt x="1705" y="582"/>
                </a:cubicBezTo>
                <a:cubicBezTo>
                  <a:pt x="1704" y="582"/>
                  <a:pt x="1705" y="583"/>
                  <a:pt x="1705" y="583"/>
                </a:cubicBezTo>
                <a:cubicBezTo>
                  <a:pt x="1705" y="584"/>
                  <a:pt x="1705" y="585"/>
                  <a:pt x="1704" y="585"/>
                </a:cubicBezTo>
                <a:cubicBezTo>
                  <a:pt x="1704" y="586"/>
                  <a:pt x="1704" y="586"/>
                  <a:pt x="1705" y="587"/>
                </a:cubicBezTo>
                <a:cubicBezTo>
                  <a:pt x="1705" y="587"/>
                  <a:pt x="1705" y="587"/>
                  <a:pt x="1705" y="587"/>
                </a:cubicBezTo>
                <a:cubicBezTo>
                  <a:pt x="1706" y="587"/>
                  <a:pt x="1706" y="587"/>
                  <a:pt x="1706" y="587"/>
                </a:cubicBezTo>
                <a:cubicBezTo>
                  <a:pt x="1707" y="588"/>
                  <a:pt x="1707" y="589"/>
                  <a:pt x="1707" y="589"/>
                </a:cubicBezTo>
                <a:cubicBezTo>
                  <a:pt x="1706" y="590"/>
                  <a:pt x="1707" y="591"/>
                  <a:pt x="1706" y="592"/>
                </a:cubicBezTo>
                <a:cubicBezTo>
                  <a:pt x="1706" y="592"/>
                  <a:pt x="1705" y="593"/>
                  <a:pt x="1705" y="593"/>
                </a:cubicBezTo>
                <a:cubicBezTo>
                  <a:pt x="1704" y="594"/>
                  <a:pt x="1703" y="595"/>
                  <a:pt x="1703" y="596"/>
                </a:cubicBezTo>
                <a:cubicBezTo>
                  <a:pt x="1703" y="596"/>
                  <a:pt x="1703" y="598"/>
                  <a:pt x="1702" y="598"/>
                </a:cubicBezTo>
                <a:cubicBezTo>
                  <a:pt x="1702" y="598"/>
                  <a:pt x="1701" y="597"/>
                  <a:pt x="1701" y="598"/>
                </a:cubicBezTo>
                <a:cubicBezTo>
                  <a:pt x="1700" y="599"/>
                  <a:pt x="1701" y="599"/>
                  <a:pt x="1702" y="600"/>
                </a:cubicBezTo>
                <a:cubicBezTo>
                  <a:pt x="1702" y="600"/>
                  <a:pt x="1703" y="601"/>
                  <a:pt x="1703" y="601"/>
                </a:cubicBezTo>
                <a:cubicBezTo>
                  <a:pt x="1703" y="602"/>
                  <a:pt x="1703" y="603"/>
                  <a:pt x="1704" y="603"/>
                </a:cubicBezTo>
                <a:cubicBezTo>
                  <a:pt x="1705" y="603"/>
                  <a:pt x="1704" y="602"/>
                  <a:pt x="1704" y="601"/>
                </a:cubicBezTo>
                <a:cubicBezTo>
                  <a:pt x="1703" y="600"/>
                  <a:pt x="1705" y="599"/>
                  <a:pt x="1706" y="600"/>
                </a:cubicBezTo>
                <a:cubicBezTo>
                  <a:pt x="1706" y="600"/>
                  <a:pt x="1707" y="600"/>
                  <a:pt x="1707" y="601"/>
                </a:cubicBezTo>
                <a:cubicBezTo>
                  <a:pt x="1707" y="601"/>
                  <a:pt x="1707" y="601"/>
                  <a:pt x="1708" y="601"/>
                </a:cubicBezTo>
                <a:cubicBezTo>
                  <a:pt x="1708" y="602"/>
                  <a:pt x="1709" y="602"/>
                  <a:pt x="1709" y="602"/>
                </a:cubicBezTo>
                <a:cubicBezTo>
                  <a:pt x="1710" y="602"/>
                  <a:pt x="1710" y="602"/>
                  <a:pt x="1710" y="602"/>
                </a:cubicBezTo>
                <a:cubicBezTo>
                  <a:pt x="1710" y="601"/>
                  <a:pt x="1710" y="601"/>
                  <a:pt x="1710" y="601"/>
                </a:cubicBezTo>
                <a:cubicBezTo>
                  <a:pt x="1711" y="600"/>
                  <a:pt x="1709" y="600"/>
                  <a:pt x="1709" y="600"/>
                </a:cubicBezTo>
                <a:cubicBezTo>
                  <a:pt x="1709" y="599"/>
                  <a:pt x="1709" y="599"/>
                  <a:pt x="1709" y="599"/>
                </a:cubicBezTo>
                <a:cubicBezTo>
                  <a:pt x="1710" y="598"/>
                  <a:pt x="1710" y="599"/>
                  <a:pt x="1710" y="599"/>
                </a:cubicBezTo>
                <a:cubicBezTo>
                  <a:pt x="1711" y="599"/>
                  <a:pt x="1711" y="599"/>
                  <a:pt x="1712" y="600"/>
                </a:cubicBezTo>
                <a:cubicBezTo>
                  <a:pt x="1712" y="600"/>
                  <a:pt x="1712" y="601"/>
                  <a:pt x="1713" y="601"/>
                </a:cubicBezTo>
                <a:cubicBezTo>
                  <a:pt x="1713" y="601"/>
                  <a:pt x="1713" y="600"/>
                  <a:pt x="1714" y="601"/>
                </a:cubicBezTo>
                <a:cubicBezTo>
                  <a:pt x="1714" y="601"/>
                  <a:pt x="1714" y="601"/>
                  <a:pt x="1715" y="601"/>
                </a:cubicBezTo>
                <a:cubicBezTo>
                  <a:pt x="1715" y="601"/>
                  <a:pt x="1715" y="600"/>
                  <a:pt x="1715" y="600"/>
                </a:cubicBezTo>
                <a:cubicBezTo>
                  <a:pt x="1716" y="600"/>
                  <a:pt x="1716" y="600"/>
                  <a:pt x="1717" y="600"/>
                </a:cubicBezTo>
                <a:cubicBezTo>
                  <a:pt x="1717" y="599"/>
                  <a:pt x="1717" y="599"/>
                  <a:pt x="1717" y="599"/>
                </a:cubicBezTo>
                <a:cubicBezTo>
                  <a:pt x="1718" y="598"/>
                  <a:pt x="1718" y="598"/>
                  <a:pt x="1718" y="598"/>
                </a:cubicBezTo>
                <a:cubicBezTo>
                  <a:pt x="1719" y="598"/>
                  <a:pt x="1719" y="598"/>
                  <a:pt x="1719" y="598"/>
                </a:cubicBezTo>
                <a:cubicBezTo>
                  <a:pt x="1719" y="597"/>
                  <a:pt x="1720" y="597"/>
                  <a:pt x="1721" y="597"/>
                </a:cubicBezTo>
                <a:cubicBezTo>
                  <a:pt x="1721" y="597"/>
                  <a:pt x="1724" y="597"/>
                  <a:pt x="1724" y="597"/>
                </a:cubicBezTo>
                <a:cubicBezTo>
                  <a:pt x="1723" y="598"/>
                  <a:pt x="1723" y="598"/>
                  <a:pt x="1723" y="598"/>
                </a:cubicBezTo>
                <a:cubicBezTo>
                  <a:pt x="1722" y="598"/>
                  <a:pt x="1722" y="598"/>
                  <a:pt x="1722" y="598"/>
                </a:cubicBezTo>
                <a:cubicBezTo>
                  <a:pt x="1722" y="598"/>
                  <a:pt x="1722" y="598"/>
                  <a:pt x="1722" y="598"/>
                </a:cubicBezTo>
                <a:cubicBezTo>
                  <a:pt x="1721" y="598"/>
                  <a:pt x="1722" y="598"/>
                  <a:pt x="1721" y="599"/>
                </a:cubicBezTo>
                <a:cubicBezTo>
                  <a:pt x="1721" y="599"/>
                  <a:pt x="1721" y="600"/>
                  <a:pt x="1720" y="600"/>
                </a:cubicBezTo>
                <a:cubicBezTo>
                  <a:pt x="1720" y="601"/>
                  <a:pt x="1720" y="602"/>
                  <a:pt x="1719" y="602"/>
                </a:cubicBezTo>
                <a:cubicBezTo>
                  <a:pt x="1719" y="603"/>
                  <a:pt x="1718" y="603"/>
                  <a:pt x="1718" y="604"/>
                </a:cubicBezTo>
                <a:cubicBezTo>
                  <a:pt x="1718" y="605"/>
                  <a:pt x="1719" y="606"/>
                  <a:pt x="1719" y="606"/>
                </a:cubicBezTo>
                <a:cubicBezTo>
                  <a:pt x="1720" y="607"/>
                  <a:pt x="1720" y="608"/>
                  <a:pt x="1721" y="609"/>
                </a:cubicBezTo>
                <a:cubicBezTo>
                  <a:pt x="1721" y="609"/>
                  <a:pt x="1721" y="609"/>
                  <a:pt x="1722" y="609"/>
                </a:cubicBezTo>
                <a:cubicBezTo>
                  <a:pt x="1722" y="609"/>
                  <a:pt x="1722" y="610"/>
                  <a:pt x="1722" y="610"/>
                </a:cubicBezTo>
                <a:cubicBezTo>
                  <a:pt x="1722" y="610"/>
                  <a:pt x="1722" y="610"/>
                  <a:pt x="1723" y="610"/>
                </a:cubicBezTo>
                <a:cubicBezTo>
                  <a:pt x="1723" y="610"/>
                  <a:pt x="1723" y="610"/>
                  <a:pt x="1723" y="611"/>
                </a:cubicBezTo>
                <a:cubicBezTo>
                  <a:pt x="1723" y="612"/>
                  <a:pt x="1724" y="612"/>
                  <a:pt x="1724" y="611"/>
                </a:cubicBezTo>
                <a:cubicBezTo>
                  <a:pt x="1725" y="611"/>
                  <a:pt x="1725" y="611"/>
                  <a:pt x="1725" y="610"/>
                </a:cubicBezTo>
                <a:cubicBezTo>
                  <a:pt x="1725" y="610"/>
                  <a:pt x="1725" y="610"/>
                  <a:pt x="1725" y="610"/>
                </a:cubicBezTo>
                <a:cubicBezTo>
                  <a:pt x="1726" y="610"/>
                  <a:pt x="1726" y="609"/>
                  <a:pt x="1726" y="609"/>
                </a:cubicBezTo>
                <a:cubicBezTo>
                  <a:pt x="1726" y="609"/>
                  <a:pt x="1726" y="610"/>
                  <a:pt x="1726" y="610"/>
                </a:cubicBezTo>
                <a:cubicBezTo>
                  <a:pt x="1727" y="610"/>
                  <a:pt x="1726" y="611"/>
                  <a:pt x="1726" y="611"/>
                </a:cubicBezTo>
                <a:cubicBezTo>
                  <a:pt x="1726" y="611"/>
                  <a:pt x="1725" y="611"/>
                  <a:pt x="1725" y="612"/>
                </a:cubicBezTo>
                <a:cubicBezTo>
                  <a:pt x="1725" y="612"/>
                  <a:pt x="1726" y="612"/>
                  <a:pt x="1726" y="612"/>
                </a:cubicBezTo>
                <a:cubicBezTo>
                  <a:pt x="1726" y="613"/>
                  <a:pt x="1726" y="613"/>
                  <a:pt x="1725" y="613"/>
                </a:cubicBezTo>
                <a:cubicBezTo>
                  <a:pt x="1725" y="613"/>
                  <a:pt x="1725" y="613"/>
                  <a:pt x="1725" y="614"/>
                </a:cubicBezTo>
                <a:cubicBezTo>
                  <a:pt x="1725" y="614"/>
                  <a:pt x="1724" y="615"/>
                  <a:pt x="1725" y="615"/>
                </a:cubicBezTo>
                <a:cubicBezTo>
                  <a:pt x="1725" y="616"/>
                  <a:pt x="1726" y="616"/>
                  <a:pt x="1726" y="617"/>
                </a:cubicBezTo>
                <a:cubicBezTo>
                  <a:pt x="1726" y="618"/>
                  <a:pt x="1725" y="618"/>
                  <a:pt x="1724" y="619"/>
                </a:cubicBezTo>
                <a:cubicBezTo>
                  <a:pt x="1723" y="620"/>
                  <a:pt x="1725" y="622"/>
                  <a:pt x="1726" y="623"/>
                </a:cubicBezTo>
                <a:cubicBezTo>
                  <a:pt x="1726" y="623"/>
                  <a:pt x="1727" y="623"/>
                  <a:pt x="1727" y="623"/>
                </a:cubicBezTo>
                <a:cubicBezTo>
                  <a:pt x="1727" y="624"/>
                  <a:pt x="1726" y="623"/>
                  <a:pt x="1726" y="623"/>
                </a:cubicBezTo>
                <a:cubicBezTo>
                  <a:pt x="1725" y="623"/>
                  <a:pt x="1725" y="623"/>
                  <a:pt x="1724" y="622"/>
                </a:cubicBezTo>
                <a:cubicBezTo>
                  <a:pt x="1724" y="622"/>
                  <a:pt x="1723" y="622"/>
                  <a:pt x="1723" y="622"/>
                </a:cubicBezTo>
                <a:cubicBezTo>
                  <a:pt x="1723" y="623"/>
                  <a:pt x="1724" y="623"/>
                  <a:pt x="1724" y="623"/>
                </a:cubicBezTo>
                <a:cubicBezTo>
                  <a:pt x="1724" y="624"/>
                  <a:pt x="1724" y="624"/>
                  <a:pt x="1723" y="624"/>
                </a:cubicBezTo>
                <a:cubicBezTo>
                  <a:pt x="1723" y="624"/>
                  <a:pt x="1723" y="624"/>
                  <a:pt x="1722" y="624"/>
                </a:cubicBezTo>
                <a:cubicBezTo>
                  <a:pt x="1722" y="624"/>
                  <a:pt x="1721" y="623"/>
                  <a:pt x="1720" y="623"/>
                </a:cubicBezTo>
                <a:cubicBezTo>
                  <a:pt x="1719" y="623"/>
                  <a:pt x="1719" y="624"/>
                  <a:pt x="1718" y="624"/>
                </a:cubicBezTo>
                <a:cubicBezTo>
                  <a:pt x="1718" y="624"/>
                  <a:pt x="1717" y="624"/>
                  <a:pt x="1717" y="624"/>
                </a:cubicBezTo>
                <a:cubicBezTo>
                  <a:pt x="1717" y="624"/>
                  <a:pt x="1716" y="623"/>
                  <a:pt x="1716" y="623"/>
                </a:cubicBezTo>
                <a:cubicBezTo>
                  <a:pt x="1715" y="623"/>
                  <a:pt x="1715" y="624"/>
                  <a:pt x="1715" y="624"/>
                </a:cubicBezTo>
                <a:cubicBezTo>
                  <a:pt x="1715" y="624"/>
                  <a:pt x="1714" y="624"/>
                  <a:pt x="1714" y="624"/>
                </a:cubicBezTo>
                <a:cubicBezTo>
                  <a:pt x="1713" y="625"/>
                  <a:pt x="1713" y="625"/>
                  <a:pt x="1712" y="625"/>
                </a:cubicBezTo>
                <a:cubicBezTo>
                  <a:pt x="1711" y="626"/>
                  <a:pt x="1711" y="626"/>
                  <a:pt x="1711" y="627"/>
                </a:cubicBezTo>
                <a:cubicBezTo>
                  <a:pt x="1710" y="628"/>
                  <a:pt x="1709" y="629"/>
                  <a:pt x="1708" y="630"/>
                </a:cubicBezTo>
                <a:cubicBezTo>
                  <a:pt x="1708" y="630"/>
                  <a:pt x="1708" y="630"/>
                  <a:pt x="1708" y="630"/>
                </a:cubicBezTo>
                <a:cubicBezTo>
                  <a:pt x="1707" y="630"/>
                  <a:pt x="1707" y="630"/>
                  <a:pt x="1707" y="630"/>
                </a:cubicBezTo>
                <a:cubicBezTo>
                  <a:pt x="1706" y="630"/>
                  <a:pt x="1706" y="631"/>
                  <a:pt x="1706" y="631"/>
                </a:cubicBezTo>
                <a:cubicBezTo>
                  <a:pt x="1705" y="632"/>
                  <a:pt x="1706" y="632"/>
                  <a:pt x="1707" y="632"/>
                </a:cubicBezTo>
                <a:cubicBezTo>
                  <a:pt x="1708" y="632"/>
                  <a:pt x="1708" y="631"/>
                  <a:pt x="1708" y="631"/>
                </a:cubicBezTo>
                <a:cubicBezTo>
                  <a:pt x="1708" y="631"/>
                  <a:pt x="1709" y="631"/>
                  <a:pt x="1709" y="630"/>
                </a:cubicBezTo>
                <a:cubicBezTo>
                  <a:pt x="1710" y="630"/>
                  <a:pt x="1710" y="630"/>
                  <a:pt x="1711" y="630"/>
                </a:cubicBezTo>
                <a:cubicBezTo>
                  <a:pt x="1712" y="630"/>
                  <a:pt x="1712" y="630"/>
                  <a:pt x="1712" y="630"/>
                </a:cubicBezTo>
                <a:cubicBezTo>
                  <a:pt x="1712" y="629"/>
                  <a:pt x="1713" y="629"/>
                  <a:pt x="1713" y="629"/>
                </a:cubicBezTo>
                <a:cubicBezTo>
                  <a:pt x="1713" y="630"/>
                  <a:pt x="1712" y="631"/>
                  <a:pt x="1713" y="632"/>
                </a:cubicBezTo>
                <a:cubicBezTo>
                  <a:pt x="1713" y="632"/>
                  <a:pt x="1713" y="632"/>
                  <a:pt x="1713" y="632"/>
                </a:cubicBezTo>
                <a:cubicBezTo>
                  <a:pt x="1714" y="633"/>
                  <a:pt x="1712" y="635"/>
                  <a:pt x="1713" y="635"/>
                </a:cubicBezTo>
                <a:cubicBezTo>
                  <a:pt x="1714" y="635"/>
                  <a:pt x="1714" y="634"/>
                  <a:pt x="1714" y="635"/>
                </a:cubicBezTo>
                <a:cubicBezTo>
                  <a:pt x="1714" y="635"/>
                  <a:pt x="1714" y="636"/>
                  <a:pt x="1714" y="636"/>
                </a:cubicBezTo>
                <a:cubicBezTo>
                  <a:pt x="1714" y="637"/>
                  <a:pt x="1714" y="637"/>
                  <a:pt x="1714" y="638"/>
                </a:cubicBezTo>
                <a:cubicBezTo>
                  <a:pt x="1713" y="639"/>
                  <a:pt x="1712" y="639"/>
                  <a:pt x="1711" y="640"/>
                </a:cubicBezTo>
                <a:cubicBezTo>
                  <a:pt x="1711" y="640"/>
                  <a:pt x="1710" y="641"/>
                  <a:pt x="1710" y="641"/>
                </a:cubicBezTo>
                <a:cubicBezTo>
                  <a:pt x="1709" y="641"/>
                  <a:pt x="1709" y="641"/>
                  <a:pt x="1708" y="641"/>
                </a:cubicBezTo>
                <a:cubicBezTo>
                  <a:pt x="1707" y="641"/>
                  <a:pt x="1707" y="642"/>
                  <a:pt x="1706" y="642"/>
                </a:cubicBezTo>
                <a:cubicBezTo>
                  <a:pt x="1705" y="643"/>
                  <a:pt x="1705" y="643"/>
                  <a:pt x="1704" y="643"/>
                </a:cubicBezTo>
                <a:cubicBezTo>
                  <a:pt x="1703" y="643"/>
                  <a:pt x="1703" y="643"/>
                  <a:pt x="1703" y="643"/>
                </a:cubicBezTo>
                <a:cubicBezTo>
                  <a:pt x="1702" y="643"/>
                  <a:pt x="1702" y="644"/>
                  <a:pt x="1702" y="644"/>
                </a:cubicBezTo>
                <a:cubicBezTo>
                  <a:pt x="1701" y="645"/>
                  <a:pt x="1700" y="644"/>
                  <a:pt x="1699" y="644"/>
                </a:cubicBezTo>
                <a:cubicBezTo>
                  <a:pt x="1699" y="644"/>
                  <a:pt x="1699" y="645"/>
                  <a:pt x="1699" y="645"/>
                </a:cubicBezTo>
                <a:cubicBezTo>
                  <a:pt x="1699" y="645"/>
                  <a:pt x="1699" y="645"/>
                  <a:pt x="1699" y="645"/>
                </a:cubicBezTo>
                <a:cubicBezTo>
                  <a:pt x="1700" y="646"/>
                  <a:pt x="1700" y="646"/>
                  <a:pt x="1700" y="646"/>
                </a:cubicBezTo>
                <a:cubicBezTo>
                  <a:pt x="1700" y="646"/>
                  <a:pt x="1700" y="646"/>
                  <a:pt x="1701" y="646"/>
                </a:cubicBezTo>
                <a:cubicBezTo>
                  <a:pt x="1701" y="646"/>
                  <a:pt x="1702" y="647"/>
                  <a:pt x="1701" y="647"/>
                </a:cubicBezTo>
                <a:cubicBezTo>
                  <a:pt x="1701" y="648"/>
                  <a:pt x="1700" y="648"/>
                  <a:pt x="1700" y="648"/>
                </a:cubicBezTo>
                <a:cubicBezTo>
                  <a:pt x="1700" y="649"/>
                  <a:pt x="1701" y="648"/>
                  <a:pt x="1701" y="648"/>
                </a:cubicBezTo>
                <a:cubicBezTo>
                  <a:pt x="1702" y="648"/>
                  <a:pt x="1702" y="648"/>
                  <a:pt x="1702" y="648"/>
                </a:cubicBezTo>
                <a:cubicBezTo>
                  <a:pt x="1703" y="648"/>
                  <a:pt x="1703" y="647"/>
                  <a:pt x="1703" y="647"/>
                </a:cubicBezTo>
                <a:cubicBezTo>
                  <a:pt x="1703" y="647"/>
                  <a:pt x="1703" y="647"/>
                  <a:pt x="1703" y="647"/>
                </a:cubicBezTo>
                <a:cubicBezTo>
                  <a:pt x="1704" y="647"/>
                  <a:pt x="1704" y="647"/>
                  <a:pt x="1705" y="647"/>
                </a:cubicBezTo>
                <a:cubicBezTo>
                  <a:pt x="1705" y="648"/>
                  <a:pt x="1703" y="649"/>
                  <a:pt x="1703" y="649"/>
                </a:cubicBezTo>
                <a:cubicBezTo>
                  <a:pt x="1702" y="649"/>
                  <a:pt x="1702" y="648"/>
                  <a:pt x="1702" y="649"/>
                </a:cubicBezTo>
                <a:cubicBezTo>
                  <a:pt x="1702" y="650"/>
                  <a:pt x="1702" y="650"/>
                  <a:pt x="1703" y="650"/>
                </a:cubicBezTo>
                <a:cubicBezTo>
                  <a:pt x="1704" y="650"/>
                  <a:pt x="1704" y="650"/>
                  <a:pt x="1705" y="649"/>
                </a:cubicBezTo>
                <a:cubicBezTo>
                  <a:pt x="1706" y="648"/>
                  <a:pt x="1707" y="648"/>
                  <a:pt x="1708" y="648"/>
                </a:cubicBezTo>
                <a:cubicBezTo>
                  <a:pt x="1709" y="648"/>
                  <a:pt x="1708" y="647"/>
                  <a:pt x="1709" y="647"/>
                </a:cubicBezTo>
                <a:cubicBezTo>
                  <a:pt x="1709" y="646"/>
                  <a:pt x="1710" y="647"/>
                  <a:pt x="1710" y="647"/>
                </a:cubicBezTo>
                <a:cubicBezTo>
                  <a:pt x="1711" y="647"/>
                  <a:pt x="1711" y="647"/>
                  <a:pt x="1711" y="648"/>
                </a:cubicBezTo>
                <a:cubicBezTo>
                  <a:pt x="1711" y="648"/>
                  <a:pt x="1711" y="648"/>
                  <a:pt x="1712" y="648"/>
                </a:cubicBezTo>
                <a:cubicBezTo>
                  <a:pt x="1712" y="648"/>
                  <a:pt x="1712" y="648"/>
                  <a:pt x="1712" y="648"/>
                </a:cubicBezTo>
                <a:cubicBezTo>
                  <a:pt x="1713" y="649"/>
                  <a:pt x="1712" y="649"/>
                  <a:pt x="1711" y="649"/>
                </a:cubicBezTo>
                <a:cubicBezTo>
                  <a:pt x="1711" y="649"/>
                  <a:pt x="1711" y="649"/>
                  <a:pt x="1711" y="650"/>
                </a:cubicBezTo>
                <a:cubicBezTo>
                  <a:pt x="1711" y="650"/>
                  <a:pt x="1711" y="650"/>
                  <a:pt x="1711" y="650"/>
                </a:cubicBezTo>
                <a:cubicBezTo>
                  <a:pt x="1712" y="651"/>
                  <a:pt x="1713" y="650"/>
                  <a:pt x="1713" y="650"/>
                </a:cubicBezTo>
                <a:cubicBezTo>
                  <a:pt x="1714" y="650"/>
                  <a:pt x="1714" y="650"/>
                  <a:pt x="1715" y="650"/>
                </a:cubicBezTo>
                <a:cubicBezTo>
                  <a:pt x="1715" y="650"/>
                  <a:pt x="1715" y="650"/>
                  <a:pt x="1716" y="650"/>
                </a:cubicBezTo>
                <a:cubicBezTo>
                  <a:pt x="1717" y="649"/>
                  <a:pt x="1717" y="650"/>
                  <a:pt x="1718" y="650"/>
                </a:cubicBezTo>
                <a:cubicBezTo>
                  <a:pt x="1718" y="651"/>
                  <a:pt x="1718" y="651"/>
                  <a:pt x="1719" y="652"/>
                </a:cubicBezTo>
                <a:cubicBezTo>
                  <a:pt x="1719" y="652"/>
                  <a:pt x="1720" y="653"/>
                  <a:pt x="1720" y="653"/>
                </a:cubicBezTo>
                <a:cubicBezTo>
                  <a:pt x="1720" y="653"/>
                  <a:pt x="1721" y="652"/>
                  <a:pt x="1721" y="652"/>
                </a:cubicBezTo>
                <a:cubicBezTo>
                  <a:pt x="1722" y="652"/>
                  <a:pt x="1723" y="652"/>
                  <a:pt x="1723" y="652"/>
                </a:cubicBezTo>
                <a:cubicBezTo>
                  <a:pt x="1724" y="652"/>
                  <a:pt x="1724" y="651"/>
                  <a:pt x="1725" y="651"/>
                </a:cubicBezTo>
                <a:cubicBezTo>
                  <a:pt x="1725" y="650"/>
                  <a:pt x="1726" y="650"/>
                  <a:pt x="1727" y="650"/>
                </a:cubicBezTo>
                <a:cubicBezTo>
                  <a:pt x="1727" y="650"/>
                  <a:pt x="1727" y="650"/>
                  <a:pt x="1728" y="650"/>
                </a:cubicBezTo>
                <a:cubicBezTo>
                  <a:pt x="1728" y="650"/>
                  <a:pt x="1729" y="650"/>
                  <a:pt x="1729" y="650"/>
                </a:cubicBezTo>
                <a:cubicBezTo>
                  <a:pt x="1731" y="649"/>
                  <a:pt x="1731" y="648"/>
                  <a:pt x="1732" y="648"/>
                </a:cubicBezTo>
                <a:cubicBezTo>
                  <a:pt x="1732" y="648"/>
                  <a:pt x="1731" y="649"/>
                  <a:pt x="1730" y="649"/>
                </a:cubicBezTo>
                <a:cubicBezTo>
                  <a:pt x="1730" y="650"/>
                  <a:pt x="1730" y="650"/>
                  <a:pt x="1729" y="650"/>
                </a:cubicBezTo>
                <a:cubicBezTo>
                  <a:pt x="1729" y="651"/>
                  <a:pt x="1728" y="651"/>
                  <a:pt x="1728" y="652"/>
                </a:cubicBezTo>
                <a:cubicBezTo>
                  <a:pt x="1727" y="653"/>
                  <a:pt x="1726" y="653"/>
                  <a:pt x="1726" y="655"/>
                </a:cubicBezTo>
                <a:cubicBezTo>
                  <a:pt x="1726" y="656"/>
                  <a:pt x="1725" y="656"/>
                  <a:pt x="1724" y="656"/>
                </a:cubicBezTo>
                <a:cubicBezTo>
                  <a:pt x="1723" y="656"/>
                  <a:pt x="1722" y="656"/>
                  <a:pt x="1721" y="655"/>
                </a:cubicBezTo>
                <a:cubicBezTo>
                  <a:pt x="1721" y="655"/>
                  <a:pt x="1720" y="655"/>
                  <a:pt x="1719" y="655"/>
                </a:cubicBezTo>
                <a:cubicBezTo>
                  <a:pt x="1719" y="655"/>
                  <a:pt x="1719" y="655"/>
                  <a:pt x="1719" y="655"/>
                </a:cubicBezTo>
                <a:cubicBezTo>
                  <a:pt x="1718" y="655"/>
                  <a:pt x="1718" y="655"/>
                  <a:pt x="1718" y="655"/>
                </a:cubicBezTo>
                <a:cubicBezTo>
                  <a:pt x="1717" y="655"/>
                  <a:pt x="1717" y="655"/>
                  <a:pt x="1717" y="655"/>
                </a:cubicBezTo>
                <a:cubicBezTo>
                  <a:pt x="1716" y="655"/>
                  <a:pt x="1715" y="656"/>
                  <a:pt x="1714" y="656"/>
                </a:cubicBezTo>
                <a:cubicBezTo>
                  <a:pt x="1713" y="655"/>
                  <a:pt x="1712" y="655"/>
                  <a:pt x="1712" y="656"/>
                </a:cubicBezTo>
                <a:cubicBezTo>
                  <a:pt x="1712" y="657"/>
                  <a:pt x="1712" y="657"/>
                  <a:pt x="1711" y="658"/>
                </a:cubicBezTo>
                <a:cubicBezTo>
                  <a:pt x="1710" y="658"/>
                  <a:pt x="1710" y="658"/>
                  <a:pt x="1709" y="658"/>
                </a:cubicBezTo>
                <a:cubicBezTo>
                  <a:pt x="1709" y="658"/>
                  <a:pt x="1709" y="658"/>
                  <a:pt x="1709" y="659"/>
                </a:cubicBezTo>
                <a:cubicBezTo>
                  <a:pt x="1708" y="659"/>
                  <a:pt x="1709" y="660"/>
                  <a:pt x="1708" y="661"/>
                </a:cubicBezTo>
                <a:cubicBezTo>
                  <a:pt x="1708" y="662"/>
                  <a:pt x="1708" y="662"/>
                  <a:pt x="1708" y="662"/>
                </a:cubicBezTo>
                <a:cubicBezTo>
                  <a:pt x="1707" y="663"/>
                  <a:pt x="1707" y="663"/>
                  <a:pt x="1707" y="663"/>
                </a:cubicBezTo>
                <a:cubicBezTo>
                  <a:pt x="1707" y="664"/>
                  <a:pt x="1706" y="664"/>
                  <a:pt x="1706" y="665"/>
                </a:cubicBezTo>
                <a:cubicBezTo>
                  <a:pt x="1706" y="665"/>
                  <a:pt x="1706" y="665"/>
                  <a:pt x="1705" y="665"/>
                </a:cubicBezTo>
                <a:cubicBezTo>
                  <a:pt x="1705" y="665"/>
                  <a:pt x="1705" y="665"/>
                  <a:pt x="1705" y="665"/>
                </a:cubicBezTo>
                <a:cubicBezTo>
                  <a:pt x="1704" y="665"/>
                  <a:pt x="1704" y="665"/>
                  <a:pt x="1704" y="666"/>
                </a:cubicBezTo>
                <a:cubicBezTo>
                  <a:pt x="1704" y="666"/>
                  <a:pt x="1704" y="666"/>
                  <a:pt x="1704" y="667"/>
                </a:cubicBezTo>
                <a:cubicBezTo>
                  <a:pt x="1703" y="667"/>
                  <a:pt x="1703" y="667"/>
                  <a:pt x="1703" y="667"/>
                </a:cubicBezTo>
                <a:cubicBezTo>
                  <a:pt x="1702" y="667"/>
                  <a:pt x="1701" y="668"/>
                  <a:pt x="1701" y="668"/>
                </a:cubicBezTo>
                <a:cubicBezTo>
                  <a:pt x="1700" y="669"/>
                  <a:pt x="1700" y="669"/>
                  <a:pt x="1699" y="670"/>
                </a:cubicBezTo>
                <a:cubicBezTo>
                  <a:pt x="1698" y="670"/>
                  <a:pt x="1698" y="670"/>
                  <a:pt x="1697" y="670"/>
                </a:cubicBezTo>
                <a:cubicBezTo>
                  <a:pt x="1697" y="671"/>
                  <a:pt x="1697" y="671"/>
                  <a:pt x="1696" y="672"/>
                </a:cubicBezTo>
                <a:cubicBezTo>
                  <a:pt x="1696" y="672"/>
                  <a:pt x="1694" y="672"/>
                  <a:pt x="1694" y="673"/>
                </a:cubicBezTo>
                <a:cubicBezTo>
                  <a:pt x="1694" y="673"/>
                  <a:pt x="1696" y="673"/>
                  <a:pt x="1697" y="673"/>
                </a:cubicBezTo>
                <a:cubicBezTo>
                  <a:pt x="1697" y="673"/>
                  <a:pt x="1698" y="673"/>
                  <a:pt x="1698" y="673"/>
                </a:cubicBezTo>
                <a:cubicBezTo>
                  <a:pt x="1699" y="673"/>
                  <a:pt x="1700" y="673"/>
                  <a:pt x="1700" y="674"/>
                </a:cubicBezTo>
                <a:cubicBezTo>
                  <a:pt x="1700" y="674"/>
                  <a:pt x="1700" y="675"/>
                  <a:pt x="1701" y="675"/>
                </a:cubicBezTo>
                <a:cubicBezTo>
                  <a:pt x="1701" y="675"/>
                  <a:pt x="1701" y="675"/>
                  <a:pt x="1701" y="674"/>
                </a:cubicBezTo>
                <a:cubicBezTo>
                  <a:pt x="1701" y="674"/>
                  <a:pt x="1702" y="673"/>
                  <a:pt x="1702" y="673"/>
                </a:cubicBezTo>
                <a:cubicBezTo>
                  <a:pt x="1702" y="672"/>
                  <a:pt x="1703" y="671"/>
                  <a:pt x="1704" y="671"/>
                </a:cubicBezTo>
                <a:cubicBezTo>
                  <a:pt x="1704" y="671"/>
                  <a:pt x="1704" y="671"/>
                  <a:pt x="1705" y="671"/>
                </a:cubicBezTo>
                <a:cubicBezTo>
                  <a:pt x="1705" y="671"/>
                  <a:pt x="1706" y="671"/>
                  <a:pt x="1706" y="670"/>
                </a:cubicBezTo>
                <a:cubicBezTo>
                  <a:pt x="1706" y="670"/>
                  <a:pt x="1706" y="670"/>
                  <a:pt x="1707" y="670"/>
                </a:cubicBezTo>
                <a:cubicBezTo>
                  <a:pt x="1708" y="669"/>
                  <a:pt x="1708" y="670"/>
                  <a:pt x="1709" y="670"/>
                </a:cubicBezTo>
                <a:cubicBezTo>
                  <a:pt x="1709" y="669"/>
                  <a:pt x="1710" y="669"/>
                  <a:pt x="1710" y="669"/>
                </a:cubicBezTo>
                <a:cubicBezTo>
                  <a:pt x="1711" y="669"/>
                  <a:pt x="1712" y="670"/>
                  <a:pt x="1712" y="669"/>
                </a:cubicBezTo>
                <a:cubicBezTo>
                  <a:pt x="1713" y="669"/>
                  <a:pt x="1712" y="669"/>
                  <a:pt x="1712" y="668"/>
                </a:cubicBezTo>
                <a:cubicBezTo>
                  <a:pt x="1712" y="668"/>
                  <a:pt x="1713" y="668"/>
                  <a:pt x="1713" y="668"/>
                </a:cubicBezTo>
                <a:cubicBezTo>
                  <a:pt x="1713" y="669"/>
                  <a:pt x="1713" y="669"/>
                  <a:pt x="1713" y="669"/>
                </a:cubicBezTo>
                <a:cubicBezTo>
                  <a:pt x="1714" y="669"/>
                  <a:pt x="1714" y="669"/>
                  <a:pt x="1715" y="669"/>
                </a:cubicBezTo>
                <a:cubicBezTo>
                  <a:pt x="1715" y="669"/>
                  <a:pt x="1715" y="670"/>
                  <a:pt x="1715" y="670"/>
                </a:cubicBezTo>
                <a:cubicBezTo>
                  <a:pt x="1716" y="670"/>
                  <a:pt x="1716" y="671"/>
                  <a:pt x="1716" y="671"/>
                </a:cubicBezTo>
                <a:cubicBezTo>
                  <a:pt x="1716" y="671"/>
                  <a:pt x="1717" y="671"/>
                  <a:pt x="1717" y="671"/>
                </a:cubicBezTo>
                <a:cubicBezTo>
                  <a:pt x="1717" y="671"/>
                  <a:pt x="1718" y="672"/>
                  <a:pt x="1718" y="671"/>
                </a:cubicBezTo>
                <a:cubicBezTo>
                  <a:pt x="1718" y="671"/>
                  <a:pt x="1718" y="670"/>
                  <a:pt x="1718" y="669"/>
                </a:cubicBezTo>
                <a:cubicBezTo>
                  <a:pt x="1719" y="669"/>
                  <a:pt x="1719" y="669"/>
                  <a:pt x="1719" y="668"/>
                </a:cubicBezTo>
                <a:cubicBezTo>
                  <a:pt x="1719" y="668"/>
                  <a:pt x="1719" y="668"/>
                  <a:pt x="1720" y="667"/>
                </a:cubicBezTo>
                <a:cubicBezTo>
                  <a:pt x="1720" y="667"/>
                  <a:pt x="1721" y="666"/>
                  <a:pt x="1721" y="665"/>
                </a:cubicBezTo>
                <a:cubicBezTo>
                  <a:pt x="1721" y="665"/>
                  <a:pt x="1720" y="665"/>
                  <a:pt x="1720" y="664"/>
                </a:cubicBezTo>
                <a:cubicBezTo>
                  <a:pt x="1720" y="664"/>
                  <a:pt x="1720" y="663"/>
                  <a:pt x="1721" y="663"/>
                </a:cubicBezTo>
                <a:cubicBezTo>
                  <a:pt x="1722" y="663"/>
                  <a:pt x="1722" y="664"/>
                  <a:pt x="1723" y="664"/>
                </a:cubicBezTo>
                <a:cubicBezTo>
                  <a:pt x="1724" y="664"/>
                  <a:pt x="1725" y="663"/>
                  <a:pt x="1726" y="663"/>
                </a:cubicBezTo>
                <a:cubicBezTo>
                  <a:pt x="1727" y="663"/>
                  <a:pt x="1727" y="664"/>
                  <a:pt x="1728" y="664"/>
                </a:cubicBezTo>
                <a:cubicBezTo>
                  <a:pt x="1729" y="664"/>
                  <a:pt x="1729" y="664"/>
                  <a:pt x="1729" y="664"/>
                </a:cubicBezTo>
                <a:cubicBezTo>
                  <a:pt x="1731" y="664"/>
                  <a:pt x="1731" y="665"/>
                  <a:pt x="1731" y="666"/>
                </a:cubicBezTo>
                <a:cubicBezTo>
                  <a:pt x="1731" y="666"/>
                  <a:pt x="1732" y="666"/>
                  <a:pt x="1732" y="666"/>
                </a:cubicBezTo>
                <a:cubicBezTo>
                  <a:pt x="1732" y="667"/>
                  <a:pt x="1732" y="666"/>
                  <a:pt x="1732" y="666"/>
                </a:cubicBezTo>
                <a:cubicBezTo>
                  <a:pt x="1732" y="665"/>
                  <a:pt x="1733" y="665"/>
                  <a:pt x="1733" y="665"/>
                </a:cubicBezTo>
                <a:cubicBezTo>
                  <a:pt x="1734" y="665"/>
                  <a:pt x="1735" y="665"/>
                  <a:pt x="1736" y="665"/>
                </a:cubicBezTo>
                <a:cubicBezTo>
                  <a:pt x="1736" y="665"/>
                  <a:pt x="1737" y="665"/>
                  <a:pt x="1737" y="665"/>
                </a:cubicBezTo>
                <a:cubicBezTo>
                  <a:pt x="1738" y="665"/>
                  <a:pt x="1738" y="665"/>
                  <a:pt x="1738" y="665"/>
                </a:cubicBezTo>
                <a:cubicBezTo>
                  <a:pt x="1738" y="664"/>
                  <a:pt x="1738" y="664"/>
                  <a:pt x="1738" y="664"/>
                </a:cubicBezTo>
                <a:cubicBezTo>
                  <a:pt x="1737" y="664"/>
                  <a:pt x="1737" y="663"/>
                  <a:pt x="1737" y="663"/>
                </a:cubicBezTo>
                <a:cubicBezTo>
                  <a:pt x="1736" y="662"/>
                  <a:pt x="1738" y="663"/>
                  <a:pt x="1738" y="663"/>
                </a:cubicBezTo>
                <a:cubicBezTo>
                  <a:pt x="1739" y="663"/>
                  <a:pt x="1739" y="663"/>
                  <a:pt x="1739" y="663"/>
                </a:cubicBezTo>
                <a:cubicBezTo>
                  <a:pt x="1740" y="663"/>
                  <a:pt x="1741" y="664"/>
                  <a:pt x="1742" y="663"/>
                </a:cubicBezTo>
                <a:cubicBezTo>
                  <a:pt x="1742" y="663"/>
                  <a:pt x="1742" y="662"/>
                  <a:pt x="1742" y="662"/>
                </a:cubicBezTo>
                <a:cubicBezTo>
                  <a:pt x="1742" y="662"/>
                  <a:pt x="1743" y="662"/>
                  <a:pt x="1743" y="662"/>
                </a:cubicBezTo>
                <a:cubicBezTo>
                  <a:pt x="1743" y="661"/>
                  <a:pt x="1743" y="661"/>
                  <a:pt x="1744" y="660"/>
                </a:cubicBezTo>
                <a:cubicBezTo>
                  <a:pt x="1744" y="660"/>
                  <a:pt x="1745" y="660"/>
                  <a:pt x="1745" y="661"/>
                </a:cubicBezTo>
                <a:cubicBezTo>
                  <a:pt x="1746" y="661"/>
                  <a:pt x="1747" y="661"/>
                  <a:pt x="1747" y="661"/>
                </a:cubicBezTo>
                <a:cubicBezTo>
                  <a:pt x="1747" y="662"/>
                  <a:pt x="1747" y="662"/>
                  <a:pt x="1748" y="662"/>
                </a:cubicBezTo>
                <a:cubicBezTo>
                  <a:pt x="1748" y="662"/>
                  <a:pt x="1748" y="661"/>
                  <a:pt x="1748" y="661"/>
                </a:cubicBezTo>
                <a:cubicBezTo>
                  <a:pt x="1749" y="661"/>
                  <a:pt x="1749" y="662"/>
                  <a:pt x="1750" y="662"/>
                </a:cubicBezTo>
                <a:cubicBezTo>
                  <a:pt x="1750" y="662"/>
                  <a:pt x="1750" y="662"/>
                  <a:pt x="1750" y="662"/>
                </a:cubicBezTo>
                <a:cubicBezTo>
                  <a:pt x="1750" y="663"/>
                  <a:pt x="1750" y="663"/>
                  <a:pt x="1751" y="663"/>
                </a:cubicBezTo>
                <a:cubicBezTo>
                  <a:pt x="1751" y="663"/>
                  <a:pt x="1751" y="663"/>
                  <a:pt x="1752" y="663"/>
                </a:cubicBezTo>
                <a:cubicBezTo>
                  <a:pt x="1752" y="663"/>
                  <a:pt x="1752" y="662"/>
                  <a:pt x="1753" y="662"/>
                </a:cubicBezTo>
                <a:cubicBezTo>
                  <a:pt x="1753" y="662"/>
                  <a:pt x="1754" y="662"/>
                  <a:pt x="1754" y="662"/>
                </a:cubicBezTo>
                <a:cubicBezTo>
                  <a:pt x="1755" y="662"/>
                  <a:pt x="1755" y="662"/>
                  <a:pt x="1755" y="662"/>
                </a:cubicBezTo>
                <a:cubicBezTo>
                  <a:pt x="1756" y="661"/>
                  <a:pt x="1758" y="661"/>
                  <a:pt x="1759" y="662"/>
                </a:cubicBezTo>
                <a:cubicBezTo>
                  <a:pt x="1760" y="662"/>
                  <a:pt x="1760" y="662"/>
                  <a:pt x="1761" y="662"/>
                </a:cubicBezTo>
                <a:cubicBezTo>
                  <a:pt x="1761" y="662"/>
                  <a:pt x="1762" y="663"/>
                  <a:pt x="1762" y="663"/>
                </a:cubicBezTo>
                <a:cubicBezTo>
                  <a:pt x="1763" y="663"/>
                  <a:pt x="1764" y="662"/>
                  <a:pt x="1765" y="662"/>
                </a:cubicBezTo>
                <a:cubicBezTo>
                  <a:pt x="1766" y="662"/>
                  <a:pt x="1766" y="662"/>
                  <a:pt x="1767" y="661"/>
                </a:cubicBezTo>
                <a:cubicBezTo>
                  <a:pt x="1768" y="661"/>
                  <a:pt x="1769" y="660"/>
                  <a:pt x="1770" y="660"/>
                </a:cubicBezTo>
                <a:cubicBezTo>
                  <a:pt x="1770" y="660"/>
                  <a:pt x="1771" y="660"/>
                  <a:pt x="1772" y="659"/>
                </a:cubicBezTo>
                <a:cubicBezTo>
                  <a:pt x="1772" y="659"/>
                  <a:pt x="1773" y="658"/>
                  <a:pt x="1774" y="658"/>
                </a:cubicBezTo>
                <a:cubicBezTo>
                  <a:pt x="1774" y="657"/>
                  <a:pt x="1775" y="657"/>
                  <a:pt x="1775" y="657"/>
                </a:cubicBezTo>
                <a:cubicBezTo>
                  <a:pt x="1776" y="656"/>
                  <a:pt x="1775" y="655"/>
                  <a:pt x="1776" y="654"/>
                </a:cubicBezTo>
                <a:cubicBezTo>
                  <a:pt x="1776" y="654"/>
                  <a:pt x="1776" y="654"/>
                  <a:pt x="1777" y="653"/>
                </a:cubicBezTo>
                <a:cubicBezTo>
                  <a:pt x="1777" y="652"/>
                  <a:pt x="1776" y="653"/>
                  <a:pt x="1776" y="653"/>
                </a:cubicBezTo>
                <a:cubicBezTo>
                  <a:pt x="1775" y="653"/>
                  <a:pt x="1775" y="653"/>
                  <a:pt x="1775" y="653"/>
                </a:cubicBezTo>
                <a:cubicBezTo>
                  <a:pt x="1775" y="653"/>
                  <a:pt x="1774" y="653"/>
                  <a:pt x="1774" y="653"/>
                </a:cubicBezTo>
                <a:cubicBezTo>
                  <a:pt x="1774" y="653"/>
                  <a:pt x="1773" y="653"/>
                  <a:pt x="1773" y="653"/>
                </a:cubicBezTo>
                <a:cubicBezTo>
                  <a:pt x="1773" y="653"/>
                  <a:pt x="1772" y="652"/>
                  <a:pt x="1772" y="652"/>
                </a:cubicBezTo>
                <a:cubicBezTo>
                  <a:pt x="1771" y="652"/>
                  <a:pt x="1771" y="652"/>
                  <a:pt x="1770" y="652"/>
                </a:cubicBezTo>
                <a:cubicBezTo>
                  <a:pt x="1769" y="653"/>
                  <a:pt x="1768" y="652"/>
                  <a:pt x="1767" y="652"/>
                </a:cubicBezTo>
                <a:cubicBezTo>
                  <a:pt x="1767" y="652"/>
                  <a:pt x="1766" y="653"/>
                  <a:pt x="1765" y="652"/>
                </a:cubicBezTo>
                <a:cubicBezTo>
                  <a:pt x="1765" y="652"/>
                  <a:pt x="1765" y="652"/>
                  <a:pt x="1766" y="652"/>
                </a:cubicBezTo>
                <a:cubicBezTo>
                  <a:pt x="1766" y="652"/>
                  <a:pt x="1766" y="651"/>
                  <a:pt x="1767" y="651"/>
                </a:cubicBezTo>
                <a:cubicBezTo>
                  <a:pt x="1767" y="650"/>
                  <a:pt x="1768" y="652"/>
                  <a:pt x="1769" y="651"/>
                </a:cubicBezTo>
                <a:cubicBezTo>
                  <a:pt x="1769" y="651"/>
                  <a:pt x="1769" y="651"/>
                  <a:pt x="1770" y="650"/>
                </a:cubicBezTo>
                <a:cubicBezTo>
                  <a:pt x="1770" y="650"/>
                  <a:pt x="1770" y="650"/>
                  <a:pt x="1770" y="650"/>
                </a:cubicBezTo>
                <a:cubicBezTo>
                  <a:pt x="1771" y="649"/>
                  <a:pt x="1771" y="649"/>
                  <a:pt x="1770" y="649"/>
                </a:cubicBezTo>
                <a:cubicBezTo>
                  <a:pt x="1770" y="649"/>
                  <a:pt x="1770" y="649"/>
                  <a:pt x="1769" y="649"/>
                </a:cubicBezTo>
                <a:cubicBezTo>
                  <a:pt x="1769" y="649"/>
                  <a:pt x="1768" y="649"/>
                  <a:pt x="1769" y="649"/>
                </a:cubicBezTo>
                <a:cubicBezTo>
                  <a:pt x="1769" y="648"/>
                  <a:pt x="1769" y="648"/>
                  <a:pt x="1770" y="648"/>
                </a:cubicBezTo>
                <a:cubicBezTo>
                  <a:pt x="1770" y="648"/>
                  <a:pt x="1769" y="648"/>
                  <a:pt x="1770" y="647"/>
                </a:cubicBezTo>
                <a:cubicBezTo>
                  <a:pt x="1770" y="647"/>
                  <a:pt x="1770" y="647"/>
                  <a:pt x="1770" y="647"/>
                </a:cubicBezTo>
                <a:cubicBezTo>
                  <a:pt x="1770" y="647"/>
                  <a:pt x="1771" y="647"/>
                  <a:pt x="1771" y="647"/>
                </a:cubicBezTo>
                <a:cubicBezTo>
                  <a:pt x="1772" y="647"/>
                  <a:pt x="1772" y="647"/>
                  <a:pt x="1772" y="647"/>
                </a:cubicBezTo>
                <a:cubicBezTo>
                  <a:pt x="1773" y="647"/>
                  <a:pt x="1773" y="648"/>
                  <a:pt x="1774" y="647"/>
                </a:cubicBezTo>
                <a:cubicBezTo>
                  <a:pt x="1774" y="647"/>
                  <a:pt x="1774" y="646"/>
                  <a:pt x="1774" y="646"/>
                </a:cubicBezTo>
                <a:cubicBezTo>
                  <a:pt x="1774" y="646"/>
                  <a:pt x="1773" y="645"/>
                  <a:pt x="1773" y="645"/>
                </a:cubicBezTo>
                <a:cubicBezTo>
                  <a:pt x="1773" y="645"/>
                  <a:pt x="1772" y="645"/>
                  <a:pt x="1773" y="644"/>
                </a:cubicBezTo>
                <a:cubicBezTo>
                  <a:pt x="1773" y="644"/>
                  <a:pt x="1774" y="645"/>
                  <a:pt x="1774" y="645"/>
                </a:cubicBezTo>
                <a:cubicBezTo>
                  <a:pt x="1775" y="645"/>
                  <a:pt x="1775" y="644"/>
                  <a:pt x="1776" y="644"/>
                </a:cubicBezTo>
                <a:cubicBezTo>
                  <a:pt x="1776" y="643"/>
                  <a:pt x="1777" y="643"/>
                  <a:pt x="1777" y="643"/>
                </a:cubicBezTo>
                <a:cubicBezTo>
                  <a:pt x="1778" y="643"/>
                  <a:pt x="1779" y="642"/>
                  <a:pt x="1779" y="641"/>
                </a:cubicBezTo>
                <a:cubicBezTo>
                  <a:pt x="1779" y="640"/>
                  <a:pt x="1779" y="640"/>
                  <a:pt x="1779" y="640"/>
                </a:cubicBezTo>
                <a:cubicBezTo>
                  <a:pt x="1779" y="639"/>
                  <a:pt x="1780" y="638"/>
                  <a:pt x="1780" y="637"/>
                </a:cubicBezTo>
                <a:cubicBezTo>
                  <a:pt x="1780" y="637"/>
                  <a:pt x="1780" y="637"/>
                  <a:pt x="1780" y="636"/>
                </a:cubicBezTo>
                <a:cubicBezTo>
                  <a:pt x="1780" y="636"/>
                  <a:pt x="1780" y="636"/>
                  <a:pt x="1780" y="635"/>
                </a:cubicBezTo>
                <a:cubicBezTo>
                  <a:pt x="1780" y="634"/>
                  <a:pt x="1780" y="634"/>
                  <a:pt x="1779" y="633"/>
                </a:cubicBezTo>
                <a:cubicBezTo>
                  <a:pt x="1779" y="632"/>
                  <a:pt x="1777" y="631"/>
                  <a:pt x="1776" y="630"/>
                </a:cubicBezTo>
                <a:cubicBezTo>
                  <a:pt x="1775" y="630"/>
                  <a:pt x="1774" y="630"/>
                  <a:pt x="1774" y="629"/>
                </a:cubicBezTo>
                <a:cubicBezTo>
                  <a:pt x="1773" y="629"/>
                  <a:pt x="1772" y="629"/>
                  <a:pt x="1772" y="629"/>
                </a:cubicBezTo>
                <a:cubicBezTo>
                  <a:pt x="1771" y="629"/>
                  <a:pt x="1770" y="629"/>
                  <a:pt x="1770" y="629"/>
                </a:cubicBezTo>
                <a:cubicBezTo>
                  <a:pt x="1769" y="629"/>
                  <a:pt x="1768" y="628"/>
                  <a:pt x="1768" y="628"/>
                </a:cubicBezTo>
                <a:cubicBezTo>
                  <a:pt x="1767" y="629"/>
                  <a:pt x="1767" y="629"/>
                  <a:pt x="1766" y="630"/>
                </a:cubicBezTo>
                <a:cubicBezTo>
                  <a:pt x="1765" y="630"/>
                  <a:pt x="1765" y="630"/>
                  <a:pt x="1764" y="631"/>
                </a:cubicBezTo>
                <a:cubicBezTo>
                  <a:pt x="1764" y="631"/>
                  <a:pt x="1763" y="632"/>
                  <a:pt x="1763" y="632"/>
                </a:cubicBezTo>
                <a:cubicBezTo>
                  <a:pt x="1763" y="631"/>
                  <a:pt x="1762" y="630"/>
                  <a:pt x="1761" y="630"/>
                </a:cubicBezTo>
                <a:cubicBezTo>
                  <a:pt x="1761" y="630"/>
                  <a:pt x="1759" y="630"/>
                  <a:pt x="1760" y="630"/>
                </a:cubicBezTo>
                <a:cubicBezTo>
                  <a:pt x="1761" y="630"/>
                  <a:pt x="1761" y="629"/>
                  <a:pt x="1762" y="628"/>
                </a:cubicBezTo>
                <a:cubicBezTo>
                  <a:pt x="1764" y="627"/>
                  <a:pt x="1764" y="626"/>
                  <a:pt x="1763" y="624"/>
                </a:cubicBezTo>
                <a:cubicBezTo>
                  <a:pt x="1763" y="623"/>
                  <a:pt x="1762" y="623"/>
                  <a:pt x="1761" y="622"/>
                </a:cubicBezTo>
                <a:cubicBezTo>
                  <a:pt x="1761" y="622"/>
                  <a:pt x="1760" y="621"/>
                  <a:pt x="1760" y="621"/>
                </a:cubicBezTo>
                <a:cubicBezTo>
                  <a:pt x="1759" y="620"/>
                  <a:pt x="1758" y="620"/>
                  <a:pt x="1758" y="619"/>
                </a:cubicBezTo>
                <a:cubicBezTo>
                  <a:pt x="1758" y="619"/>
                  <a:pt x="1757" y="618"/>
                  <a:pt x="1757" y="618"/>
                </a:cubicBezTo>
                <a:cubicBezTo>
                  <a:pt x="1757" y="618"/>
                  <a:pt x="1756" y="618"/>
                  <a:pt x="1756" y="617"/>
                </a:cubicBezTo>
                <a:cubicBezTo>
                  <a:pt x="1756" y="617"/>
                  <a:pt x="1754" y="617"/>
                  <a:pt x="1755" y="617"/>
                </a:cubicBezTo>
                <a:cubicBezTo>
                  <a:pt x="1755" y="617"/>
                  <a:pt x="1756" y="617"/>
                  <a:pt x="1756" y="617"/>
                </a:cubicBezTo>
                <a:cubicBezTo>
                  <a:pt x="1757" y="617"/>
                  <a:pt x="1758" y="618"/>
                  <a:pt x="1758" y="618"/>
                </a:cubicBezTo>
                <a:cubicBezTo>
                  <a:pt x="1759" y="618"/>
                  <a:pt x="1759" y="618"/>
                  <a:pt x="1759" y="618"/>
                </a:cubicBezTo>
                <a:cubicBezTo>
                  <a:pt x="1760" y="618"/>
                  <a:pt x="1760" y="619"/>
                  <a:pt x="1760" y="619"/>
                </a:cubicBezTo>
                <a:cubicBezTo>
                  <a:pt x="1761" y="620"/>
                  <a:pt x="1761" y="619"/>
                  <a:pt x="1761" y="618"/>
                </a:cubicBezTo>
                <a:cubicBezTo>
                  <a:pt x="1760" y="617"/>
                  <a:pt x="1760" y="617"/>
                  <a:pt x="1760" y="616"/>
                </a:cubicBezTo>
                <a:cubicBezTo>
                  <a:pt x="1760" y="615"/>
                  <a:pt x="1760" y="614"/>
                  <a:pt x="1759" y="614"/>
                </a:cubicBezTo>
                <a:cubicBezTo>
                  <a:pt x="1759" y="613"/>
                  <a:pt x="1758" y="612"/>
                  <a:pt x="1758" y="611"/>
                </a:cubicBezTo>
                <a:cubicBezTo>
                  <a:pt x="1758" y="611"/>
                  <a:pt x="1758" y="611"/>
                  <a:pt x="1758" y="610"/>
                </a:cubicBezTo>
                <a:cubicBezTo>
                  <a:pt x="1757" y="610"/>
                  <a:pt x="1757" y="610"/>
                  <a:pt x="1756" y="609"/>
                </a:cubicBezTo>
                <a:cubicBezTo>
                  <a:pt x="1755" y="608"/>
                  <a:pt x="1755" y="608"/>
                  <a:pt x="1754" y="607"/>
                </a:cubicBezTo>
                <a:cubicBezTo>
                  <a:pt x="1754" y="606"/>
                  <a:pt x="1753" y="606"/>
                  <a:pt x="1752" y="605"/>
                </a:cubicBezTo>
                <a:cubicBezTo>
                  <a:pt x="1752" y="605"/>
                  <a:pt x="1752" y="605"/>
                  <a:pt x="1752" y="604"/>
                </a:cubicBezTo>
                <a:cubicBezTo>
                  <a:pt x="1752" y="604"/>
                  <a:pt x="1751" y="604"/>
                  <a:pt x="1751" y="604"/>
                </a:cubicBezTo>
                <a:cubicBezTo>
                  <a:pt x="1750" y="604"/>
                  <a:pt x="1750" y="604"/>
                  <a:pt x="1750" y="603"/>
                </a:cubicBezTo>
                <a:cubicBezTo>
                  <a:pt x="1749" y="603"/>
                  <a:pt x="1749" y="603"/>
                  <a:pt x="1749" y="603"/>
                </a:cubicBezTo>
                <a:cubicBezTo>
                  <a:pt x="1748" y="603"/>
                  <a:pt x="1748" y="603"/>
                  <a:pt x="1747" y="603"/>
                </a:cubicBezTo>
                <a:cubicBezTo>
                  <a:pt x="1746" y="602"/>
                  <a:pt x="1746" y="602"/>
                  <a:pt x="1745" y="602"/>
                </a:cubicBezTo>
                <a:cubicBezTo>
                  <a:pt x="1745" y="601"/>
                  <a:pt x="1744" y="600"/>
                  <a:pt x="1744" y="599"/>
                </a:cubicBezTo>
                <a:cubicBezTo>
                  <a:pt x="1744" y="599"/>
                  <a:pt x="1744" y="598"/>
                  <a:pt x="1743" y="598"/>
                </a:cubicBezTo>
                <a:cubicBezTo>
                  <a:pt x="1743" y="597"/>
                  <a:pt x="1743" y="596"/>
                  <a:pt x="1743" y="596"/>
                </a:cubicBezTo>
                <a:cubicBezTo>
                  <a:pt x="1743" y="595"/>
                  <a:pt x="1742" y="594"/>
                  <a:pt x="1742" y="593"/>
                </a:cubicBezTo>
                <a:cubicBezTo>
                  <a:pt x="1742" y="592"/>
                  <a:pt x="1742" y="591"/>
                  <a:pt x="1742" y="590"/>
                </a:cubicBezTo>
                <a:cubicBezTo>
                  <a:pt x="1741" y="589"/>
                  <a:pt x="1740" y="587"/>
                  <a:pt x="1739" y="586"/>
                </a:cubicBezTo>
                <a:cubicBezTo>
                  <a:pt x="1738" y="586"/>
                  <a:pt x="1738" y="585"/>
                  <a:pt x="1737" y="585"/>
                </a:cubicBezTo>
                <a:cubicBezTo>
                  <a:pt x="1736" y="584"/>
                  <a:pt x="1736" y="584"/>
                  <a:pt x="1735" y="584"/>
                </a:cubicBezTo>
                <a:cubicBezTo>
                  <a:pt x="1734" y="584"/>
                  <a:pt x="1733" y="583"/>
                  <a:pt x="1732" y="582"/>
                </a:cubicBezTo>
                <a:cubicBezTo>
                  <a:pt x="1731" y="581"/>
                  <a:pt x="1730" y="582"/>
                  <a:pt x="1728" y="581"/>
                </a:cubicBezTo>
                <a:cubicBezTo>
                  <a:pt x="1728" y="581"/>
                  <a:pt x="1728" y="581"/>
                  <a:pt x="1727" y="581"/>
                </a:cubicBezTo>
                <a:cubicBezTo>
                  <a:pt x="1726" y="581"/>
                  <a:pt x="1725" y="581"/>
                  <a:pt x="1724" y="581"/>
                </a:cubicBezTo>
                <a:cubicBezTo>
                  <a:pt x="1724" y="581"/>
                  <a:pt x="1723" y="581"/>
                  <a:pt x="1723" y="581"/>
                </a:cubicBezTo>
                <a:cubicBezTo>
                  <a:pt x="1722" y="581"/>
                  <a:pt x="1722" y="581"/>
                  <a:pt x="1722" y="581"/>
                </a:cubicBezTo>
                <a:cubicBezTo>
                  <a:pt x="1721" y="581"/>
                  <a:pt x="1721" y="581"/>
                  <a:pt x="1721" y="581"/>
                </a:cubicBezTo>
                <a:cubicBezTo>
                  <a:pt x="1720" y="581"/>
                  <a:pt x="1720" y="580"/>
                  <a:pt x="1721" y="580"/>
                </a:cubicBezTo>
                <a:cubicBezTo>
                  <a:pt x="1721" y="581"/>
                  <a:pt x="1722" y="581"/>
                  <a:pt x="1723" y="580"/>
                </a:cubicBezTo>
                <a:cubicBezTo>
                  <a:pt x="1723" y="580"/>
                  <a:pt x="1724" y="580"/>
                  <a:pt x="1725" y="579"/>
                </a:cubicBezTo>
                <a:cubicBezTo>
                  <a:pt x="1726" y="579"/>
                  <a:pt x="1725" y="578"/>
                  <a:pt x="1726" y="578"/>
                </a:cubicBezTo>
                <a:cubicBezTo>
                  <a:pt x="1727" y="578"/>
                  <a:pt x="1728" y="579"/>
                  <a:pt x="1729" y="578"/>
                </a:cubicBezTo>
                <a:cubicBezTo>
                  <a:pt x="1729" y="578"/>
                  <a:pt x="1729" y="577"/>
                  <a:pt x="1729" y="577"/>
                </a:cubicBezTo>
                <a:cubicBezTo>
                  <a:pt x="1729" y="577"/>
                  <a:pt x="1729" y="577"/>
                  <a:pt x="1729" y="577"/>
                </a:cubicBezTo>
                <a:cubicBezTo>
                  <a:pt x="1729" y="576"/>
                  <a:pt x="1729" y="576"/>
                  <a:pt x="1728" y="575"/>
                </a:cubicBezTo>
                <a:cubicBezTo>
                  <a:pt x="1728" y="575"/>
                  <a:pt x="1728" y="574"/>
                  <a:pt x="1728" y="574"/>
                </a:cubicBezTo>
                <a:cubicBezTo>
                  <a:pt x="1727" y="574"/>
                  <a:pt x="1726" y="575"/>
                  <a:pt x="1726" y="574"/>
                </a:cubicBezTo>
                <a:cubicBezTo>
                  <a:pt x="1726" y="574"/>
                  <a:pt x="1727" y="574"/>
                  <a:pt x="1728" y="574"/>
                </a:cubicBezTo>
                <a:cubicBezTo>
                  <a:pt x="1728" y="574"/>
                  <a:pt x="1728" y="574"/>
                  <a:pt x="1729" y="573"/>
                </a:cubicBezTo>
                <a:cubicBezTo>
                  <a:pt x="1729" y="573"/>
                  <a:pt x="1730" y="573"/>
                  <a:pt x="1730" y="572"/>
                </a:cubicBezTo>
                <a:cubicBezTo>
                  <a:pt x="1730" y="572"/>
                  <a:pt x="1730" y="572"/>
                  <a:pt x="1731" y="571"/>
                </a:cubicBezTo>
                <a:cubicBezTo>
                  <a:pt x="1731" y="570"/>
                  <a:pt x="1732" y="570"/>
                  <a:pt x="1732" y="569"/>
                </a:cubicBezTo>
                <a:cubicBezTo>
                  <a:pt x="1733" y="569"/>
                  <a:pt x="1734" y="568"/>
                  <a:pt x="1734" y="567"/>
                </a:cubicBezTo>
                <a:cubicBezTo>
                  <a:pt x="1735" y="566"/>
                  <a:pt x="1735" y="565"/>
                  <a:pt x="1735" y="565"/>
                </a:cubicBezTo>
                <a:cubicBezTo>
                  <a:pt x="1736" y="564"/>
                  <a:pt x="1736" y="564"/>
                  <a:pt x="1737" y="563"/>
                </a:cubicBezTo>
                <a:cubicBezTo>
                  <a:pt x="1737" y="562"/>
                  <a:pt x="1737" y="561"/>
                  <a:pt x="1737" y="561"/>
                </a:cubicBezTo>
                <a:cubicBezTo>
                  <a:pt x="1737" y="560"/>
                  <a:pt x="1738" y="560"/>
                  <a:pt x="1738" y="560"/>
                </a:cubicBezTo>
                <a:cubicBezTo>
                  <a:pt x="1738" y="559"/>
                  <a:pt x="1738" y="559"/>
                  <a:pt x="1738" y="558"/>
                </a:cubicBezTo>
                <a:cubicBezTo>
                  <a:pt x="1738" y="558"/>
                  <a:pt x="1739" y="558"/>
                  <a:pt x="1739" y="558"/>
                </a:cubicBezTo>
                <a:cubicBezTo>
                  <a:pt x="1739" y="557"/>
                  <a:pt x="1740" y="556"/>
                  <a:pt x="1739" y="555"/>
                </a:cubicBezTo>
                <a:cubicBezTo>
                  <a:pt x="1739" y="555"/>
                  <a:pt x="1738" y="555"/>
                  <a:pt x="1737" y="555"/>
                </a:cubicBezTo>
                <a:cubicBezTo>
                  <a:pt x="1736" y="555"/>
                  <a:pt x="1736" y="555"/>
                  <a:pt x="1735" y="555"/>
                </a:cubicBezTo>
                <a:cubicBezTo>
                  <a:pt x="1735" y="555"/>
                  <a:pt x="1734" y="555"/>
                  <a:pt x="1734" y="555"/>
                </a:cubicBezTo>
                <a:cubicBezTo>
                  <a:pt x="1733" y="555"/>
                  <a:pt x="1733" y="555"/>
                  <a:pt x="1733" y="554"/>
                </a:cubicBezTo>
                <a:cubicBezTo>
                  <a:pt x="1732" y="554"/>
                  <a:pt x="1731" y="555"/>
                  <a:pt x="1730" y="554"/>
                </a:cubicBezTo>
                <a:cubicBezTo>
                  <a:pt x="1729" y="554"/>
                  <a:pt x="1729" y="554"/>
                  <a:pt x="1727" y="554"/>
                </a:cubicBezTo>
                <a:cubicBezTo>
                  <a:pt x="1726" y="554"/>
                  <a:pt x="1725" y="553"/>
                  <a:pt x="1723" y="553"/>
                </a:cubicBezTo>
                <a:cubicBezTo>
                  <a:pt x="1722" y="553"/>
                  <a:pt x="1721" y="553"/>
                  <a:pt x="1721" y="554"/>
                </a:cubicBezTo>
                <a:cubicBezTo>
                  <a:pt x="1720" y="554"/>
                  <a:pt x="1719" y="554"/>
                  <a:pt x="1718" y="554"/>
                </a:cubicBezTo>
                <a:cubicBezTo>
                  <a:pt x="1717" y="554"/>
                  <a:pt x="1717" y="555"/>
                  <a:pt x="1716" y="555"/>
                </a:cubicBezTo>
                <a:cubicBezTo>
                  <a:pt x="1715" y="555"/>
                  <a:pt x="1715" y="555"/>
                  <a:pt x="1715" y="555"/>
                </a:cubicBezTo>
                <a:cubicBezTo>
                  <a:pt x="1714" y="555"/>
                  <a:pt x="1714" y="555"/>
                  <a:pt x="1714" y="556"/>
                </a:cubicBezTo>
                <a:cubicBezTo>
                  <a:pt x="1714" y="556"/>
                  <a:pt x="1713" y="556"/>
                  <a:pt x="1713" y="556"/>
                </a:cubicBezTo>
                <a:cubicBezTo>
                  <a:pt x="1712" y="556"/>
                  <a:pt x="1712" y="556"/>
                  <a:pt x="1712" y="557"/>
                </a:cubicBezTo>
                <a:cubicBezTo>
                  <a:pt x="1711" y="557"/>
                  <a:pt x="1711" y="557"/>
                  <a:pt x="1711" y="556"/>
                </a:cubicBezTo>
                <a:cubicBezTo>
                  <a:pt x="1711" y="556"/>
                  <a:pt x="1711" y="556"/>
                  <a:pt x="1711" y="555"/>
                </a:cubicBezTo>
                <a:cubicBezTo>
                  <a:pt x="1712" y="555"/>
                  <a:pt x="1712" y="555"/>
                  <a:pt x="1712" y="555"/>
                </a:cubicBezTo>
                <a:cubicBezTo>
                  <a:pt x="1712" y="555"/>
                  <a:pt x="1711" y="555"/>
                  <a:pt x="1711" y="554"/>
                </a:cubicBezTo>
                <a:cubicBezTo>
                  <a:pt x="1712" y="554"/>
                  <a:pt x="1712" y="554"/>
                  <a:pt x="1712" y="554"/>
                </a:cubicBezTo>
                <a:cubicBezTo>
                  <a:pt x="1712" y="554"/>
                  <a:pt x="1712" y="554"/>
                  <a:pt x="1713" y="554"/>
                </a:cubicBezTo>
                <a:cubicBezTo>
                  <a:pt x="1713" y="553"/>
                  <a:pt x="1713" y="553"/>
                  <a:pt x="1714" y="553"/>
                </a:cubicBezTo>
                <a:cubicBezTo>
                  <a:pt x="1715" y="554"/>
                  <a:pt x="1715" y="553"/>
                  <a:pt x="1715" y="552"/>
                </a:cubicBezTo>
                <a:cubicBezTo>
                  <a:pt x="1715" y="552"/>
                  <a:pt x="1716" y="552"/>
                  <a:pt x="1716" y="551"/>
                </a:cubicBezTo>
                <a:cubicBezTo>
                  <a:pt x="1716" y="551"/>
                  <a:pt x="1715" y="552"/>
                  <a:pt x="1715" y="552"/>
                </a:cubicBezTo>
                <a:cubicBezTo>
                  <a:pt x="1714" y="552"/>
                  <a:pt x="1714" y="551"/>
                  <a:pt x="1714" y="551"/>
                </a:cubicBezTo>
                <a:cubicBezTo>
                  <a:pt x="1713" y="551"/>
                  <a:pt x="1713" y="552"/>
                  <a:pt x="1713" y="551"/>
                </a:cubicBezTo>
                <a:cubicBezTo>
                  <a:pt x="1713" y="551"/>
                  <a:pt x="1713" y="551"/>
                  <a:pt x="1714" y="551"/>
                </a:cubicBezTo>
                <a:cubicBezTo>
                  <a:pt x="1714" y="550"/>
                  <a:pt x="1714" y="550"/>
                  <a:pt x="1713" y="550"/>
                </a:cubicBezTo>
                <a:cubicBezTo>
                  <a:pt x="1713" y="550"/>
                  <a:pt x="1713" y="550"/>
                  <a:pt x="1713" y="550"/>
                </a:cubicBezTo>
                <a:cubicBezTo>
                  <a:pt x="1714" y="550"/>
                  <a:pt x="1714" y="549"/>
                  <a:pt x="1715" y="549"/>
                </a:cubicBezTo>
                <a:cubicBezTo>
                  <a:pt x="1715" y="548"/>
                  <a:pt x="1716" y="548"/>
                  <a:pt x="1717" y="548"/>
                </a:cubicBezTo>
                <a:cubicBezTo>
                  <a:pt x="1718" y="547"/>
                  <a:pt x="1718" y="547"/>
                  <a:pt x="1719" y="546"/>
                </a:cubicBezTo>
                <a:cubicBezTo>
                  <a:pt x="1719" y="546"/>
                  <a:pt x="1720" y="546"/>
                  <a:pt x="1720" y="546"/>
                </a:cubicBezTo>
                <a:cubicBezTo>
                  <a:pt x="1720" y="545"/>
                  <a:pt x="1720" y="545"/>
                  <a:pt x="1721" y="545"/>
                </a:cubicBezTo>
                <a:cubicBezTo>
                  <a:pt x="1721" y="544"/>
                  <a:pt x="1722" y="544"/>
                  <a:pt x="1723" y="544"/>
                </a:cubicBezTo>
                <a:cubicBezTo>
                  <a:pt x="1723" y="543"/>
                  <a:pt x="1723" y="542"/>
                  <a:pt x="1724" y="542"/>
                </a:cubicBezTo>
                <a:cubicBezTo>
                  <a:pt x="1724" y="541"/>
                  <a:pt x="1725" y="541"/>
                  <a:pt x="1725" y="540"/>
                </a:cubicBezTo>
                <a:cubicBezTo>
                  <a:pt x="1725" y="540"/>
                  <a:pt x="1725" y="540"/>
                  <a:pt x="1725" y="540"/>
                </a:cubicBezTo>
                <a:cubicBezTo>
                  <a:pt x="1725" y="539"/>
                  <a:pt x="1725" y="539"/>
                  <a:pt x="1725" y="539"/>
                </a:cubicBezTo>
                <a:cubicBezTo>
                  <a:pt x="1726" y="539"/>
                  <a:pt x="1726" y="538"/>
                  <a:pt x="1725" y="538"/>
                </a:cubicBezTo>
                <a:cubicBezTo>
                  <a:pt x="1725" y="538"/>
                  <a:pt x="1725" y="538"/>
                  <a:pt x="1724" y="538"/>
                </a:cubicBezTo>
                <a:cubicBezTo>
                  <a:pt x="1724" y="538"/>
                  <a:pt x="1724" y="538"/>
                  <a:pt x="1723" y="538"/>
                </a:cubicBezTo>
                <a:cubicBezTo>
                  <a:pt x="1723" y="538"/>
                  <a:pt x="1723" y="538"/>
                  <a:pt x="1722" y="538"/>
                </a:cubicBezTo>
                <a:cubicBezTo>
                  <a:pt x="1722" y="537"/>
                  <a:pt x="1722" y="537"/>
                  <a:pt x="1721" y="537"/>
                </a:cubicBezTo>
                <a:cubicBezTo>
                  <a:pt x="1721" y="537"/>
                  <a:pt x="1720" y="539"/>
                  <a:pt x="1720" y="538"/>
                </a:cubicBezTo>
                <a:cubicBezTo>
                  <a:pt x="1719" y="538"/>
                  <a:pt x="1719" y="538"/>
                  <a:pt x="1718" y="538"/>
                </a:cubicBezTo>
                <a:cubicBezTo>
                  <a:pt x="1718" y="538"/>
                  <a:pt x="1717" y="539"/>
                  <a:pt x="1717" y="539"/>
                </a:cubicBezTo>
                <a:cubicBezTo>
                  <a:pt x="1716" y="539"/>
                  <a:pt x="1716" y="539"/>
                  <a:pt x="1715" y="539"/>
                </a:cubicBezTo>
                <a:cubicBezTo>
                  <a:pt x="1715" y="539"/>
                  <a:pt x="1714" y="539"/>
                  <a:pt x="1714" y="539"/>
                </a:cubicBezTo>
                <a:cubicBezTo>
                  <a:pt x="1713" y="539"/>
                  <a:pt x="1713" y="539"/>
                  <a:pt x="1712" y="540"/>
                </a:cubicBezTo>
                <a:cubicBezTo>
                  <a:pt x="1712" y="540"/>
                  <a:pt x="1712" y="540"/>
                  <a:pt x="1712" y="540"/>
                </a:cubicBezTo>
                <a:cubicBezTo>
                  <a:pt x="1711" y="539"/>
                  <a:pt x="1711" y="540"/>
                  <a:pt x="1711" y="540"/>
                </a:cubicBezTo>
                <a:cubicBezTo>
                  <a:pt x="1710" y="540"/>
                  <a:pt x="1710" y="541"/>
                  <a:pt x="1709" y="540"/>
                </a:cubicBezTo>
                <a:cubicBezTo>
                  <a:pt x="1709" y="540"/>
                  <a:pt x="1709" y="540"/>
                  <a:pt x="1709" y="540"/>
                </a:cubicBezTo>
                <a:cubicBezTo>
                  <a:pt x="1709" y="539"/>
                  <a:pt x="1709" y="540"/>
                  <a:pt x="1709" y="539"/>
                </a:cubicBezTo>
                <a:cubicBezTo>
                  <a:pt x="1709" y="539"/>
                  <a:pt x="1708" y="539"/>
                  <a:pt x="1707" y="539"/>
                </a:cubicBezTo>
                <a:cubicBezTo>
                  <a:pt x="1707" y="540"/>
                  <a:pt x="1707" y="540"/>
                  <a:pt x="1706" y="540"/>
                </a:cubicBezTo>
                <a:cubicBezTo>
                  <a:pt x="1706" y="541"/>
                  <a:pt x="1706" y="540"/>
                  <a:pt x="1706" y="540"/>
                </a:cubicBezTo>
                <a:cubicBezTo>
                  <a:pt x="1705" y="540"/>
                  <a:pt x="1706" y="538"/>
                  <a:pt x="1705" y="538"/>
                </a:cubicBezTo>
                <a:cubicBezTo>
                  <a:pt x="1705" y="539"/>
                  <a:pt x="1704" y="539"/>
                  <a:pt x="1704" y="539"/>
                </a:cubicBezTo>
                <a:cubicBezTo>
                  <a:pt x="1704" y="539"/>
                  <a:pt x="1704" y="538"/>
                  <a:pt x="1703" y="538"/>
                </a:cubicBezTo>
                <a:cubicBezTo>
                  <a:pt x="1703" y="538"/>
                  <a:pt x="1702" y="538"/>
                  <a:pt x="1702" y="539"/>
                </a:cubicBezTo>
                <a:cubicBezTo>
                  <a:pt x="1702" y="539"/>
                  <a:pt x="1702" y="539"/>
                  <a:pt x="1701" y="539"/>
                </a:cubicBezTo>
                <a:cubicBezTo>
                  <a:pt x="1701" y="540"/>
                  <a:pt x="1701" y="540"/>
                  <a:pt x="1701" y="540"/>
                </a:cubicBezTo>
                <a:cubicBezTo>
                  <a:pt x="1701" y="541"/>
                  <a:pt x="1701" y="541"/>
                  <a:pt x="1701" y="541"/>
                </a:cubicBezTo>
                <a:cubicBezTo>
                  <a:pt x="1701" y="542"/>
                  <a:pt x="1701" y="542"/>
                  <a:pt x="1701" y="543"/>
                </a:cubicBezTo>
                <a:cubicBezTo>
                  <a:pt x="1701" y="543"/>
                  <a:pt x="1703" y="544"/>
                  <a:pt x="1702" y="544"/>
                </a:cubicBezTo>
                <a:cubicBezTo>
                  <a:pt x="1701" y="545"/>
                  <a:pt x="1701" y="544"/>
                  <a:pt x="1700" y="544"/>
                </a:cubicBezTo>
                <a:cubicBezTo>
                  <a:pt x="1700" y="544"/>
                  <a:pt x="1700" y="545"/>
                  <a:pt x="1699" y="544"/>
                </a:cubicBezTo>
                <a:cubicBezTo>
                  <a:pt x="1699" y="544"/>
                  <a:pt x="1698" y="544"/>
                  <a:pt x="1698" y="544"/>
                </a:cubicBezTo>
                <a:cubicBezTo>
                  <a:pt x="1698" y="545"/>
                  <a:pt x="1698" y="545"/>
                  <a:pt x="1699" y="545"/>
                </a:cubicBezTo>
                <a:cubicBezTo>
                  <a:pt x="1699" y="546"/>
                  <a:pt x="1699" y="545"/>
                  <a:pt x="1700" y="546"/>
                </a:cubicBezTo>
                <a:cubicBezTo>
                  <a:pt x="1700" y="546"/>
                  <a:pt x="1699" y="547"/>
                  <a:pt x="1698" y="547"/>
                </a:cubicBezTo>
                <a:cubicBezTo>
                  <a:pt x="1698" y="547"/>
                  <a:pt x="1698" y="547"/>
                  <a:pt x="1697" y="547"/>
                </a:cubicBezTo>
                <a:cubicBezTo>
                  <a:pt x="1697" y="547"/>
                  <a:pt x="1697" y="547"/>
                  <a:pt x="1697" y="548"/>
                </a:cubicBezTo>
                <a:cubicBezTo>
                  <a:pt x="1698" y="548"/>
                  <a:pt x="1698" y="548"/>
                  <a:pt x="1698" y="548"/>
                </a:cubicBezTo>
                <a:cubicBezTo>
                  <a:pt x="1699" y="549"/>
                  <a:pt x="1698" y="549"/>
                  <a:pt x="1699" y="549"/>
                </a:cubicBezTo>
                <a:cubicBezTo>
                  <a:pt x="1699" y="549"/>
                  <a:pt x="1701" y="550"/>
                  <a:pt x="1700" y="550"/>
                </a:cubicBezTo>
                <a:cubicBezTo>
                  <a:pt x="1700" y="551"/>
                  <a:pt x="1699" y="549"/>
                  <a:pt x="1699" y="550"/>
                </a:cubicBezTo>
                <a:cubicBezTo>
                  <a:pt x="1699" y="550"/>
                  <a:pt x="1698" y="550"/>
                  <a:pt x="1698" y="551"/>
                </a:cubicBezTo>
                <a:cubicBezTo>
                  <a:pt x="1697" y="551"/>
                  <a:pt x="1697" y="551"/>
                  <a:pt x="1696" y="551"/>
                </a:cubicBezTo>
                <a:cubicBezTo>
                  <a:pt x="1696" y="550"/>
                  <a:pt x="1696" y="550"/>
                  <a:pt x="1696" y="550"/>
                </a:cubicBezTo>
                <a:cubicBezTo>
                  <a:pt x="1695" y="549"/>
                  <a:pt x="1696" y="550"/>
                  <a:pt x="1696" y="550"/>
                </a:cubicBezTo>
                <a:cubicBezTo>
                  <a:pt x="1695" y="551"/>
                  <a:pt x="1695" y="551"/>
                  <a:pt x="1695" y="551"/>
                </a:cubicBezTo>
                <a:cubicBezTo>
                  <a:pt x="1694" y="551"/>
                  <a:pt x="1694" y="550"/>
                  <a:pt x="1694" y="551"/>
                </a:cubicBezTo>
                <a:cubicBezTo>
                  <a:pt x="1693" y="551"/>
                  <a:pt x="1694" y="552"/>
                  <a:pt x="1694" y="553"/>
                </a:cubicBezTo>
                <a:cubicBezTo>
                  <a:pt x="1693" y="553"/>
                  <a:pt x="1693" y="554"/>
                  <a:pt x="1694" y="554"/>
                </a:cubicBezTo>
                <a:cubicBezTo>
                  <a:pt x="1694" y="554"/>
                  <a:pt x="1695" y="554"/>
                  <a:pt x="1695" y="554"/>
                </a:cubicBezTo>
                <a:cubicBezTo>
                  <a:pt x="1695" y="554"/>
                  <a:pt x="1695" y="555"/>
                  <a:pt x="1695" y="555"/>
                </a:cubicBezTo>
                <a:cubicBezTo>
                  <a:pt x="1695" y="556"/>
                  <a:pt x="1696" y="555"/>
                  <a:pt x="1696" y="556"/>
                </a:cubicBezTo>
                <a:cubicBezTo>
                  <a:pt x="1697" y="556"/>
                  <a:pt x="1696" y="557"/>
                  <a:pt x="1696" y="557"/>
                </a:cubicBezTo>
                <a:cubicBezTo>
                  <a:pt x="1695" y="557"/>
                  <a:pt x="1695" y="556"/>
                  <a:pt x="1695" y="556"/>
                </a:cubicBezTo>
                <a:cubicBezTo>
                  <a:pt x="1695" y="556"/>
                  <a:pt x="1694" y="556"/>
                  <a:pt x="1694" y="556"/>
                </a:cubicBezTo>
                <a:cubicBezTo>
                  <a:pt x="1694" y="555"/>
                  <a:pt x="1694" y="555"/>
                  <a:pt x="1693" y="555"/>
                </a:cubicBezTo>
                <a:cubicBezTo>
                  <a:pt x="1693" y="555"/>
                  <a:pt x="1693" y="556"/>
                  <a:pt x="1693" y="557"/>
                </a:cubicBezTo>
                <a:cubicBezTo>
                  <a:pt x="1693" y="557"/>
                  <a:pt x="1694" y="557"/>
                  <a:pt x="1694" y="558"/>
                </a:cubicBezTo>
                <a:close/>
                <a:moveTo>
                  <a:pt x="1746" y="663"/>
                </a:moveTo>
                <a:cubicBezTo>
                  <a:pt x="1746" y="663"/>
                  <a:pt x="1746" y="663"/>
                  <a:pt x="1746" y="663"/>
                </a:cubicBezTo>
                <a:cubicBezTo>
                  <a:pt x="1745" y="663"/>
                  <a:pt x="1746" y="662"/>
                  <a:pt x="1745" y="662"/>
                </a:cubicBezTo>
                <a:cubicBezTo>
                  <a:pt x="1745" y="662"/>
                  <a:pt x="1745" y="663"/>
                  <a:pt x="1744" y="663"/>
                </a:cubicBezTo>
                <a:cubicBezTo>
                  <a:pt x="1744" y="663"/>
                  <a:pt x="1743" y="663"/>
                  <a:pt x="1742" y="664"/>
                </a:cubicBezTo>
                <a:cubicBezTo>
                  <a:pt x="1742" y="664"/>
                  <a:pt x="1743" y="664"/>
                  <a:pt x="1743" y="665"/>
                </a:cubicBezTo>
                <a:cubicBezTo>
                  <a:pt x="1744" y="665"/>
                  <a:pt x="1744" y="665"/>
                  <a:pt x="1744" y="665"/>
                </a:cubicBezTo>
                <a:cubicBezTo>
                  <a:pt x="1744" y="665"/>
                  <a:pt x="1744" y="666"/>
                  <a:pt x="1745" y="666"/>
                </a:cubicBezTo>
                <a:cubicBezTo>
                  <a:pt x="1745" y="666"/>
                  <a:pt x="1745" y="666"/>
                  <a:pt x="1745" y="666"/>
                </a:cubicBezTo>
                <a:cubicBezTo>
                  <a:pt x="1746" y="665"/>
                  <a:pt x="1747" y="666"/>
                  <a:pt x="1747" y="665"/>
                </a:cubicBezTo>
                <a:cubicBezTo>
                  <a:pt x="1747" y="665"/>
                  <a:pt x="1747" y="664"/>
                  <a:pt x="1747" y="664"/>
                </a:cubicBezTo>
                <a:cubicBezTo>
                  <a:pt x="1747" y="664"/>
                  <a:pt x="1747" y="664"/>
                  <a:pt x="1747" y="664"/>
                </a:cubicBezTo>
                <a:cubicBezTo>
                  <a:pt x="1748" y="664"/>
                  <a:pt x="1748" y="664"/>
                  <a:pt x="1748" y="664"/>
                </a:cubicBezTo>
                <a:cubicBezTo>
                  <a:pt x="1748" y="663"/>
                  <a:pt x="1747" y="663"/>
                  <a:pt x="1747" y="663"/>
                </a:cubicBezTo>
                <a:cubicBezTo>
                  <a:pt x="1747" y="663"/>
                  <a:pt x="1747" y="663"/>
                  <a:pt x="1746" y="663"/>
                </a:cubicBezTo>
                <a:close/>
                <a:moveTo>
                  <a:pt x="1692" y="584"/>
                </a:moveTo>
                <a:cubicBezTo>
                  <a:pt x="1693" y="583"/>
                  <a:pt x="1693" y="582"/>
                  <a:pt x="1694" y="581"/>
                </a:cubicBezTo>
                <a:cubicBezTo>
                  <a:pt x="1694" y="581"/>
                  <a:pt x="1695" y="580"/>
                  <a:pt x="1695" y="579"/>
                </a:cubicBezTo>
                <a:cubicBezTo>
                  <a:pt x="1694" y="579"/>
                  <a:pt x="1694" y="580"/>
                  <a:pt x="1693" y="580"/>
                </a:cubicBezTo>
                <a:cubicBezTo>
                  <a:pt x="1693" y="580"/>
                  <a:pt x="1692" y="580"/>
                  <a:pt x="1692" y="580"/>
                </a:cubicBezTo>
                <a:cubicBezTo>
                  <a:pt x="1692" y="581"/>
                  <a:pt x="1693" y="581"/>
                  <a:pt x="1692" y="581"/>
                </a:cubicBezTo>
                <a:cubicBezTo>
                  <a:pt x="1692" y="582"/>
                  <a:pt x="1690" y="581"/>
                  <a:pt x="1690" y="582"/>
                </a:cubicBezTo>
                <a:cubicBezTo>
                  <a:pt x="1690" y="583"/>
                  <a:pt x="1691" y="583"/>
                  <a:pt x="1691" y="583"/>
                </a:cubicBezTo>
                <a:cubicBezTo>
                  <a:pt x="1692" y="583"/>
                  <a:pt x="1692" y="585"/>
                  <a:pt x="1692" y="584"/>
                </a:cubicBezTo>
                <a:close/>
                <a:moveTo>
                  <a:pt x="1702" y="586"/>
                </a:moveTo>
                <a:cubicBezTo>
                  <a:pt x="1702" y="585"/>
                  <a:pt x="1702" y="584"/>
                  <a:pt x="1701" y="583"/>
                </a:cubicBezTo>
                <a:cubicBezTo>
                  <a:pt x="1701" y="583"/>
                  <a:pt x="1701" y="584"/>
                  <a:pt x="1702" y="584"/>
                </a:cubicBezTo>
                <a:cubicBezTo>
                  <a:pt x="1702" y="585"/>
                  <a:pt x="1702" y="586"/>
                  <a:pt x="1702" y="586"/>
                </a:cubicBezTo>
                <a:close/>
                <a:moveTo>
                  <a:pt x="1687" y="564"/>
                </a:moveTo>
                <a:cubicBezTo>
                  <a:pt x="1687" y="564"/>
                  <a:pt x="1687" y="564"/>
                  <a:pt x="1686" y="564"/>
                </a:cubicBezTo>
                <a:cubicBezTo>
                  <a:pt x="1686" y="565"/>
                  <a:pt x="1686" y="565"/>
                  <a:pt x="1687" y="565"/>
                </a:cubicBezTo>
                <a:cubicBezTo>
                  <a:pt x="1687" y="565"/>
                  <a:pt x="1687" y="565"/>
                  <a:pt x="1687" y="566"/>
                </a:cubicBezTo>
                <a:cubicBezTo>
                  <a:pt x="1687" y="566"/>
                  <a:pt x="1687" y="566"/>
                  <a:pt x="1688" y="566"/>
                </a:cubicBezTo>
                <a:cubicBezTo>
                  <a:pt x="1688" y="566"/>
                  <a:pt x="1688" y="566"/>
                  <a:pt x="1688" y="565"/>
                </a:cubicBezTo>
                <a:cubicBezTo>
                  <a:pt x="1689" y="565"/>
                  <a:pt x="1689" y="564"/>
                  <a:pt x="1688" y="564"/>
                </a:cubicBezTo>
                <a:cubicBezTo>
                  <a:pt x="1688" y="564"/>
                  <a:pt x="1688" y="564"/>
                  <a:pt x="1687" y="564"/>
                </a:cubicBezTo>
                <a:close/>
                <a:moveTo>
                  <a:pt x="1689" y="581"/>
                </a:moveTo>
                <a:cubicBezTo>
                  <a:pt x="1690" y="581"/>
                  <a:pt x="1690" y="580"/>
                  <a:pt x="1690" y="580"/>
                </a:cubicBezTo>
                <a:cubicBezTo>
                  <a:pt x="1690" y="580"/>
                  <a:pt x="1691" y="579"/>
                  <a:pt x="1690" y="579"/>
                </a:cubicBezTo>
                <a:cubicBezTo>
                  <a:pt x="1689" y="580"/>
                  <a:pt x="1689" y="581"/>
                  <a:pt x="1689" y="581"/>
                </a:cubicBezTo>
                <a:close/>
                <a:moveTo>
                  <a:pt x="1695" y="575"/>
                </a:moveTo>
                <a:cubicBezTo>
                  <a:pt x="1695" y="576"/>
                  <a:pt x="1695" y="576"/>
                  <a:pt x="1695" y="575"/>
                </a:cubicBezTo>
                <a:cubicBezTo>
                  <a:pt x="1695" y="575"/>
                  <a:pt x="1695" y="575"/>
                  <a:pt x="1695" y="574"/>
                </a:cubicBezTo>
                <a:cubicBezTo>
                  <a:pt x="1695" y="574"/>
                  <a:pt x="1695" y="574"/>
                  <a:pt x="1695" y="574"/>
                </a:cubicBezTo>
                <a:cubicBezTo>
                  <a:pt x="1694" y="573"/>
                  <a:pt x="1694" y="574"/>
                  <a:pt x="1694" y="573"/>
                </a:cubicBezTo>
                <a:cubicBezTo>
                  <a:pt x="1693" y="573"/>
                  <a:pt x="1693" y="573"/>
                  <a:pt x="1693" y="573"/>
                </a:cubicBezTo>
                <a:cubicBezTo>
                  <a:pt x="1692" y="573"/>
                  <a:pt x="1692" y="572"/>
                  <a:pt x="1691" y="571"/>
                </a:cubicBezTo>
                <a:cubicBezTo>
                  <a:pt x="1691" y="571"/>
                  <a:pt x="1691" y="571"/>
                  <a:pt x="1691" y="570"/>
                </a:cubicBezTo>
                <a:cubicBezTo>
                  <a:pt x="1690" y="570"/>
                  <a:pt x="1689" y="571"/>
                  <a:pt x="1689" y="571"/>
                </a:cubicBezTo>
                <a:cubicBezTo>
                  <a:pt x="1688" y="571"/>
                  <a:pt x="1688" y="571"/>
                  <a:pt x="1688" y="571"/>
                </a:cubicBezTo>
                <a:cubicBezTo>
                  <a:pt x="1688" y="571"/>
                  <a:pt x="1688" y="572"/>
                  <a:pt x="1688" y="572"/>
                </a:cubicBezTo>
                <a:cubicBezTo>
                  <a:pt x="1688" y="572"/>
                  <a:pt x="1688" y="572"/>
                  <a:pt x="1689" y="572"/>
                </a:cubicBezTo>
                <a:cubicBezTo>
                  <a:pt x="1689" y="573"/>
                  <a:pt x="1689" y="573"/>
                  <a:pt x="1690" y="573"/>
                </a:cubicBezTo>
                <a:cubicBezTo>
                  <a:pt x="1690" y="573"/>
                  <a:pt x="1691" y="573"/>
                  <a:pt x="1691" y="573"/>
                </a:cubicBezTo>
                <a:cubicBezTo>
                  <a:pt x="1692" y="574"/>
                  <a:pt x="1690" y="575"/>
                  <a:pt x="1692" y="575"/>
                </a:cubicBezTo>
                <a:cubicBezTo>
                  <a:pt x="1692" y="575"/>
                  <a:pt x="1691" y="575"/>
                  <a:pt x="1691" y="575"/>
                </a:cubicBezTo>
                <a:cubicBezTo>
                  <a:pt x="1690" y="575"/>
                  <a:pt x="1690" y="576"/>
                  <a:pt x="1690" y="576"/>
                </a:cubicBezTo>
                <a:cubicBezTo>
                  <a:pt x="1689" y="576"/>
                  <a:pt x="1689" y="576"/>
                  <a:pt x="1689" y="576"/>
                </a:cubicBezTo>
                <a:cubicBezTo>
                  <a:pt x="1689" y="576"/>
                  <a:pt x="1688" y="576"/>
                  <a:pt x="1688" y="576"/>
                </a:cubicBezTo>
                <a:cubicBezTo>
                  <a:pt x="1688" y="576"/>
                  <a:pt x="1688" y="576"/>
                  <a:pt x="1688" y="577"/>
                </a:cubicBezTo>
                <a:cubicBezTo>
                  <a:pt x="1689" y="577"/>
                  <a:pt x="1689" y="576"/>
                  <a:pt x="1690" y="576"/>
                </a:cubicBezTo>
                <a:cubicBezTo>
                  <a:pt x="1691" y="576"/>
                  <a:pt x="1691" y="576"/>
                  <a:pt x="1691" y="576"/>
                </a:cubicBezTo>
                <a:cubicBezTo>
                  <a:pt x="1692" y="576"/>
                  <a:pt x="1692" y="576"/>
                  <a:pt x="1692" y="576"/>
                </a:cubicBezTo>
                <a:cubicBezTo>
                  <a:pt x="1693" y="576"/>
                  <a:pt x="1693" y="576"/>
                  <a:pt x="1693" y="576"/>
                </a:cubicBezTo>
                <a:cubicBezTo>
                  <a:pt x="1694" y="576"/>
                  <a:pt x="1694" y="576"/>
                  <a:pt x="1694" y="576"/>
                </a:cubicBezTo>
                <a:cubicBezTo>
                  <a:pt x="1694" y="576"/>
                  <a:pt x="1694" y="575"/>
                  <a:pt x="1695" y="575"/>
                </a:cubicBezTo>
                <a:close/>
                <a:moveTo>
                  <a:pt x="1710" y="607"/>
                </a:moveTo>
                <a:cubicBezTo>
                  <a:pt x="1710" y="607"/>
                  <a:pt x="1710" y="605"/>
                  <a:pt x="1709" y="606"/>
                </a:cubicBezTo>
                <a:cubicBezTo>
                  <a:pt x="1709" y="607"/>
                  <a:pt x="1709" y="607"/>
                  <a:pt x="1709" y="607"/>
                </a:cubicBezTo>
                <a:cubicBezTo>
                  <a:pt x="1709" y="607"/>
                  <a:pt x="1708" y="608"/>
                  <a:pt x="1708" y="608"/>
                </a:cubicBezTo>
                <a:cubicBezTo>
                  <a:pt x="1708" y="608"/>
                  <a:pt x="1708" y="608"/>
                  <a:pt x="1707" y="609"/>
                </a:cubicBezTo>
                <a:cubicBezTo>
                  <a:pt x="1707" y="609"/>
                  <a:pt x="1707" y="609"/>
                  <a:pt x="1706" y="609"/>
                </a:cubicBezTo>
                <a:cubicBezTo>
                  <a:pt x="1706" y="610"/>
                  <a:pt x="1705" y="611"/>
                  <a:pt x="1706" y="612"/>
                </a:cubicBezTo>
                <a:cubicBezTo>
                  <a:pt x="1706" y="612"/>
                  <a:pt x="1707" y="612"/>
                  <a:pt x="1707" y="612"/>
                </a:cubicBezTo>
                <a:cubicBezTo>
                  <a:pt x="1708" y="611"/>
                  <a:pt x="1708" y="611"/>
                  <a:pt x="1709" y="610"/>
                </a:cubicBezTo>
                <a:cubicBezTo>
                  <a:pt x="1709" y="610"/>
                  <a:pt x="1709" y="610"/>
                  <a:pt x="1710" y="610"/>
                </a:cubicBezTo>
                <a:cubicBezTo>
                  <a:pt x="1710" y="610"/>
                  <a:pt x="1710" y="610"/>
                  <a:pt x="1710" y="609"/>
                </a:cubicBezTo>
                <a:cubicBezTo>
                  <a:pt x="1710" y="609"/>
                  <a:pt x="1711" y="608"/>
                  <a:pt x="1711" y="608"/>
                </a:cubicBezTo>
                <a:cubicBezTo>
                  <a:pt x="1711" y="608"/>
                  <a:pt x="1710" y="608"/>
                  <a:pt x="1710" y="607"/>
                </a:cubicBezTo>
                <a:close/>
                <a:moveTo>
                  <a:pt x="1689" y="587"/>
                </a:moveTo>
                <a:cubicBezTo>
                  <a:pt x="1688" y="587"/>
                  <a:pt x="1688" y="587"/>
                  <a:pt x="1688" y="588"/>
                </a:cubicBezTo>
                <a:cubicBezTo>
                  <a:pt x="1689" y="589"/>
                  <a:pt x="1690" y="587"/>
                  <a:pt x="1690" y="587"/>
                </a:cubicBezTo>
                <a:cubicBezTo>
                  <a:pt x="1690" y="587"/>
                  <a:pt x="1691" y="587"/>
                  <a:pt x="1691" y="586"/>
                </a:cubicBezTo>
                <a:cubicBezTo>
                  <a:pt x="1691" y="585"/>
                  <a:pt x="1691" y="585"/>
                  <a:pt x="1691" y="584"/>
                </a:cubicBezTo>
                <a:cubicBezTo>
                  <a:pt x="1691" y="584"/>
                  <a:pt x="1691" y="584"/>
                  <a:pt x="1690" y="584"/>
                </a:cubicBezTo>
                <a:cubicBezTo>
                  <a:pt x="1690" y="583"/>
                  <a:pt x="1690" y="582"/>
                  <a:pt x="1690" y="582"/>
                </a:cubicBezTo>
                <a:cubicBezTo>
                  <a:pt x="1689" y="583"/>
                  <a:pt x="1689" y="583"/>
                  <a:pt x="1689" y="583"/>
                </a:cubicBezTo>
                <a:cubicBezTo>
                  <a:pt x="1688" y="583"/>
                  <a:pt x="1688" y="583"/>
                  <a:pt x="1688" y="583"/>
                </a:cubicBezTo>
                <a:cubicBezTo>
                  <a:pt x="1688" y="583"/>
                  <a:pt x="1687" y="583"/>
                  <a:pt x="1687" y="583"/>
                </a:cubicBezTo>
                <a:cubicBezTo>
                  <a:pt x="1687" y="583"/>
                  <a:pt x="1686" y="585"/>
                  <a:pt x="1686" y="585"/>
                </a:cubicBezTo>
                <a:cubicBezTo>
                  <a:pt x="1687" y="585"/>
                  <a:pt x="1687" y="585"/>
                  <a:pt x="1687" y="585"/>
                </a:cubicBezTo>
                <a:cubicBezTo>
                  <a:pt x="1687" y="585"/>
                  <a:pt x="1687" y="585"/>
                  <a:pt x="1688" y="585"/>
                </a:cubicBezTo>
                <a:cubicBezTo>
                  <a:pt x="1688" y="585"/>
                  <a:pt x="1688" y="585"/>
                  <a:pt x="1688" y="585"/>
                </a:cubicBezTo>
                <a:cubicBezTo>
                  <a:pt x="1688" y="585"/>
                  <a:pt x="1688" y="585"/>
                  <a:pt x="1689" y="585"/>
                </a:cubicBezTo>
                <a:cubicBezTo>
                  <a:pt x="1689" y="585"/>
                  <a:pt x="1689" y="585"/>
                  <a:pt x="1689" y="586"/>
                </a:cubicBezTo>
                <a:cubicBezTo>
                  <a:pt x="1689" y="586"/>
                  <a:pt x="1689" y="586"/>
                  <a:pt x="1689" y="587"/>
                </a:cubicBezTo>
                <a:close/>
                <a:moveTo>
                  <a:pt x="1734" y="685"/>
                </a:moveTo>
                <a:cubicBezTo>
                  <a:pt x="1734" y="685"/>
                  <a:pt x="1734" y="686"/>
                  <a:pt x="1734" y="686"/>
                </a:cubicBezTo>
                <a:cubicBezTo>
                  <a:pt x="1735" y="686"/>
                  <a:pt x="1735" y="686"/>
                  <a:pt x="1735" y="686"/>
                </a:cubicBezTo>
                <a:cubicBezTo>
                  <a:pt x="1736" y="686"/>
                  <a:pt x="1735" y="687"/>
                  <a:pt x="1736" y="686"/>
                </a:cubicBezTo>
                <a:cubicBezTo>
                  <a:pt x="1736" y="686"/>
                  <a:pt x="1736" y="685"/>
                  <a:pt x="1736" y="685"/>
                </a:cubicBezTo>
                <a:cubicBezTo>
                  <a:pt x="1736" y="685"/>
                  <a:pt x="1735" y="685"/>
                  <a:pt x="1734" y="685"/>
                </a:cubicBezTo>
                <a:close/>
                <a:moveTo>
                  <a:pt x="1920" y="362"/>
                </a:moveTo>
                <a:cubicBezTo>
                  <a:pt x="1920" y="362"/>
                  <a:pt x="1919" y="362"/>
                  <a:pt x="1919" y="362"/>
                </a:cubicBezTo>
                <a:cubicBezTo>
                  <a:pt x="1918" y="362"/>
                  <a:pt x="1918" y="363"/>
                  <a:pt x="1918" y="363"/>
                </a:cubicBezTo>
                <a:cubicBezTo>
                  <a:pt x="1918" y="363"/>
                  <a:pt x="1917" y="363"/>
                  <a:pt x="1917" y="364"/>
                </a:cubicBezTo>
                <a:cubicBezTo>
                  <a:pt x="1916" y="364"/>
                  <a:pt x="1913" y="365"/>
                  <a:pt x="1915" y="367"/>
                </a:cubicBezTo>
                <a:cubicBezTo>
                  <a:pt x="1915" y="367"/>
                  <a:pt x="1916" y="367"/>
                  <a:pt x="1917" y="367"/>
                </a:cubicBezTo>
                <a:cubicBezTo>
                  <a:pt x="1918" y="367"/>
                  <a:pt x="1918" y="367"/>
                  <a:pt x="1919" y="366"/>
                </a:cubicBezTo>
                <a:cubicBezTo>
                  <a:pt x="1920" y="365"/>
                  <a:pt x="1921" y="365"/>
                  <a:pt x="1921" y="365"/>
                </a:cubicBezTo>
                <a:cubicBezTo>
                  <a:pt x="1922" y="364"/>
                  <a:pt x="1921" y="364"/>
                  <a:pt x="1921" y="363"/>
                </a:cubicBezTo>
                <a:cubicBezTo>
                  <a:pt x="1920" y="363"/>
                  <a:pt x="1920" y="363"/>
                  <a:pt x="1920" y="362"/>
                </a:cubicBezTo>
                <a:close/>
                <a:moveTo>
                  <a:pt x="1910" y="367"/>
                </a:moveTo>
                <a:cubicBezTo>
                  <a:pt x="1909" y="366"/>
                  <a:pt x="1907" y="371"/>
                  <a:pt x="1907" y="371"/>
                </a:cubicBezTo>
                <a:cubicBezTo>
                  <a:pt x="1907" y="371"/>
                  <a:pt x="1907" y="372"/>
                  <a:pt x="1907" y="372"/>
                </a:cubicBezTo>
                <a:cubicBezTo>
                  <a:pt x="1907" y="373"/>
                  <a:pt x="1908" y="372"/>
                  <a:pt x="1908" y="372"/>
                </a:cubicBezTo>
                <a:cubicBezTo>
                  <a:pt x="1909" y="372"/>
                  <a:pt x="1909" y="371"/>
                  <a:pt x="1910" y="370"/>
                </a:cubicBezTo>
                <a:cubicBezTo>
                  <a:pt x="1910" y="370"/>
                  <a:pt x="1911" y="370"/>
                  <a:pt x="1910" y="369"/>
                </a:cubicBezTo>
                <a:cubicBezTo>
                  <a:pt x="1910" y="369"/>
                  <a:pt x="1910" y="369"/>
                  <a:pt x="1910" y="369"/>
                </a:cubicBezTo>
                <a:cubicBezTo>
                  <a:pt x="1910" y="368"/>
                  <a:pt x="1910" y="368"/>
                  <a:pt x="1910" y="368"/>
                </a:cubicBezTo>
                <a:cubicBezTo>
                  <a:pt x="1910" y="367"/>
                  <a:pt x="1910" y="367"/>
                  <a:pt x="1910" y="367"/>
                </a:cubicBezTo>
                <a:close/>
                <a:moveTo>
                  <a:pt x="1934" y="362"/>
                </a:moveTo>
                <a:cubicBezTo>
                  <a:pt x="1934" y="362"/>
                  <a:pt x="1935" y="362"/>
                  <a:pt x="1935" y="362"/>
                </a:cubicBezTo>
                <a:cubicBezTo>
                  <a:pt x="1936" y="362"/>
                  <a:pt x="1937" y="363"/>
                  <a:pt x="1938" y="363"/>
                </a:cubicBezTo>
                <a:cubicBezTo>
                  <a:pt x="1939" y="363"/>
                  <a:pt x="1940" y="362"/>
                  <a:pt x="1940" y="362"/>
                </a:cubicBezTo>
                <a:cubicBezTo>
                  <a:pt x="1941" y="361"/>
                  <a:pt x="1941" y="361"/>
                  <a:pt x="1942" y="360"/>
                </a:cubicBezTo>
                <a:cubicBezTo>
                  <a:pt x="1942" y="359"/>
                  <a:pt x="1943" y="359"/>
                  <a:pt x="1944" y="359"/>
                </a:cubicBezTo>
                <a:cubicBezTo>
                  <a:pt x="1945" y="358"/>
                  <a:pt x="1945" y="358"/>
                  <a:pt x="1946" y="358"/>
                </a:cubicBezTo>
                <a:cubicBezTo>
                  <a:pt x="1947" y="358"/>
                  <a:pt x="1948" y="358"/>
                  <a:pt x="1949" y="357"/>
                </a:cubicBezTo>
                <a:cubicBezTo>
                  <a:pt x="1949" y="356"/>
                  <a:pt x="1949" y="355"/>
                  <a:pt x="1949" y="355"/>
                </a:cubicBezTo>
                <a:cubicBezTo>
                  <a:pt x="1949" y="354"/>
                  <a:pt x="1950" y="353"/>
                  <a:pt x="1949" y="352"/>
                </a:cubicBezTo>
                <a:cubicBezTo>
                  <a:pt x="1949" y="352"/>
                  <a:pt x="1948" y="352"/>
                  <a:pt x="1948" y="352"/>
                </a:cubicBezTo>
                <a:cubicBezTo>
                  <a:pt x="1947" y="352"/>
                  <a:pt x="1947" y="352"/>
                  <a:pt x="1947" y="352"/>
                </a:cubicBezTo>
                <a:cubicBezTo>
                  <a:pt x="1946" y="351"/>
                  <a:pt x="1946" y="351"/>
                  <a:pt x="1946" y="352"/>
                </a:cubicBezTo>
                <a:cubicBezTo>
                  <a:pt x="1945" y="352"/>
                  <a:pt x="1945" y="352"/>
                  <a:pt x="1945" y="352"/>
                </a:cubicBezTo>
                <a:cubicBezTo>
                  <a:pt x="1944" y="353"/>
                  <a:pt x="1944" y="353"/>
                  <a:pt x="1944" y="353"/>
                </a:cubicBezTo>
                <a:cubicBezTo>
                  <a:pt x="1944" y="354"/>
                  <a:pt x="1944" y="354"/>
                  <a:pt x="1944" y="354"/>
                </a:cubicBezTo>
                <a:cubicBezTo>
                  <a:pt x="1945" y="355"/>
                  <a:pt x="1944" y="355"/>
                  <a:pt x="1944" y="356"/>
                </a:cubicBezTo>
                <a:cubicBezTo>
                  <a:pt x="1943" y="356"/>
                  <a:pt x="1943" y="356"/>
                  <a:pt x="1943" y="356"/>
                </a:cubicBezTo>
                <a:cubicBezTo>
                  <a:pt x="1942" y="357"/>
                  <a:pt x="1942" y="357"/>
                  <a:pt x="1942" y="357"/>
                </a:cubicBezTo>
                <a:cubicBezTo>
                  <a:pt x="1941" y="358"/>
                  <a:pt x="1941" y="358"/>
                  <a:pt x="1940" y="358"/>
                </a:cubicBezTo>
                <a:cubicBezTo>
                  <a:pt x="1940" y="358"/>
                  <a:pt x="1941" y="357"/>
                  <a:pt x="1941" y="357"/>
                </a:cubicBezTo>
                <a:cubicBezTo>
                  <a:pt x="1941" y="356"/>
                  <a:pt x="1941" y="356"/>
                  <a:pt x="1941" y="356"/>
                </a:cubicBezTo>
                <a:cubicBezTo>
                  <a:pt x="1942" y="356"/>
                  <a:pt x="1942" y="356"/>
                  <a:pt x="1942" y="355"/>
                </a:cubicBezTo>
                <a:cubicBezTo>
                  <a:pt x="1942" y="355"/>
                  <a:pt x="1941" y="355"/>
                  <a:pt x="1941" y="355"/>
                </a:cubicBezTo>
                <a:cubicBezTo>
                  <a:pt x="1941" y="354"/>
                  <a:pt x="1941" y="354"/>
                  <a:pt x="1941" y="354"/>
                </a:cubicBezTo>
                <a:cubicBezTo>
                  <a:pt x="1942" y="353"/>
                  <a:pt x="1942" y="352"/>
                  <a:pt x="1942" y="351"/>
                </a:cubicBezTo>
                <a:cubicBezTo>
                  <a:pt x="1942" y="350"/>
                  <a:pt x="1940" y="350"/>
                  <a:pt x="1939" y="350"/>
                </a:cubicBezTo>
                <a:cubicBezTo>
                  <a:pt x="1939" y="351"/>
                  <a:pt x="1939" y="351"/>
                  <a:pt x="1939" y="352"/>
                </a:cubicBezTo>
                <a:cubicBezTo>
                  <a:pt x="1939" y="353"/>
                  <a:pt x="1938" y="353"/>
                  <a:pt x="1938" y="353"/>
                </a:cubicBezTo>
                <a:cubicBezTo>
                  <a:pt x="1938" y="353"/>
                  <a:pt x="1938" y="354"/>
                  <a:pt x="1938" y="354"/>
                </a:cubicBezTo>
                <a:cubicBezTo>
                  <a:pt x="1937" y="354"/>
                  <a:pt x="1936" y="354"/>
                  <a:pt x="1936" y="355"/>
                </a:cubicBezTo>
                <a:cubicBezTo>
                  <a:pt x="1937" y="356"/>
                  <a:pt x="1937" y="356"/>
                  <a:pt x="1937" y="356"/>
                </a:cubicBezTo>
                <a:cubicBezTo>
                  <a:pt x="1937" y="357"/>
                  <a:pt x="1936" y="357"/>
                  <a:pt x="1936" y="357"/>
                </a:cubicBezTo>
                <a:cubicBezTo>
                  <a:pt x="1936" y="357"/>
                  <a:pt x="1935" y="357"/>
                  <a:pt x="1935" y="358"/>
                </a:cubicBezTo>
                <a:cubicBezTo>
                  <a:pt x="1935" y="358"/>
                  <a:pt x="1935" y="359"/>
                  <a:pt x="1935" y="359"/>
                </a:cubicBezTo>
                <a:cubicBezTo>
                  <a:pt x="1935" y="360"/>
                  <a:pt x="1935" y="361"/>
                  <a:pt x="1934" y="361"/>
                </a:cubicBezTo>
                <a:cubicBezTo>
                  <a:pt x="1933" y="361"/>
                  <a:pt x="1932" y="362"/>
                  <a:pt x="1932" y="362"/>
                </a:cubicBezTo>
                <a:cubicBezTo>
                  <a:pt x="1933" y="362"/>
                  <a:pt x="1933" y="362"/>
                  <a:pt x="1934" y="362"/>
                </a:cubicBezTo>
                <a:close/>
                <a:moveTo>
                  <a:pt x="1938" y="349"/>
                </a:moveTo>
                <a:cubicBezTo>
                  <a:pt x="1938" y="350"/>
                  <a:pt x="1938" y="350"/>
                  <a:pt x="1938" y="350"/>
                </a:cubicBezTo>
                <a:cubicBezTo>
                  <a:pt x="1939" y="351"/>
                  <a:pt x="1939" y="349"/>
                  <a:pt x="1940" y="349"/>
                </a:cubicBezTo>
                <a:cubicBezTo>
                  <a:pt x="1941" y="349"/>
                  <a:pt x="1942" y="349"/>
                  <a:pt x="1942" y="348"/>
                </a:cubicBezTo>
                <a:cubicBezTo>
                  <a:pt x="1943" y="348"/>
                  <a:pt x="1943" y="347"/>
                  <a:pt x="1944" y="346"/>
                </a:cubicBezTo>
                <a:cubicBezTo>
                  <a:pt x="1944" y="346"/>
                  <a:pt x="1945" y="345"/>
                  <a:pt x="1945" y="344"/>
                </a:cubicBezTo>
                <a:cubicBezTo>
                  <a:pt x="1945" y="344"/>
                  <a:pt x="1943" y="345"/>
                  <a:pt x="1943" y="345"/>
                </a:cubicBezTo>
                <a:cubicBezTo>
                  <a:pt x="1942" y="345"/>
                  <a:pt x="1941" y="345"/>
                  <a:pt x="1941" y="346"/>
                </a:cubicBezTo>
                <a:cubicBezTo>
                  <a:pt x="1940" y="346"/>
                  <a:pt x="1939" y="347"/>
                  <a:pt x="1938" y="347"/>
                </a:cubicBezTo>
                <a:cubicBezTo>
                  <a:pt x="1937" y="348"/>
                  <a:pt x="1936" y="349"/>
                  <a:pt x="1937" y="351"/>
                </a:cubicBezTo>
                <a:cubicBezTo>
                  <a:pt x="1937" y="351"/>
                  <a:pt x="1936" y="352"/>
                  <a:pt x="1937" y="352"/>
                </a:cubicBezTo>
                <a:cubicBezTo>
                  <a:pt x="1937" y="352"/>
                  <a:pt x="1937" y="352"/>
                  <a:pt x="1937" y="351"/>
                </a:cubicBezTo>
                <a:cubicBezTo>
                  <a:pt x="1938" y="351"/>
                  <a:pt x="1937" y="350"/>
                  <a:pt x="1937" y="350"/>
                </a:cubicBezTo>
                <a:cubicBezTo>
                  <a:pt x="1937" y="349"/>
                  <a:pt x="1938" y="349"/>
                  <a:pt x="1938" y="349"/>
                </a:cubicBezTo>
                <a:close/>
                <a:moveTo>
                  <a:pt x="1856" y="451"/>
                </a:moveTo>
                <a:cubicBezTo>
                  <a:pt x="1857" y="451"/>
                  <a:pt x="1858" y="451"/>
                  <a:pt x="1858" y="450"/>
                </a:cubicBezTo>
                <a:cubicBezTo>
                  <a:pt x="1859" y="450"/>
                  <a:pt x="1861" y="450"/>
                  <a:pt x="1861" y="450"/>
                </a:cubicBezTo>
                <a:cubicBezTo>
                  <a:pt x="1860" y="449"/>
                  <a:pt x="1859" y="450"/>
                  <a:pt x="1858" y="450"/>
                </a:cubicBezTo>
                <a:cubicBezTo>
                  <a:pt x="1858" y="450"/>
                  <a:pt x="1858" y="450"/>
                  <a:pt x="1857" y="450"/>
                </a:cubicBezTo>
                <a:cubicBezTo>
                  <a:pt x="1857" y="450"/>
                  <a:pt x="1856" y="450"/>
                  <a:pt x="1856" y="450"/>
                </a:cubicBezTo>
                <a:cubicBezTo>
                  <a:pt x="1855" y="451"/>
                  <a:pt x="1856" y="451"/>
                  <a:pt x="1856" y="451"/>
                </a:cubicBezTo>
                <a:close/>
                <a:moveTo>
                  <a:pt x="1924" y="363"/>
                </a:moveTo>
                <a:cubicBezTo>
                  <a:pt x="1923" y="364"/>
                  <a:pt x="1923" y="364"/>
                  <a:pt x="1923" y="364"/>
                </a:cubicBezTo>
                <a:cubicBezTo>
                  <a:pt x="1923" y="365"/>
                  <a:pt x="1922" y="366"/>
                  <a:pt x="1923" y="366"/>
                </a:cubicBezTo>
                <a:cubicBezTo>
                  <a:pt x="1923" y="366"/>
                  <a:pt x="1924" y="365"/>
                  <a:pt x="1924" y="365"/>
                </a:cubicBezTo>
                <a:cubicBezTo>
                  <a:pt x="1925" y="365"/>
                  <a:pt x="1926" y="365"/>
                  <a:pt x="1926" y="364"/>
                </a:cubicBezTo>
                <a:cubicBezTo>
                  <a:pt x="1927" y="364"/>
                  <a:pt x="1927" y="364"/>
                  <a:pt x="1927" y="364"/>
                </a:cubicBezTo>
                <a:cubicBezTo>
                  <a:pt x="1928" y="364"/>
                  <a:pt x="1928" y="363"/>
                  <a:pt x="1929" y="363"/>
                </a:cubicBezTo>
                <a:cubicBezTo>
                  <a:pt x="1929" y="363"/>
                  <a:pt x="1930" y="362"/>
                  <a:pt x="1931" y="362"/>
                </a:cubicBezTo>
                <a:cubicBezTo>
                  <a:pt x="1931" y="362"/>
                  <a:pt x="1932" y="362"/>
                  <a:pt x="1933" y="361"/>
                </a:cubicBezTo>
                <a:cubicBezTo>
                  <a:pt x="1933" y="361"/>
                  <a:pt x="1934" y="359"/>
                  <a:pt x="1933" y="360"/>
                </a:cubicBezTo>
                <a:cubicBezTo>
                  <a:pt x="1932" y="360"/>
                  <a:pt x="1932" y="360"/>
                  <a:pt x="1932" y="360"/>
                </a:cubicBezTo>
                <a:cubicBezTo>
                  <a:pt x="1931" y="360"/>
                  <a:pt x="1931" y="360"/>
                  <a:pt x="1930" y="360"/>
                </a:cubicBezTo>
                <a:cubicBezTo>
                  <a:pt x="1930" y="360"/>
                  <a:pt x="1929" y="360"/>
                  <a:pt x="1928" y="361"/>
                </a:cubicBezTo>
                <a:cubicBezTo>
                  <a:pt x="1928" y="361"/>
                  <a:pt x="1927" y="361"/>
                  <a:pt x="1927" y="361"/>
                </a:cubicBezTo>
                <a:cubicBezTo>
                  <a:pt x="1926" y="361"/>
                  <a:pt x="1926" y="361"/>
                  <a:pt x="1925" y="361"/>
                </a:cubicBezTo>
                <a:cubicBezTo>
                  <a:pt x="1925" y="361"/>
                  <a:pt x="1925" y="362"/>
                  <a:pt x="1925" y="362"/>
                </a:cubicBezTo>
                <a:cubicBezTo>
                  <a:pt x="1925" y="363"/>
                  <a:pt x="1924" y="363"/>
                  <a:pt x="1924" y="363"/>
                </a:cubicBezTo>
                <a:close/>
                <a:moveTo>
                  <a:pt x="1851" y="459"/>
                </a:moveTo>
                <a:cubicBezTo>
                  <a:pt x="1851" y="460"/>
                  <a:pt x="1853" y="460"/>
                  <a:pt x="1853" y="460"/>
                </a:cubicBezTo>
                <a:cubicBezTo>
                  <a:pt x="1854" y="459"/>
                  <a:pt x="1851" y="458"/>
                  <a:pt x="1851" y="459"/>
                </a:cubicBezTo>
                <a:close/>
                <a:moveTo>
                  <a:pt x="1722" y="533"/>
                </a:moveTo>
                <a:cubicBezTo>
                  <a:pt x="1723" y="533"/>
                  <a:pt x="1723" y="532"/>
                  <a:pt x="1724" y="533"/>
                </a:cubicBezTo>
                <a:cubicBezTo>
                  <a:pt x="1724" y="533"/>
                  <a:pt x="1724" y="533"/>
                  <a:pt x="1724" y="533"/>
                </a:cubicBezTo>
                <a:cubicBezTo>
                  <a:pt x="1725" y="533"/>
                  <a:pt x="1726" y="533"/>
                  <a:pt x="1727" y="534"/>
                </a:cubicBezTo>
                <a:cubicBezTo>
                  <a:pt x="1727" y="534"/>
                  <a:pt x="1728" y="535"/>
                  <a:pt x="1728" y="534"/>
                </a:cubicBezTo>
                <a:cubicBezTo>
                  <a:pt x="1728" y="534"/>
                  <a:pt x="1728" y="534"/>
                  <a:pt x="1729" y="533"/>
                </a:cubicBezTo>
                <a:cubicBezTo>
                  <a:pt x="1729" y="533"/>
                  <a:pt x="1729" y="533"/>
                  <a:pt x="1729" y="533"/>
                </a:cubicBezTo>
                <a:cubicBezTo>
                  <a:pt x="1729" y="532"/>
                  <a:pt x="1729" y="533"/>
                  <a:pt x="1728" y="533"/>
                </a:cubicBezTo>
                <a:cubicBezTo>
                  <a:pt x="1728" y="533"/>
                  <a:pt x="1727" y="533"/>
                  <a:pt x="1727" y="533"/>
                </a:cubicBezTo>
                <a:cubicBezTo>
                  <a:pt x="1727" y="532"/>
                  <a:pt x="1727" y="532"/>
                  <a:pt x="1726" y="532"/>
                </a:cubicBezTo>
                <a:cubicBezTo>
                  <a:pt x="1726" y="532"/>
                  <a:pt x="1726" y="532"/>
                  <a:pt x="1725" y="532"/>
                </a:cubicBezTo>
                <a:cubicBezTo>
                  <a:pt x="1725" y="532"/>
                  <a:pt x="1724" y="532"/>
                  <a:pt x="1724" y="531"/>
                </a:cubicBezTo>
                <a:cubicBezTo>
                  <a:pt x="1724" y="531"/>
                  <a:pt x="1725" y="531"/>
                  <a:pt x="1725" y="531"/>
                </a:cubicBezTo>
                <a:cubicBezTo>
                  <a:pt x="1726" y="531"/>
                  <a:pt x="1726" y="531"/>
                  <a:pt x="1726" y="531"/>
                </a:cubicBezTo>
                <a:cubicBezTo>
                  <a:pt x="1726" y="530"/>
                  <a:pt x="1726" y="530"/>
                  <a:pt x="1725" y="530"/>
                </a:cubicBezTo>
                <a:cubicBezTo>
                  <a:pt x="1725" y="530"/>
                  <a:pt x="1725" y="530"/>
                  <a:pt x="1725" y="529"/>
                </a:cubicBezTo>
                <a:cubicBezTo>
                  <a:pt x="1724" y="529"/>
                  <a:pt x="1724" y="529"/>
                  <a:pt x="1724" y="529"/>
                </a:cubicBezTo>
                <a:cubicBezTo>
                  <a:pt x="1724" y="529"/>
                  <a:pt x="1724" y="529"/>
                  <a:pt x="1724" y="528"/>
                </a:cubicBezTo>
                <a:cubicBezTo>
                  <a:pt x="1724" y="528"/>
                  <a:pt x="1723" y="528"/>
                  <a:pt x="1723" y="528"/>
                </a:cubicBezTo>
                <a:cubicBezTo>
                  <a:pt x="1722" y="529"/>
                  <a:pt x="1723" y="529"/>
                  <a:pt x="1723" y="530"/>
                </a:cubicBezTo>
                <a:cubicBezTo>
                  <a:pt x="1722" y="530"/>
                  <a:pt x="1722" y="530"/>
                  <a:pt x="1722" y="530"/>
                </a:cubicBezTo>
                <a:cubicBezTo>
                  <a:pt x="1721" y="531"/>
                  <a:pt x="1722" y="533"/>
                  <a:pt x="1722" y="533"/>
                </a:cubicBezTo>
                <a:close/>
                <a:moveTo>
                  <a:pt x="899" y="1894"/>
                </a:moveTo>
                <a:cubicBezTo>
                  <a:pt x="899" y="1894"/>
                  <a:pt x="899" y="1894"/>
                  <a:pt x="900" y="1895"/>
                </a:cubicBezTo>
                <a:cubicBezTo>
                  <a:pt x="900" y="1895"/>
                  <a:pt x="900" y="1895"/>
                  <a:pt x="899" y="1895"/>
                </a:cubicBezTo>
                <a:cubicBezTo>
                  <a:pt x="898" y="1896"/>
                  <a:pt x="899" y="1896"/>
                  <a:pt x="900" y="1896"/>
                </a:cubicBezTo>
                <a:cubicBezTo>
                  <a:pt x="901" y="1896"/>
                  <a:pt x="901" y="1897"/>
                  <a:pt x="901" y="1898"/>
                </a:cubicBezTo>
                <a:cubicBezTo>
                  <a:pt x="901" y="1898"/>
                  <a:pt x="901" y="1899"/>
                  <a:pt x="901" y="1899"/>
                </a:cubicBezTo>
                <a:cubicBezTo>
                  <a:pt x="902" y="1900"/>
                  <a:pt x="902" y="1900"/>
                  <a:pt x="902" y="1900"/>
                </a:cubicBezTo>
                <a:cubicBezTo>
                  <a:pt x="902" y="1900"/>
                  <a:pt x="901" y="1901"/>
                  <a:pt x="902" y="1901"/>
                </a:cubicBezTo>
                <a:cubicBezTo>
                  <a:pt x="902" y="1901"/>
                  <a:pt x="903" y="1901"/>
                  <a:pt x="903" y="1900"/>
                </a:cubicBezTo>
                <a:cubicBezTo>
                  <a:pt x="904" y="1900"/>
                  <a:pt x="904" y="1899"/>
                  <a:pt x="904" y="1898"/>
                </a:cubicBezTo>
                <a:cubicBezTo>
                  <a:pt x="904" y="1897"/>
                  <a:pt x="903" y="1897"/>
                  <a:pt x="903" y="1896"/>
                </a:cubicBezTo>
                <a:cubicBezTo>
                  <a:pt x="902" y="1896"/>
                  <a:pt x="902" y="1895"/>
                  <a:pt x="902" y="1894"/>
                </a:cubicBezTo>
                <a:cubicBezTo>
                  <a:pt x="901" y="1894"/>
                  <a:pt x="901" y="1893"/>
                  <a:pt x="901" y="1892"/>
                </a:cubicBezTo>
                <a:cubicBezTo>
                  <a:pt x="901" y="1891"/>
                  <a:pt x="901" y="1891"/>
                  <a:pt x="900" y="1891"/>
                </a:cubicBezTo>
                <a:cubicBezTo>
                  <a:pt x="899" y="1891"/>
                  <a:pt x="899" y="1891"/>
                  <a:pt x="898" y="1891"/>
                </a:cubicBezTo>
                <a:cubicBezTo>
                  <a:pt x="898" y="1891"/>
                  <a:pt x="898" y="1892"/>
                  <a:pt x="898" y="1892"/>
                </a:cubicBezTo>
                <a:cubicBezTo>
                  <a:pt x="898" y="1893"/>
                  <a:pt x="898" y="1894"/>
                  <a:pt x="899" y="1894"/>
                </a:cubicBezTo>
                <a:close/>
                <a:moveTo>
                  <a:pt x="1722" y="535"/>
                </a:moveTo>
                <a:cubicBezTo>
                  <a:pt x="1723" y="535"/>
                  <a:pt x="1723" y="536"/>
                  <a:pt x="1723" y="536"/>
                </a:cubicBezTo>
                <a:cubicBezTo>
                  <a:pt x="1723" y="536"/>
                  <a:pt x="1723" y="535"/>
                  <a:pt x="1723" y="535"/>
                </a:cubicBezTo>
                <a:cubicBezTo>
                  <a:pt x="1723" y="534"/>
                  <a:pt x="1723" y="533"/>
                  <a:pt x="1721" y="533"/>
                </a:cubicBezTo>
                <a:cubicBezTo>
                  <a:pt x="1721" y="533"/>
                  <a:pt x="1721" y="534"/>
                  <a:pt x="1721" y="534"/>
                </a:cubicBezTo>
                <a:cubicBezTo>
                  <a:pt x="1721" y="535"/>
                  <a:pt x="1722" y="534"/>
                  <a:pt x="1722" y="535"/>
                </a:cubicBezTo>
                <a:close/>
                <a:moveTo>
                  <a:pt x="1856" y="455"/>
                </a:moveTo>
                <a:cubicBezTo>
                  <a:pt x="1857" y="455"/>
                  <a:pt x="1857" y="455"/>
                  <a:pt x="1857" y="455"/>
                </a:cubicBezTo>
                <a:cubicBezTo>
                  <a:pt x="1858" y="455"/>
                  <a:pt x="1858" y="455"/>
                  <a:pt x="1859" y="455"/>
                </a:cubicBezTo>
                <a:cubicBezTo>
                  <a:pt x="1859" y="454"/>
                  <a:pt x="1859" y="454"/>
                  <a:pt x="1860" y="454"/>
                </a:cubicBezTo>
                <a:cubicBezTo>
                  <a:pt x="1860" y="454"/>
                  <a:pt x="1860" y="454"/>
                  <a:pt x="1861" y="454"/>
                </a:cubicBezTo>
                <a:cubicBezTo>
                  <a:pt x="1862" y="454"/>
                  <a:pt x="1863" y="453"/>
                  <a:pt x="1864" y="453"/>
                </a:cubicBezTo>
                <a:cubicBezTo>
                  <a:pt x="1865" y="453"/>
                  <a:pt x="1865" y="452"/>
                  <a:pt x="1864" y="451"/>
                </a:cubicBezTo>
                <a:cubicBezTo>
                  <a:pt x="1863" y="451"/>
                  <a:pt x="1862" y="451"/>
                  <a:pt x="1861" y="451"/>
                </a:cubicBezTo>
                <a:cubicBezTo>
                  <a:pt x="1861" y="451"/>
                  <a:pt x="1861" y="451"/>
                  <a:pt x="1860" y="451"/>
                </a:cubicBezTo>
                <a:cubicBezTo>
                  <a:pt x="1860" y="451"/>
                  <a:pt x="1859" y="452"/>
                  <a:pt x="1859" y="452"/>
                </a:cubicBezTo>
                <a:cubicBezTo>
                  <a:pt x="1859" y="452"/>
                  <a:pt x="1858" y="453"/>
                  <a:pt x="1858" y="453"/>
                </a:cubicBezTo>
                <a:cubicBezTo>
                  <a:pt x="1857" y="453"/>
                  <a:pt x="1857" y="453"/>
                  <a:pt x="1857" y="453"/>
                </a:cubicBezTo>
                <a:cubicBezTo>
                  <a:pt x="1856" y="454"/>
                  <a:pt x="1856" y="454"/>
                  <a:pt x="1856" y="454"/>
                </a:cubicBezTo>
                <a:cubicBezTo>
                  <a:pt x="1856" y="454"/>
                  <a:pt x="1855" y="454"/>
                  <a:pt x="1855" y="454"/>
                </a:cubicBezTo>
                <a:cubicBezTo>
                  <a:pt x="1855" y="455"/>
                  <a:pt x="1856" y="455"/>
                  <a:pt x="1856" y="455"/>
                </a:cubicBezTo>
                <a:close/>
                <a:moveTo>
                  <a:pt x="1856" y="459"/>
                </a:moveTo>
                <a:cubicBezTo>
                  <a:pt x="1856" y="459"/>
                  <a:pt x="1856" y="459"/>
                  <a:pt x="1857" y="459"/>
                </a:cubicBezTo>
                <a:cubicBezTo>
                  <a:pt x="1857" y="459"/>
                  <a:pt x="1858" y="459"/>
                  <a:pt x="1858" y="458"/>
                </a:cubicBezTo>
                <a:cubicBezTo>
                  <a:pt x="1857" y="458"/>
                  <a:pt x="1856" y="458"/>
                  <a:pt x="1856" y="458"/>
                </a:cubicBezTo>
                <a:cubicBezTo>
                  <a:pt x="1855" y="458"/>
                  <a:pt x="1854" y="458"/>
                  <a:pt x="1855" y="459"/>
                </a:cubicBezTo>
                <a:cubicBezTo>
                  <a:pt x="1855" y="459"/>
                  <a:pt x="1856" y="459"/>
                  <a:pt x="1856" y="459"/>
                </a:cubicBezTo>
                <a:close/>
                <a:moveTo>
                  <a:pt x="1019" y="485"/>
                </a:moveTo>
                <a:cubicBezTo>
                  <a:pt x="1019" y="485"/>
                  <a:pt x="1020" y="485"/>
                  <a:pt x="1020" y="485"/>
                </a:cubicBezTo>
                <a:cubicBezTo>
                  <a:pt x="1021" y="484"/>
                  <a:pt x="1019" y="483"/>
                  <a:pt x="1019" y="482"/>
                </a:cubicBezTo>
                <a:cubicBezTo>
                  <a:pt x="1018" y="482"/>
                  <a:pt x="1018" y="482"/>
                  <a:pt x="1018" y="481"/>
                </a:cubicBezTo>
                <a:cubicBezTo>
                  <a:pt x="1017" y="481"/>
                  <a:pt x="1017" y="481"/>
                  <a:pt x="1016" y="482"/>
                </a:cubicBezTo>
                <a:cubicBezTo>
                  <a:pt x="1016" y="482"/>
                  <a:pt x="1016" y="483"/>
                  <a:pt x="1016" y="483"/>
                </a:cubicBezTo>
                <a:cubicBezTo>
                  <a:pt x="1017" y="484"/>
                  <a:pt x="1018" y="484"/>
                  <a:pt x="1018" y="484"/>
                </a:cubicBezTo>
                <a:cubicBezTo>
                  <a:pt x="1019" y="485"/>
                  <a:pt x="1019" y="485"/>
                  <a:pt x="1019" y="485"/>
                </a:cubicBezTo>
                <a:close/>
                <a:moveTo>
                  <a:pt x="1013" y="487"/>
                </a:moveTo>
                <a:cubicBezTo>
                  <a:pt x="1013" y="488"/>
                  <a:pt x="1014" y="488"/>
                  <a:pt x="1015" y="488"/>
                </a:cubicBezTo>
                <a:cubicBezTo>
                  <a:pt x="1016" y="489"/>
                  <a:pt x="1016" y="489"/>
                  <a:pt x="1017" y="490"/>
                </a:cubicBezTo>
                <a:cubicBezTo>
                  <a:pt x="1018" y="490"/>
                  <a:pt x="1018" y="491"/>
                  <a:pt x="1019" y="492"/>
                </a:cubicBezTo>
                <a:cubicBezTo>
                  <a:pt x="1019" y="492"/>
                  <a:pt x="1020" y="492"/>
                  <a:pt x="1021" y="492"/>
                </a:cubicBezTo>
                <a:cubicBezTo>
                  <a:pt x="1021" y="491"/>
                  <a:pt x="1021" y="491"/>
                  <a:pt x="1021" y="490"/>
                </a:cubicBezTo>
                <a:cubicBezTo>
                  <a:pt x="1021" y="490"/>
                  <a:pt x="1021" y="490"/>
                  <a:pt x="1022" y="490"/>
                </a:cubicBezTo>
                <a:cubicBezTo>
                  <a:pt x="1022" y="489"/>
                  <a:pt x="1023" y="488"/>
                  <a:pt x="1022" y="487"/>
                </a:cubicBezTo>
                <a:cubicBezTo>
                  <a:pt x="1022" y="487"/>
                  <a:pt x="1021" y="487"/>
                  <a:pt x="1020" y="487"/>
                </a:cubicBezTo>
                <a:cubicBezTo>
                  <a:pt x="1019" y="487"/>
                  <a:pt x="1019" y="487"/>
                  <a:pt x="1018" y="487"/>
                </a:cubicBezTo>
                <a:cubicBezTo>
                  <a:pt x="1017" y="487"/>
                  <a:pt x="1016" y="487"/>
                  <a:pt x="1015" y="487"/>
                </a:cubicBezTo>
                <a:cubicBezTo>
                  <a:pt x="1015" y="487"/>
                  <a:pt x="1013" y="487"/>
                  <a:pt x="1013" y="487"/>
                </a:cubicBezTo>
                <a:close/>
                <a:moveTo>
                  <a:pt x="1025" y="472"/>
                </a:moveTo>
                <a:cubicBezTo>
                  <a:pt x="1025" y="472"/>
                  <a:pt x="1026" y="471"/>
                  <a:pt x="1026" y="471"/>
                </a:cubicBezTo>
                <a:cubicBezTo>
                  <a:pt x="1025" y="471"/>
                  <a:pt x="1025" y="471"/>
                  <a:pt x="1024" y="471"/>
                </a:cubicBezTo>
                <a:cubicBezTo>
                  <a:pt x="1024" y="471"/>
                  <a:pt x="1024" y="471"/>
                  <a:pt x="1023" y="471"/>
                </a:cubicBezTo>
                <a:cubicBezTo>
                  <a:pt x="1022" y="471"/>
                  <a:pt x="1022" y="470"/>
                  <a:pt x="1021" y="471"/>
                </a:cubicBezTo>
                <a:cubicBezTo>
                  <a:pt x="1021" y="471"/>
                  <a:pt x="1021" y="471"/>
                  <a:pt x="1020" y="471"/>
                </a:cubicBezTo>
                <a:cubicBezTo>
                  <a:pt x="1020" y="471"/>
                  <a:pt x="1020" y="472"/>
                  <a:pt x="1019" y="472"/>
                </a:cubicBezTo>
                <a:cubicBezTo>
                  <a:pt x="1019" y="472"/>
                  <a:pt x="1019" y="472"/>
                  <a:pt x="1019" y="472"/>
                </a:cubicBezTo>
                <a:cubicBezTo>
                  <a:pt x="1019" y="473"/>
                  <a:pt x="1020" y="473"/>
                  <a:pt x="1021" y="473"/>
                </a:cubicBezTo>
                <a:cubicBezTo>
                  <a:pt x="1021" y="473"/>
                  <a:pt x="1021" y="474"/>
                  <a:pt x="1022" y="474"/>
                </a:cubicBezTo>
                <a:cubicBezTo>
                  <a:pt x="1023" y="474"/>
                  <a:pt x="1023" y="474"/>
                  <a:pt x="1023" y="473"/>
                </a:cubicBezTo>
                <a:cubicBezTo>
                  <a:pt x="1024" y="473"/>
                  <a:pt x="1024" y="472"/>
                  <a:pt x="1025" y="472"/>
                </a:cubicBezTo>
                <a:close/>
                <a:moveTo>
                  <a:pt x="930" y="297"/>
                </a:moveTo>
                <a:cubicBezTo>
                  <a:pt x="930" y="298"/>
                  <a:pt x="930" y="299"/>
                  <a:pt x="929" y="299"/>
                </a:cubicBezTo>
                <a:cubicBezTo>
                  <a:pt x="929" y="300"/>
                  <a:pt x="928" y="300"/>
                  <a:pt x="927" y="300"/>
                </a:cubicBezTo>
                <a:cubicBezTo>
                  <a:pt x="927" y="301"/>
                  <a:pt x="927" y="302"/>
                  <a:pt x="926" y="302"/>
                </a:cubicBezTo>
                <a:cubicBezTo>
                  <a:pt x="926" y="303"/>
                  <a:pt x="926" y="302"/>
                  <a:pt x="925" y="301"/>
                </a:cubicBezTo>
                <a:cubicBezTo>
                  <a:pt x="924" y="301"/>
                  <a:pt x="923" y="301"/>
                  <a:pt x="922" y="301"/>
                </a:cubicBezTo>
                <a:cubicBezTo>
                  <a:pt x="922" y="302"/>
                  <a:pt x="921" y="302"/>
                  <a:pt x="921" y="303"/>
                </a:cubicBezTo>
                <a:cubicBezTo>
                  <a:pt x="921" y="303"/>
                  <a:pt x="920" y="305"/>
                  <a:pt x="920" y="305"/>
                </a:cubicBezTo>
                <a:cubicBezTo>
                  <a:pt x="920" y="305"/>
                  <a:pt x="920" y="305"/>
                  <a:pt x="920" y="304"/>
                </a:cubicBezTo>
                <a:cubicBezTo>
                  <a:pt x="920" y="304"/>
                  <a:pt x="920" y="303"/>
                  <a:pt x="921" y="302"/>
                </a:cubicBezTo>
                <a:cubicBezTo>
                  <a:pt x="921" y="302"/>
                  <a:pt x="921" y="302"/>
                  <a:pt x="921" y="302"/>
                </a:cubicBezTo>
                <a:cubicBezTo>
                  <a:pt x="922" y="301"/>
                  <a:pt x="922" y="301"/>
                  <a:pt x="922" y="301"/>
                </a:cubicBezTo>
                <a:cubicBezTo>
                  <a:pt x="922" y="300"/>
                  <a:pt x="924" y="299"/>
                  <a:pt x="922" y="299"/>
                </a:cubicBezTo>
                <a:cubicBezTo>
                  <a:pt x="922" y="299"/>
                  <a:pt x="921" y="300"/>
                  <a:pt x="920" y="299"/>
                </a:cubicBezTo>
                <a:cubicBezTo>
                  <a:pt x="920" y="299"/>
                  <a:pt x="920" y="298"/>
                  <a:pt x="920" y="298"/>
                </a:cubicBezTo>
                <a:cubicBezTo>
                  <a:pt x="921" y="298"/>
                  <a:pt x="921" y="298"/>
                  <a:pt x="921" y="297"/>
                </a:cubicBezTo>
                <a:cubicBezTo>
                  <a:pt x="921" y="296"/>
                  <a:pt x="920" y="296"/>
                  <a:pt x="920" y="296"/>
                </a:cubicBezTo>
                <a:cubicBezTo>
                  <a:pt x="919" y="296"/>
                  <a:pt x="919" y="297"/>
                  <a:pt x="919" y="297"/>
                </a:cubicBezTo>
                <a:cubicBezTo>
                  <a:pt x="919" y="297"/>
                  <a:pt x="918" y="297"/>
                  <a:pt x="918" y="298"/>
                </a:cubicBezTo>
                <a:cubicBezTo>
                  <a:pt x="917" y="298"/>
                  <a:pt x="917" y="299"/>
                  <a:pt x="917" y="300"/>
                </a:cubicBezTo>
                <a:cubicBezTo>
                  <a:pt x="916" y="301"/>
                  <a:pt x="916" y="301"/>
                  <a:pt x="915" y="302"/>
                </a:cubicBezTo>
                <a:cubicBezTo>
                  <a:pt x="915" y="302"/>
                  <a:pt x="915" y="303"/>
                  <a:pt x="915" y="303"/>
                </a:cubicBezTo>
                <a:cubicBezTo>
                  <a:pt x="914" y="303"/>
                  <a:pt x="914" y="304"/>
                  <a:pt x="914" y="304"/>
                </a:cubicBezTo>
                <a:cubicBezTo>
                  <a:pt x="914" y="304"/>
                  <a:pt x="914" y="303"/>
                  <a:pt x="914" y="303"/>
                </a:cubicBezTo>
                <a:cubicBezTo>
                  <a:pt x="914" y="302"/>
                  <a:pt x="914" y="302"/>
                  <a:pt x="914" y="301"/>
                </a:cubicBezTo>
                <a:cubicBezTo>
                  <a:pt x="915" y="301"/>
                  <a:pt x="915" y="300"/>
                  <a:pt x="914" y="300"/>
                </a:cubicBezTo>
                <a:cubicBezTo>
                  <a:pt x="914" y="299"/>
                  <a:pt x="914" y="299"/>
                  <a:pt x="914" y="299"/>
                </a:cubicBezTo>
                <a:cubicBezTo>
                  <a:pt x="915" y="299"/>
                  <a:pt x="915" y="299"/>
                  <a:pt x="916" y="299"/>
                </a:cubicBezTo>
                <a:cubicBezTo>
                  <a:pt x="916" y="298"/>
                  <a:pt x="916" y="298"/>
                  <a:pt x="916" y="297"/>
                </a:cubicBezTo>
                <a:cubicBezTo>
                  <a:pt x="916" y="297"/>
                  <a:pt x="917" y="297"/>
                  <a:pt x="917" y="296"/>
                </a:cubicBezTo>
                <a:cubicBezTo>
                  <a:pt x="917" y="296"/>
                  <a:pt x="918" y="296"/>
                  <a:pt x="918" y="296"/>
                </a:cubicBezTo>
                <a:cubicBezTo>
                  <a:pt x="918" y="295"/>
                  <a:pt x="918" y="295"/>
                  <a:pt x="918" y="295"/>
                </a:cubicBezTo>
                <a:cubicBezTo>
                  <a:pt x="919" y="294"/>
                  <a:pt x="919" y="294"/>
                  <a:pt x="919" y="294"/>
                </a:cubicBezTo>
                <a:cubicBezTo>
                  <a:pt x="920" y="294"/>
                  <a:pt x="920" y="294"/>
                  <a:pt x="920" y="293"/>
                </a:cubicBezTo>
                <a:cubicBezTo>
                  <a:pt x="921" y="293"/>
                  <a:pt x="921" y="293"/>
                  <a:pt x="920" y="292"/>
                </a:cubicBezTo>
                <a:cubicBezTo>
                  <a:pt x="920" y="292"/>
                  <a:pt x="919" y="292"/>
                  <a:pt x="918" y="292"/>
                </a:cubicBezTo>
                <a:cubicBezTo>
                  <a:pt x="918" y="292"/>
                  <a:pt x="917" y="292"/>
                  <a:pt x="917" y="293"/>
                </a:cubicBezTo>
                <a:cubicBezTo>
                  <a:pt x="916" y="293"/>
                  <a:pt x="916" y="294"/>
                  <a:pt x="915" y="293"/>
                </a:cubicBezTo>
                <a:cubicBezTo>
                  <a:pt x="914" y="293"/>
                  <a:pt x="914" y="293"/>
                  <a:pt x="913" y="293"/>
                </a:cubicBezTo>
                <a:cubicBezTo>
                  <a:pt x="912" y="293"/>
                  <a:pt x="912" y="293"/>
                  <a:pt x="911" y="294"/>
                </a:cubicBezTo>
                <a:cubicBezTo>
                  <a:pt x="911" y="294"/>
                  <a:pt x="911" y="295"/>
                  <a:pt x="910" y="295"/>
                </a:cubicBezTo>
                <a:cubicBezTo>
                  <a:pt x="910" y="295"/>
                  <a:pt x="909" y="295"/>
                  <a:pt x="909" y="295"/>
                </a:cubicBezTo>
                <a:cubicBezTo>
                  <a:pt x="908" y="295"/>
                  <a:pt x="908" y="296"/>
                  <a:pt x="908" y="297"/>
                </a:cubicBezTo>
                <a:cubicBezTo>
                  <a:pt x="907" y="298"/>
                  <a:pt x="907" y="298"/>
                  <a:pt x="908" y="299"/>
                </a:cubicBezTo>
                <a:cubicBezTo>
                  <a:pt x="908" y="299"/>
                  <a:pt x="909" y="299"/>
                  <a:pt x="909" y="300"/>
                </a:cubicBezTo>
                <a:cubicBezTo>
                  <a:pt x="908" y="300"/>
                  <a:pt x="908" y="300"/>
                  <a:pt x="908" y="301"/>
                </a:cubicBezTo>
                <a:cubicBezTo>
                  <a:pt x="908" y="301"/>
                  <a:pt x="908" y="302"/>
                  <a:pt x="908" y="301"/>
                </a:cubicBezTo>
                <a:cubicBezTo>
                  <a:pt x="908" y="301"/>
                  <a:pt x="908" y="300"/>
                  <a:pt x="908" y="300"/>
                </a:cubicBezTo>
                <a:cubicBezTo>
                  <a:pt x="908" y="299"/>
                  <a:pt x="907" y="299"/>
                  <a:pt x="906" y="299"/>
                </a:cubicBezTo>
                <a:cubicBezTo>
                  <a:pt x="906" y="298"/>
                  <a:pt x="906" y="298"/>
                  <a:pt x="906" y="298"/>
                </a:cubicBezTo>
                <a:cubicBezTo>
                  <a:pt x="906" y="297"/>
                  <a:pt x="906" y="297"/>
                  <a:pt x="906" y="297"/>
                </a:cubicBezTo>
                <a:cubicBezTo>
                  <a:pt x="907" y="297"/>
                  <a:pt x="907" y="297"/>
                  <a:pt x="907" y="296"/>
                </a:cubicBezTo>
                <a:cubicBezTo>
                  <a:pt x="907" y="296"/>
                  <a:pt x="908" y="296"/>
                  <a:pt x="908" y="296"/>
                </a:cubicBezTo>
                <a:cubicBezTo>
                  <a:pt x="908" y="295"/>
                  <a:pt x="909" y="294"/>
                  <a:pt x="908" y="294"/>
                </a:cubicBezTo>
                <a:cubicBezTo>
                  <a:pt x="908" y="294"/>
                  <a:pt x="907" y="294"/>
                  <a:pt x="907" y="294"/>
                </a:cubicBezTo>
                <a:cubicBezTo>
                  <a:pt x="907" y="294"/>
                  <a:pt x="906" y="294"/>
                  <a:pt x="906" y="294"/>
                </a:cubicBezTo>
                <a:cubicBezTo>
                  <a:pt x="905" y="295"/>
                  <a:pt x="905" y="294"/>
                  <a:pt x="906" y="293"/>
                </a:cubicBezTo>
                <a:cubicBezTo>
                  <a:pt x="907" y="293"/>
                  <a:pt x="908" y="293"/>
                  <a:pt x="908" y="293"/>
                </a:cubicBezTo>
                <a:cubicBezTo>
                  <a:pt x="909" y="292"/>
                  <a:pt x="909" y="291"/>
                  <a:pt x="910" y="291"/>
                </a:cubicBezTo>
                <a:cubicBezTo>
                  <a:pt x="911" y="291"/>
                  <a:pt x="911" y="291"/>
                  <a:pt x="911" y="291"/>
                </a:cubicBezTo>
                <a:cubicBezTo>
                  <a:pt x="911" y="292"/>
                  <a:pt x="912" y="291"/>
                  <a:pt x="912" y="291"/>
                </a:cubicBezTo>
                <a:cubicBezTo>
                  <a:pt x="913" y="291"/>
                  <a:pt x="914" y="291"/>
                  <a:pt x="914" y="290"/>
                </a:cubicBezTo>
                <a:cubicBezTo>
                  <a:pt x="914" y="290"/>
                  <a:pt x="914" y="288"/>
                  <a:pt x="914" y="288"/>
                </a:cubicBezTo>
                <a:cubicBezTo>
                  <a:pt x="914" y="287"/>
                  <a:pt x="914" y="286"/>
                  <a:pt x="913" y="286"/>
                </a:cubicBezTo>
                <a:cubicBezTo>
                  <a:pt x="912" y="285"/>
                  <a:pt x="911" y="286"/>
                  <a:pt x="911" y="286"/>
                </a:cubicBezTo>
                <a:cubicBezTo>
                  <a:pt x="910" y="286"/>
                  <a:pt x="909" y="286"/>
                  <a:pt x="908" y="285"/>
                </a:cubicBezTo>
                <a:cubicBezTo>
                  <a:pt x="908" y="285"/>
                  <a:pt x="907" y="285"/>
                  <a:pt x="907" y="285"/>
                </a:cubicBezTo>
                <a:cubicBezTo>
                  <a:pt x="907" y="285"/>
                  <a:pt x="906" y="285"/>
                  <a:pt x="906" y="284"/>
                </a:cubicBezTo>
                <a:cubicBezTo>
                  <a:pt x="906" y="284"/>
                  <a:pt x="905" y="284"/>
                  <a:pt x="905" y="284"/>
                </a:cubicBezTo>
                <a:cubicBezTo>
                  <a:pt x="904" y="284"/>
                  <a:pt x="904" y="284"/>
                  <a:pt x="903" y="285"/>
                </a:cubicBezTo>
                <a:cubicBezTo>
                  <a:pt x="903" y="285"/>
                  <a:pt x="903" y="286"/>
                  <a:pt x="902" y="287"/>
                </a:cubicBezTo>
                <a:cubicBezTo>
                  <a:pt x="901" y="287"/>
                  <a:pt x="901" y="287"/>
                  <a:pt x="900" y="287"/>
                </a:cubicBezTo>
                <a:cubicBezTo>
                  <a:pt x="899" y="287"/>
                  <a:pt x="898" y="288"/>
                  <a:pt x="898" y="288"/>
                </a:cubicBezTo>
                <a:cubicBezTo>
                  <a:pt x="898" y="287"/>
                  <a:pt x="899" y="287"/>
                  <a:pt x="900" y="287"/>
                </a:cubicBezTo>
                <a:cubicBezTo>
                  <a:pt x="900" y="287"/>
                  <a:pt x="901" y="287"/>
                  <a:pt x="901" y="287"/>
                </a:cubicBezTo>
                <a:cubicBezTo>
                  <a:pt x="901" y="286"/>
                  <a:pt x="901" y="286"/>
                  <a:pt x="902" y="286"/>
                </a:cubicBezTo>
                <a:cubicBezTo>
                  <a:pt x="902" y="285"/>
                  <a:pt x="899" y="285"/>
                  <a:pt x="899" y="285"/>
                </a:cubicBezTo>
                <a:cubicBezTo>
                  <a:pt x="898" y="284"/>
                  <a:pt x="898" y="284"/>
                  <a:pt x="897" y="284"/>
                </a:cubicBezTo>
                <a:cubicBezTo>
                  <a:pt x="897" y="285"/>
                  <a:pt x="896" y="285"/>
                  <a:pt x="896" y="285"/>
                </a:cubicBezTo>
                <a:cubicBezTo>
                  <a:pt x="896" y="285"/>
                  <a:pt x="896" y="285"/>
                  <a:pt x="896" y="285"/>
                </a:cubicBezTo>
                <a:cubicBezTo>
                  <a:pt x="897" y="284"/>
                  <a:pt x="898" y="284"/>
                  <a:pt x="898" y="284"/>
                </a:cubicBezTo>
                <a:cubicBezTo>
                  <a:pt x="899" y="284"/>
                  <a:pt x="900" y="284"/>
                  <a:pt x="901" y="285"/>
                </a:cubicBezTo>
                <a:cubicBezTo>
                  <a:pt x="901" y="285"/>
                  <a:pt x="902" y="285"/>
                  <a:pt x="903" y="284"/>
                </a:cubicBezTo>
                <a:cubicBezTo>
                  <a:pt x="903" y="284"/>
                  <a:pt x="904" y="283"/>
                  <a:pt x="904" y="283"/>
                </a:cubicBezTo>
                <a:cubicBezTo>
                  <a:pt x="905" y="282"/>
                  <a:pt x="905" y="281"/>
                  <a:pt x="905" y="281"/>
                </a:cubicBezTo>
                <a:cubicBezTo>
                  <a:pt x="905" y="280"/>
                  <a:pt x="904" y="280"/>
                  <a:pt x="903" y="279"/>
                </a:cubicBezTo>
                <a:cubicBezTo>
                  <a:pt x="903" y="278"/>
                  <a:pt x="903" y="278"/>
                  <a:pt x="902" y="277"/>
                </a:cubicBezTo>
                <a:cubicBezTo>
                  <a:pt x="902" y="276"/>
                  <a:pt x="901" y="276"/>
                  <a:pt x="900" y="276"/>
                </a:cubicBezTo>
                <a:cubicBezTo>
                  <a:pt x="899" y="276"/>
                  <a:pt x="898" y="276"/>
                  <a:pt x="898" y="276"/>
                </a:cubicBezTo>
                <a:cubicBezTo>
                  <a:pt x="897" y="275"/>
                  <a:pt x="895" y="275"/>
                  <a:pt x="894" y="275"/>
                </a:cubicBezTo>
                <a:cubicBezTo>
                  <a:pt x="894" y="275"/>
                  <a:pt x="893" y="275"/>
                  <a:pt x="893" y="275"/>
                </a:cubicBezTo>
                <a:cubicBezTo>
                  <a:pt x="893" y="276"/>
                  <a:pt x="892" y="276"/>
                  <a:pt x="892" y="276"/>
                </a:cubicBezTo>
                <a:cubicBezTo>
                  <a:pt x="891" y="276"/>
                  <a:pt x="892" y="276"/>
                  <a:pt x="892" y="275"/>
                </a:cubicBezTo>
                <a:cubicBezTo>
                  <a:pt x="891" y="275"/>
                  <a:pt x="891" y="275"/>
                  <a:pt x="891" y="274"/>
                </a:cubicBezTo>
                <a:cubicBezTo>
                  <a:pt x="889" y="274"/>
                  <a:pt x="887" y="274"/>
                  <a:pt x="886" y="273"/>
                </a:cubicBezTo>
                <a:cubicBezTo>
                  <a:pt x="885" y="273"/>
                  <a:pt x="885" y="272"/>
                  <a:pt x="884" y="272"/>
                </a:cubicBezTo>
                <a:cubicBezTo>
                  <a:pt x="884" y="271"/>
                  <a:pt x="883" y="271"/>
                  <a:pt x="882" y="271"/>
                </a:cubicBezTo>
                <a:cubicBezTo>
                  <a:pt x="880" y="271"/>
                  <a:pt x="878" y="271"/>
                  <a:pt x="877" y="271"/>
                </a:cubicBezTo>
                <a:cubicBezTo>
                  <a:pt x="876" y="271"/>
                  <a:pt x="875" y="272"/>
                  <a:pt x="874" y="272"/>
                </a:cubicBezTo>
                <a:cubicBezTo>
                  <a:pt x="874" y="272"/>
                  <a:pt x="873" y="272"/>
                  <a:pt x="872" y="273"/>
                </a:cubicBezTo>
                <a:cubicBezTo>
                  <a:pt x="871" y="273"/>
                  <a:pt x="870" y="273"/>
                  <a:pt x="870" y="273"/>
                </a:cubicBezTo>
                <a:cubicBezTo>
                  <a:pt x="869" y="273"/>
                  <a:pt x="868" y="273"/>
                  <a:pt x="867" y="274"/>
                </a:cubicBezTo>
                <a:cubicBezTo>
                  <a:pt x="866" y="274"/>
                  <a:pt x="865" y="275"/>
                  <a:pt x="864" y="276"/>
                </a:cubicBezTo>
                <a:cubicBezTo>
                  <a:pt x="864" y="276"/>
                  <a:pt x="864" y="277"/>
                  <a:pt x="864" y="277"/>
                </a:cubicBezTo>
                <a:cubicBezTo>
                  <a:pt x="864" y="278"/>
                  <a:pt x="865" y="278"/>
                  <a:pt x="865" y="279"/>
                </a:cubicBezTo>
                <a:cubicBezTo>
                  <a:pt x="866" y="279"/>
                  <a:pt x="866" y="279"/>
                  <a:pt x="866" y="280"/>
                </a:cubicBezTo>
                <a:cubicBezTo>
                  <a:pt x="866" y="280"/>
                  <a:pt x="867" y="280"/>
                  <a:pt x="867" y="280"/>
                </a:cubicBezTo>
                <a:cubicBezTo>
                  <a:pt x="868" y="280"/>
                  <a:pt x="869" y="280"/>
                  <a:pt x="869" y="281"/>
                </a:cubicBezTo>
                <a:cubicBezTo>
                  <a:pt x="870" y="281"/>
                  <a:pt x="871" y="281"/>
                  <a:pt x="872" y="282"/>
                </a:cubicBezTo>
                <a:cubicBezTo>
                  <a:pt x="871" y="282"/>
                  <a:pt x="870" y="281"/>
                  <a:pt x="869" y="281"/>
                </a:cubicBezTo>
                <a:cubicBezTo>
                  <a:pt x="869" y="281"/>
                  <a:pt x="868" y="281"/>
                  <a:pt x="867" y="281"/>
                </a:cubicBezTo>
                <a:cubicBezTo>
                  <a:pt x="867" y="281"/>
                  <a:pt x="865" y="280"/>
                  <a:pt x="865" y="281"/>
                </a:cubicBezTo>
                <a:cubicBezTo>
                  <a:pt x="865" y="281"/>
                  <a:pt x="865" y="282"/>
                  <a:pt x="865" y="282"/>
                </a:cubicBezTo>
                <a:cubicBezTo>
                  <a:pt x="864" y="282"/>
                  <a:pt x="865" y="281"/>
                  <a:pt x="865" y="281"/>
                </a:cubicBezTo>
                <a:cubicBezTo>
                  <a:pt x="864" y="280"/>
                  <a:pt x="864" y="280"/>
                  <a:pt x="863" y="280"/>
                </a:cubicBezTo>
                <a:cubicBezTo>
                  <a:pt x="862" y="280"/>
                  <a:pt x="862" y="280"/>
                  <a:pt x="862" y="280"/>
                </a:cubicBezTo>
                <a:cubicBezTo>
                  <a:pt x="861" y="280"/>
                  <a:pt x="861" y="281"/>
                  <a:pt x="861" y="282"/>
                </a:cubicBezTo>
                <a:cubicBezTo>
                  <a:pt x="861" y="282"/>
                  <a:pt x="861" y="282"/>
                  <a:pt x="861" y="283"/>
                </a:cubicBezTo>
                <a:cubicBezTo>
                  <a:pt x="861" y="284"/>
                  <a:pt x="862" y="284"/>
                  <a:pt x="863" y="284"/>
                </a:cubicBezTo>
                <a:cubicBezTo>
                  <a:pt x="864" y="284"/>
                  <a:pt x="865" y="285"/>
                  <a:pt x="866" y="286"/>
                </a:cubicBezTo>
                <a:cubicBezTo>
                  <a:pt x="866" y="287"/>
                  <a:pt x="866" y="287"/>
                  <a:pt x="867" y="288"/>
                </a:cubicBezTo>
                <a:cubicBezTo>
                  <a:pt x="868" y="288"/>
                  <a:pt x="868" y="289"/>
                  <a:pt x="869" y="289"/>
                </a:cubicBezTo>
                <a:cubicBezTo>
                  <a:pt x="869" y="289"/>
                  <a:pt x="868" y="289"/>
                  <a:pt x="867" y="288"/>
                </a:cubicBezTo>
                <a:cubicBezTo>
                  <a:pt x="867" y="289"/>
                  <a:pt x="868" y="290"/>
                  <a:pt x="868" y="291"/>
                </a:cubicBezTo>
                <a:cubicBezTo>
                  <a:pt x="868" y="291"/>
                  <a:pt x="868" y="291"/>
                  <a:pt x="868" y="291"/>
                </a:cubicBezTo>
                <a:cubicBezTo>
                  <a:pt x="867" y="291"/>
                  <a:pt x="866" y="289"/>
                  <a:pt x="866" y="289"/>
                </a:cubicBezTo>
                <a:cubicBezTo>
                  <a:pt x="866" y="288"/>
                  <a:pt x="866" y="287"/>
                  <a:pt x="866" y="287"/>
                </a:cubicBezTo>
                <a:cubicBezTo>
                  <a:pt x="865" y="286"/>
                  <a:pt x="865" y="285"/>
                  <a:pt x="864" y="285"/>
                </a:cubicBezTo>
                <a:cubicBezTo>
                  <a:pt x="863" y="285"/>
                  <a:pt x="863" y="285"/>
                  <a:pt x="862" y="284"/>
                </a:cubicBezTo>
                <a:cubicBezTo>
                  <a:pt x="862" y="284"/>
                  <a:pt x="862" y="284"/>
                  <a:pt x="861" y="284"/>
                </a:cubicBezTo>
                <a:cubicBezTo>
                  <a:pt x="860" y="284"/>
                  <a:pt x="860" y="285"/>
                  <a:pt x="860" y="285"/>
                </a:cubicBezTo>
                <a:cubicBezTo>
                  <a:pt x="860" y="285"/>
                  <a:pt x="860" y="286"/>
                  <a:pt x="860" y="286"/>
                </a:cubicBezTo>
                <a:cubicBezTo>
                  <a:pt x="860" y="287"/>
                  <a:pt x="860" y="287"/>
                  <a:pt x="860" y="287"/>
                </a:cubicBezTo>
                <a:cubicBezTo>
                  <a:pt x="861" y="287"/>
                  <a:pt x="861" y="288"/>
                  <a:pt x="861" y="288"/>
                </a:cubicBezTo>
                <a:cubicBezTo>
                  <a:pt x="861" y="288"/>
                  <a:pt x="862" y="288"/>
                  <a:pt x="862" y="288"/>
                </a:cubicBezTo>
                <a:cubicBezTo>
                  <a:pt x="862" y="289"/>
                  <a:pt x="863" y="289"/>
                  <a:pt x="863" y="289"/>
                </a:cubicBezTo>
                <a:cubicBezTo>
                  <a:pt x="863" y="289"/>
                  <a:pt x="864" y="289"/>
                  <a:pt x="864" y="290"/>
                </a:cubicBezTo>
                <a:cubicBezTo>
                  <a:pt x="864" y="290"/>
                  <a:pt x="864" y="290"/>
                  <a:pt x="863" y="290"/>
                </a:cubicBezTo>
                <a:cubicBezTo>
                  <a:pt x="863" y="290"/>
                  <a:pt x="863" y="290"/>
                  <a:pt x="862" y="290"/>
                </a:cubicBezTo>
                <a:cubicBezTo>
                  <a:pt x="862" y="289"/>
                  <a:pt x="862" y="289"/>
                  <a:pt x="862" y="289"/>
                </a:cubicBezTo>
                <a:cubicBezTo>
                  <a:pt x="861" y="289"/>
                  <a:pt x="861" y="289"/>
                  <a:pt x="861" y="289"/>
                </a:cubicBezTo>
                <a:cubicBezTo>
                  <a:pt x="860" y="289"/>
                  <a:pt x="859" y="288"/>
                  <a:pt x="858" y="288"/>
                </a:cubicBezTo>
                <a:cubicBezTo>
                  <a:pt x="858" y="289"/>
                  <a:pt x="857" y="289"/>
                  <a:pt x="857" y="289"/>
                </a:cubicBezTo>
                <a:cubicBezTo>
                  <a:pt x="857" y="288"/>
                  <a:pt x="857" y="288"/>
                  <a:pt x="857" y="288"/>
                </a:cubicBezTo>
                <a:cubicBezTo>
                  <a:pt x="858" y="287"/>
                  <a:pt x="859" y="287"/>
                  <a:pt x="859" y="286"/>
                </a:cubicBezTo>
                <a:cubicBezTo>
                  <a:pt x="859" y="285"/>
                  <a:pt x="859" y="285"/>
                  <a:pt x="859" y="285"/>
                </a:cubicBezTo>
                <a:cubicBezTo>
                  <a:pt x="859" y="284"/>
                  <a:pt x="860" y="284"/>
                  <a:pt x="860" y="284"/>
                </a:cubicBezTo>
                <a:cubicBezTo>
                  <a:pt x="860" y="283"/>
                  <a:pt x="860" y="282"/>
                  <a:pt x="859" y="281"/>
                </a:cubicBezTo>
                <a:cubicBezTo>
                  <a:pt x="859" y="281"/>
                  <a:pt x="858" y="281"/>
                  <a:pt x="857" y="280"/>
                </a:cubicBezTo>
                <a:cubicBezTo>
                  <a:pt x="856" y="279"/>
                  <a:pt x="855" y="279"/>
                  <a:pt x="854" y="280"/>
                </a:cubicBezTo>
                <a:cubicBezTo>
                  <a:pt x="854" y="280"/>
                  <a:pt x="854" y="280"/>
                  <a:pt x="854" y="280"/>
                </a:cubicBezTo>
                <a:cubicBezTo>
                  <a:pt x="854" y="281"/>
                  <a:pt x="853" y="281"/>
                  <a:pt x="853" y="281"/>
                </a:cubicBezTo>
                <a:cubicBezTo>
                  <a:pt x="853" y="281"/>
                  <a:pt x="852" y="281"/>
                  <a:pt x="852" y="282"/>
                </a:cubicBezTo>
                <a:cubicBezTo>
                  <a:pt x="852" y="282"/>
                  <a:pt x="851" y="283"/>
                  <a:pt x="850" y="282"/>
                </a:cubicBezTo>
                <a:cubicBezTo>
                  <a:pt x="850" y="281"/>
                  <a:pt x="851" y="281"/>
                  <a:pt x="852" y="281"/>
                </a:cubicBezTo>
                <a:cubicBezTo>
                  <a:pt x="852" y="281"/>
                  <a:pt x="852" y="280"/>
                  <a:pt x="852" y="280"/>
                </a:cubicBezTo>
                <a:cubicBezTo>
                  <a:pt x="852" y="280"/>
                  <a:pt x="851" y="280"/>
                  <a:pt x="851" y="280"/>
                </a:cubicBezTo>
                <a:cubicBezTo>
                  <a:pt x="851" y="280"/>
                  <a:pt x="851" y="279"/>
                  <a:pt x="851" y="279"/>
                </a:cubicBezTo>
                <a:cubicBezTo>
                  <a:pt x="851" y="279"/>
                  <a:pt x="850" y="279"/>
                  <a:pt x="850" y="279"/>
                </a:cubicBezTo>
                <a:cubicBezTo>
                  <a:pt x="850" y="279"/>
                  <a:pt x="850" y="278"/>
                  <a:pt x="850" y="278"/>
                </a:cubicBezTo>
                <a:cubicBezTo>
                  <a:pt x="851" y="278"/>
                  <a:pt x="851" y="278"/>
                  <a:pt x="851" y="277"/>
                </a:cubicBezTo>
                <a:cubicBezTo>
                  <a:pt x="851" y="277"/>
                  <a:pt x="851" y="277"/>
                  <a:pt x="850" y="277"/>
                </a:cubicBezTo>
                <a:cubicBezTo>
                  <a:pt x="850" y="277"/>
                  <a:pt x="849" y="276"/>
                  <a:pt x="849" y="277"/>
                </a:cubicBezTo>
                <a:cubicBezTo>
                  <a:pt x="849" y="278"/>
                  <a:pt x="849" y="278"/>
                  <a:pt x="848" y="278"/>
                </a:cubicBezTo>
                <a:cubicBezTo>
                  <a:pt x="848" y="279"/>
                  <a:pt x="848" y="279"/>
                  <a:pt x="847" y="279"/>
                </a:cubicBezTo>
                <a:cubicBezTo>
                  <a:pt x="846" y="279"/>
                  <a:pt x="846" y="280"/>
                  <a:pt x="846" y="281"/>
                </a:cubicBezTo>
                <a:cubicBezTo>
                  <a:pt x="845" y="281"/>
                  <a:pt x="845" y="281"/>
                  <a:pt x="845" y="281"/>
                </a:cubicBezTo>
                <a:cubicBezTo>
                  <a:pt x="844" y="281"/>
                  <a:pt x="844" y="282"/>
                  <a:pt x="844" y="282"/>
                </a:cubicBezTo>
                <a:cubicBezTo>
                  <a:pt x="844" y="283"/>
                  <a:pt x="845" y="283"/>
                  <a:pt x="844" y="283"/>
                </a:cubicBezTo>
                <a:cubicBezTo>
                  <a:pt x="844" y="284"/>
                  <a:pt x="843" y="283"/>
                  <a:pt x="842" y="284"/>
                </a:cubicBezTo>
                <a:cubicBezTo>
                  <a:pt x="842" y="284"/>
                  <a:pt x="843" y="284"/>
                  <a:pt x="843" y="285"/>
                </a:cubicBezTo>
                <a:cubicBezTo>
                  <a:pt x="843" y="285"/>
                  <a:pt x="843" y="285"/>
                  <a:pt x="843" y="286"/>
                </a:cubicBezTo>
                <a:cubicBezTo>
                  <a:pt x="843" y="286"/>
                  <a:pt x="843" y="287"/>
                  <a:pt x="843" y="287"/>
                </a:cubicBezTo>
                <a:cubicBezTo>
                  <a:pt x="842" y="287"/>
                  <a:pt x="841" y="287"/>
                  <a:pt x="840" y="287"/>
                </a:cubicBezTo>
                <a:cubicBezTo>
                  <a:pt x="840" y="287"/>
                  <a:pt x="839" y="288"/>
                  <a:pt x="839" y="289"/>
                </a:cubicBezTo>
                <a:cubicBezTo>
                  <a:pt x="838" y="289"/>
                  <a:pt x="839" y="290"/>
                  <a:pt x="838" y="290"/>
                </a:cubicBezTo>
                <a:cubicBezTo>
                  <a:pt x="838" y="290"/>
                  <a:pt x="838" y="289"/>
                  <a:pt x="838" y="289"/>
                </a:cubicBezTo>
                <a:cubicBezTo>
                  <a:pt x="838" y="288"/>
                  <a:pt x="839" y="287"/>
                  <a:pt x="838" y="287"/>
                </a:cubicBezTo>
                <a:cubicBezTo>
                  <a:pt x="838" y="287"/>
                  <a:pt x="838" y="287"/>
                  <a:pt x="837" y="287"/>
                </a:cubicBezTo>
                <a:cubicBezTo>
                  <a:pt x="837" y="287"/>
                  <a:pt x="837" y="286"/>
                  <a:pt x="836" y="286"/>
                </a:cubicBezTo>
                <a:cubicBezTo>
                  <a:pt x="836" y="286"/>
                  <a:pt x="835" y="286"/>
                  <a:pt x="836" y="285"/>
                </a:cubicBezTo>
                <a:cubicBezTo>
                  <a:pt x="836" y="285"/>
                  <a:pt x="837" y="286"/>
                  <a:pt x="837" y="286"/>
                </a:cubicBezTo>
                <a:cubicBezTo>
                  <a:pt x="838" y="285"/>
                  <a:pt x="839" y="285"/>
                  <a:pt x="839" y="286"/>
                </a:cubicBezTo>
                <a:cubicBezTo>
                  <a:pt x="840" y="286"/>
                  <a:pt x="842" y="286"/>
                  <a:pt x="841" y="285"/>
                </a:cubicBezTo>
                <a:cubicBezTo>
                  <a:pt x="841" y="285"/>
                  <a:pt x="840" y="285"/>
                  <a:pt x="840" y="285"/>
                </a:cubicBezTo>
                <a:cubicBezTo>
                  <a:pt x="840" y="285"/>
                  <a:pt x="839" y="284"/>
                  <a:pt x="839" y="284"/>
                </a:cubicBezTo>
                <a:cubicBezTo>
                  <a:pt x="839" y="284"/>
                  <a:pt x="838" y="284"/>
                  <a:pt x="838" y="284"/>
                </a:cubicBezTo>
                <a:cubicBezTo>
                  <a:pt x="837" y="284"/>
                  <a:pt x="838" y="283"/>
                  <a:pt x="838" y="283"/>
                </a:cubicBezTo>
                <a:cubicBezTo>
                  <a:pt x="838" y="282"/>
                  <a:pt x="838" y="282"/>
                  <a:pt x="839" y="281"/>
                </a:cubicBezTo>
                <a:cubicBezTo>
                  <a:pt x="839" y="280"/>
                  <a:pt x="840" y="280"/>
                  <a:pt x="841" y="280"/>
                </a:cubicBezTo>
                <a:cubicBezTo>
                  <a:pt x="842" y="280"/>
                  <a:pt x="842" y="279"/>
                  <a:pt x="842" y="278"/>
                </a:cubicBezTo>
                <a:cubicBezTo>
                  <a:pt x="842" y="277"/>
                  <a:pt x="842" y="277"/>
                  <a:pt x="841" y="276"/>
                </a:cubicBezTo>
                <a:cubicBezTo>
                  <a:pt x="840" y="276"/>
                  <a:pt x="840" y="277"/>
                  <a:pt x="839" y="277"/>
                </a:cubicBezTo>
                <a:cubicBezTo>
                  <a:pt x="839" y="277"/>
                  <a:pt x="839" y="277"/>
                  <a:pt x="838" y="277"/>
                </a:cubicBezTo>
                <a:cubicBezTo>
                  <a:pt x="838" y="278"/>
                  <a:pt x="838" y="278"/>
                  <a:pt x="838" y="278"/>
                </a:cubicBezTo>
                <a:cubicBezTo>
                  <a:pt x="837" y="279"/>
                  <a:pt x="836" y="279"/>
                  <a:pt x="836" y="280"/>
                </a:cubicBezTo>
                <a:cubicBezTo>
                  <a:pt x="835" y="280"/>
                  <a:pt x="835" y="281"/>
                  <a:pt x="834" y="281"/>
                </a:cubicBezTo>
                <a:cubicBezTo>
                  <a:pt x="834" y="281"/>
                  <a:pt x="834" y="281"/>
                  <a:pt x="835" y="280"/>
                </a:cubicBezTo>
                <a:cubicBezTo>
                  <a:pt x="835" y="279"/>
                  <a:pt x="837" y="279"/>
                  <a:pt x="838" y="277"/>
                </a:cubicBezTo>
                <a:cubicBezTo>
                  <a:pt x="838" y="277"/>
                  <a:pt x="839" y="276"/>
                  <a:pt x="840" y="276"/>
                </a:cubicBezTo>
                <a:cubicBezTo>
                  <a:pt x="840" y="276"/>
                  <a:pt x="840" y="276"/>
                  <a:pt x="841" y="275"/>
                </a:cubicBezTo>
                <a:cubicBezTo>
                  <a:pt x="841" y="275"/>
                  <a:pt x="841" y="275"/>
                  <a:pt x="841" y="274"/>
                </a:cubicBezTo>
                <a:cubicBezTo>
                  <a:pt x="842" y="274"/>
                  <a:pt x="842" y="274"/>
                  <a:pt x="842" y="273"/>
                </a:cubicBezTo>
                <a:cubicBezTo>
                  <a:pt x="843" y="273"/>
                  <a:pt x="844" y="273"/>
                  <a:pt x="844" y="272"/>
                </a:cubicBezTo>
                <a:cubicBezTo>
                  <a:pt x="845" y="271"/>
                  <a:pt x="843" y="270"/>
                  <a:pt x="842" y="270"/>
                </a:cubicBezTo>
                <a:cubicBezTo>
                  <a:pt x="841" y="269"/>
                  <a:pt x="841" y="268"/>
                  <a:pt x="840" y="267"/>
                </a:cubicBezTo>
                <a:cubicBezTo>
                  <a:pt x="840" y="266"/>
                  <a:pt x="841" y="266"/>
                  <a:pt x="841" y="265"/>
                </a:cubicBezTo>
                <a:cubicBezTo>
                  <a:pt x="841" y="264"/>
                  <a:pt x="841" y="263"/>
                  <a:pt x="841" y="263"/>
                </a:cubicBezTo>
                <a:cubicBezTo>
                  <a:pt x="840" y="262"/>
                  <a:pt x="840" y="262"/>
                  <a:pt x="840" y="262"/>
                </a:cubicBezTo>
                <a:cubicBezTo>
                  <a:pt x="839" y="262"/>
                  <a:pt x="839" y="262"/>
                  <a:pt x="839" y="262"/>
                </a:cubicBezTo>
                <a:cubicBezTo>
                  <a:pt x="837" y="261"/>
                  <a:pt x="836" y="261"/>
                  <a:pt x="835" y="260"/>
                </a:cubicBezTo>
                <a:cubicBezTo>
                  <a:pt x="834" y="259"/>
                  <a:pt x="834" y="258"/>
                  <a:pt x="834" y="257"/>
                </a:cubicBezTo>
                <a:cubicBezTo>
                  <a:pt x="834" y="255"/>
                  <a:pt x="834" y="253"/>
                  <a:pt x="832" y="252"/>
                </a:cubicBezTo>
                <a:cubicBezTo>
                  <a:pt x="832" y="252"/>
                  <a:pt x="832" y="252"/>
                  <a:pt x="831" y="252"/>
                </a:cubicBezTo>
                <a:cubicBezTo>
                  <a:pt x="831" y="251"/>
                  <a:pt x="831" y="251"/>
                  <a:pt x="831" y="251"/>
                </a:cubicBezTo>
                <a:cubicBezTo>
                  <a:pt x="830" y="250"/>
                  <a:pt x="830" y="250"/>
                  <a:pt x="829" y="250"/>
                </a:cubicBezTo>
                <a:cubicBezTo>
                  <a:pt x="828" y="250"/>
                  <a:pt x="827" y="250"/>
                  <a:pt x="826" y="250"/>
                </a:cubicBezTo>
                <a:cubicBezTo>
                  <a:pt x="825" y="250"/>
                  <a:pt x="824" y="250"/>
                  <a:pt x="823" y="250"/>
                </a:cubicBezTo>
                <a:cubicBezTo>
                  <a:pt x="822" y="250"/>
                  <a:pt x="821" y="250"/>
                  <a:pt x="821" y="250"/>
                </a:cubicBezTo>
                <a:cubicBezTo>
                  <a:pt x="820" y="250"/>
                  <a:pt x="820" y="250"/>
                  <a:pt x="819" y="250"/>
                </a:cubicBezTo>
                <a:cubicBezTo>
                  <a:pt x="819" y="250"/>
                  <a:pt x="818" y="250"/>
                  <a:pt x="817" y="250"/>
                </a:cubicBezTo>
                <a:cubicBezTo>
                  <a:pt x="817" y="250"/>
                  <a:pt x="817" y="250"/>
                  <a:pt x="816" y="250"/>
                </a:cubicBezTo>
                <a:cubicBezTo>
                  <a:pt x="816" y="250"/>
                  <a:pt x="815" y="250"/>
                  <a:pt x="815" y="250"/>
                </a:cubicBezTo>
                <a:cubicBezTo>
                  <a:pt x="814" y="251"/>
                  <a:pt x="813" y="251"/>
                  <a:pt x="812" y="252"/>
                </a:cubicBezTo>
                <a:cubicBezTo>
                  <a:pt x="812" y="252"/>
                  <a:pt x="811" y="252"/>
                  <a:pt x="810" y="252"/>
                </a:cubicBezTo>
                <a:cubicBezTo>
                  <a:pt x="809" y="252"/>
                  <a:pt x="807" y="252"/>
                  <a:pt x="806" y="253"/>
                </a:cubicBezTo>
                <a:cubicBezTo>
                  <a:pt x="805" y="253"/>
                  <a:pt x="805" y="254"/>
                  <a:pt x="803" y="254"/>
                </a:cubicBezTo>
                <a:cubicBezTo>
                  <a:pt x="803" y="254"/>
                  <a:pt x="802" y="254"/>
                  <a:pt x="802" y="255"/>
                </a:cubicBezTo>
                <a:cubicBezTo>
                  <a:pt x="802" y="255"/>
                  <a:pt x="802" y="255"/>
                  <a:pt x="803" y="255"/>
                </a:cubicBezTo>
                <a:cubicBezTo>
                  <a:pt x="803" y="256"/>
                  <a:pt x="804" y="255"/>
                  <a:pt x="805" y="255"/>
                </a:cubicBezTo>
                <a:cubicBezTo>
                  <a:pt x="805" y="256"/>
                  <a:pt x="805" y="256"/>
                  <a:pt x="805" y="256"/>
                </a:cubicBezTo>
                <a:cubicBezTo>
                  <a:pt x="805" y="256"/>
                  <a:pt x="805" y="257"/>
                  <a:pt x="805" y="257"/>
                </a:cubicBezTo>
                <a:cubicBezTo>
                  <a:pt x="805" y="257"/>
                  <a:pt x="806" y="257"/>
                  <a:pt x="806" y="257"/>
                </a:cubicBezTo>
                <a:cubicBezTo>
                  <a:pt x="806" y="258"/>
                  <a:pt x="806" y="258"/>
                  <a:pt x="805" y="258"/>
                </a:cubicBezTo>
                <a:cubicBezTo>
                  <a:pt x="805" y="258"/>
                  <a:pt x="805" y="258"/>
                  <a:pt x="805" y="257"/>
                </a:cubicBezTo>
                <a:cubicBezTo>
                  <a:pt x="804" y="257"/>
                  <a:pt x="804" y="256"/>
                  <a:pt x="803" y="256"/>
                </a:cubicBezTo>
                <a:cubicBezTo>
                  <a:pt x="802" y="255"/>
                  <a:pt x="800" y="255"/>
                  <a:pt x="799" y="256"/>
                </a:cubicBezTo>
                <a:cubicBezTo>
                  <a:pt x="799" y="256"/>
                  <a:pt x="798" y="256"/>
                  <a:pt x="798" y="256"/>
                </a:cubicBezTo>
                <a:cubicBezTo>
                  <a:pt x="797" y="257"/>
                  <a:pt x="797" y="256"/>
                  <a:pt x="796" y="257"/>
                </a:cubicBezTo>
                <a:cubicBezTo>
                  <a:pt x="796" y="257"/>
                  <a:pt x="795" y="257"/>
                  <a:pt x="795" y="257"/>
                </a:cubicBezTo>
                <a:cubicBezTo>
                  <a:pt x="795" y="258"/>
                  <a:pt x="796" y="258"/>
                  <a:pt x="796" y="258"/>
                </a:cubicBezTo>
                <a:cubicBezTo>
                  <a:pt x="796" y="258"/>
                  <a:pt x="796" y="259"/>
                  <a:pt x="796" y="259"/>
                </a:cubicBezTo>
                <a:cubicBezTo>
                  <a:pt x="796" y="259"/>
                  <a:pt x="797" y="259"/>
                  <a:pt x="797" y="260"/>
                </a:cubicBezTo>
                <a:cubicBezTo>
                  <a:pt x="797" y="260"/>
                  <a:pt x="797" y="261"/>
                  <a:pt x="797" y="260"/>
                </a:cubicBezTo>
                <a:cubicBezTo>
                  <a:pt x="796" y="260"/>
                  <a:pt x="796" y="260"/>
                  <a:pt x="796" y="260"/>
                </a:cubicBezTo>
                <a:cubicBezTo>
                  <a:pt x="795" y="260"/>
                  <a:pt x="795" y="260"/>
                  <a:pt x="795" y="259"/>
                </a:cubicBezTo>
                <a:cubicBezTo>
                  <a:pt x="794" y="259"/>
                  <a:pt x="794" y="259"/>
                  <a:pt x="794" y="259"/>
                </a:cubicBezTo>
                <a:cubicBezTo>
                  <a:pt x="794" y="258"/>
                  <a:pt x="794" y="258"/>
                  <a:pt x="793" y="258"/>
                </a:cubicBezTo>
                <a:cubicBezTo>
                  <a:pt x="793" y="257"/>
                  <a:pt x="793" y="258"/>
                  <a:pt x="792" y="258"/>
                </a:cubicBezTo>
                <a:cubicBezTo>
                  <a:pt x="791" y="258"/>
                  <a:pt x="791" y="258"/>
                  <a:pt x="791" y="257"/>
                </a:cubicBezTo>
                <a:cubicBezTo>
                  <a:pt x="791" y="255"/>
                  <a:pt x="791" y="254"/>
                  <a:pt x="791" y="253"/>
                </a:cubicBezTo>
                <a:cubicBezTo>
                  <a:pt x="791" y="251"/>
                  <a:pt x="792" y="252"/>
                  <a:pt x="792" y="250"/>
                </a:cubicBezTo>
                <a:cubicBezTo>
                  <a:pt x="792" y="249"/>
                  <a:pt x="791" y="249"/>
                  <a:pt x="790" y="248"/>
                </a:cubicBezTo>
                <a:cubicBezTo>
                  <a:pt x="790" y="248"/>
                  <a:pt x="789" y="248"/>
                  <a:pt x="788" y="248"/>
                </a:cubicBezTo>
                <a:cubicBezTo>
                  <a:pt x="787" y="248"/>
                  <a:pt x="786" y="248"/>
                  <a:pt x="785" y="248"/>
                </a:cubicBezTo>
                <a:cubicBezTo>
                  <a:pt x="785" y="248"/>
                  <a:pt x="784" y="248"/>
                  <a:pt x="784" y="248"/>
                </a:cubicBezTo>
                <a:cubicBezTo>
                  <a:pt x="783" y="248"/>
                  <a:pt x="782" y="247"/>
                  <a:pt x="781" y="247"/>
                </a:cubicBezTo>
                <a:cubicBezTo>
                  <a:pt x="779" y="247"/>
                  <a:pt x="778" y="247"/>
                  <a:pt x="776" y="247"/>
                </a:cubicBezTo>
                <a:cubicBezTo>
                  <a:pt x="775" y="247"/>
                  <a:pt x="774" y="247"/>
                  <a:pt x="773" y="247"/>
                </a:cubicBezTo>
                <a:cubicBezTo>
                  <a:pt x="772" y="247"/>
                  <a:pt x="771" y="248"/>
                  <a:pt x="770" y="248"/>
                </a:cubicBezTo>
                <a:cubicBezTo>
                  <a:pt x="768" y="248"/>
                  <a:pt x="765" y="248"/>
                  <a:pt x="763" y="249"/>
                </a:cubicBezTo>
                <a:cubicBezTo>
                  <a:pt x="762" y="249"/>
                  <a:pt x="761" y="250"/>
                  <a:pt x="759" y="250"/>
                </a:cubicBezTo>
                <a:cubicBezTo>
                  <a:pt x="759" y="250"/>
                  <a:pt x="758" y="251"/>
                  <a:pt x="757" y="251"/>
                </a:cubicBezTo>
                <a:cubicBezTo>
                  <a:pt x="757" y="251"/>
                  <a:pt x="757" y="252"/>
                  <a:pt x="756" y="252"/>
                </a:cubicBezTo>
                <a:cubicBezTo>
                  <a:pt x="756" y="252"/>
                  <a:pt x="755" y="252"/>
                  <a:pt x="755" y="253"/>
                </a:cubicBezTo>
                <a:cubicBezTo>
                  <a:pt x="754" y="253"/>
                  <a:pt x="753" y="253"/>
                  <a:pt x="753" y="254"/>
                </a:cubicBezTo>
                <a:cubicBezTo>
                  <a:pt x="752" y="254"/>
                  <a:pt x="751" y="255"/>
                  <a:pt x="751" y="255"/>
                </a:cubicBezTo>
                <a:cubicBezTo>
                  <a:pt x="750" y="256"/>
                  <a:pt x="749" y="256"/>
                  <a:pt x="748" y="257"/>
                </a:cubicBezTo>
                <a:cubicBezTo>
                  <a:pt x="748" y="258"/>
                  <a:pt x="748" y="258"/>
                  <a:pt x="748" y="259"/>
                </a:cubicBezTo>
                <a:cubicBezTo>
                  <a:pt x="748" y="259"/>
                  <a:pt x="748" y="259"/>
                  <a:pt x="748" y="260"/>
                </a:cubicBezTo>
                <a:cubicBezTo>
                  <a:pt x="747" y="260"/>
                  <a:pt x="747" y="259"/>
                  <a:pt x="747" y="259"/>
                </a:cubicBezTo>
                <a:cubicBezTo>
                  <a:pt x="746" y="259"/>
                  <a:pt x="746" y="259"/>
                  <a:pt x="745" y="260"/>
                </a:cubicBezTo>
                <a:cubicBezTo>
                  <a:pt x="745" y="260"/>
                  <a:pt x="745" y="260"/>
                  <a:pt x="744" y="261"/>
                </a:cubicBezTo>
                <a:cubicBezTo>
                  <a:pt x="743" y="262"/>
                  <a:pt x="742" y="263"/>
                  <a:pt x="742" y="265"/>
                </a:cubicBezTo>
                <a:cubicBezTo>
                  <a:pt x="742" y="265"/>
                  <a:pt x="742" y="266"/>
                  <a:pt x="742" y="266"/>
                </a:cubicBezTo>
                <a:cubicBezTo>
                  <a:pt x="742" y="267"/>
                  <a:pt x="741" y="267"/>
                  <a:pt x="741" y="268"/>
                </a:cubicBezTo>
                <a:cubicBezTo>
                  <a:pt x="741" y="268"/>
                  <a:pt x="741" y="269"/>
                  <a:pt x="741" y="270"/>
                </a:cubicBezTo>
                <a:cubicBezTo>
                  <a:pt x="740" y="271"/>
                  <a:pt x="739" y="270"/>
                  <a:pt x="739" y="271"/>
                </a:cubicBezTo>
                <a:cubicBezTo>
                  <a:pt x="738" y="272"/>
                  <a:pt x="739" y="272"/>
                  <a:pt x="739" y="273"/>
                </a:cubicBezTo>
                <a:cubicBezTo>
                  <a:pt x="738" y="274"/>
                  <a:pt x="735" y="274"/>
                  <a:pt x="736" y="276"/>
                </a:cubicBezTo>
                <a:cubicBezTo>
                  <a:pt x="736" y="276"/>
                  <a:pt x="736" y="277"/>
                  <a:pt x="736" y="277"/>
                </a:cubicBezTo>
                <a:cubicBezTo>
                  <a:pt x="736" y="277"/>
                  <a:pt x="735" y="277"/>
                  <a:pt x="735" y="278"/>
                </a:cubicBezTo>
                <a:cubicBezTo>
                  <a:pt x="735" y="278"/>
                  <a:pt x="735" y="278"/>
                  <a:pt x="735" y="279"/>
                </a:cubicBezTo>
                <a:cubicBezTo>
                  <a:pt x="735" y="280"/>
                  <a:pt x="734" y="280"/>
                  <a:pt x="734" y="281"/>
                </a:cubicBezTo>
                <a:cubicBezTo>
                  <a:pt x="734" y="282"/>
                  <a:pt x="734" y="282"/>
                  <a:pt x="734" y="283"/>
                </a:cubicBezTo>
                <a:cubicBezTo>
                  <a:pt x="735" y="283"/>
                  <a:pt x="735" y="283"/>
                  <a:pt x="735" y="283"/>
                </a:cubicBezTo>
                <a:cubicBezTo>
                  <a:pt x="736" y="283"/>
                  <a:pt x="736" y="283"/>
                  <a:pt x="736" y="284"/>
                </a:cubicBezTo>
                <a:cubicBezTo>
                  <a:pt x="737" y="284"/>
                  <a:pt x="737" y="284"/>
                  <a:pt x="737" y="284"/>
                </a:cubicBezTo>
                <a:cubicBezTo>
                  <a:pt x="738" y="285"/>
                  <a:pt x="736" y="285"/>
                  <a:pt x="736" y="285"/>
                </a:cubicBezTo>
                <a:cubicBezTo>
                  <a:pt x="735" y="285"/>
                  <a:pt x="735" y="285"/>
                  <a:pt x="734" y="286"/>
                </a:cubicBezTo>
                <a:cubicBezTo>
                  <a:pt x="734" y="286"/>
                  <a:pt x="734" y="287"/>
                  <a:pt x="733" y="287"/>
                </a:cubicBezTo>
                <a:cubicBezTo>
                  <a:pt x="733" y="288"/>
                  <a:pt x="733" y="288"/>
                  <a:pt x="733" y="289"/>
                </a:cubicBezTo>
                <a:cubicBezTo>
                  <a:pt x="733" y="290"/>
                  <a:pt x="733" y="291"/>
                  <a:pt x="734" y="292"/>
                </a:cubicBezTo>
                <a:cubicBezTo>
                  <a:pt x="734" y="292"/>
                  <a:pt x="735" y="293"/>
                  <a:pt x="735" y="294"/>
                </a:cubicBezTo>
                <a:cubicBezTo>
                  <a:pt x="735" y="294"/>
                  <a:pt x="734" y="295"/>
                  <a:pt x="734" y="295"/>
                </a:cubicBezTo>
                <a:cubicBezTo>
                  <a:pt x="733" y="296"/>
                  <a:pt x="733" y="297"/>
                  <a:pt x="734" y="298"/>
                </a:cubicBezTo>
                <a:cubicBezTo>
                  <a:pt x="734" y="299"/>
                  <a:pt x="735" y="301"/>
                  <a:pt x="737" y="302"/>
                </a:cubicBezTo>
                <a:cubicBezTo>
                  <a:pt x="737" y="302"/>
                  <a:pt x="738" y="302"/>
                  <a:pt x="739" y="302"/>
                </a:cubicBezTo>
                <a:cubicBezTo>
                  <a:pt x="740" y="302"/>
                  <a:pt x="741" y="302"/>
                  <a:pt x="742" y="302"/>
                </a:cubicBezTo>
                <a:cubicBezTo>
                  <a:pt x="744" y="302"/>
                  <a:pt x="745" y="303"/>
                  <a:pt x="748" y="303"/>
                </a:cubicBezTo>
                <a:cubicBezTo>
                  <a:pt x="750" y="303"/>
                  <a:pt x="752" y="304"/>
                  <a:pt x="754" y="304"/>
                </a:cubicBezTo>
                <a:cubicBezTo>
                  <a:pt x="755" y="304"/>
                  <a:pt x="756" y="304"/>
                  <a:pt x="757" y="304"/>
                </a:cubicBezTo>
                <a:cubicBezTo>
                  <a:pt x="757" y="303"/>
                  <a:pt x="758" y="303"/>
                  <a:pt x="759" y="304"/>
                </a:cubicBezTo>
                <a:cubicBezTo>
                  <a:pt x="759" y="304"/>
                  <a:pt x="760" y="305"/>
                  <a:pt x="760" y="305"/>
                </a:cubicBezTo>
                <a:cubicBezTo>
                  <a:pt x="761" y="305"/>
                  <a:pt x="761" y="306"/>
                  <a:pt x="762" y="307"/>
                </a:cubicBezTo>
                <a:cubicBezTo>
                  <a:pt x="762" y="307"/>
                  <a:pt x="763" y="307"/>
                  <a:pt x="763" y="307"/>
                </a:cubicBezTo>
                <a:cubicBezTo>
                  <a:pt x="763" y="308"/>
                  <a:pt x="764" y="308"/>
                  <a:pt x="764" y="308"/>
                </a:cubicBezTo>
                <a:cubicBezTo>
                  <a:pt x="765" y="310"/>
                  <a:pt x="761" y="309"/>
                  <a:pt x="760" y="309"/>
                </a:cubicBezTo>
                <a:cubicBezTo>
                  <a:pt x="759" y="309"/>
                  <a:pt x="758" y="309"/>
                  <a:pt x="757" y="309"/>
                </a:cubicBezTo>
                <a:cubicBezTo>
                  <a:pt x="756" y="309"/>
                  <a:pt x="756" y="310"/>
                  <a:pt x="755" y="310"/>
                </a:cubicBezTo>
                <a:cubicBezTo>
                  <a:pt x="753" y="309"/>
                  <a:pt x="752" y="307"/>
                  <a:pt x="750" y="307"/>
                </a:cubicBezTo>
                <a:cubicBezTo>
                  <a:pt x="749" y="307"/>
                  <a:pt x="749" y="307"/>
                  <a:pt x="749" y="308"/>
                </a:cubicBezTo>
                <a:cubicBezTo>
                  <a:pt x="748" y="308"/>
                  <a:pt x="748" y="308"/>
                  <a:pt x="747" y="308"/>
                </a:cubicBezTo>
                <a:cubicBezTo>
                  <a:pt x="746" y="308"/>
                  <a:pt x="745" y="308"/>
                  <a:pt x="744" y="308"/>
                </a:cubicBezTo>
                <a:cubicBezTo>
                  <a:pt x="743" y="308"/>
                  <a:pt x="743" y="308"/>
                  <a:pt x="742" y="308"/>
                </a:cubicBezTo>
                <a:cubicBezTo>
                  <a:pt x="742" y="307"/>
                  <a:pt x="742" y="307"/>
                  <a:pt x="741" y="307"/>
                </a:cubicBezTo>
                <a:cubicBezTo>
                  <a:pt x="741" y="307"/>
                  <a:pt x="741" y="307"/>
                  <a:pt x="740" y="307"/>
                </a:cubicBezTo>
                <a:cubicBezTo>
                  <a:pt x="740" y="307"/>
                  <a:pt x="740" y="306"/>
                  <a:pt x="739" y="306"/>
                </a:cubicBezTo>
                <a:cubicBezTo>
                  <a:pt x="738" y="306"/>
                  <a:pt x="739" y="307"/>
                  <a:pt x="739" y="307"/>
                </a:cubicBezTo>
                <a:cubicBezTo>
                  <a:pt x="740" y="308"/>
                  <a:pt x="741" y="308"/>
                  <a:pt x="741" y="309"/>
                </a:cubicBezTo>
                <a:cubicBezTo>
                  <a:pt x="741" y="310"/>
                  <a:pt x="740" y="310"/>
                  <a:pt x="740" y="310"/>
                </a:cubicBezTo>
                <a:cubicBezTo>
                  <a:pt x="740" y="310"/>
                  <a:pt x="740" y="311"/>
                  <a:pt x="740" y="311"/>
                </a:cubicBezTo>
                <a:cubicBezTo>
                  <a:pt x="740" y="312"/>
                  <a:pt x="741" y="312"/>
                  <a:pt x="741" y="313"/>
                </a:cubicBezTo>
                <a:cubicBezTo>
                  <a:pt x="742" y="313"/>
                  <a:pt x="743" y="314"/>
                  <a:pt x="744" y="315"/>
                </a:cubicBezTo>
                <a:cubicBezTo>
                  <a:pt x="745" y="315"/>
                  <a:pt x="745" y="316"/>
                  <a:pt x="746" y="316"/>
                </a:cubicBezTo>
                <a:cubicBezTo>
                  <a:pt x="747" y="317"/>
                  <a:pt x="747" y="318"/>
                  <a:pt x="748" y="318"/>
                </a:cubicBezTo>
                <a:cubicBezTo>
                  <a:pt x="748" y="318"/>
                  <a:pt x="749" y="319"/>
                  <a:pt x="749" y="319"/>
                </a:cubicBezTo>
                <a:cubicBezTo>
                  <a:pt x="750" y="319"/>
                  <a:pt x="751" y="320"/>
                  <a:pt x="753" y="320"/>
                </a:cubicBezTo>
                <a:cubicBezTo>
                  <a:pt x="753" y="321"/>
                  <a:pt x="754" y="321"/>
                  <a:pt x="754" y="321"/>
                </a:cubicBezTo>
                <a:cubicBezTo>
                  <a:pt x="754" y="321"/>
                  <a:pt x="754" y="321"/>
                  <a:pt x="755" y="321"/>
                </a:cubicBezTo>
                <a:cubicBezTo>
                  <a:pt x="755" y="322"/>
                  <a:pt x="756" y="322"/>
                  <a:pt x="755" y="322"/>
                </a:cubicBezTo>
                <a:cubicBezTo>
                  <a:pt x="755" y="322"/>
                  <a:pt x="755" y="322"/>
                  <a:pt x="754" y="322"/>
                </a:cubicBezTo>
                <a:cubicBezTo>
                  <a:pt x="754" y="322"/>
                  <a:pt x="753" y="322"/>
                  <a:pt x="753" y="323"/>
                </a:cubicBezTo>
                <a:cubicBezTo>
                  <a:pt x="754" y="323"/>
                  <a:pt x="754" y="323"/>
                  <a:pt x="755" y="323"/>
                </a:cubicBezTo>
                <a:cubicBezTo>
                  <a:pt x="756" y="323"/>
                  <a:pt x="756" y="324"/>
                  <a:pt x="757" y="324"/>
                </a:cubicBezTo>
                <a:cubicBezTo>
                  <a:pt x="758" y="324"/>
                  <a:pt x="759" y="324"/>
                  <a:pt x="759" y="324"/>
                </a:cubicBezTo>
                <a:cubicBezTo>
                  <a:pt x="760" y="323"/>
                  <a:pt x="760" y="322"/>
                  <a:pt x="761" y="323"/>
                </a:cubicBezTo>
                <a:cubicBezTo>
                  <a:pt x="762" y="323"/>
                  <a:pt x="762" y="323"/>
                  <a:pt x="762" y="323"/>
                </a:cubicBezTo>
                <a:cubicBezTo>
                  <a:pt x="763" y="323"/>
                  <a:pt x="763" y="323"/>
                  <a:pt x="764" y="323"/>
                </a:cubicBezTo>
                <a:cubicBezTo>
                  <a:pt x="765" y="323"/>
                  <a:pt x="765" y="323"/>
                  <a:pt x="766" y="323"/>
                </a:cubicBezTo>
                <a:cubicBezTo>
                  <a:pt x="766" y="323"/>
                  <a:pt x="768" y="323"/>
                  <a:pt x="768" y="323"/>
                </a:cubicBezTo>
                <a:cubicBezTo>
                  <a:pt x="768" y="323"/>
                  <a:pt x="768" y="323"/>
                  <a:pt x="768" y="322"/>
                </a:cubicBezTo>
                <a:cubicBezTo>
                  <a:pt x="768" y="322"/>
                  <a:pt x="768" y="322"/>
                  <a:pt x="767" y="322"/>
                </a:cubicBezTo>
                <a:cubicBezTo>
                  <a:pt x="767" y="322"/>
                  <a:pt x="767" y="322"/>
                  <a:pt x="767" y="322"/>
                </a:cubicBezTo>
                <a:cubicBezTo>
                  <a:pt x="767" y="321"/>
                  <a:pt x="766" y="322"/>
                  <a:pt x="766" y="321"/>
                </a:cubicBezTo>
                <a:cubicBezTo>
                  <a:pt x="766" y="321"/>
                  <a:pt x="766" y="321"/>
                  <a:pt x="766" y="321"/>
                </a:cubicBezTo>
                <a:cubicBezTo>
                  <a:pt x="766" y="321"/>
                  <a:pt x="766" y="320"/>
                  <a:pt x="766" y="320"/>
                </a:cubicBezTo>
                <a:cubicBezTo>
                  <a:pt x="767" y="320"/>
                  <a:pt x="767" y="320"/>
                  <a:pt x="768" y="320"/>
                </a:cubicBezTo>
                <a:cubicBezTo>
                  <a:pt x="768" y="320"/>
                  <a:pt x="768" y="320"/>
                  <a:pt x="769" y="320"/>
                </a:cubicBezTo>
                <a:cubicBezTo>
                  <a:pt x="769" y="320"/>
                  <a:pt x="770" y="320"/>
                  <a:pt x="770" y="320"/>
                </a:cubicBezTo>
                <a:cubicBezTo>
                  <a:pt x="770" y="321"/>
                  <a:pt x="770" y="321"/>
                  <a:pt x="770" y="321"/>
                </a:cubicBezTo>
                <a:cubicBezTo>
                  <a:pt x="769" y="321"/>
                  <a:pt x="769" y="321"/>
                  <a:pt x="769" y="322"/>
                </a:cubicBezTo>
                <a:cubicBezTo>
                  <a:pt x="769" y="322"/>
                  <a:pt x="769" y="322"/>
                  <a:pt x="770" y="322"/>
                </a:cubicBezTo>
                <a:cubicBezTo>
                  <a:pt x="770" y="322"/>
                  <a:pt x="770" y="322"/>
                  <a:pt x="770" y="322"/>
                </a:cubicBezTo>
                <a:cubicBezTo>
                  <a:pt x="771" y="322"/>
                  <a:pt x="771" y="322"/>
                  <a:pt x="771" y="323"/>
                </a:cubicBezTo>
                <a:cubicBezTo>
                  <a:pt x="771" y="324"/>
                  <a:pt x="772" y="322"/>
                  <a:pt x="772" y="322"/>
                </a:cubicBezTo>
                <a:cubicBezTo>
                  <a:pt x="772" y="321"/>
                  <a:pt x="772" y="321"/>
                  <a:pt x="773" y="321"/>
                </a:cubicBezTo>
                <a:cubicBezTo>
                  <a:pt x="773" y="321"/>
                  <a:pt x="773" y="320"/>
                  <a:pt x="773" y="320"/>
                </a:cubicBezTo>
                <a:cubicBezTo>
                  <a:pt x="774" y="321"/>
                  <a:pt x="773" y="321"/>
                  <a:pt x="773" y="321"/>
                </a:cubicBezTo>
                <a:cubicBezTo>
                  <a:pt x="773" y="322"/>
                  <a:pt x="773" y="322"/>
                  <a:pt x="773" y="322"/>
                </a:cubicBezTo>
                <a:cubicBezTo>
                  <a:pt x="773" y="323"/>
                  <a:pt x="773" y="324"/>
                  <a:pt x="773" y="324"/>
                </a:cubicBezTo>
                <a:cubicBezTo>
                  <a:pt x="774" y="325"/>
                  <a:pt x="774" y="325"/>
                  <a:pt x="775" y="326"/>
                </a:cubicBezTo>
                <a:cubicBezTo>
                  <a:pt x="775" y="326"/>
                  <a:pt x="776" y="327"/>
                  <a:pt x="776" y="327"/>
                </a:cubicBezTo>
                <a:cubicBezTo>
                  <a:pt x="777" y="327"/>
                  <a:pt x="777" y="327"/>
                  <a:pt x="777" y="327"/>
                </a:cubicBezTo>
                <a:cubicBezTo>
                  <a:pt x="778" y="327"/>
                  <a:pt x="778" y="328"/>
                  <a:pt x="778" y="328"/>
                </a:cubicBezTo>
                <a:cubicBezTo>
                  <a:pt x="779" y="328"/>
                  <a:pt x="780" y="328"/>
                  <a:pt x="781" y="329"/>
                </a:cubicBezTo>
                <a:cubicBezTo>
                  <a:pt x="781" y="329"/>
                  <a:pt x="782" y="329"/>
                  <a:pt x="783" y="329"/>
                </a:cubicBezTo>
                <a:cubicBezTo>
                  <a:pt x="784" y="329"/>
                  <a:pt x="785" y="329"/>
                  <a:pt x="785" y="329"/>
                </a:cubicBezTo>
                <a:cubicBezTo>
                  <a:pt x="786" y="329"/>
                  <a:pt x="787" y="330"/>
                  <a:pt x="788" y="329"/>
                </a:cubicBezTo>
                <a:cubicBezTo>
                  <a:pt x="788" y="329"/>
                  <a:pt x="786" y="329"/>
                  <a:pt x="786" y="329"/>
                </a:cubicBezTo>
                <a:cubicBezTo>
                  <a:pt x="785" y="328"/>
                  <a:pt x="785" y="328"/>
                  <a:pt x="784" y="328"/>
                </a:cubicBezTo>
                <a:cubicBezTo>
                  <a:pt x="784" y="328"/>
                  <a:pt x="783" y="328"/>
                  <a:pt x="783" y="328"/>
                </a:cubicBezTo>
                <a:cubicBezTo>
                  <a:pt x="782" y="327"/>
                  <a:pt x="783" y="327"/>
                  <a:pt x="783" y="327"/>
                </a:cubicBezTo>
                <a:cubicBezTo>
                  <a:pt x="784" y="327"/>
                  <a:pt x="785" y="327"/>
                  <a:pt x="785" y="327"/>
                </a:cubicBezTo>
                <a:cubicBezTo>
                  <a:pt x="786" y="327"/>
                  <a:pt x="786" y="327"/>
                  <a:pt x="787" y="327"/>
                </a:cubicBezTo>
                <a:cubicBezTo>
                  <a:pt x="787" y="327"/>
                  <a:pt x="787" y="327"/>
                  <a:pt x="788" y="327"/>
                </a:cubicBezTo>
                <a:cubicBezTo>
                  <a:pt x="788" y="327"/>
                  <a:pt x="789" y="327"/>
                  <a:pt x="789" y="327"/>
                </a:cubicBezTo>
                <a:cubicBezTo>
                  <a:pt x="789" y="327"/>
                  <a:pt x="790" y="328"/>
                  <a:pt x="790" y="328"/>
                </a:cubicBezTo>
                <a:cubicBezTo>
                  <a:pt x="790" y="328"/>
                  <a:pt x="791" y="328"/>
                  <a:pt x="791" y="328"/>
                </a:cubicBezTo>
                <a:cubicBezTo>
                  <a:pt x="792" y="327"/>
                  <a:pt x="792" y="327"/>
                  <a:pt x="792" y="327"/>
                </a:cubicBezTo>
                <a:cubicBezTo>
                  <a:pt x="793" y="327"/>
                  <a:pt x="793" y="328"/>
                  <a:pt x="794" y="328"/>
                </a:cubicBezTo>
                <a:cubicBezTo>
                  <a:pt x="794" y="329"/>
                  <a:pt x="795" y="329"/>
                  <a:pt x="795" y="329"/>
                </a:cubicBezTo>
                <a:cubicBezTo>
                  <a:pt x="795" y="329"/>
                  <a:pt x="796" y="329"/>
                  <a:pt x="796" y="329"/>
                </a:cubicBezTo>
                <a:cubicBezTo>
                  <a:pt x="797" y="330"/>
                  <a:pt x="798" y="329"/>
                  <a:pt x="799" y="330"/>
                </a:cubicBezTo>
                <a:cubicBezTo>
                  <a:pt x="800" y="330"/>
                  <a:pt x="800" y="330"/>
                  <a:pt x="801" y="330"/>
                </a:cubicBezTo>
                <a:cubicBezTo>
                  <a:pt x="802" y="330"/>
                  <a:pt x="803" y="330"/>
                  <a:pt x="804" y="330"/>
                </a:cubicBezTo>
                <a:cubicBezTo>
                  <a:pt x="805" y="330"/>
                  <a:pt x="807" y="330"/>
                  <a:pt x="808" y="330"/>
                </a:cubicBezTo>
                <a:cubicBezTo>
                  <a:pt x="809" y="329"/>
                  <a:pt x="811" y="329"/>
                  <a:pt x="813" y="329"/>
                </a:cubicBezTo>
                <a:cubicBezTo>
                  <a:pt x="813" y="329"/>
                  <a:pt x="814" y="329"/>
                  <a:pt x="815" y="330"/>
                </a:cubicBezTo>
                <a:cubicBezTo>
                  <a:pt x="815" y="331"/>
                  <a:pt x="816" y="331"/>
                  <a:pt x="817" y="331"/>
                </a:cubicBezTo>
                <a:cubicBezTo>
                  <a:pt x="817" y="331"/>
                  <a:pt x="818" y="332"/>
                  <a:pt x="819" y="332"/>
                </a:cubicBezTo>
                <a:cubicBezTo>
                  <a:pt x="819" y="332"/>
                  <a:pt x="820" y="332"/>
                  <a:pt x="821" y="332"/>
                </a:cubicBezTo>
                <a:cubicBezTo>
                  <a:pt x="822" y="332"/>
                  <a:pt x="822" y="333"/>
                  <a:pt x="823" y="333"/>
                </a:cubicBezTo>
                <a:cubicBezTo>
                  <a:pt x="823" y="333"/>
                  <a:pt x="823" y="333"/>
                  <a:pt x="823" y="333"/>
                </a:cubicBezTo>
                <a:cubicBezTo>
                  <a:pt x="823" y="332"/>
                  <a:pt x="824" y="332"/>
                  <a:pt x="824" y="332"/>
                </a:cubicBezTo>
                <a:cubicBezTo>
                  <a:pt x="824" y="332"/>
                  <a:pt x="825" y="332"/>
                  <a:pt x="825" y="332"/>
                </a:cubicBezTo>
                <a:cubicBezTo>
                  <a:pt x="825" y="332"/>
                  <a:pt x="825" y="333"/>
                  <a:pt x="826" y="333"/>
                </a:cubicBezTo>
                <a:cubicBezTo>
                  <a:pt x="826" y="333"/>
                  <a:pt x="826" y="332"/>
                  <a:pt x="826" y="332"/>
                </a:cubicBezTo>
                <a:cubicBezTo>
                  <a:pt x="827" y="332"/>
                  <a:pt x="829" y="331"/>
                  <a:pt x="827" y="330"/>
                </a:cubicBezTo>
                <a:cubicBezTo>
                  <a:pt x="827" y="330"/>
                  <a:pt x="827" y="329"/>
                  <a:pt x="826" y="329"/>
                </a:cubicBezTo>
                <a:cubicBezTo>
                  <a:pt x="826" y="329"/>
                  <a:pt x="826" y="329"/>
                  <a:pt x="825" y="329"/>
                </a:cubicBezTo>
                <a:cubicBezTo>
                  <a:pt x="825" y="329"/>
                  <a:pt x="825" y="328"/>
                  <a:pt x="825" y="328"/>
                </a:cubicBezTo>
                <a:cubicBezTo>
                  <a:pt x="825" y="328"/>
                  <a:pt x="826" y="328"/>
                  <a:pt x="827" y="329"/>
                </a:cubicBezTo>
                <a:cubicBezTo>
                  <a:pt x="827" y="329"/>
                  <a:pt x="828" y="329"/>
                  <a:pt x="828" y="330"/>
                </a:cubicBezTo>
                <a:cubicBezTo>
                  <a:pt x="829" y="330"/>
                  <a:pt x="829" y="331"/>
                  <a:pt x="830" y="331"/>
                </a:cubicBezTo>
                <a:cubicBezTo>
                  <a:pt x="831" y="331"/>
                  <a:pt x="832" y="331"/>
                  <a:pt x="832" y="332"/>
                </a:cubicBezTo>
                <a:cubicBezTo>
                  <a:pt x="833" y="332"/>
                  <a:pt x="833" y="333"/>
                  <a:pt x="834" y="333"/>
                </a:cubicBezTo>
                <a:cubicBezTo>
                  <a:pt x="835" y="333"/>
                  <a:pt x="835" y="333"/>
                  <a:pt x="836" y="334"/>
                </a:cubicBezTo>
                <a:cubicBezTo>
                  <a:pt x="836" y="334"/>
                  <a:pt x="836" y="335"/>
                  <a:pt x="836" y="335"/>
                </a:cubicBezTo>
                <a:cubicBezTo>
                  <a:pt x="837" y="335"/>
                  <a:pt x="837" y="335"/>
                  <a:pt x="837" y="335"/>
                </a:cubicBezTo>
                <a:cubicBezTo>
                  <a:pt x="838" y="335"/>
                  <a:pt x="838" y="335"/>
                  <a:pt x="839" y="335"/>
                </a:cubicBezTo>
                <a:cubicBezTo>
                  <a:pt x="839" y="333"/>
                  <a:pt x="838" y="332"/>
                  <a:pt x="837" y="332"/>
                </a:cubicBezTo>
                <a:cubicBezTo>
                  <a:pt x="835" y="331"/>
                  <a:pt x="835" y="329"/>
                  <a:pt x="833" y="329"/>
                </a:cubicBezTo>
                <a:cubicBezTo>
                  <a:pt x="833" y="329"/>
                  <a:pt x="832" y="329"/>
                  <a:pt x="831" y="329"/>
                </a:cubicBezTo>
                <a:cubicBezTo>
                  <a:pt x="831" y="329"/>
                  <a:pt x="831" y="328"/>
                  <a:pt x="831" y="328"/>
                </a:cubicBezTo>
                <a:cubicBezTo>
                  <a:pt x="830" y="328"/>
                  <a:pt x="830" y="328"/>
                  <a:pt x="830" y="328"/>
                </a:cubicBezTo>
                <a:cubicBezTo>
                  <a:pt x="830" y="328"/>
                  <a:pt x="828" y="327"/>
                  <a:pt x="828" y="327"/>
                </a:cubicBezTo>
                <a:cubicBezTo>
                  <a:pt x="830" y="328"/>
                  <a:pt x="831" y="327"/>
                  <a:pt x="833" y="327"/>
                </a:cubicBezTo>
                <a:cubicBezTo>
                  <a:pt x="833" y="327"/>
                  <a:pt x="834" y="327"/>
                  <a:pt x="835" y="327"/>
                </a:cubicBezTo>
                <a:cubicBezTo>
                  <a:pt x="836" y="328"/>
                  <a:pt x="837" y="328"/>
                  <a:pt x="837" y="328"/>
                </a:cubicBezTo>
                <a:cubicBezTo>
                  <a:pt x="838" y="328"/>
                  <a:pt x="839" y="328"/>
                  <a:pt x="840" y="328"/>
                </a:cubicBezTo>
                <a:cubicBezTo>
                  <a:pt x="841" y="328"/>
                  <a:pt x="841" y="328"/>
                  <a:pt x="842" y="328"/>
                </a:cubicBezTo>
                <a:cubicBezTo>
                  <a:pt x="842" y="329"/>
                  <a:pt x="842" y="329"/>
                  <a:pt x="843" y="329"/>
                </a:cubicBezTo>
                <a:cubicBezTo>
                  <a:pt x="844" y="329"/>
                  <a:pt x="844" y="329"/>
                  <a:pt x="845" y="329"/>
                </a:cubicBezTo>
                <a:cubicBezTo>
                  <a:pt x="846" y="329"/>
                  <a:pt x="847" y="329"/>
                  <a:pt x="847" y="329"/>
                </a:cubicBezTo>
                <a:cubicBezTo>
                  <a:pt x="848" y="330"/>
                  <a:pt x="849" y="330"/>
                  <a:pt x="849" y="330"/>
                </a:cubicBezTo>
                <a:cubicBezTo>
                  <a:pt x="850" y="331"/>
                  <a:pt x="850" y="332"/>
                  <a:pt x="852" y="332"/>
                </a:cubicBezTo>
                <a:cubicBezTo>
                  <a:pt x="853" y="332"/>
                  <a:pt x="854" y="331"/>
                  <a:pt x="855" y="331"/>
                </a:cubicBezTo>
                <a:cubicBezTo>
                  <a:pt x="856" y="331"/>
                  <a:pt x="857" y="331"/>
                  <a:pt x="858" y="332"/>
                </a:cubicBezTo>
                <a:cubicBezTo>
                  <a:pt x="859" y="332"/>
                  <a:pt x="860" y="331"/>
                  <a:pt x="861" y="331"/>
                </a:cubicBezTo>
                <a:cubicBezTo>
                  <a:pt x="861" y="331"/>
                  <a:pt x="861" y="331"/>
                  <a:pt x="861" y="331"/>
                </a:cubicBezTo>
                <a:cubicBezTo>
                  <a:pt x="862" y="331"/>
                  <a:pt x="862" y="331"/>
                  <a:pt x="863" y="330"/>
                </a:cubicBezTo>
                <a:cubicBezTo>
                  <a:pt x="863" y="330"/>
                  <a:pt x="863" y="329"/>
                  <a:pt x="863" y="328"/>
                </a:cubicBezTo>
                <a:cubicBezTo>
                  <a:pt x="862" y="327"/>
                  <a:pt x="862" y="326"/>
                  <a:pt x="862" y="325"/>
                </a:cubicBezTo>
                <a:cubicBezTo>
                  <a:pt x="861" y="324"/>
                  <a:pt x="861" y="323"/>
                  <a:pt x="860" y="323"/>
                </a:cubicBezTo>
                <a:cubicBezTo>
                  <a:pt x="859" y="322"/>
                  <a:pt x="859" y="322"/>
                  <a:pt x="858" y="323"/>
                </a:cubicBezTo>
                <a:cubicBezTo>
                  <a:pt x="857" y="323"/>
                  <a:pt x="856" y="322"/>
                  <a:pt x="856" y="322"/>
                </a:cubicBezTo>
                <a:cubicBezTo>
                  <a:pt x="855" y="321"/>
                  <a:pt x="855" y="322"/>
                  <a:pt x="854" y="322"/>
                </a:cubicBezTo>
                <a:cubicBezTo>
                  <a:pt x="853" y="322"/>
                  <a:pt x="854" y="321"/>
                  <a:pt x="853" y="321"/>
                </a:cubicBezTo>
                <a:cubicBezTo>
                  <a:pt x="853" y="321"/>
                  <a:pt x="852" y="321"/>
                  <a:pt x="852" y="320"/>
                </a:cubicBezTo>
                <a:cubicBezTo>
                  <a:pt x="853" y="320"/>
                  <a:pt x="853" y="321"/>
                  <a:pt x="854" y="320"/>
                </a:cubicBezTo>
                <a:cubicBezTo>
                  <a:pt x="854" y="320"/>
                  <a:pt x="854" y="319"/>
                  <a:pt x="855" y="319"/>
                </a:cubicBezTo>
                <a:cubicBezTo>
                  <a:pt x="855" y="319"/>
                  <a:pt x="855" y="320"/>
                  <a:pt x="855" y="320"/>
                </a:cubicBezTo>
                <a:cubicBezTo>
                  <a:pt x="856" y="320"/>
                  <a:pt x="856" y="320"/>
                  <a:pt x="856" y="320"/>
                </a:cubicBezTo>
                <a:cubicBezTo>
                  <a:pt x="857" y="321"/>
                  <a:pt x="857" y="320"/>
                  <a:pt x="857" y="319"/>
                </a:cubicBezTo>
                <a:cubicBezTo>
                  <a:pt x="857" y="319"/>
                  <a:pt x="858" y="319"/>
                  <a:pt x="858" y="318"/>
                </a:cubicBezTo>
                <a:cubicBezTo>
                  <a:pt x="858" y="318"/>
                  <a:pt x="859" y="318"/>
                  <a:pt x="859" y="318"/>
                </a:cubicBezTo>
                <a:cubicBezTo>
                  <a:pt x="858" y="317"/>
                  <a:pt x="858" y="317"/>
                  <a:pt x="858" y="317"/>
                </a:cubicBezTo>
                <a:cubicBezTo>
                  <a:pt x="858" y="317"/>
                  <a:pt x="859" y="317"/>
                  <a:pt x="859" y="316"/>
                </a:cubicBezTo>
                <a:cubicBezTo>
                  <a:pt x="859" y="316"/>
                  <a:pt x="858" y="316"/>
                  <a:pt x="858" y="316"/>
                </a:cubicBezTo>
                <a:cubicBezTo>
                  <a:pt x="858" y="315"/>
                  <a:pt x="859" y="315"/>
                  <a:pt x="859" y="316"/>
                </a:cubicBezTo>
                <a:cubicBezTo>
                  <a:pt x="860" y="316"/>
                  <a:pt x="860" y="317"/>
                  <a:pt x="861" y="316"/>
                </a:cubicBezTo>
                <a:cubicBezTo>
                  <a:pt x="861" y="316"/>
                  <a:pt x="861" y="316"/>
                  <a:pt x="861" y="316"/>
                </a:cubicBezTo>
                <a:cubicBezTo>
                  <a:pt x="862" y="317"/>
                  <a:pt x="861" y="317"/>
                  <a:pt x="861" y="317"/>
                </a:cubicBezTo>
                <a:cubicBezTo>
                  <a:pt x="860" y="317"/>
                  <a:pt x="860" y="317"/>
                  <a:pt x="860" y="317"/>
                </a:cubicBezTo>
                <a:cubicBezTo>
                  <a:pt x="859" y="317"/>
                  <a:pt x="859" y="318"/>
                  <a:pt x="859" y="318"/>
                </a:cubicBezTo>
                <a:cubicBezTo>
                  <a:pt x="859" y="318"/>
                  <a:pt x="858" y="318"/>
                  <a:pt x="858" y="318"/>
                </a:cubicBezTo>
                <a:cubicBezTo>
                  <a:pt x="858" y="319"/>
                  <a:pt x="858" y="319"/>
                  <a:pt x="858" y="319"/>
                </a:cubicBezTo>
                <a:cubicBezTo>
                  <a:pt x="859" y="320"/>
                  <a:pt x="859" y="319"/>
                  <a:pt x="859" y="320"/>
                </a:cubicBezTo>
                <a:cubicBezTo>
                  <a:pt x="859" y="320"/>
                  <a:pt x="859" y="320"/>
                  <a:pt x="859" y="320"/>
                </a:cubicBezTo>
                <a:cubicBezTo>
                  <a:pt x="859" y="320"/>
                  <a:pt x="860" y="321"/>
                  <a:pt x="860" y="320"/>
                </a:cubicBezTo>
                <a:cubicBezTo>
                  <a:pt x="860" y="320"/>
                  <a:pt x="860" y="320"/>
                  <a:pt x="861" y="320"/>
                </a:cubicBezTo>
                <a:cubicBezTo>
                  <a:pt x="861" y="320"/>
                  <a:pt x="862" y="320"/>
                  <a:pt x="862" y="320"/>
                </a:cubicBezTo>
                <a:cubicBezTo>
                  <a:pt x="862" y="320"/>
                  <a:pt x="862" y="321"/>
                  <a:pt x="863" y="321"/>
                </a:cubicBezTo>
                <a:cubicBezTo>
                  <a:pt x="863" y="321"/>
                  <a:pt x="863" y="322"/>
                  <a:pt x="863" y="322"/>
                </a:cubicBezTo>
                <a:cubicBezTo>
                  <a:pt x="864" y="323"/>
                  <a:pt x="863" y="323"/>
                  <a:pt x="864" y="323"/>
                </a:cubicBezTo>
                <a:cubicBezTo>
                  <a:pt x="864" y="322"/>
                  <a:pt x="864" y="321"/>
                  <a:pt x="865" y="322"/>
                </a:cubicBezTo>
                <a:cubicBezTo>
                  <a:pt x="865" y="322"/>
                  <a:pt x="865" y="322"/>
                  <a:pt x="864" y="323"/>
                </a:cubicBezTo>
                <a:cubicBezTo>
                  <a:pt x="864" y="323"/>
                  <a:pt x="865" y="323"/>
                  <a:pt x="865" y="324"/>
                </a:cubicBezTo>
                <a:cubicBezTo>
                  <a:pt x="865" y="324"/>
                  <a:pt x="866" y="324"/>
                  <a:pt x="867" y="325"/>
                </a:cubicBezTo>
                <a:cubicBezTo>
                  <a:pt x="867" y="325"/>
                  <a:pt x="868" y="325"/>
                  <a:pt x="869" y="325"/>
                </a:cubicBezTo>
                <a:cubicBezTo>
                  <a:pt x="869" y="325"/>
                  <a:pt x="869" y="324"/>
                  <a:pt x="870" y="324"/>
                </a:cubicBezTo>
                <a:cubicBezTo>
                  <a:pt x="870" y="324"/>
                  <a:pt x="870" y="324"/>
                  <a:pt x="871" y="324"/>
                </a:cubicBezTo>
                <a:cubicBezTo>
                  <a:pt x="871" y="324"/>
                  <a:pt x="873" y="324"/>
                  <a:pt x="873" y="325"/>
                </a:cubicBezTo>
                <a:cubicBezTo>
                  <a:pt x="874" y="325"/>
                  <a:pt x="874" y="326"/>
                  <a:pt x="874" y="327"/>
                </a:cubicBezTo>
                <a:cubicBezTo>
                  <a:pt x="874" y="327"/>
                  <a:pt x="875" y="328"/>
                  <a:pt x="875" y="329"/>
                </a:cubicBezTo>
                <a:cubicBezTo>
                  <a:pt x="875" y="329"/>
                  <a:pt x="875" y="330"/>
                  <a:pt x="875" y="331"/>
                </a:cubicBezTo>
                <a:cubicBezTo>
                  <a:pt x="875" y="331"/>
                  <a:pt x="875" y="331"/>
                  <a:pt x="875" y="332"/>
                </a:cubicBezTo>
                <a:cubicBezTo>
                  <a:pt x="875" y="333"/>
                  <a:pt x="875" y="333"/>
                  <a:pt x="874" y="334"/>
                </a:cubicBezTo>
                <a:cubicBezTo>
                  <a:pt x="874" y="334"/>
                  <a:pt x="875" y="335"/>
                  <a:pt x="875" y="334"/>
                </a:cubicBezTo>
                <a:cubicBezTo>
                  <a:pt x="875" y="334"/>
                  <a:pt x="875" y="334"/>
                  <a:pt x="876" y="334"/>
                </a:cubicBezTo>
                <a:cubicBezTo>
                  <a:pt x="876" y="334"/>
                  <a:pt x="876" y="334"/>
                  <a:pt x="876" y="334"/>
                </a:cubicBezTo>
                <a:cubicBezTo>
                  <a:pt x="877" y="333"/>
                  <a:pt x="875" y="333"/>
                  <a:pt x="876" y="332"/>
                </a:cubicBezTo>
                <a:cubicBezTo>
                  <a:pt x="876" y="332"/>
                  <a:pt x="877" y="332"/>
                  <a:pt x="877" y="332"/>
                </a:cubicBezTo>
                <a:cubicBezTo>
                  <a:pt x="877" y="332"/>
                  <a:pt x="877" y="332"/>
                  <a:pt x="877" y="332"/>
                </a:cubicBezTo>
                <a:cubicBezTo>
                  <a:pt x="878" y="331"/>
                  <a:pt x="878" y="331"/>
                  <a:pt x="878" y="331"/>
                </a:cubicBezTo>
                <a:cubicBezTo>
                  <a:pt x="879" y="331"/>
                  <a:pt x="879" y="332"/>
                  <a:pt x="879" y="332"/>
                </a:cubicBezTo>
                <a:cubicBezTo>
                  <a:pt x="879" y="333"/>
                  <a:pt x="880" y="334"/>
                  <a:pt x="880" y="333"/>
                </a:cubicBezTo>
                <a:cubicBezTo>
                  <a:pt x="880" y="333"/>
                  <a:pt x="880" y="333"/>
                  <a:pt x="880" y="332"/>
                </a:cubicBezTo>
                <a:cubicBezTo>
                  <a:pt x="881" y="332"/>
                  <a:pt x="881" y="332"/>
                  <a:pt x="881" y="333"/>
                </a:cubicBezTo>
                <a:cubicBezTo>
                  <a:pt x="882" y="333"/>
                  <a:pt x="882" y="333"/>
                  <a:pt x="883" y="333"/>
                </a:cubicBezTo>
                <a:cubicBezTo>
                  <a:pt x="883" y="333"/>
                  <a:pt x="883" y="334"/>
                  <a:pt x="883" y="334"/>
                </a:cubicBezTo>
                <a:cubicBezTo>
                  <a:pt x="884" y="334"/>
                  <a:pt x="884" y="334"/>
                  <a:pt x="884" y="335"/>
                </a:cubicBezTo>
                <a:cubicBezTo>
                  <a:pt x="884" y="335"/>
                  <a:pt x="883" y="335"/>
                  <a:pt x="883" y="335"/>
                </a:cubicBezTo>
                <a:cubicBezTo>
                  <a:pt x="883" y="335"/>
                  <a:pt x="883" y="335"/>
                  <a:pt x="883" y="335"/>
                </a:cubicBezTo>
                <a:cubicBezTo>
                  <a:pt x="882" y="335"/>
                  <a:pt x="882" y="335"/>
                  <a:pt x="882" y="335"/>
                </a:cubicBezTo>
                <a:cubicBezTo>
                  <a:pt x="882" y="335"/>
                  <a:pt x="881" y="335"/>
                  <a:pt x="881" y="335"/>
                </a:cubicBezTo>
                <a:cubicBezTo>
                  <a:pt x="881" y="335"/>
                  <a:pt x="880" y="336"/>
                  <a:pt x="880" y="336"/>
                </a:cubicBezTo>
                <a:cubicBezTo>
                  <a:pt x="880" y="336"/>
                  <a:pt x="880" y="336"/>
                  <a:pt x="880" y="336"/>
                </a:cubicBezTo>
                <a:cubicBezTo>
                  <a:pt x="880" y="336"/>
                  <a:pt x="880" y="336"/>
                  <a:pt x="880" y="337"/>
                </a:cubicBezTo>
                <a:cubicBezTo>
                  <a:pt x="881" y="337"/>
                  <a:pt x="881" y="337"/>
                  <a:pt x="881" y="337"/>
                </a:cubicBezTo>
                <a:cubicBezTo>
                  <a:pt x="882" y="337"/>
                  <a:pt x="881" y="338"/>
                  <a:pt x="882" y="338"/>
                </a:cubicBezTo>
                <a:cubicBezTo>
                  <a:pt x="882" y="336"/>
                  <a:pt x="884" y="339"/>
                  <a:pt x="885" y="338"/>
                </a:cubicBezTo>
                <a:cubicBezTo>
                  <a:pt x="885" y="338"/>
                  <a:pt x="886" y="337"/>
                  <a:pt x="886" y="337"/>
                </a:cubicBezTo>
                <a:cubicBezTo>
                  <a:pt x="886" y="337"/>
                  <a:pt x="887" y="337"/>
                  <a:pt x="887" y="336"/>
                </a:cubicBezTo>
                <a:cubicBezTo>
                  <a:pt x="888" y="336"/>
                  <a:pt x="887" y="335"/>
                  <a:pt x="887" y="335"/>
                </a:cubicBezTo>
                <a:cubicBezTo>
                  <a:pt x="887" y="335"/>
                  <a:pt x="888" y="335"/>
                  <a:pt x="888" y="335"/>
                </a:cubicBezTo>
                <a:cubicBezTo>
                  <a:pt x="889" y="336"/>
                  <a:pt x="889" y="336"/>
                  <a:pt x="890" y="336"/>
                </a:cubicBezTo>
                <a:cubicBezTo>
                  <a:pt x="890" y="337"/>
                  <a:pt x="888" y="336"/>
                  <a:pt x="887" y="336"/>
                </a:cubicBezTo>
                <a:cubicBezTo>
                  <a:pt x="887" y="337"/>
                  <a:pt x="887" y="337"/>
                  <a:pt x="887" y="337"/>
                </a:cubicBezTo>
                <a:cubicBezTo>
                  <a:pt x="887" y="337"/>
                  <a:pt x="887" y="337"/>
                  <a:pt x="887" y="337"/>
                </a:cubicBezTo>
                <a:cubicBezTo>
                  <a:pt x="886" y="338"/>
                  <a:pt x="886" y="339"/>
                  <a:pt x="887" y="339"/>
                </a:cubicBezTo>
                <a:cubicBezTo>
                  <a:pt x="887" y="340"/>
                  <a:pt x="888" y="340"/>
                  <a:pt x="888" y="340"/>
                </a:cubicBezTo>
                <a:cubicBezTo>
                  <a:pt x="888" y="341"/>
                  <a:pt x="889" y="341"/>
                  <a:pt x="890" y="341"/>
                </a:cubicBezTo>
                <a:cubicBezTo>
                  <a:pt x="890" y="341"/>
                  <a:pt x="891" y="342"/>
                  <a:pt x="891" y="341"/>
                </a:cubicBezTo>
                <a:cubicBezTo>
                  <a:pt x="892" y="341"/>
                  <a:pt x="893" y="342"/>
                  <a:pt x="893" y="342"/>
                </a:cubicBezTo>
                <a:cubicBezTo>
                  <a:pt x="894" y="342"/>
                  <a:pt x="895" y="342"/>
                  <a:pt x="896" y="343"/>
                </a:cubicBezTo>
                <a:cubicBezTo>
                  <a:pt x="896" y="343"/>
                  <a:pt x="897" y="344"/>
                  <a:pt x="897" y="344"/>
                </a:cubicBezTo>
                <a:cubicBezTo>
                  <a:pt x="898" y="345"/>
                  <a:pt x="897" y="345"/>
                  <a:pt x="896" y="346"/>
                </a:cubicBezTo>
                <a:cubicBezTo>
                  <a:pt x="896" y="346"/>
                  <a:pt x="896" y="347"/>
                  <a:pt x="895" y="348"/>
                </a:cubicBezTo>
                <a:cubicBezTo>
                  <a:pt x="895" y="349"/>
                  <a:pt x="893" y="349"/>
                  <a:pt x="892" y="349"/>
                </a:cubicBezTo>
                <a:cubicBezTo>
                  <a:pt x="891" y="349"/>
                  <a:pt x="890" y="349"/>
                  <a:pt x="889" y="349"/>
                </a:cubicBezTo>
                <a:cubicBezTo>
                  <a:pt x="889" y="348"/>
                  <a:pt x="889" y="348"/>
                  <a:pt x="888" y="348"/>
                </a:cubicBezTo>
                <a:cubicBezTo>
                  <a:pt x="888" y="348"/>
                  <a:pt x="888" y="348"/>
                  <a:pt x="887" y="349"/>
                </a:cubicBezTo>
                <a:cubicBezTo>
                  <a:pt x="887" y="349"/>
                  <a:pt x="887" y="349"/>
                  <a:pt x="886" y="349"/>
                </a:cubicBezTo>
                <a:cubicBezTo>
                  <a:pt x="886" y="349"/>
                  <a:pt x="886" y="350"/>
                  <a:pt x="886" y="350"/>
                </a:cubicBezTo>
                <a:cubicBezTo>
                  <a:pt x="886" y="350"/>
                  <a:pt x="886" y="350"/>
                  <a:pt x="887" y="351"/>
                </a:cubicBezTo>
                <a:cubicBezTo>
                  <a:pt x="887" y="351"/>
                  <a:pt x="887" y="352"/>
                  <a:pt x="887" y="352"/>
                </a:cubicBezTo>
                <a:cubicBezTo>
                  <a:pt x="887" y="352"/>
                  <a:pt x="886" y="353"/>
                  <a:pt x="886" y="353"/>
                </a:cubicBezTo>
                <a:cubicBezTo>
                  <a:pt x="886" y="353"/>
                  <a:pt x="886" y="354"/>
                  <a:pt x="886" y="354"/>
                </a:cubicBezTo>
                <a:cubicBezTo>
                  <a:pt x="885" y="354"/>
                  <a:pt x="885" y="355"/>
                  <a:pt x="885" y="355"/>
                </a:cubicBezTo>
                <a:cubicBezTo>
                  <a:pt x="885" y="356"/>
                  <a:pt x="886" y="355"/>
                  <a:pt x="886" y="356"/>
                </a:cubicBezTo>
                <a:cubicBezTo>
                  <a:pt x="887" y="356"/>
                  <a:pt x="888" y="355"/>
                  <a:pt x="889" y="355"/>
                </a:cubicBezTo>
                <a:cubicBezTo>
                  <a:pt x="890" y="355"/>
                  <a:pt x="891" y="355"/>
                  <a:pt x="891" y="355"/>
                </a:cubicBezTo>
                <a:cubicBezTo>
                  <a:pt x="892" y="354"/>
                  <a:pt x="892" y="354"/>
                  <a:pt x="893" y="353"/>
                </a:cubicBezTo>
                <a:cubicBezTo>
                  <a:pt x="893" y="353"/>
                  <a:pt x="894" y="353"/>
                  <a:pt x="895" y="353"/>
                </a:cubicBezTo>
                <a:cubicBezTo>
                  <a:pt x="896" y="352"/>
                  <a:pt x="896" y="352"/>
                  <a:pt x="897" y="352"/>
                </a:cubicBezTo>
                <a:cubicBezTo>
                  <a:pt x="897" y="352"/>
                  <a:pt x="898" y="352"/>
                  <a:pt x="899" y="351"/>
                </a:cubicBezTo>
                <a:cubicBezTo>
                  <a:pt x="899" y="351"/>
                  <a:pt x="899" y="350"/>
                  <a:pt x="899" y="349"/>
                </a:cubicBezTo>
                <a:cubicBezTo>
                  <a:pt x="900" y="349"/>
                  <a:pt x="900" y="350"/>
                  <a:pt x="901" y="350"/>
                </a:cubicBezTo>
                <a:cubicBezTo>
                  <a:pt x="901" y="350"/>
                  <a:pt x="901" y="351"/>
                  <a:pt x="902" y="351"/>
                </a:cubicBezTo>
                <a:cubicBezTo>
                  <a:pt x="902" y="351"/>
                  <a:pt x="903" y="351"/>
                  <a:pt x="904" y="351"/>
                </a:cubicBezTo>
                <a:cubicBezTo>
                  <a:pt x="904" y="351"/>
                  <a:pt x="904" y="350"/>
                  <a:pt x="904" y="349"/>
                </a:cubicBezTo>
                <a:cubicBezTo>
                  <a:pt x="905" y="348"/>
                  <a:pt x="905" y="348"/>
                  <a:pt x="906" y="348"/>
                </a:cubicBezTo>
                <a:cubicBezTo>
                  <a:pt x="906" y="348"/>
                  <a:pt x="908" y="348"/>
                  <a:pt x="908" y="348"/>
                </a:cubicBezTo>
                <a:cubicBezTo>
                  <a:pt x="908" y="349"/>
                  <a:pt x="908" y="349"/>
                  <a:pt x="907" y="349"/>
                </a:cubicBezTo>
                <a:cubicBezTo>
                  <a:pt x="907" y="349"/>
                  <a:pt x="907" y="349"/>
                  <a:pt x="907" y="349"/>
                </a:cubicBezTo>
                <a:cubicBezTo>
                  <a:pt x="907" y="349"/>
                  <a:pt x="906" y="349"/>
                  <a:pt x="906" y="349"/>
                </a:cubicBezTo>
                <a:cubicBezTo>
                  <a:pt x="906" y="349"/>
                  <a:pt x="905" y="350"/>
                  <a:pt x="905" y="350"/>
                </a:cubicBezTo>
                <a:cubicBezTo>
                  <a:pt x="904" y="351"/>
                  <a:pt x="906" y="351"/>
                  <a:pt x="906" y="351"/>
                </a:cubicBezTo>
                <a:cubicBezTo>
                  <a:pt x="907" y="351"/>
                  <a:pt x="907" y="350"/>
                  <a:pt x="908" y="351"/>
                </a:cubicBezTo>
                <a:cubicBezTo>
                  <a:pt x="909" y="352"/>
                  <a:pt x="908" y="352"/>
                  <a:pt x="907" y="352"/>
                </a:cubicBezTo>
                <a:cubicBezTo>
                  <a:pt x="907" y="352"/>
                  <a:pt x="906" y="353"/>
                  <a:pt x="906" y="353"/>
                </a:cubicBezTo>
                <a:cubicBezTo>
                  <a:pt x="906" y="353"/>
                  <a:pt x="905" y="353"/>
                  <a:pt x="906" y="353"/>
                </a:cubicBezTo>
                <a:cubicBezTo>
                  <a:pt x="906" y="354"/>
                  <a:pt x="907" y="353"/>
                  <a:pt x="907" y="353"/>
                </a:cubicBezTo>
                <a:cubicBezTo>
                  <a:pt x="907" y="354"/>
                  <a:pt x="907" y="354"/>
                  <a:pt x="908" y="354"/>
                </a:cubicBezTo>
                <a:cubicBezTo>
                  <a:pt x="908" y="354"/>
                  <a:pt x="908" y="353"/>
                  <a:pt x="908" y="353"/>
                </a:cubicBezTo>
                <a:cubicBezTo>
                  <a:pt x="909" y="353"/>
                  <a:pt x="909" y="352"/>
                  <a:pt x="909" y="352"/>
                </a:cubicBezTo>
                <a:cubicBezTo>
                  <a:pt x="909" y="353"/>
                  <a:pt x="909" y="354"/>
                  <a:pt x="909" y="354"/>
                </a:cubicBezTo>
                <a:cubicBezTo>
                  <a:pt x="909" y="354"/>
                  <a:pt x="909" y="354"/>
                  <a:pt x="909" y="355"/>
                </a:cubicBezTo>
                <a:cubicBezTo>
                  <a:pt x="909" y="355"/>
                  <a:pt x="909" y="356"/>
                  <a:pt x="909" y="356"/>
                </a:cubicBezTo>
                <a:cubicBezTo>
                  <a:pt x="910" y="356"/>
                  <a:pt x="910" y="357"/>
                  <a:pt x="911" y="357"/>
                </a:cubicBezTo>
                <a:cubicBezTo>
                  <a:pt x="911" y="358"/>
                  <a:pt x="911" y="358"/>
                  <a:pt x="912" y="358"/>
                </a:cubicBezTo>
                <a:cubicBezTo>
                  <a:pt x="912" y="358"/>
                  <a:pt x="912" y="358"/>
                  <a:pt x="913" y="358"/>
                </a:cubicBezTo>
                <a:cubicBezTo>
                  <a:pt x="913" y="358"/>
                  <a:pt x="914" y="358"/>
                  <a:pt x="914" y="358"/>
                </a:cubicBezTo>
                <a:cubicBezTo>
                  <a:pt x="915" y="359"/>
                  <a:pt x="915" y="359"/>
                  <a:pt x="915" y="359"/>
                </a:cubicBezTo>
                <a:cubicBezTo>
                  <a:pt x="916" y="359"/>
                  <a:pt x="917" y="359"/>
                  <a:pt x="917" y="358"/>
                </a:cubicBezTo>
                <a:cubicBezTo>
                  <a:pt x="917" y="357"/>
                  <a:pt x="916" y="357"/>
                  <a:pt x="916" y="356"/>
                </a:cubicBezTo>
                <a:cubicBezTo>
                  <a:pt x="916" y="356"/>
                  <a:pt x="916" y="356"/>
                  <a:pt x="915" y="356"/>
                </a:cubicBezTo>
                <a:cubicBezTo>
                  <a:pt x="915" y="356"/>
                  <a:pt x="914" y="355"/>
                  <a:pt x="915" y="355"/>
                </a:cubicBezTo>
                <a:cubicBezTo>
                  <a:pt x="915" y="355"/>
                  <a:pt x="916" y="355"/>
                  <a:pt x="916" y="355"/>
                </a:cubicBezTo>
                <a:cubicBezTo>
                  <a:pt x="917" y="355"/>
                  <a:pt x="917" y="355"/>
                  <a:pt x="917" y="355"/>
                </a:cubicBezTo>
                <a:cubicBezTo>
                  <a:pt x="918" y="356"/>
                  <a:pt x="919" y="356"/>
                  <a:pt x="919" y="357"/>
                </a:cubicBezTo>
                <a:cubicBezTo>
                  <a:pt x="919" y="357"/>
                  <a:pt x="918" y="357"/>
                  <a:pt x="918" y="358"/>
                </a:cubicBezTo>
                <a:cubicBezTo>
                  <a:pt x="918" y="358"/>
                  <a:pt x="918" y="358"/>
                  <a:pt x="918" y="359"/>
                </a:cubicBezTo>
                <a:cubicBezTo>
                  <a:pt x="917" y="360"/>
                  <a:pt x="918" y="360"/>
                  <a:pt x="918" y="361"/>
                </a:cubicBezTo>
                <a:cubicBezTo>
                  <a:pt x="918" y="362"/>
                  <a:pt x="918" y="362"/>
                  <a:pt x="918" y="363"/>
                </a:cubicBezTo>
                <a:cubicBezTo>
                  <a:pt x="919" y="363"/>
                  <a:pt x="920" y="363"/>
                  <a:pt x="920" y="363"/>
                </a:cubicBezTo>
                <a:cubicBezTo>
                  <a:pt x="921" y="363"/>
                  <a:pt x="920" y="364"/>
                  <a:pt x="920" y="364"/>
                </a:cubicBezTo>
                <a:cubicBezTo>
                  <a:pt x="921" y="365"/>
                  <a:pt x="921" y="364"/>
                  <a:pt x="921" y="364"/>
                </a:cubicBezTo>
                <a:cubicBezTo>
                  <a:pt x="921" y="363"/>
                  <a:pt x="922" y="363"/>
                  <a:pt x="922" y="363"/>
                </a:cubicBezTo>
                <a:cubicBezTo>
                  <a:pt x="922" y="363"/>
                  <a:pt x="923" y="363"/>
                  <a:pt x="923" y="362"/>
                </a:cubicBezTo>
                <a:cubicBezTo>
                  <a:pt x="923" y="362"/>
                  <a:pt x="924" y="362"/>
                  <a:pt x="924" y="361"/>
                </a:cubicBezTo>
                <a:cubicBezTo>
                  <a:pt x="925" y="361"/>
                  <a:pt x="925" y="362"/>
                  <a:pt x="925" y="363"/>
                </a:cubicBezTo>
                <a:cubicBezTo>
                  <a:pt x="925" y="364"/>
                  <a:pt x="925" y="365"/>
                  <a:pt x="926" y="365"/>
                </a:cubicBezTo>
                <a:cubicBezTo>
                  <a:pt x="927" y="365"/>
                  <a:pt x="927" y="365"/>
                  <a:pt x="927" y="365"/>
                </a:cubicBezTo>
                <a:cubicBezTo>
                  <a:pt x="927" y="365"/>
                  <a:pt x="927" y="365"/>
                  <a:pt x="928" y="365"/>
                </a:cubicBezTo>
                <a:cubicBezTo>
                  <a:pt x="928" y="366"/>
                  <a:pt x="928" y="366"/>
                  <a:pt x="928" y="367"/>
                </a:cubicBezTo>
                <a:cubicBezTo>
                  <a:pt x="928" y="367"/>
                  <a:pt x="928" y="367"/>
                  <a:pt x="928" y="368"/>
                </a:cubicBezTo>
                <a:cubicBezTo>
                  <a:pt x="929" y="368"/>
                  <a:pt x="928" y="369"/>
                  <a:pt x="928" y="370"/>
                </a:cubicBezTo>
                <a:cubicBezTo>
                  <a:pt x="928" y="370"/>
                  <a:pt x="928" y="370"/>
                  <a:pt x="929" y="371"/>
                </a:cubicBezTo>
                <a:cubicBezTo>
                  <a:pt x="929" y="371"/>
                  <a:pt x="928" y="371"/>
                  <a:pt x="929" y="372"/>
                </a:cubicBezTo>
                <a:cubicBezTo>
                  <a:pt x="930" y="372"/>
                  <a:pt x="930" y="372"/>
                  <a:pt x="931" y="372"/>
                </a:cubicBezTo>
                <a:cubicBezTo>
                  <a:pt x="931" y="373"/>
                  <a:pt x="932" y="374"/>
                  <a:pt x="931" y="375"/>
                </a:cubicBezTo>
                <a:cubicBezTo>
                  <a:pt x="931" y="375"/>
                  <a:pt x="931" y="375"/>
                  <a:pt x="931" y="375"/>
                </a:cubicBezTo>
                <a:cubicBezTo>
                  <a:pt x="932" y="376"/>
                  <a:pt x="933" y="376"/>
                  <a:pt x="933" y="377"/>
                </a:cubicBezTo>
                <a:cubicBezTo>
                  <a:pt x="934" y="378"/>
                  <a:pt x="934" y="379"/>
                  <a:pt x="934" y="379"/>
                </a:cubicBezTo>
                <a:cubicBezTo>
                  <a:pt x="934" y="381"/>
                  <a:pt x="934" y="382"/>
                  <a:pt x="936" y="383"/>
                </a:cubicBezTo>
                <a:cubicBezTo>
                  <a:pt x="936" y="383"/>
                  <a:pt x="936" y="383"/>
                  <a:pt x="936" y="384"/>
                </a:cubicBezTo>
                <a:cubicBezTo>
                  <a:pt x="936" y="384"/>
                  <a:pt x="936" y="384"/>
                  <a:pt x="936" y="385"/>
                </a:cubicBezTo>
                <a:cubicBezTo>
                  <a:pt x="935" y="385"/>
                  <a:pt x="935" y="385"/>
                  <a:pt x="935" y="386"/>
                </a:cubicBezTo>
                <a:cubicBezTo>
                  <a:pt x="935" y="386"/>
                  <a:pt x="934" y="387"/>
                  <a:pt x="934" y="387"/>
                </a:cubicBezTo>
                <a:cubicBezTo>
                  <a:pt x="933" y="388"/>
                  <a:pt x="932" y="389"/>
                  <a:pt x="931" y="390"/>
                </a:cubicBezTo>
                <a:cubicBezTo>
                  <a:pt x="931" y="390"/>
                  <a:pt x="930" y="391"/>
                  <a:pt x="930" y="391"/>
                </a:cubicBezTo>
                <a:cubicBezTo>
                  <a:pt x="929" y="391"/>
                  <a:pt x="929" y="392"/>
                  <a:pt x="929" y="392"/>
                </a:cubicBezTo>
                <a:cubicBezTo>
                  <a:pt x="928" y="392"/>
                  <a:pt x="928" y="393"/>
                  <a:pt x="927" y="393"/>
                </a:cubicBezTo>
                <a:cubicBezTo>
                  <a:pt x="927" y="394"/>
                  <a:pt x="929" y="394"/>
                  <a:pt x="930" y="394"/>
                </a:cubicBezTo>
                <a:cubicBezTo>
                  <a:pt x="931" y="394"/>
                  <a:pt x="931" y="394"/>
                  <a:pt x="932" y="394"/>
                </a:cubicBezTo>
                <a:cubicBezTo>
                  <a:pt x="933" y="394"/>
                  <a:pt x="934" y="394"/>
                  <a:pt x="935" y="394"/>
                </a:cubicBezTo>
                <a:cubicBezTo>
                  <a:pt x="935" y="394"/>
                  <a:pt x="936" y="394"/>
                  <a:pt x="937" y="394"/>
                </a:cubicBezTo>
                <a:cubicBezTo>
                  <a:pt x="938" y="394"/>
                  <a:pt x="939" y="395"/>
                  <a:pt x="940" y="395"/>
                </a:cubicBezTo>
                <a:cubicBezTo>
                  <a:pt x="941" y="395"/>
                  <a:pt x="941" y="395"/>
                  <a:pt x="942" y="395"/>
                </a:cubicBezTo>
                <a:cubicBezTo>
                  <a:pt x="942" y="395"/>
                  <a:pt x="942" y="396"/>
                  <a:pt x="943" y="396"/>
                </a:cubicBezTo>
                <a:cubicBezTo>
                  <a:pt x="943" y="396"/>
                  <a:pt x="944" y="396"/>
                  <a:pt x="945" y="396"/>
                </a:cubicBezTo>
                <a:cubicBezTo>
                  <a:pt x="946" y="396"/>
                  <a:pt x="946" y="394"/>
                  <a:pt x="947" y="393"/>
                </a:cubicBezTo>
                <a:cubicBezTo>
                  <a:pt x="947" y="393"/>
                  <a:pt x="947" y="392"/>
                  <a:pt x="947" y="392"/>
                </a:cubicBezTo>
                <a:cubicBezTo>
                  <a:pt x="948" y="391"/>
                  <a:pt x="948" y="391"/>
                  <a:pt x="948" y="391"/>
                </a:cubicBezTo>
                <a:cubicBezTo>
                  <a:pt x="949" y="390"/>
                  <a:pt x="949" y="390"/>
                  <a:pt x="948" y="389"/>
                </a:cubicBezTo>
                <a:cubicBezTo>
                  <a:pt x="948" y="389"/>
                  <a:pt x="948" y="389"/>
                  <a:pt x="948" y="389"/>
                </a:cubicBezTo>
                <a:cubicBezTo>
                  <a:pt x="947" y="388"/>
                  <a:pt x="949" y="388"/>
                  <a:pt x="950" y="388"/>
                </a:cubicBezTo>
                <a:cubicBezTo>
                  <a:pt x="950" y="388"/>
                  <a:pt x="951" y="389"/>
                  <a:pt x="952" y="389"/>
                </a:cubicBezTo>
                <a:cubicBezTo>
                  <a:pt x="953" y="389"/>
                  <a:pt x="953" y="389"/>
                  <a:pt x="954" y="390"/>
                </a:cubicBezTo>
                <a:cubicBezTo>
                  <a:pt x="954" y="391"/>
                  <a:pt x="954" y="391"/>
                  <a:pt x="955" y="392"/>
                </a:cubicBezTo>
                <a:cubicBezTo>
                  <a:pt x="955" y="393"/>
                  <a:pt x="955" y="393"/>
                  <a:pt x="956" y="393"/>
                </a:cubicBezTo>
                <a:cubicBezTo>
                  <a:pt x="957" y="394"/>
                  <a:pt x="958" y="394"/>
                  <a:pt x="958" y="394"/>
                </a:cubicBezTo>
                <a:cubicBezTo>
                  <a:pt x="960" y="394"/>
                  <a:pt x="962" y="394"/>
                  <a:pt x="963" y="395"/>
                </a:cubicBezTo>
                <a:cubicBezTo>
                  <a:pt x="963" y="395"/>
                  <a:pt x="964" y="395"/>
                  <a:pt x="964" y="395"/>
                </a:cubicBezTo>
                <a:cubicBezTo>
                  <a:pt x="964" y="396"/>
                  <a:pt x="965" y="396"/>
                  <a:pt x="965" y="396"/>
                </a:cubicBezTo>
                <a:cubicBezTo>
                  <a:pt x="966" y="396"/>
                  <a:pt x="966" y="396"/>
                  <a:pt x="967" y="396"/>
                </a:cubicBezTo>
                <a:cubicBezTo>
                  <a:pt x="967" y="396"/>
                  <a:pt x="967" y="397"/>
                  <a:pt x="968" y="397"/>
                </a:cubicBezTo>
                <a:cubicBezTo>
                  <a:pt x="968" y="397"/>
                  <a:pt x="968" y="397"/>
                  <a:pt x="969" y="397"/>
                </a:cubicBezTo>
                <a:cubicBezTo>
                  <a:pt x="969" y="397"/>
                  <a:pt x="969" y="396"/>
                  <a:pt x="970" y="396"/>
                </a:cubicBezTo>
                <a:cubicBezTo>
                  <a:pt x="970" y="397"/>
                  <a:pt x="970" y="397"/>
                  <a:pt x="970" y="397"/>
                </a:cubicBezTo>
                <a:cubicBezTo>
                  <a:pt x="969" y="398"/>
                  <a:pt x="969" y="398"/>
                  <a:pt x="969" y="399"/>
                </a:cubicBezTo>
                <a:cubicBezTo>
                  <a:pt x="968" y="399"/>
                  <a:pt x="968" y="399"/>
                  <a:pt x="968" y="400"/>
                </a:cubicBezTo>
                <a:cubicBezTo>
                  <a:pt x="969" y="400"/>
                  <a:pt x="969" y="399"/>
                  <a:pt x="970" y="399"/>
                </a:cubicBezTo>
                <a:cubicBezTo>
                  <a:pt x="970" y="399"/>
                  <a:pt x="970" y="399"/>
                  <a:pt x="971" y="399"/>
                </a:cubicBezTo>
                <a:cubicBezTo>
                  <a:pt x="971" y="399"/>
                  <a:pt x="971" y="399"/>
                  <a:pt x="971" y="400"/>
                </a:cubicBezTo>
                <a:cubicBezTo>
                  <a:pt x="971" y="401"/>
                  <a:pt x="970" y="400"/>
                  <a:pt x="969" y="401"/>
                </a:cubicBezTo>
                <a:cubicBezTo>
                  <a:pt x="969" y="401"/>
                  <a:pt x="968" y="401"/>
                  <a:pt x="968" y="402"/>
                </a:cubicBezTo>
                <a:cubicBezTo>
                  <a:pt x="967" y="403"/>
                  <a:pt x="967" y="404"/>
                  <a:pt x="966" y="404"/>
                </a:cubicBezTo>
                <a:cubicBezTo>
                  <a:pt x="965" y="404"/>
                  <a:pt x="965" y="403"/>
                  <a:pt x="964" y="403"/>
                </a:cubicBezTo>
                <a:cubicBezTo>
                  <a:pt x="963" y="402"/>
                  <a:pt x="963" y="402"/>
                  <a:pt x="962" y="402"/>
                </a:cubicBezTo>
                <a:cubicBezTo>
                  <a:pt x="962" y="402"/>
                  <a:pt x="961" y="402"/>
                  <a:pt x="961" y="402"/>
                </a:cubicBezTo>
                <a:cubicBezTo>
                  <a:pt x="960" y="403"/>
                  <a:pt x="960" y="403"/>
                  <a:pt x="960" y="403"/>
                </a:cubicBezTo>
                <a:cubicBezTo>
                  <a:pt x="959" y="403"/>
                  <a:pt x="959" y="403"/>
                  <a:pt x="958" y="403"/>
                </a:cubicBezTo>
                <a:cubicBezTo>
                  <a:pt x="958" y="403"/>
                  <a:pt x="957" y="403"/>
                  <a:pt x="956" y="403"/>
                </a:cubicBezTo>
                <a:cubicBezTo>
                  <a:pt x="956" y="403"/>
                  <a:pt x="956" y="403"/>
                  <a:pt x="956" y="402"/>
                </a:cubicBezTo>
                <a:cubicBezTo>
                  <a:pt x="956" y="402"/>
                  <a:pt x="956" y="402"/>
                  <a:pt x="956" y="402"/>
                </a:cubicBezTo>
                <a:cubicBezTo>
                  <a:pt x="955" y="402"/>
                  <a:pt x="955" y="402"/>
                  <a:pt x="955" y="402"/>
                </a:cubicBezTo>
                <a:cubicBezTo>
                  <a:pt x="954" y="401"/>
                  <a:pt x="954" y="402"/>
                  <a:pt x="954" y="403"/>
                </a:cubicBezTo>
                <a:cubicBezTo>
                  <a:pt x="954" y="404"/>
                  <a:pt x="953" y="404"/>
                  <a:pt x="952" y="405"/>
                </a:cubicBezTo>
                <a:cubicBezTo>
                  <a:pt x="952" y="405"/>
                  <a:pt x="951" y="405"/>
                  <a:pt x="950" y="406"/>
                </a:cubicBezTo>
                <a:cubicBezTo>
                  <a:pt x="950" y="406"/>
                  <a:pt x="949" y="408"/>
                  <a:pt x="949" y="407"/>
                </a:cubicBezTo>
                <a:cubicBezTo>
                  <a:pt x="949" y="407"/>
                  <a:pt x="950" y="407"/>
                  <a:pt x="949" y="406"/>
                </a:cubicBezTo>
                <a:cubicBezTo>
                  <a:pt x="949" y="405"/>
                  <a:pt x="948" y="407"/>
                  <a:pt x="947" y="406"/>
                </a:cubicBezTo>
                <a:cubicBezTo>
                  <a:pt x="947" y="405"/>
                  <a:pt x="949" y="405"/>
                  <a:pt x="949" y="404"/>
                </a:cubicBezTo>
                <a:cubicBezTo>
                  <a:pt x="949" y="403"/>
                  <a:pt x="948" y="403"/>
                  <a:pt x="948" y="402"/>
                </a:cubicBezTo>
                <a:cubicBezTo>
                  <a:pt x="949" y="402"/>
                  <a:pt x="950" y="401"/>
                  <a:pt x="949" y="400"/>
                </a:cubicBezTo>
                <a:cubicBezTo>
                  <a:pt x="949" y="400"/>
                  <a:pt x="948" y="400"/>
                  <a:pt x="948" y="400"/>
                </a:cubicBezTo>
                <a:cubicBezTo>
                  <a:pt x="948" y="400"/>
                  <a:pt x="947" y="399"/>
                  <a:pt x="947" y="399"/>
                </a:cubicBezTo>
                <a:cubicBezTo>
                  <a:pt x="947" y="398"/>
                  <a:pt x="947" y="397"/>
                  <a:pt x="946" y="397"/>
                </a:cubicBezTo>
                <a:cubicBezTo>
                  <a:pt x="945" y="396"/>
                  <a:pt x="944" y="397"/>
                  <a:pt x="943" y="396"/>
                </a:cubicBezTo>
                <a:cubicBezTo>
                  <a:pt x="942" y="396"/>
                  <a:pt x="942" y="396"/>
                  <a:pt x="941" y="396"/>
                </a:cubicBezTo>
                <a:cubicBezTo>
                  <a:pt x="940" y="395"/>
                  <a:pt x="939" y="395"/>
                  <a:pt x="938" y="395"/>
                </a:cubicBezTo>
                <a:cubicBezTo>
                  <a:pt x="937" y="394"/>
                  <a:pt x="935" y="395"/>
                  <a:pt x="934" y="395"/>
                </a:cubicBezTo>
                <a:cubicBezTo>
                  <a:pt x="933" y="395"/>
                  <a:pt x="932" y="395"/>
                  <a:pt x="931" y="395"/>
                </a:cubicBezTo>
                <a:cubicBezTo>
                  <a:pt x="930" y="394"/>
                  <a:pt x="930" y="394"/>
                  <a:pt x="929" y="394"/>
                </a:cubicBezTo>
                <a:cubicBezTo>
                  <a:pt x="928" y="394"/>
                  <a:pt x="928" y="394"/>
                  <a:pt x="928" y="394"/>
                </a:cubicBezTo>
                <a:cubicBezTo>
                  <a:pt x="927" y="394"/>
                  <a:pt x="927" y="394"/>
                  <a:pt x="926" y="394"/>
                </a:cubicBezTo>
                <a:cubicBezTo>
                  <a:pt x="925" y="394"/>
                  <a:pt x="925" y="395"/>
                  <a:pt x="924" y="396"/>
                </a:cubicBezTo>
                <a:cubicBezTo>
                  <a:pt x="923" y="397"/>
                  <a:pt x="923" y="397"/>
                  <a:pt x="922" y="397"/>
                </a:cubicBezTo>
                <a:cubicBezTo>
                  <a:pt x="921" y="398"/>
                  <a:pt x="920" y="399"/>
                  <a:pt x="919" y="399"/>
                </a:cubicBezTo>
                <a:cubicBezTo>
                  <a:pt x="918" y="400"/>
                  <a:pt x="917" y="400"/>
                  <a:pt x="916" y="401"/>
                </a:cubicBezTo>
                <a:cubicBezTo>
                  <a:pt x="916" y="402"/>
                  <a:pt x="915" y="403"/>
                  <a:pt x="914" y="403"/>
                </a:cubicBezTo>
                <a:cubicBezTo>
                  <a:pt x="914" y="404"/>
                  <a:pt x="913" y="404"/>
                  <a:pt x="912" y="405"/>
                </a:cubicBezTo>
                <a:cubicBezTo>
                  <a:pt x="911" y="405"/>
                  <a:pt x="911" y="405"/>
                  <a:pt x="912" y="406"/>
                </a:cubicBezTo>
                <a:cubicBezTo>
                  <a:pt x="912" y="407"/>
                  <a:pt x="913" y="407"/>
                  <a:pt x="914" y="408"/>
                </a:cubicBezTo>
                <a:cubicBezTo>
                  <a:pt x="914" y="409"/>
                  <a:pt x="915" y="409"/>
                  <a:pt x="915" y="410"/>
                </a:cubicBezTo>
                <a:cubicBezTo>
                  <a:pt x="916" y="410"/>
                  <a:pt x="917" y="410"/>
                  <a:pt x="918" y="411"/>
                </a:cubicBezTo>
                <a:cubicBezTo>
                  <a:pt x="918" y="411"/>
                  <a:pt x="918" y="411"/>
                  <a:pt x="919" y="412"/>
                </a:cubicBezTo>
                <a:cubicBezTo>
                  <a:pt x="919" y="412"/>
                  <a:pt x="919" y="412"/>
                  <a:pt x="919" y="412"/>
                </a:cubicBezTo>
                <a:cubicBezTo>
                  <a:pt x="919" y="413"/>
                  <a:pt x="919" y="412"/>
                  <a:pt x="919" y="413"/>
                </a:cubicBezTo>
                <a:cubicBezTo>
                  <a:pt x="920" y="413"/>
                  <a:pt x="920" y="414"/>
                  <a:pt x="920" y="414"/>
                </a:cubicBezTo>
                <a:cubicBezTo>
                  <a:pt x="920" y="414"/>
                  <a:pt x="920" y="415"/>
                  <a:pt x="920" y="415"/>
                </a:cubicBezTo>
                <a:cubicBezTo>
                  <a:pt x="921" y="415"/>
                  <a:pt x="922" y="416"/>
                  <a:pt x="921" y="417"/>
                </a:cubicBezTo>
                <a:cubicBezTo>
                  <a:pt x="921" y="417"/>
                  <a:pt x="920" y="417"/>
                  <a:pt x="920" y="417"/>
                </a:cubicBezTo>
                <a:cubicBezTo>
                  <a:pt x="920" y="417"/>
                  <a:pt x="919" y="417"/>
                  <a:pt x="919" y="417"/>
                </a:cubicBezTo>
                <a:cubicBezTo>
                  <a:pt x="918" y="417"/>
                  <a:pt x="918" y="416"/>
                  <a:pt x="917" y="416"/>
                </a:cubicBezTo>
                <a:cubicBezTo>
                  <a:pt x="917" y="416"/>
                  <a:pt x="916" y="416"/>
                  <a:pt x="916" y="416"/>
                </a:cubicBezTo>
                <a:cubicBezTo>
                  <a:pt x="915" y="416"/>
                  <a:pt x="915" y="416"/>
                  <a:pt x="915" y="416"/>
                </a:cubicBezTo>
                <a:cubicBezTo>
                  <a:pt x="914" y="416"/>
                  <a:pt x="914" y="417"/>
                  <a:pt x="914" y="417"/>
                </a:cubicBezTo>
                <a:cubicBezTo>
                  <a:pt x="913" y="417"/>
                  <a:pt x="913" y="417"/>
                  <a:pt x="913" y="417"/>
                </a:cubicBezTo>
                <a:cubicBezTo>
                  <a:pt x="912" y="418"/>
                  <a:pt x="912" y="419"/>
                  <a:pt x="911" y="419"/>
                </a:cubicBezTo>
                <a:cubicBezTo>
                  <a:pt x="911" y="420"/>
                  <a:pt x="911" y="420"/>
                  <a:pt x="910" y="420"/>
                </a:cubicBezTo>
                <a:cubicBezTo>
                  <a:pt x="909" y="420"/>
                  <a:pt x="910" y="420"/>
                  <a:pt x="909" y="419"/>
                </a:cubicBezTo>
                <a:cubicBezTo>
                  <a:pt x="909" y="419"/>
                  <a:pt x="908" y="419"/>
                  <a:pt x="908" y="419"/>
                </a:cubicBezTo>
                <a:cubicBezTo>
                  <a:pt x="908" y="418"/>
                  <a:pt x="908" y="418"/>
                  <a:pt x="908" y="418"/>
                </a:cubicBezTo>
                <a:cubicBezTo>
                  <a:pt x="907" y="418"/>
                  <a:pt x="907" y="418"/>
                  <a:pt x="907" y="418"/>
                </a:cubicBezTo>
                <a:cubicBezTo>
                  <a:pt x="906" y="419"/>
                  <a:pt x="906" y="419"/>
                  <a:pt x="905" y="419"/>
                </a:cubicBezTo>
                <a:cubicBezTo>
                  <a:pt x="904" y="419"/>
                  <a:pt x="904" y="419"/>
                  <a:pt x="904" y="420"/>
                </a:cubicBezTo>
                <a:cubicBezTo>
                  <a:pt x="904" y="421"/>
                  <a:pt x="903" y="421"/>
                  <a:pt x="902" y="421"/>
                </a:cubicBezTo>
                <a:cubicBezTo>
                  <a:pt x="901" y="421"/>
                  <a:pt x="899" y="422"/>
                  <a:pt x="898" y="421"/>
                </a:cubicBezTo>
                <a:cubicBezTo>
                  <a:pt x="898" y="420"/>
                  <a:pt x="898" y="420"/>
                  <a:pt x="897" y="420"/>
                </a:cubicBezTo>
                <a:cubicBezTo>
                  <a:pt x="897" y="420"/>
                  <a:pt x="896" y="420"/>
                  <a:pt x="896" y="420"/>
                </a:cubicBezTo>
                <a:cubicBezTo>
                  <a:pt x="895" y="420"/>
                  <a:pt x="895" y="420"/>
                  <a:pt x="895" y="420"/>
                </a:cubicBezTo>
                <a:cubicBezTo>
                  <a:pt x="894" y="421"/>
                  <a:pt x="895" y="421"/>
                  <a:pt x="895" y="421"/>
                </a:cubicBezTo>
                <a:cubicBezTo>
                  <a:pt x="894" y="422"/>
                  <a:pt x="894" y="421"/>
                  <a:pt x="894" y="421"/>
                </a:cubicBezTo>
                <a:cubicBezTo>
                  <a:pt x="893" y="421"/>
                  <a:pt x="892" y="421"/>
                  <a:pt x="892" y="420"/>
                </a:cubicBezTo>
                <a:cubicBezTo>
                  <a:pt x="891" y="420"/>
                  <a:pt x="890" y="420"/>
                  <a:pt x="889" y="420"/>
                </a:cubicBezTo>
                <a:cubicBezTo>
                  <a:pt x="888" y="420"/>
                  <a:pt x="888" y="419"/>
                  <a:pt x="887" y="419"/>
                </a:cubicBezTo>
                <a:cubicBezTo>
                  <a:pt x="886" y="419"/>
                  <a:pt x="886" y="418"/>
                  <a:pt x="885" y="418"/>
                </a:cubicBezTo>
                <a:cubicBezTo>
                  <a:pt x="884" y="418"/>
                  <a:pt x="883" y="418"/>
                  <a:pt x="882" y="418"/>
                </a:cubicBezTo>
                <a:cubicBezTo>
                  <a:pt x="882" y="418"/>
                  <a:pt x="881" y="418"/>
                  <a:pt x="880" y="418"/>
                </a:cubicBezTo>
                <a:cubicBezTo>
                  <a:pt x="880" y="418"/>
                  <a:pt x="879" y="418"/>
                  <a:pt x="879" y="418"/>
                </a:cubicBezTo>
                <a:cubicBezTo>
                  <a:pt x="878" y="418"/>
                  <a:pt x="878" y="418"/>
                  <a:pt x="878" y="419"/>
                </a:cubicBezTo>
                <a:cubicBezTo>
                  <a:pt x="878" y="419"/>
                  <a:pt x="878" y="419"/>
                  <a:pt x="878" y="420"/>
                </a:cubicBezTo>
                <a:cubicBezTo>
                  <a:pt x="877" y="420"/>
                  <a:pt x="878" y="421"/>
                  <a:pt x="878" y="422"/>
                </a:cubicBezTo>
                <a:cubicBezTo>
                  <a:pt x="878" y="423"/>
                  <a:pt x="877" y="423"/>
                  <a:pt x="876" y="423"/>
                </a:cubicBezTo>
                <a:cubicBezTo>
                  <a:pt x="875" y="423"/>
                  <a:pt x="874" y="424"/>
                  <a:pt x="874" y="424"/>
                </a:cubicBezTo>
                <a:cubicBezTo>
                  <a:pt x="872" y="424"/>
                  <a:pt x="871" y="425"/>
                  <a:pt x="870" y="426"/>
                </a:cubicBezTo>
                <a:cubicBezTo>
                  <a:pt x="869" y="427"/>
                  <a:pt x="869" y="428"/>
                  <a:pt x="869" y="428"/>
                </a:cubicBezTo>
                <a:cubicBezTo>
                  <a:pt x="868" y="429"/>
                  <a:pt x="868" y="430"/>
                  <a:pt x="868" y="431"/>
                </a:cubicBezTo>
                <a:cubicBezTo>
                  <a:pt x="867" y="431"/>
                  <a:pt x="867" y="431"/>
                  <a:pt x="867" y="432"/>
                </a:cubicBezTo>
                <a:cubicBezTo>
                  <a:pt x="867" y="433"/>
                  <a:pt x="868" y="433"/>
                  <a:pt x="868" y="434"/>
                </a:cubicBezTo>
                <a:cubicBezTo>
                  <a:pt x="869" y="434"/>
                  <a:pt x="869" y="435"/>
                  <a:pt x="870" y="435"/>
                </a:cubicBezTo>
                <a:cubicBezTo>
                  <a:pt x="870" y="436"/>
                  <a:pt x="871" y="437"/>
                  <a:pt x="871" y="437"/>
                </a:cubicBezTo>
                <a:cubicBezTo>
                  <a:pt x="872" y="438"/>
                  <a:pt x="872" y="438"/>
                  <a:pt x="873" y="438"/>
                </a:cubicBezTo>
                <a:cubicBezTo>
                  <a:pt x="874" y="439"/>
                  <a:pt x="875" y="439"/>
                  <a:pt x="876" y="439"/>
                </a:cubicBezTo>
                <a:cubicBezTo>
                  <a:pt x="876" y="439"/>
                  <a:pt x="877" y="439"/>
                  <a:pt x="878" y="439"/>
                </a:cubicBezTo>
                <a:cubicBezTo>
                  <a:pt x="879" y="439"/>
                  <a:pt x="879" y="439"/>
                  <a:pt x="880" y="439"/>
                </a:cubicBezTo>
                <a:cubicBezTo>
                  <a:pt x="881" y="440"/>
                  <a:pt x="882" y="439"/>
                  <a:pt x="882" y="440"/>
                </a:cubicBezTo>
                <a:cubicBezTo>
                  <a:pt x="882" y="440"/>
                  <a:pt x="883" y="440"/>
                  <a:pt x="883" y="440"/>
                </a:cubicBezTo>
                <a:cubicBezTo>
                  <a:pt x="883" y="440"/>
                  <a:pt x="885" y="441"/>
                  <a:pt x="885" y="440"/>
                </a:cubicBezTo>
                <a:cubicBezTo>
                  <a:pt x="885" y="440"/>
                  <a:pt x="885" y="440"/>
                  <a:pt x="885" y="439"/>
                </a:cubicBezTo>
                <a:cubicBezTo>
                  <a:pt x="885" y="439"/>
                  <a:pt x="886" y="439"/>
                  <a:pt x="886" y="439"/>
                </a:cubicBezTo>
                <a:cubicBezTo>
                  <a:pt x="887" y="439"/>
                  <a:pt x="887" y="439"/>
                  <a:pt x="888" y="440"/>
                </a:cubicBezTo>
                <a:cubicBezTo>
                  <a:pt x="888" y="440"/>
                  <a:pt x="889" y="440"/>
                  <a:pt x="889" y="440"/>
                </a:cubicBezTo>
                <a:cubicBezTo>
                  <a:pt x="890" y="439"/>
                  <a:pt x="890" y="440"/>
                  <a:pt x="891" y="439"/>
                </a:cubicBezTo>
                <a:cubicBezTo>
                  <a:pt x="891" y="439"/>
                  <a:pt x="890" y="439"/>
                  <a:pt x="890" y="438"/>
                </a:cubicBezTo>
                <a:cubicBezTo>
                  <a:pt x="891" y="438"/>
                  <a:pt x="891" y="438"/>
                  <a:pt x="891" y="438"/>
                </a:cubicBezTo>
                <a:cubicBezTo>
                  <a:pt x="891" y="437"/>
                  <a:pt x="892" y="437"/>
                  <a:pt x="893" y="437"/>
                </a:cubicBezTo>
                <a:cubicBezTo>
                  <a:pt x="893" y="437"/>
                  <a:pt x="893" y="438"/>
                  <a:pt x="894" y="438"/>
                </a:cubicBezTo>
                <a:cubicBezTo>
                  <a:pt x="894" y="438"/>
                  <a:pt x="894" y="437"/>
                  <a:pt x="895" y="437"/>
                </a:cubicBezTo>
                <a:cubicBezTo>
                  <a:pt x="895" y="437"/>
                  <a:pt x="895" y="437"/>
                  <a:pt x="895" y="437"/>
                </a:cubicBezTo>
                <a:cubicBezTo>
                  <a:pt x="895" y="438"/>
                  <a:pt x="896" y="438"/>
                  <a:pt x="896" y="438"/>
                </a:cubicBezTo>
                <a:cubicBezTo>
                  <a:pt x="896" y="437"/>
                  <a:pt x="896" y="437"/>
                  <a:pt x="895" y="437"/>
                </a:cubicBezTo>
                <a:cubicBezTo>
                  <a:pt x="895" y="437"/>
                  <a:pt x="895" y="436"/>
                  <a:pt x="896" y="436"/>
                </a:cubicBezTo>
                <a:cubicBezTo>
                  <a:pt x="896" y="436"/>
                  <a:pt x="896" y="436"/>
                  <a:pt x="897" y="436"/>
                </a:cubicBezTo>
                <a:cubicBezTo>
                  <a:pt x="897" y="436"/>
                  <a:pt x="897" y="436"/>
                  <a:pt x="897" y="436"/>
                </a:cubicBezTo>
                <a:cubicBezTo>
                  <a:pt x="896" y="435"/>
                  <a:pt x="895" y="435"/>
                  <a:pt x="896" y="434"/>
                </a:cubicBezTo>
                <a:cubicBezTo>
                  <a:pt x="896" y="433"/>
                  <a:pt x="897" y="434"/>
                  <a:pt x="898" y="434"/>
                </a:cubicBezTo>
                <a:cubicBezTo>
                  <a:pt x="899" y="435"/>
                  <a:pt x="901" y="435"/>
                  <a:pt x="903" y="436"/>
                </a:cubicBezTo>
                <a:cubicBezTo>
                  <a:pt x="904" y="436"/>
                  <a:pt x="905" y="437"/>
                  <a:pt x="906" y="437"/>
                </a:cubicBezTo>
                <a:cubicBezTo>
                  <a:pt x="907" y="437"/>
                  <a:pt x="907" y="437"/>
                  <a:pt x="908" y="437"/>
                </a:cubicBezTo>
                <a:cubicBezTo>
                  <a:pt x="909" y="437"/>
                  <a:pt x="910" y="437"/>
                  <a:pt x="910" y="437"/>
                </a:cubicBezTo>
                <a:cubicBezTo>
                  <a:pt x="910" y="436"/>
                  <a:pt x="910" y="436"/>
                  <a:pt x="910" y="436"/>
                </a:cubicBezTo>
                <a:cubicBezTo>
                  <a:pt x="910" y="435"/>
                  <a:pt x="910" y="435"/>
                  <a:pt x="910" y="435"/>
                </a:cubicBezTo>
                <a:cubicBezTo>
                  <a:pt x="910" y="435"/>
                  <a:pt x="910" y="435"/>
                  <a:pt x="910" y="435"/>
                </a:cubicBezTo>
                <a:cubicBezTo>
                  <a:pt x="911" y="434"/>
                  <a:pt x="910" y="434"/>
                  <a:pt x="910" y="434"/>
                </a:cubicBezTo>
                <a:cubicBezTo>
                  <a:pt x="910" y="434"/>
                  <a:pt x="910" y="433"/>
                  <a:pt x="910" y="433"/>
                </a:cubicBezTo>
                <a:cubicBezTo>
                  <a:pt x="910" y="433"/>
                  <a:pt x="909" y="433"/>
                  <a:pt x="909" y="433"/>
                </a:cubicBezTo>
                <a:cubicBezTo>
                  <a:pt x="909" y="432"/>
                  <a:pt x="911" y="433"/>
                  <a:pt x="911" y="433"/>
                </a:cubicBezTo>
                <a:cubicBezTo>
                  <a:pt x="912" y="432"/>
                  <a:pt x="912" y="432"/>
                  <a:pt x="912" y="432"/>
                </a:cubicBezTo>
                <a:cubicBezTo>
                  <a:pt x="912" y="432"/>
                  <a:pt x="913" y="432"/>
                  <a:pt x="913" y="432"/>
                </a:cubicBezTo>
                <a:cubicBezTo>
                  <a:pt x="913" y="433"/>
                  <a:pt x="913" y="432"/>
                  <a:pt x="914" y="432"/>
                </a:cubicBezTo>
                <a:cubicBezTo>
                  <a:pt x="914" y="432"/>
                  <a:pt x="914" y="432"/>
                  <a:pt x="914" y="432"/>
                </a:cubicBezTo>
                <a:cubicBezTo>
                  <a:pt x="915" y="432"/>
                  <a:pt x="915" y="433"/>
                  <a:pt x="915" y="433"/>
                </a:cubicBezTo>
                <a:cubicBezTo>
                  <a:pt x="915" y="433"/>
                  <a:pt x="916" y="433"/>
                  <a:pt x="916" y="434"/>
                </a:cubicBezTo>
                <a:cubicBezTo>
                  <a:pt x="915" y="434"/>
                  <a:pt x="915" y="434"/>
                  <a:pt x="915" y="434"/>
                </a:cubicBezTo>
                <a:cubicBezTo>
                  <a:pt x="914" y="434"/>
                  <a:pt x="914" y="434"/>
                  <a:pt x="914" y="434"/>
                </a:cubicBezTo>
                <a:cubicBezTo>
                  <a:pt x="914" y="435"/>
                  <a:pt x="915" y="435"/>
                  <a:pt x="915" y="435"/>
                </a:cubicBezTo>
                <a:cubicBezTo>
                  <a:pt x="915" y="435"/>
                  <a:pt x="915" y="435"/>
                  <a:pt x="915" y="435"/>
                </a:cubicBezTo>
                <a:cubicBezTo>
                  <a:pt x="915" y="436"/>
                  <a:pt x="916" y="436"/>
                  <a:pt x="915" y="436"/>
                </a:cubicBezTo>
                <a:cubicBezTo>
                  <a:pt x="915" y="437"/>
                  <a:pt x="915" y="436"/>
                  <a:pt x="914" y="436"/>
                </a:cubicBezTo>
                <a:cubicBezTo>
                  <a:pt x="914" y="437"/>
                  <a:pt x="915" y="437"/>
                  <a:pt x="915" y="437"/>
                </a:cubicBezTo>
                <a:cubicBezTo>
                  <a:pt x="915" y="437"/>
                  <a:pt x="915" y="438"/>
                  <a:pt x="915" y="438"/>
                </a:cubicBezTo>
                <a:cubicBezTo>
                  <a:pt x="916" y="438"/>
                  <a:pt x="916" y="438"/>
                  <a:pt x="916" y="437"/>
                </a:cubicBezTo>
                <a:cubicBezTo>
                  <a:pt x="916" y="437"/>
                  <a:pt x="916" y="437"/>
                  <a:pt x="916" y="437"/>
                </a:cubicBezTo>
                <a:cubicBezTo>
                  <a:pt x="917" y="436"/>
                  <a:pt x="916" y="436"/>
                  <a:pt x="917" y="436"/>
                </a:cubicBezTo>
                <a:cubicBezTo>
                  <a:pt x="917" y="436"/>
                  <a:pt x="917" y="436"/>
                  <a:pt x="918" y="436"/>
                </a:cubicBezTo>
                <a:cubicBezTo>
                  <a:pt x="919" y="436"/>
                  <a:pt x="918" y="435"/>
                  <a:pt x="918" y="435"/>
                </a:cubicBezTo>
                <a:cubicBezTo>
                  <a:pt x="918" y="434"/>
                  <a:pt x="917" y="434"/>
                  <a:pt x="917" y="434"/>
                </a:cubicBezTo>
                <a:cubicBezTo>
                  <a:pt x="917" y="434"/>
                  <a:pt x="918" y="434"/>
                  <a:pt x="918" y="434"/>
                </a:cubicBezTo>
                <a:cubicBezTo>
                  <a:pt x="919" y="434"/>
                  <a:pt x="919" y="434"/>
                  <a:pt x="919" y="434"/>
                </a:cubicBezTo>
                <a:cubicBezTo>
                  <a:pt x="920" y="435"/>
                  <a:pt x="920" y="435"/>
                  <a:pt x="920" y="434"/>
                </a:cubicBezTo>
                <a:cubicBezTo>
                  <a:pt x="920" y="434"/>
                  <a:pt x="920" y="433"/>
                  <a:pt x="920" y="433"/>
                </a:cubicBezTo>
                <a:cubicBezTo>
                  <a:pt x="920" y="433"/>
                  <a:pt x="921" y="433"/>
                  <a:pt x="921" y="433"/>
                </a:cubicBezTo>
                <a:cubicBezTo>
                  <a:pt x="922" y="433"/>
                  <a:pt x="922" y="434"/>
                  <a:pt x="922" y="435"/>
                </a:cubicBezTo>
                <a:cubicBezTo>
                  <a:pt x="922" y="437"/>
                  <a:pt x="924" y="434"/>
                  <a:pt x="924" y="435"/>
                </a:cubicBezTo>
                <a:cubicBezTo>
                  <a:pt x="924" y="435"/>
                  <a:pt x="924" y="436"/>
                  <a:pt x="923" y="436"/>
                </a:cubicBezTo>
                <a:cubicBezTo>
                  <a:pt x="923" y="436"/>
                  <a:pt x="923" y="436"/>
                  <a:pt x="923" y="437"/>
                </a:cubicBezTo>
                <a:cubicBezTo>
                  <a:pt x="922" y="437"/>
                  <a:pt x="922" y="437"/>
                  <a:pt x="922" y="437"/>
                </a:cubicBezTo>
                <a:cubicBezTo>
                  <a:pt x="922" y="437"/>
                  <a:pt x="922" y="438"/>
                  <a:pt x="922" y="438"/>
                </a:cubicBezTo>
                <a:cubicBezTo>
                  <a:pt x="923" y="438"/>
                  <a:pt x="923" y="439"/>
                  <a:pt x="923" y="439"/>
                </a:cubicBezTo>
                <a:cubicBezTo>
                  <a:pt x="923" y="439"/>
                  <a:pt x="923" y="440"/>
                  <a:pt x="924" y="440"/>
                </a:cubicBezTo>
                <a:cubicBezTo>
                  <a:pt x="924" y="439"/>
                  <a:pt x="924" y="439"/>
                  <a:pt x="924" y="439"/>
                </a:cubicBezTo>
                <a:cubicBezTo>
                  <a:pt x="925" y="438"/>
                  <a:pt x="926" y="439"/>
                  <a:pt x="926" y="440"/>
                </a:cubicBezTo>
                <a:cubicBezTo>
                  <a:pt x="927" y="440"/>
                  <a:pt x="928" y="441"/>
                  <a:pt x="928" y="442"/>
                </a:cubicBezTo>
                <a:cubicBezTo>
                  <a:pt x="928" y="443"/>
                  <a:pt x="928" y="443"/>
                  <a:pt x="928" y="443"/>
                </a:cubicBezTo>
                <a:cubicBezTo>
                  <a:pt x="928" y="444"/>
                  <a:pt x="929" y="444"/>
                  <a:pt x="929" y="444"/>
                </a:cubicBezTo>
                <a:cubicBezTo>
                  <a:pt x="929" y="444"/>
                  <a:pt x="929" y="445"/>
                  <a:pt x="930" y="445"/>
                </a:cubicBezTo>
                <a:cubicBezTo>
                  <a:pt x="930" y="445"/>
                  <a:pt x="930" y="445"/>
                  <a:pt x="931" y="444"/>
                </a:cubicBezTo>
                <a:cubicBezTo>
                  <a:pt x="931" y="444"/>
                  <a:pt x="931" y="443"/>
                  <a:pt x="931" y="444"/>
                </a:cubicBezTo>
                <a:cubicBezTo>
                  <a:pt x="931" y="444"/>
                  <a:pt x="931" y="445"/>
                  <a:pt x="931" y="445"/>
                </a:cubicBezTo>
                <a:cubicBezTo>
                  <a:pt x="931" y="445"/>
                  <a:pt x="932" y="445"/>
                  <a:pt x="932" y="446"/>
                </a:cubicBezTo>
                <a:cubicBezTo>
                  <a:pt x="932" y="446"/>
                  <a:pt x="931" y="446"/>
                  <a:pt x="931" y="446"/>
                </a:cubicBezTo>
                <a:cubicBezTo>
                  <a:pt x="931" y="446"/>
                  <a:pt x="931" y="447"/>
                  <a:pt x="931" y="447"/>
                </a:cubicBezTo>
                <a:cubicBezTo>
                  <a:pt x="931" y="447"/>
                  <a:pt x="931" y="447"/>
                  <a:pt x="932" y="447"/>
                </a:cubicBezTo>
                <a:cubicBezTo>
                  <a:pt x="932" y="448"/>
                  <a:pt x="932" y="448"/>
                  <a:pt x="933" y="449"/>
                </a:cubicBezTo>
                <a:cubicBezTo>
                  <a:pt x="933" y="449"/>
                  <a:pt x="933" y="448"/>
                  <a:pt x="934" y="448"/>
                </a:cubicBezTo>
                <a:cubicBezTo>
                  <a:pt x="934" y="447"/>
                  <a:pt x="934" y="447"/>
                  <a:pt x="935" y="447"/>
                </a:cubicBezTo>
                <a:cubicBezTo>
                  <a:pt x="936" y="447"/>
                  <a:pt x="936" y="447"/>
                  <a:pt x="936" y="448"/>
                </a:cubicBezTo>
                <a:cubicBezTo>
                  <a:pt x="936" y="449"/>
                  <a:pt x="937" y="448"/>
                  <a:pt x="937" y="449"/>
                </a:cubicBezTo>
                <a:cubicBezTo>
                  <a:pt x="938" y="449"/>
                  <a:pt x="938" y="449"/>
                  <a:pt x="938" y="450"/>
                </a:cubicBezTo>
                <a:cubicBezTo>
                  <a:pt x="938" y="450"/>
                  <a:pt x="939" y="450"/>
                  <a:pt x="939" y="450"/>
                </a:cubicBezTo>
                <a:cubicBezTo>
                  <a:pt x="940" y="450"/>
                  <a:pt x="940" y="450"/>
                  <a:pt x="940" y="450"/>
                </a:cubicBezTo>
                <a:cubicBezTo>
                  <a:pt x="941" y="450"/>
                  <a:pt x="940" y="449"/>
                  <a:pt x="940" y="449"/>
                </a:cubicBezTo>
                <a:cubicBezTo>
                  <a:pt x="940" y="449"/>
                  <a:pt x="940" y="449"/>
                  <a:pt x="940" y="448"/>
                </a:cubicBezTo>
                <a:cubicBezTo>
                  <a:pt x="940" y="448"/>
                  <a:pt x="941" y="448"/>
                  <a:pt x="941" y="448"/>
                </a:cubicBezTo>
                <a:cubicBezTo>
                  <a:pt x="941" y="449"/>
                  <a:pt x="942" y="449"/>
                  <a:pt x="942" y="449"/>
                </a:cubicBezTo>
                <a:cubicBezTo>
                  <a:pt x="942" y="450"/>
                  <a:pt x="943" y="450"/>
                  <a:pt x="943" y="450"/>
                </a:cubicBezTo>
                <a:cubicBezTo>
                  <a:pt x="944" y="450"/>
                  <a:pt x="944" y="451"/>
                  <a:pt x="943" y="452"/>
                </a:cubicBezTo>
                <a:cubicBezTo>
                  <a:pt x="943" y="452"/>
                  <a:pt x="943" y="452"/>
                  <a:pt x="944" y="452"/>
                </a:cubicBezTo>
                <a:cubicBezTo>
                  <a:pt x="944" y="452"/>
                  <a:pt x="944" y="452"/>
                  <a:pt x="944" y="452"/>
                </a:cubicBezTo>
                <a:cubicBezTo>
                  <a:pt x="945" y="451"/>
                  <a:pt x="945" y="451"/>
                  <a:pt x="945" y="451"/>
                </a:cubicBezTo>
                <a:cubicBezTo>
                  <a:pt x="946" y="451"/>
                  <a:pt x="946" y="451"/>
                  <a:pt x="946" y="451"/>
                </a:cubicBezTo>
                <a:cubicBezTo>
                  <a:pt x="947" y="452"/>
                  <a:pt x="947" y="451"/>
                  <a:pt x="947" y="452"/>
                </a:cubicBezTo>
                <a:cubicBezTo>
                  <a:pt x="947" y="452"/>
                  <a:pt x="947" y="452"/>
                  <a:pt x="947" y="453"/>
                </a:cubicBezTo>
                <a:cubicBezTo>
                  <a:pt x="946" y="453"/>
                  <a:pt x="946" y="453"/>
                  <a:pt x="946" y="453"/>
                </a:cubicBezTo>
                <a:cubicBezTo>
                  <a:pt x="945" y="454"/>
                  <a:pt x="945" y="453"/>
                  <a:pt x="945" y="454"/>
                </a:cubicBezTo>
                <a:cubicBezTo>
                  <a:pt x="944" y="454"/>
                  <a:pt x="944" y="455"/>
                  <a:pt x="943" y="455"/>
                </a:cubicBezTo>
                <a:cubicBezTo>
                  <a:pt x="943" y="455"/>
                  <a:pt x="942" y="455"/>
                  <a:pt x="942" y="455"/>
                </a:cubicBezTo>
                <a:cubicBezTo>
                  <a:pt x="942" y="455"/>
                  <a:pt x="941" y="455"/>
                  <a:pt x="941" y="455"/>
                </a:cubicBezTo>
                <a:cubicBezTo>
                  <a:pt x="940" y="455"/>
                  <a:pt x="940" y="455"/>
                  <a:pt x="939" y="455"/>
                </a:cubicBezTo>
                <a:cubicBezTo>
                  <a:pt x="939" y="455"/>
                  <a:pt x="939" y="455"/>
                  <a:pt x="938" y="454"/>
                </a:cubicBezTo>
                <a:cubicBezTo>
                  <a:pt x="938" y="454"/>
                  <a:pt x="938" y="455"/>
                  <a:pt x="938" y="455"/>
                </a:cubicBezTo>
                <a:cubicBezTo>
                  <a:pt x="938" y="455"/>
                  <a:pt x="938" y="456"/>
                  <a:pt x="939" y="456"/>
                </a:cubicBezTo>
                <a:cubicBezTo>
                  <a:pt x="939" y="456"/>
                  <a:pt x="940" y="457"/>
                  <a:pt x="941" y="457"/>
                </a:cubicBezTo>
                <a:cubicBezTo>
                  <a:pt x="941" y="457"/>
                  <a:pt x="941" y="458"/>
                  <a:pt x="941" y="458"/>
                </a:cubicBezTo>
                <a:cubicBezTo>
                  <a:pt x="942" y="458"/>
                  <a:pt x="942" y="459"/>
                  <a:pt x="942" y="459"/>
                </a:cubicBezTo>
                <a:cubicBezTo>
                  <a:pt x="942" y="459"/>
                  <a:pt x="942" y="460"/>
                  <a:pt x="943" y="460"/>
                </a:cubicBezTo>
                <a:cubicBezTo>
                  <a:pt x="943" y="460"/>
                  <a:pt x="945" y="460"/>
                  <a:pt x="945" y="460"/>
                </a:cubicBezTo>
                <a:cubicBezTo>
                  <a:pt x="946" y="460"/>
                  <a:pt x="946" y="460"/>
                  <a:pt x="946" y="460"/>
                </a:cubicBezTo>
                <a:cubicBezTo>
                  <a:pt x="947" y="461"/>
                  <a:pt x="948" y="461"/>
                  <a:pt x="949" y="461"/>
                </a:cubicBezTo>
                <a:cubicBezTo>
                  <a:pt x="950" y="461"/>
                  <a:pt x="950" y="461"/>
                  <a:pt x="950" y="461"/>
                </a:cubicBezTo>
                <a:cubicBezTo>
                  <a:pt x="951" y="461"/>
                  <a:pt x="951" y="460"/>
                  <a:pt x="951" y="460"/>
                </a:cubicBezTo>
                <a:cubicBezTo>
                  <a:pt x="951" y="460"/>
                  <a:pt x="951" y="460"/>
                  <a:pt x="951" y="461"/>
                </a:cubicBezTo>
                <a:cubicBezTo>
                  <a:pt x="951" y="461"/>
                  <a:pt x="951" y="461"/>
                  <a:pt x="950" y="462"/>
                </a:cubicBezTo>
                <a:cubicBezTo>
                  <a:pt x="950" y="462"/>
                  <a:pt x="950" y="462"/>
                  <a:pt x="950" y="462"/>
                </a:cubicBezTo>
                <a:cubicBezTo>
                  <a:pt x="949" y="462"/>
                  <a:pt x="949" y="462"/>
                  <a:pt x="948" y="462"/>
                </a:cubicBezTo>
                <a:cubicBezTo>
                  <a:pt x="948" y="463"/>
                  <a:pt x="949" y="463"/>
                  <a:pt x="949" y="463"/>
                </a:cubicBezTo>
                <a:cubicBezTo>
                  <a:pt x="950" y="463"/>
                  <a:pt x="950" y="464"/>
                  <a:pt x="951" y="464"/>
                </a:cubicBezTo>
                <a:cubicBezTo>
                  <a:pt x="951" y="464"/>
                  <a:pt x="952" y="464"/>
                  <a:pt x="953" y="465"/>
                </a:cubicBezTo>
                <a:cubicBezTo>
                  <a:pt x="953" y="465"/>
                  <a:pt x="954" y="465"/>
                  <a:pt x="955" y="465"/>
                </a:cubicBezTo>
                <a:cubicBezTo>
                  <a:pt x="956" y="465"/>
                  <a:pt x="956" y="465"/>
                  <a:pt x="957" y="466"/>
                </a:cubicBezTo>
                <a:cubicBezTo>
                  <a:pt x="958" y="466"/>
                  <a:pt x="964" y="468"/>
                  <a:pt x="964" y="467"/>
                </a:cubicBezTo>
                <a:cubicBezTo>
                  <a:pt x="964" y="466"/>
                  <a:pt x="964" y="466"/>
                  <a:pt x="964" y="466"/>
                </a:cubicBezTo>
                <a:cubicBezTo>
                  <a:pt x="964" y="466"/>
                  <a:pt x="965" y="466"/>
                  <a:pt x="965" y="466"/>
                </a:cubicBezTo>
                <a:cubicBezTo>
                  <a:pt x="965" y="466"/>
                  <a:pt x="966" y="466"/>
                  <a:pt x="966" y="466"/>
                </a:cubicBezTo>
                <a:cubicBezTo>
                  <a:pt x="967" y="466"/>
                  <a:pt x="968" y="467"/>
                  <a:pt x="968" y="468"/>
                </a:cubicBezTo>
                <a:cubicBezTo>
                  <a:pt x="967" y="469"/>
                  <a:pt x="967" y="468"/>
                  <a:pt x="966" y="468"/>
                </a:cubicBezTo>
                <a:cubicBezTo>
                  <a:pt x="966" y="469"/>
                  <a:pt x="967" y="469"/>
                  <a:pt x="967" y="469"/>
                </a:cubicBezTo>
                <a:cubicBezTo>
                  <a:pt x="967" y="469"/>
                  <a:pt x="967" y="470"/>
                  <a:pt x="967" y="470"/>
                </a:cubicBezTo>
                <a:cubicBezTo>
                  <a:pt x="968" y="471"/>
                  <a:pt x="968" y="471"/>
                  <a:pt x="968" y="470"/>
                </a:cubicBezTo>
                <a:cubicBezTo>
                  <a:pt x="969" y="470"/>
                  <a:pt x="969" y="470"/>
                  <a:pt x="969" y="469"/>
                </a:cubicBezTo>
                <a:cubicBezTo>
                  <a:pt x="970" y="469"/>
                  <a:pt x="969" y="470"/>
                  <a:pt x="969" y="470"/>
                </a:cubicBezTo>
                <a:cubicBezTo>
                  <a:pt x="969" y="471"/>
                  <a:pt x="970" y="471"/>
                  <a:pt x="970" y="471"/>
                </a:cubicBezTo>
                <a:cubicBezTo>
                  <a:pt x="970" y="472"/>
                  <a:pt x="970" y="473"/>
                  <a:pt x="971" y="473"/>
                </a:cubicBezTo>
                <a:cubicBezTo>
                  <a:pt x="972" y="473"/>
                  <a:pt x="972" y="473"/>
                  <a:pt x="972" y="474"/>
                </a:cubicBezTo>
                <a:cubicBezTo>
                  <a:pt x="973" y="474"/>
                  <a:pt x="973" y="474"/>
                  <a:pt x="974" y="474"/>
                </a:cubicBezTo>
                <a:cubicBezTo>
                  <a:pt x="974" y="474"/>
                  <a:pt x="974" y="475"/>
                  <a:pt x="975" y="475"/>
                </a:cubicBezTo>
                <a:cubicBezTo>
                  <a:pt x="975" y="475"/>
                  <a:pt x="976" y="475"/>
                  <a:pt x="977" y="475"/>
                </a:cubicBezTo>
                <a:cubicBezTo>
                  <a:pt x="978" y="475"/>
                  <a:pt x="979" y="476"/>
                  <a:pt x="979" y="476"/>
                </a:cubicBezTo>
                <a:cubicBezTo>
                  <a:pt x="981" y="476"/>
                  <a:pt x="983" y="476"/>
                  <a:pt x="985" y="477"/>
                </a:cubicBezTo>
                <a:cubicBezTo>
                  <a:pt x="986" y="477"/>
                  <a:pt x="986" y="477"/>
                  <a:pt x="987" y="478"/>
                </a:cubicBezTo>
                <a:cubicBezTo>
                  <a:pt x="988" y="478"/>
                  <a:pt x="989" y="478"/>
                  <a:pt x="990" y="479"/>
                </a:cubicBezTo>
                <a:cubicBezTo>
                  <a:pt x="991" y="479"/>
                  <a:pt x="991" y="479"/>
                  <a:pt x="992" y="479"/>
                </a:cubicBezTo>
                <a:cubicBezTo>
                  <a:pt x="993" y="479"/>
                  <a:pt x="994" y="480"/>
                  <a:pt x="995" y="480"/>
                </a:cubicBezTo>
                <a:cubicBezTo>
                  <a:pt x="996" y="481"/>
                  <a:pt x="998" y="481"/>
                  <a:pt x="999" y="482"/>
                </a:cubicBezTo>
                <a:cubicBezTo>
                  <a:pt x="1000" y="482"/>
                  <a:pt x="1002" y="482"/>
                  <a:pt x="1003" y="483"/>
                </a:cubicBezTo>
                <a:cubicBezTo>
                  <a:pt x="1004" y="483"/>
                  <a:pt x="1005" y="483"/>
                  <a:pt x="1006" y="482"/>
                </a:cubicBezTo>
                <a:cubicBezTo>
                  <a:pt x="1007" y="482"/>
                  <a:pt x="1008" y="482"/>
                  <a:pt x="1007" y="482"/>
                </a:cubicBezTo>
                <a:cubicBezTo>
                  <a:pt x="1007" y="481"/>
                  <a:pt x="1007" y="481"/>
                  <a:pt x="1007" y="481"/>
                </a:cubicBezTo>
                <a:cubicBezTo>
                  <a:pt x="1006" y="481"/>
                  <a:pt x="1006" y="480"/>
                  <a:pt x="1006" y="480"/>
                </a:cubicBezTo>
                <a:cubicBezTo>
                  <a:pt x="1006" y="480"/>
                  <a:pt x="1005" y="479"/>
                  <a:pt x="1006" y="479"/>
                </a:cubicBezTo>
                <a:cubicBezTo>
                  <a:pt x="1006" y="479"/>
                  <a:pt x="1006" y="479"/>
                  <a:pt x="1006" y="479"/>
                </a:cubicBezTo>
                <a:cubicBezTo>
                  <a:pt x="1006" y="479"/>
                  <a:pt x="1006" y="479"/>
                  <a:pt x="1006" y="479"/>
                </a:cubicBezTo>
                <a:cubicBezTo>
                  <a:pt x="1007" y="479"/>
                  <a:pt x="1007" y="479"/>
                  <a:pt x="1007" y="479"/>
                </a:cubicBezTo>
                <a:cubicBezTo>
                  <a:pt x="1008" y="479"/>
                  <a:pt x="1007" y="478"/>
                  <a:pt x="1007" y="478"/>
                </a:cubicBezTo>
                <a:cubicBezTo>
                  <a:pt x="1007" y="477"/>
                  <a:pt x="1008" y="477"/>
                  <a:pt x="1008" y="477"/>
                </a:cubicBezTo>
                <a:cubicBezTo>
                  <a:pt x="1008" y="476"/>
                  <a:pt x="1007" y="476"/>
                  <a:pt x="1007" y="476"/>
                </a:cubicBezTo>
                <a:cubicBezTo>
                  <a:pt x="1006" y="476"/>
                  <a:pt x="1006" y="476"/>
                  <a:pt x="1005" y="476"/>
                </a:cubicBezTo>
                <a:cubicBezTo>
                  <a:pt x="1005" y="476"/>
                  <a:pt x="1005" y="476"/>
                  <a:pt x="1005" y="475"/>
                </a:cubicBezTo>
                <a:cubicBezTo>
                  <a:pt x="1005" y="474"/>
                  <a:pt x="1004" y="474"/>
                  <a:pt x="1003" y="475"/>
                </a:cubicBezTo>
                <a:cubicBezTo>
                  <a:pt x="1003" y="475"/>
                  <a:pt x="1002" y="475"/>
                  <a:pt x="1002" y="475"/>
                </a:cubicBezTo>
                <a:cubicBezTo>
                  <a:pt x="1002" y="474"/>
                  <a:pt x="1003" y="474"/>
                  <a:pt x="1003" y="474"/>
                </a:cubicBezTo>
                <a:cubicBezTo>
                  <a:pt x="1004" y="474"/>
                  <a:pt x="1003" y="473"/>
                  <a:pt x="1002" y="473"/>
                </a:cubicBezTo>
                <a:cubicBezTo>
                  <a:pt x="1002" y="473"/>
                  <a:pt x="1002" y="473"/>
                  <a:pt x="1001" y="472"/>
                </a:cubicBezTo>
                <a:cubicBezTo>
                  <a:pt x="1001" y="472"/>
                  <a:pt x="1001" y="471"/>
                  <a:pt x="1001" y="471"/>
                </a:cubicBezTo>
                <a:cubicBezTo>
                  <a:pt x="1001" y="470"/>
                  <a:pt x="1000" y="470"/>
                  <a:pt x="999" y="470"/>
                </a:cubicBezTo>
                <a:cubicBezTo>
                  <a:pt x="999" y="469"/>
                  <a:pt x="999" y="469"/>
                  <a:pt x="999" y="469"/>
                </a:cubicBezTo>
                <a:cubicBezTo>
                  <a:pt x="998" y="469"/>
                  <a:pt x="998" y="468"/>
                  <a:pt x="997" y="468"/>
                </a:cubicBezTo>
                <a:cubicBezTo>
                  <a:pt x="997" y="468"/>
                  <a:pt x="996" y="469"/>
                  <a:pt x="996" y="469"/>
                </a:cubicBezTo>
                <a:cubicBezTo>
                  <a:pt x="995" y="469"/>
                  <a:pt x="995" y="467"/>
                  <a:pt x="995" y="467"/>
                </a:cubicBezTo>
                <a:cubicBezTo>
                  <a:pt x="994" y="466"/>
                  <a:pt x="994" y="466"/>
                  <a:pt x="994" y="466"/>
                </a:cubicBezTo>
                <a:cubicBezTo>
                  <a:pt x="993" y="466"/>
                  <a:pt x="993" y="465"/>
                  <a:pt x="993" y="464"/>
                </a:cubicBezTo>
                <a:cubicBezTo>
                  <a:pt x="992" y="463"/>
                  <a:pt x="991" y="464"/>
                  <a:pt x="991" y="463"/>
                </a:cubicBezTo>
                <a:cubicBezTo>
                  <a:pt x="990" y="463"/>
                  <a:pt x="990" y="462"/>
                  <a:pt x="990" y="462"/>
                </a:cubicBezTo>
                <a:cubicBezTo>
                  <a:pt x="989" y="462"/>
                  <a:pt x="989" y="462"/>
                  <a:pt x="989" y="462"/>
                </a:cubicBezTo>
                <a:cubicBezTo>
                  <a:pt x="989" y="462"/>
                  <a:pt x="988" y="462"/>
                  <a:pt x="988" y="462"/>
                </a:cubicBezTo>
                <a:cubicBezTo>
                  <a:pt x="988" y="462"/>
                  <a:pt x="988" y="462"/>
                  <a:pt x="988" y="462"/>
                </a:cubicBezTo>
                <a:cubicBezTo>
                  <a:pt x="989" y="461"/>
                  <a:pt x="989" y="461"/>
                  <a:pt x="988" y="461"/>
                </a:cubicBezTo>
                <a:cubicBezTo>
                  <a:pt x="988" y="461"/>
                  <a:pt x="987" y="461"/>
                  <a:pt x="987" y="461"/>
                </a:cubicBezTo>
                <a:cubicBezTo>
                  <a:pt x="987" y="460"/>
                  <a:pt x="986" y="460"/>
                  <a:pt x="986" y="460"/>
                </a:cubicBezTo>
                <a:cubicBezTo>
                  <a:pt x="986" y="460"/>
                  <a:pt x="985" y="461"/>
                  <a:pt x="985" y="461"/>
                </a:cubicBezTo>
                <a:cubicBezTo>
                  <a:pt x="985" y="461"/>
                  <a:pt x="985" y="461"/>
                  <a:pt x="985" y="460"/>
                </a:cubicBezTo>
                <a:cubicBezTo>
                  <a:pt x="984" y="460"/>
                  <a:pt x="984" y="460"/>
                  <a:pt x="984" y="460"/>
                </a:cubicBezTo>
                <a:cubicBezTo>
                  <a:pt x="983" y="459"/>
                  <a:pt x="982" y="460"/>
                  <a:pt x="982" y="459"/>
                </a:cubicBezTo>
                <a:cubicBezTo>
                  <a:pt x="981" y="458"/>
                  <a:pt x="981" y="457"/>
                  <a:pt x="981" y="456"/>
                </a:cubicBezTo>
                <a:cubicBezTo>
                  <a:pt x="980" y="456"/>
                  <a:pt x="979" y="455"/>
                  <a:pt x="979" y="455"/>
                </a:cubicBezTo>
                <a:cubicBezTo>
                  <a:pt x="978" y="454"/>
                  <a:pt x="977" y="454"/>
                  <a:pt x="977" y="453"/>
                </a:cubicBezTo>
                <a:cubicBezTo>
                  <a:pt x="976" y="453"/>
                  <a:pt x="976" y="452"/>
                  <a:pt x="975" y="452"/>
                </a:cubicBezTo>
                <a:cubicBezTo>
                  <a:pt x="975" y="451"/>
                  <a:pt x="975" y="451"/>
                  <a:pt x="975" y="451"/>
                </a:cubicBezTo>
                <a:cubicBezTo>
                  <a:pt x="974" y="450"/>
                  <a:pt x="974" y="450"/>
                  <a:pt x="974" y="450"/>
                </a:cubicBezTo>
                <a:cubicBezTo>
                  <a:pt x="973" y="449"/>
                  <a:pt x="975" y="449"/>
                  <a:pt x="976" y="449"/>
                </a:cubicBezTo>
                <a:cubicBezTo>
                  <a:pt x="976" y="449"/>
                  <a:pt x="977" y="449"/>
                  <a:pt x="978" y="450"/>
                </a:cubicBezTo>
                <a:cubicBezTo>
                  <a:pt x="978" y="450"/>
                  <a:pt x="979" y="450"/>
                  <a:pt x="979" y="450"/>
                </a:cubicBezTo>
                <a:cubicBezTo>
                  <a:pt x="979" y="450"/>
                  <a:pt x="979" y="451"/>
                  <a:pt x="979" y="451"/>
                </a:cubicBezTo>
                <a:cubicBezTo>
                  <a:pt x="980" y="451"/>
                  <a:pt x="981" y="451"/>
                  <a:pt x="982" y="451"/>
                </a:cubicBezTo>
                <a:cubicBezTo>
                  <a:pt x="982" y="452"/>
                  <a:pt x="982" y="452"/>
                  <a:pt x="982" y="453"/>
                </a:cubicBezTo>
                <a:cubicBezTo>
                  <a:pt x="983" y="453"/>
                  <a:pt x="983" y="452"/>
                  <a:pt x="983" y="452"/>
                </a:cubicBezTo>
                <a:cubicBezTo>
                  <a:pt x="984" y="453"/>
                  <a:pt x="985" y="454"/>
                  <a:pt x="986" y="455"/>
                </a:cubicBezTo>
                <a:cubicBezTo>
                  <a:pt x="986" y="455"/>
                  <a:pt x="987" y="455"/>
                  <a:pt x="987" y="455"/>
                </a:cubicBezTo>
                <a:cubicBezTo>
                  <a:pt x="987" y="455"/>
                  <a:pt x="987" y="456"/>
                  <a:pt x="987" y="456"/>
                </a:cubicBezTo>
                <a:cubicBezTo>
                  <a:pt x="988" y="455"/>
                  <a:pt x="987" y="454"/>
                  <a:pt x="987" y="454"/>
                </a:cubicBezTo>
                <a:cubicBezTo>
                  <a:pt x="987" y="453"/>
                  <a:pt x="987" y="452"/>
                  <a:pt x="987" y="451"/>
                </a:cubicBezTo>
                <a:cubicBezTo>
                  <a:pt x="986" y="451"/>
                  <a:pt x="986" y="451"/>
                  <a:pt x="986" y="450"/>
                </a:cubicBezTo>
                <a:cubicBezTo>
                  <a:pt x="986" y="450"/>
                  <a:pt x="986" y="450"/>
                  <a:pt x="986" y="450"/>
                </a:cubicBezTo>
                <a:cubicBezTo>
                  <a:pt x="987" y="451"/>
                  <a:pt x="987" y="451"/>
                  <a:pt x="987" y="451"/>
                </a:cubicBezTo>
                <a:cubicBezTo>
                  <a:pt x="988" y="451"/>
                  <a:pt x="988" y="452"/>
                  <a:pt x="989" y="452"/>
                </a:cubicBezTo>
                <a:cubicBezTo>
                  <a:pt x="989" y="453"/>
                  <a:pt x="989" y="454"/>
                  <a:pt x="990" y="454"/>
                </a:cubicBezTo>
                <a:cubicBezTo>
                  <a:pt x="990" y="455"/>
                  <a:pt x="990" y="455"/>
                  <a:pt x="991" y="455"/>
                </a:cubicBezTo>
                <a:cubicBezTo>
                  <a:pt x="991" y="455"/>
                  <a:pt x="991" y="455"/>
                  <a:pt x="992" y="456"/>
                </a:cubicBezTo>
                <a:cubicBezTo>
                  <a:pt x="992" y="457"/>
                  <a:pt x="993" y="457"/>
                  <a:pt x="993" y="457"/>
                </a:cubicBezTo>
                <a:cubicBezTo>
                  <a:pt x="994" y="457"/>
                  <a:pt x="994" y="458"/>
                  <a:pt x="995" y="457"/>
                </a:cubicBezTo>
                <a:cubicBezTo>
                  <a:pt x="995" y="457"/>
                  <a:pt x="995" y="457"/>
                  <a:pt x="996" y="457"/>
                </a:cubicBezTo>
                <a:cubicBezTo>
                  <a:pt x="996" y="457"/>
                  <a:pt x="996" y="458"/>
                  <a:pt x="996" y="458"/>
                </a:cubicBezTo>
                <a:cubicBezTo>
                  <a:pt x="996" y="459"/>
                  <a:pt x="996" y="459"/>
                  <a:pt x="997" y="460"/>
                </a:cubicBezTo>
                <a:cubicBezTo>
                  <a:pt x="997" y="460"/>
                  <a:pt x="998" y="459"/>
                  <a:pt x="998" y="460"/>
                </a:cubicBezTo>
                <a:cubicBezTo>
                  <a:pt x="999" y="460"/>
                  <a:pt x="998" y="461"/>
                  <a:pt x="999" y="461"/>
                </a:cubicBezTo>
                <a:cubicBezTo>
                  <a:pt x="999" y="462"/>
                  <a:pt x="999" y="462"/>
                  <a:pt x="1000" y="462"/>
                </a:cubicBezTo>
                <a:cubicBezTo>
                  <a:pt x="1000" y="462"/>
                  <a:pt x="1000" y="463"/>
                  <a:pt x="1000" y="463"/>
                </a:cubicBezTo>
                <a:cubicBezTo>
                  <a:pt x="1001" y="462"/>
                  <a:pt x="1001" y="461"/>
                  <a:pt x="1000" y="460"/>
                </a:cubicBezTo>
                <a:cubicBezTo>
                  <a:pt x="1000" y="460"/>
                  <a:pt x="1000" y="459"/>
                  <a:pt x="1000" y="458"/>
                </a:cubicBezTo>
                <a:cubicBezTo>
                  <a:pt x="1000" y="458"/>
                  <a:pt x="1000" y="459"/>
                  <a:pt x="1001" y="459"/>
                </a:cubicBezTo>
                <a:cubicBezTo>
                  <a:pt x="1001" y="459"/>
                  <a:pt x="1001" y="459"/>
                  <a:pt x="1001" y="460"/>
                </a:cubicBezTo>
                <a:cubicBezTo>
                  <a:pt x="1001" y="460"/>
                  <a:pt x="1001" y="461"/>
                  <a:pt x="1001" y="461"/>
                </a:cubicBezTo>
                <a:cubicBezTo>
                  <a:pt x="1001" y="462"/>
                  <a:pt x="1002" y="462"/>
                  <a:pt x="1002" y="462"/>
                </a:cubicBezTo>
                <a:cubicBezTo>
                  <a:pt x="1003" y="462"/>
                  <a:pt x="1003" y="462"/>
                  <a:pt x="1003" y="463"/>
                </a:cubicBezTo>
                <a:cubicBezTo>
                  <a:pt x="1004" y="463"/>
                  <a:pt x="1004" y="463"/>
                  <a:pt x="1004" y="463"/>
                </a:cubicBezTo>
                <a:cubicBezTo>
                  <a:pt x="1004" y="463"/>
                  <a:pt x="1005" y="463"/>
                  <a:pt x="1005" y="463"/>
                </a:cubicBezTo>
                <a:cubicBezTo>
                  <a:pt x="1006" y="463"/>
                  <a:pt x="1005" y="462"/>
                  <a:pt x="1006" y="462"/>
                </a:cubicBezTo>
                <a:cubicBezTo>
                  <a:pt x="1007" y="462"/>
                  <a:pt x="1007" y="463"/>
                  <a:pt x="1007" y="463"/>
                </a:cubicBezTo>
                <a:cubicBezTo>
                  <a:pt x="1007" y="463"/>
                  <a:pt x="1007" y="464"/>
                  <a:pt x="1008" y="464"/>
                </a:cubicBezTo>
                <a:cubicBezTo>
                  <a:pt x="1008" y="464"/>
                  <a:pt x="1008" y="464"/>
                  <a:pt x="1009" y="464"/>
                </a:cubicBezTo>
                <a:cubicBezTo>
                  <a:pt x="1009" y="464"/>
                  <a:pt x="1009" y="465"/>
                  <a:pt x="1009" y="464"/>
                </a:cubicBezTo>
                <a:cubicBezTo>
                  <a:pt x="1010" y="464"/>
                  <a:pt x="1010" y="464"/>
                  <a:pt x="1010" y="464"/>
                </a:cubicBezTo>
                <a:cubicBezTo>
                  <a:pt x="1010" y="463"/>
                  <a:pt x="1010" y="464"/>
                  <a:pt x="1011" y="465"/>
                </a:cubicBezTo>
                <a:cubicBezTo>
                  <a:pt x="1011" y="465"/>
                  <a:pt x="1011" y="465"/>
                  <a:pt x="1011" y="465"/>
                </a:cubicBezTo>
                <a:cubicBezTo>
                  <a:pt x="1011" y="465"/>
                  <a:pt x="1012" y="466"/>
                  <a:pt x="1012" y="466"/>
                </a:cubicBezTo>
                <a:cubicBezTo>
                  <a:pt x="1012" y="466"/>
                  <a:pt x="1012" y="466"/>
                  <a:pt x="1013" y="466"/>
                </a:cubicBezTo>
                <a:cubicBezTo>
                  <a:pt x="1013" y="466"/>
                  <a:pt x="1014" y="465"/>
                  <a:pt x="1014" y="465"/>
                </a:cubicBezTo>
                <a:cubicBezTo>
                  <a:pt x="1015" y="465"/>
                  <a:pt x="1014" y="466"/>
                  <a:pt x="1015" y="466"/>
                </a:cubicBezTo>
                <a:cubicBezTo>
                  <a:pt x="1015" y="466"/>
                  <a:pt x="1015" y="467"/>
                  <a:pt x="1015" y="467"/>
                </a:cubicBezTo>
                <a:cubicBezTo>
                  <a:pt x="1015" y="468"/>
                  <a:pt x="1014" y="468"/>
                  <a:pt x="1014" y="468"/>
                </a:cubicBezTo>
                <a:cubicBezTo>
                  <a:pt x="1015" y="468"/>
                  <a:pt x="1015" y="469"/>
                  <a:pt x="1015" y="469"/>
                </a:cubicBezTo>
                <a:cubicBezTo>
                  <a:pt x="1016" y="469"/>
                  <a:pt x="1016" y="471"/>
                  <a:pt x="1017" y="471"/>
                </a:cubicBezTo>
                <a:cubicBezTo>
                  <a:pt x="1017" y="470"/>
                  <a:pt x="1017" y="470"/>
                  <a:pt x="1018" y="470"/>
                </a:cubicBezTo>
                <a:cubicBezTo>
                  <a:pt x="1018" y="470"/>
                  <a:pt x="1018" y="470"/>
                  <a:pt x="1019" y="470"/>
                </a:cubicBezTo>
                <a:cubicBezTo>
                  <a:pt x="1020" y="469"/>
                  <a:pt x="1018" y="467"/>
                  <a:pt x="1018" y="466"/>
                </a:cubicBezTo>
                <a:cubicBezTo>
                  <a:pt x="1018" y="466"/>
                  <a:pt x="1018" y="466"/>
                  <a:pt x="1017" y="465"/>
                </a:cubicBezTo>
                <a:cubicBezTo>
                  <a:pt x="1017" y="465"/>
                  <a:pt x="1016" y="465"/>
                  <a:pt x="1016" y="465"/>
                </a:cubicBezTo>
                <a:cubicBezTo>
                  <a:pt x="1016" y="464"/>
                  <a:pt x="1017" y="463"/>
                  <a:pt x="1017" y="464"/>
                </a:cubicBezTo>
                <a:cubicBezTo>
                  <a:pt x="1018" y="464"/>
                  <a:pt x="1018" y="464"/>
                  <a:pt x="1018" y="464"/>
                </a:cubicBezTo>
                <a:cubicBezTo>
                  <a:pt x="1019" y="464"/>
                  <a:pt x="1019" y="465"/>
                  <a:pt x="1019" y="465"/>
                </a:cubicBezTo>
                <a:cubicBezTo>
                  <a:pt x="1020" y="465"/>
                  <a:pt x="1020" y="465"/>
                  <a:pt x="1021" y="465"/>
                </a:cubicBezTo>
                <a:cubicBezTo>
                  <a:pt x="1021" y="465"/>
                  <a:pt x="1021" y="464"/>
                  <a:pt x="1021" y="464"/>
                </a:cubicBezTo>
                <a:cubicBezTo>
                  <a:pt x="1022" y="464"/>
                  <a:pt x="1022" y="465"/>
                  <a:pt x="1023" y="464"/>
                </a:cubicBezTo>
                <a:cubicBezTo>
                  <a:pt x="1023" y="464"/>
                  <a:pt x="1022" y="464"/>
                  <a:pt x="1022" y="464"/>
                </a:cubicBezTo>
                <a:cubicBezTo>
                  <a:pt x="1021" y="464"/>
                  <a:pt x="1020" y="463"/>
                  <a:pt x="1021" y="462"/>
                </a:cubicBezTo>
                <a:cubicBezTo>
                  <a:pt x="1021" y="462"/>
                  <a:pt x="1021" y="462"/>
                  <a:pt x="1021" y="462"/>
                </a:cubicBezTo>
                <a:cubicBezTo>
                  <a:pt x="1021" y="462"/>
                  <a:pt x="1021" y="462"/>
                  <a:pt x="1021" y="461"/>
                </a:cubicBezTo>
                <a:cubicBezTo>
                  <a:pt x="1021" y="461"/>
                  <a:pt x="1021" y="461"/>
                  <a:pt x="1021" y="461"/>
                </a:cubicBezTo>
                <a:cubicBezTo>
                  <a:pt x="1020" y="460"/>
                  <a:pt x="1020" y="460"/>
                  <a:pt x="1020" y="460"/>
                </a:cubicBezTo>
                <a:cubicBezTo>
                  <a:pt x="1020" y="460"/>
                  <a:pt x="1019" y="460"/>
                  <a:pt x="1019" y="460"/>
                </a:cubicBezTo>
                <a:cubicBezTo>
                  <a:pt x="1019" y="459"/>
                  <a:pt x="1019" y="459"/>
                  <a:pt x="1019" y="459"/>
                </a:cubicBezTo>
                <a:cubicBezTo>
                  <a:pt x="1019" y="459"/>
                  <a:pt x="1018" y="459"/>
                  <a:pt x="1018" y="458"/>
                </a:cubicBezTo>
                <a:cubicBezTo>
                  <a:pt x="1018" y="458"/>
                  <a:pt x="1019" y="458"/>
                  <a:pt x="1019" y="458"/>
                </a:cubicBezTo>
                <a:cubicBezTo>
                  <a:pt x="1020" y="459"/>
                  <a:pt x="1019" y="458"/>
                  <a:pt x="1019" y="457"/>
                </a:cubicBezTo>
                <a:cubicBezTo>
                  <a:pt x="1019" y="457"/>
                  <a:pt x="1019" y="457"/>
                  <a:pt x="1018" y="456"/>
                </a:cubicBezTo>
                <a:cubicBezTo>
                  <a:pt x="1018" y="456"/>
                  <a:pt x="1018" y="456"/>
                  <a:pt x="1017" y="456"/>
                </a:cubicBezTo>
                <a:cubicBezTo>
                  <a:pt x="1017" y="455"/>
                  <a:pt x="1018" y="455"/>
                  <a:pt x="1018" y="454"/>
                </a:cubicBezTo>
                <a:cubicBezTo>
                  <a:pt x="1018" y="453"/>
                  <a:pt x="1018" y="452"/>
                  <a:pt x="1018" y="451"/>
                </a:cubicBezTo>
                <a:cubicBezTo>
                  <a:pt x="1019" y="450"/>
                  <a:pt x="1019" y="452"/>
                  <a:pt x="1020" y="453"/>
                </a:cubicBezTo>
                <a:cubicBezTo>
                  <a:pt x="1020" y="453"/>
                  <a:pt x="1020" y="453"/>
                  <a:pt x="1020" y="454"/>
                </a:cubicBezTo>
                <a:cubicBezTo>
                  <a:pt x="1021" y="454"/>
                  <a:pt x="1021" y="454"/>
                  <a:pt x="1021" y="455"/>
                </a:cubicBezTo>
                <a:cubicBezTo>
                  <a:pt x="1021" y="456"/>
                  <a:pt x="1021" y="456"/>
                  <a:pt x="1022" y="457"/>
                </a:cubicBezTo>
                <a:cubicBezTo>
                  <a:pt x="1022" y="457"/>
                  <a:pt x="1022" y="458"/>
                  <a:pt x="1022" y="458"/>
                </a:cubicBezTo>
                <a:cubicBezTo>
                  <a:pt x="1023" y="458"/>
                  <a:pt x="1024" y="458"/>
                  <a:pt x="1024" y="458"/>
                </a:cubicBezTo>
                <a:cubicBezTo>
                  <a:pt x="1025" y="458"/>
                  <a:pt x="1024" y="458"/>
                  <a:pt x="1024" y="457"/>
                </a:cubicBezTo>
                <a:cubicBezTo>
                  <a:pt x="1024" y="457"/>
                  <a:pt x="1024" y="456"/>
                  <a:pt x="1024" y="455"/>
                </a:cubicBezTo>
                <a:cubicBezTo>
                  <a:pt x="1024" y="455"/>
                  <a:pt x="1024" y="454"/>
                  <a:pt x="1024" y="453"/>
                </a:cubicBezTo>
                <a:cubicBezTo>
                  <a:pt x="1024" y="452"/>
                  <a:pt x="1024" y="452"/>
                  <a:pt x="1024" y="452"/>
                </a:cubicBezTo>
                <a:cubicBezTo>
                  <a:pt x="1024" y="451"/>
                  <a:pt x="1024" y="451"/>
                  <a:pt x="1024" y="451"/>
                </a:cubicBezTo>
                <a:cubicBezTo>
                  <a:pt x="1023" y="450"/>
                  <a:pt x="1023" y="450"/>
                  <a:pt x="1022" y="449"/>
                </a:cubicBezTo>
                <a:cubicBezTo>
                  <a:pt x="1022" y="449"/>
                  <a:pt x="1021" y="449"/>
                  <a:pt x="1021" y="449"/>
                </a:cubicBezTo>
                <a:cubicBezTo>
                  <a:pt x="1021" y="449"/>
                  <a:pt x="1020" y="449"/>
                  <a:pt x="1019" y="448"/>
                </a:cubicBezTo>
                <a:cubicBezTo>
                  <a:pt x="1019" y="448"/>
                  <a:pt x="1019" y="448"/>
                  <a:pt x="1019" y="447"/>
                </a:cubicBezTo>
                <a:cubicBezTo>
                  <a:pt x="1020" y="447"/>
                  <a:pt x="1020" y="447"/>
                  <a:pt x="1020" y="447"/>
                </a:cubicBezTo>
                <a:cubicBezTo>
                  <a:pt x="1021" y="446"/>
                  <a:pt x="1021" y="446"/>
                  <a:pt x="1021" y="446"/>
                </a:cubicBezTo>
                <a:cubicBezTo>
                  <a:pt x="1022" y="445"/>
                  <a:pt x="1022" y="445"/>
                  <a:pt x="1022" y="445"/>
                </a:cubicBezTo>
                <a:cubicBezTo>
                  <a:pt x="1023" y="445"/>
                  <a:pt x="1023" y="444"/>
                  <a:pt x="1022" y="444"/>
                </a:cubicBezTo>
                <a:cubicBezTo>
                  <a:pt x="1022" y="444"/>
                  <a:pt x="1021" y="444"/>
                  <a:pt x="1021" y="444"/>
                </a:cubicBezTo>
                <a:cubicBezTo>
                  <a:pt x="1020" y="444"/>
                  <a:pt x="1020" y="444"/>
                  <a:pt x="1020" y="445"/>
                </a:cubicBezTo>
                <a:cubicBezTo>
                  <a:pt x="1019" y="445"/>
                  <a:pt x="1019" y="445"/>
                  <a:pt x="1019" y="445"/>
                </a:cubicBezTo>
                <a:cubicBezTo>
                  <a:pt x="1019" y="445"/>
                  <a:pt x="1019" y="445"/>
                  <a:pt x="1018" y="444"/>
                </a:cubicBezTo>
                <a:cubicBezTo>
                  <a:pt x="1018" y="444"/>
                  <a:pt x="1018" y="444"/>
                  <a:pt x="1018" y="444"/>
                </a:cubicBezTo>
                <a:cubicBezTo>
                  <a:pt x="1018" y="444"/>
                  <a:pt x="1017" y="444"/>
                  <a:pt x="1017" y="444"/>
                </a:cubicBezTo>
                <a:cubicBezTo>
                  <a:pt x="1017" y="444"/>
                  <a:pt x="1018" y="444"/>
                  <a:pt x="1018" y="444"/>
                </a:cubicBezTo>
                <a:cubicBezTo>
                  <a:pt x="1018" y="444"/>
                  <a:pt x="1018" y="443"/>
                  <a:pt x="1018" y="443"/>
                </a:cubicBezTo>
                <a:cubicBezTo>
                  <a:pt x="1017" y="443"/>
                  <a:pt x="1017" y="443"/>
                  <a:pt x="1017" y="443"/>
                </a:cubicBezTo>
                <a:cubicBezTo>
                  <a:pt x="1016" y="443"/>
                  <a:pt x="1017" y="442"/>
                  <a:pt x="1016" y="442"/>
                </a:cubicBezTo>
                <a:cubicBezTo>
                  <a:pt x="1016" y="442"/>
                  <a:pt x="1016" y="442"/>
                  <a:pt x="1016" y="441"/>
                </a:cubicBezTo>
                <a:cubicBezTo>
                  <a:pt x="1016" y="441"/>
                  <a:pt x="1016" y="440"/>
                  <a:pt x="1015" y="440"/>
                </a:cubicBezTo>
                <a:cubicBezTo>
                  <a:pt x="1015" y="440"/>
                  <a:pt x="1013" y="440"/>
                  <a:pt x="1014" y="440"/>
                </a:cubicBezTo>
                <a:cubicBezTo>
                  <a:pt x="1014" y="440"/>
                  <a:pt x="1016" y="440"/>
                  <a:pt x="1016" y="439"/>
                </a:cubicBezTo>
                <a:cubicBezTo>
                  <a:pt x="1017" y="438"/>
                  <a:pt x="1016" y="438"/>
                  <a:pt x="1017" y="438"/>
                </a:cubicBezTo>
                <a:cubicBezTo>
                  <a:pt x="1017" y="437"/>
                  <a:pt x="1017" y="437"/>
                  <a:pt x="1018" y="437"/>
                </a:cubicBezTo>
                <a:cubicBezTo>
                  <a:pt x="1018" y="437"/>
                  <a:pt x="1018" y="436"/>
                  <a:pt x="1018" y="436"/>
                </a:cubicBezTo>
                <a:cubicBezTo>
                  <a:pt x="1017" y="436"/>
                  <a:pt x="1017" y="436"/>
                  <a:pt x="1017" y="436"/>
                </a:cubicBezTo>
                <a:cubicBezTo>
                  <a:pt x="1016" y="436"/>
                  <a:pt x="1016" y="435"/>
                  <a:pt x="1016" y="435"/>
                </a:cubicBezTo>
                <a:cubicBezTo>
                  <a:pt x="1015" y="436"/>
                  <a:pt x="1015" y="436"/>
                  <a:pt x="1015" y="436"/>
                </a:cubicBezTo>
                <a:cubicBezTo>
                  <a:pt x="1015" y="436"/>
                  <a:pt x="1014" y="436"/>
                  <a:pt x="1014" y="436"/>
                </a:cubicBezTo>
                <a:cubicBezTo>
                  <a:pt x="1013" y="436"/>
                  <a:pt x="1013" y="435"/>
                  <a:pt x="1012" y="435"/>
                </a:cubicBezTo>
                <a:cubicBezTo>
                  <a:pt x="1012" y="435"/>
                  <a:pt x="1011" y="436"/>
                  <a:pt x="1011" y="436"/>
                </a:cubicBezTo>
                <a:cubicBezTo>
                  <a:pt x="1011" y="436"/>
                  <a:pt x="1011" y="435"/>
                  <a:pt x="1011" y="434"/>
                </a:cubicBezTo>
                <a:cubicBezTo>
                  <a:pt x="1011" y="434"/>
                  <a:pt x="1011" y="434"/>
                  <a:pt x="1012" y="434"/>
                </a:cubicBezTo>
                <a:cubicBezTo>
                  <a:pt x="1012" y="433"/>
                  <a:pt x="1013" y="432"/>
                  <a:pt x="1012" y="431"/>
                </a:cubicBezTo>
                <a:cubicBezTo>
                  <a:pt x="1012" y="431"/>
                  <a:pt x="1011" y="431"/>
                  <a:pt x="1011" y="431"/>
                </a:cubicBezTo>
                <a:cubicBezTo>
                  <a:pt x="1010" y="431"/>
                  <a:pt x="1010" y="430"/>
                  <a:pt x="1010" y="430"/>
                </a:cubicBezTo>
                <a:cubicBezTo>
                  <a:pt x="1009" y="429"/>
                  <a:pt x="1009" y="429"/>
                  <a:pt x="1009" y="428"/>
                </a:cubicBezTo>
                <a:cubicBezTo>
                  <a:pt x="1009" y="427"/>
                  <a:pt x="1008" y="428"/>
                  <a:pt x="1008" y="428"/>
                </a:cubicBezTo>
                <a:cubicBezTo>
                  <a:pt x="1008" y="429"/>
                  <a:pt x="1008" y="429"/>
                  <a:pt x="1008" y="430"/>
                </a:cubicBezTo>
                <a:cubicBezTo>
                  <a:pt x="1008" y="430"/>
                  <a:pt x="1008" y="431"/>
                  <a:pt x="1008" y="431"/>
                </a:cubicBezTo>
                <a:cubicBezTo>
                  <a:pt x="1008" y="431"/>
                  <a:pt x="1008" y="431"/>
                  <a:pt x="1007" y="431"/>
                </a:cubicBezTo>
                <a:cubicBezTo>
                  <a:pt x="1007" y="431"/>
                  <a:pt x="1007" y="431"/>
                  <a:pt x="1007" y="431"/>
                </a:cubicBezTo>
                <a:cubicBezTo>
                  <a:pt x="1006" y="429"/>
                  <a:pt x="1006" y="431"/>
                  <a:pt x="1006" y="432"/>
                </a:cubicBezTo>
                <a:cubicBezTo>
                  <a:pt x="1005" y="432"/>
                  <a:pt x="1005" y="432"/>
                  <a:pt x="1005" y="431"/>
                </a:cubicBezTo>
                <a:cubicBezTo>
                  <a:pt x="1005" y="431"/>
                  <a:pt x="1004" y="431"/>
                  <a:pt x="1004" y="431"/>
                </a:cubicBezTo>
                <a:cubicBezTo>
                  <a:pt x="1004" y="430"/>
                  <a:pt x="1004" y="430"/>
                  <a:pt x="1005" y="430"/>
                </a:cubicBezTo>
                <a:cubicBezTo>
                  <a:pt x="1005" y="430"/>
                  <a:pt x="1005" y="430"/>
                  <a:pt x="1005" y="430"/>
                </a:cubicBezTo>
                <a:cubicBezTo>
                  <a:pt x="1005" y="429"/>
                  <a:pt x="1005" y="429"/>
                  <a:pt x="1005" y="428"/>
                </a:cubicBezTo>
                <a:cubicBezTo>
                  <a:pt x="1005" y="428"/>
                  <a:pt x="1005" y="428"/>
                  <a:pt x="1004" y="428"/>
                </a:cubicBezTo>
                <a:cubicBezTo>
                  <a:pt x="1004" y="428"/>
                  <a:pt x="1004" y="428"/>
                  <a:pt x="1004" y="427"/>
                </a:cubicBezTo>
                <a:cubicBezTo>
                  <a:pt x="1004" y="427"/>
                  <a:pt x="1003" y="427"/>
                  <a:pt x="1003" y="427"/>
                </a:cubicBezTo>
                <a:cubicBezTo>
                  <a:pt x="1002" y="427"/>
                  <a:pt x="1001" y="427"/>
                  <a:pt x="1001" y="427"/>
                </a:cubicBezTo>
                <a:cubicBezTo>
                  <a:pt x="1001" y="426"/>
                  <a:pt x="1001" y="426"/>
                  <a:pt x="1001" y="426"/>
                </a:cubicBezTo>
                <a:cubicBezTo>
                  <a:pt x="1001" y="426"/>
                  <a:pt x="1000" y="426"/>
                  <a:pt x="1000" y="425"/>
                </a:cubicBezTo>
                <a:cubicBezTo>
                  <a:pt x="1000" y="425"/>
                  <a:pt x="1000" y="425"/>
                  <a:pt x="1000" y="425"/>
                </a:cubicBezTo>
                <a:cubicBezTo>
                  <a:pt x="999" y="425"/>
                  <a:pt x="999" y="425"/>
                  <a:pt x="999" y="425"/>
                </a:cubicBezTo>
                <a:cubicBezTo>
                  <a:pt x="1000" y="427"/>
                  <a:pt x="1000" y="428"/>
                  <a:pt x="1000" y="429"/>
                </a:cubicBezTo>
                <a:cubicBezTo>
                  <a:pt x="1000" y="429"/>
                  <a:pt x="999" y="430"/>
                  <a:pt x="999" y="429"/>
                </a:cubicBezTo>
                <a:cubicBezTo>
                  <a:pt x="999" y="429"/>
                  <a:pt x="999" y="429"/>
                  <a:pt x="999" y="429"/>
                </a:cubicBezTo>
                <a:cubicBezTo>
                  <a:pt x="998" y="428"/>
                  <a:pt x="998" y="428"/>
                  <a:pt x="998" y="428"/>
                </a:cubicBezTo>
                <a:cubicBezTo>
                  <a:pt x="998" y="427"/>
                  <a:pt x="998" y="427"/>
                  <a:pt x="998" y="427"/>
                </a:cubicBezTo>
                <a:cubicBezTo>
                  <a:pt x="997" y="426"/>
                  <a:pt x="998" y="425"/>
                  <a:pt x="998" y="424"/>
                </a:cubicBezTo>
                <a:cubicBezTo>
                  <a:pt x="998" y="424"/>
                  <a:pt x="999" y="424"/>
                  <a:pt x="999" y="423"/>
                </a:cubicBezTo>
                <a:cubicBezTo>
                  <a:pt x="999" y="423"/>
                  <a:pt x="998" y="423"/>
                  <a:pt x="998" y="423"/>
                </a:cubicBezTo>
                <a:cubicBezTo>
                  <a:pt x="998" y="423"/>
                  <a:pt x="997" y="424"/>
                  <a:pt x="997" y="424"/>
                </a:cubicBezTo>
                <a:cubicBezTo>
                  <a:pt x="996" y="424"/>
                  <a:pt x="996" y="424"/>
                  <a:pt x="996" y="423"/>
                </a:cubicBezTo>
                <a:cubicBezTo>
                  <a:pt x="996" y="422"/>
                  <a:pt x="995" y="423"/>
                  <a:pt x="995" y="422"/>
                </a:cubicBezTo>
                <a:cubicBezTo>
                  <a:pt x="994" y="422"/>
                  <a:pt x="994" y="422"/>
                  <a:pt x="994" y="421"/>
                </a:cubicBezTo>
                <a:cubicBezTo>
                  <a:pt x="994" y="421"/>
                  <a:pt x="994" y="421"/>
                  <a:pt x="994" y="420"/>
                </a:cubicBezTo>
                <a:cubicBezTo>
                  <a:pt x="994" y="419"/>
                  <a:pt x="994" y="420"/>
                  <a:pt x="995" y="419"/>
                </a:cubicBezTo>
                <a:cubicBezTo>
                  <a:pt x="995" y="419"/>
                  <a:pt x="995" y="419"/>
                  <a:pt x="995" y="418"/>
                </a:cubicBezTo>
                <a:cubicBezTo>
                  <a:pt x="995" y="417"/>
                  <a:pt x="994" y="418"/>
                  <a:pt x="993" y="418"/>
                </a:cubicBezTo>
                <a:cubicBezTo>
                  <a:pt x="993" y="418"/>
                  <a:pt x="992" y="417"/>
                  <a:pt x="991" y="417"/>
                </a:cubicBezTo>
                <a:cubicBezTo>
                  <a:pt x="991" y="417"/>
                  <a:pt x="991" y="416"/>
                  <a:pt x="991" y="415"/>
                </a:cubicBezTo>
                <a:cubicBezTo>
                  <a:pt x="991" y="415"/>
                  <a:pt x="992" y="415"/>
                  <a:pt x="992" y="414"/>
                </a:cubicBezTo>
                <a:cubicBezTo>
                  <a:pt x="992" y="414"/>
                  <a:pt x="991" y="414"/>
                  <a:pt x="991" y="413"/>
                </a:cubicBezTo>
                <a:cubicBezTo>
                  <a:pt x="990" y="413"/>
                  <a:pt x="990" y="414"/>
                  <a:pt x="989" y="414"/>
                </a:cubicBezTo>
                <a:cubicBezTo>
                  <a:pt x="988" y="414"/>
                  <a:pt x="988" y="414"/>
                  <a:pt x="988" y="414"/>
                </a:cubicBezTo>
                <a:cubicBezTo>
                  <a:pt x="988" y="414"/>
                  <a:pt x="987" y="415"/>
                  <a:pt x="987" y="415"/>
                </a:cubicBezTo>
                <a:cubicBezTo>
                  <a:pt x="986" y="415"/>
                  <a:pt x="985" y="415"/>
                  <a:pt x="985" y="416"/>
                </a:cubicBezTo>
                <a:cubicBezTo>
                  <a:pt x="985" y="416"/>
                  <a:pt x="985" y="417"/>
                  <a:pt x="985" y="417"/>
                </a:cubicBezTo>
                <a:cubicBezTo>
                  <a:pt x="984" y="417"/>
                  <a:pt x="984" y="416"/>
                  <a:pt x="984" y="416"/>
                </a:cubicBezTo>
                <a:cubicBezTo>
                  <a:pt x="984" y="415"/>
                  <a:pt x="984" y="414"/>
                  <a:pt x="985" y="414"/>
                </a:cubicBezTo>
                <a:cubicBezTo>
                  <a:pt x="985" y="414"/>
                  <a:pt x="986" y="414"/>
                  <a:pt x="986" y="413"/>
                </a:cubicBezTo>
                <a:cubicBezTo>
                  <a:pt x="986" y="413"/>
                  <a:pt x="985" y="413"/>
                  <a:pt x="985" y="413"/>
                </a:cubicBezTo>
                <a:cubicBezTo>
                  <a:pt x="984" y="412"/>
                  <a:pt x="986" y="412"/>
                  <a:pt x="986" y="411"/>
                </a:cubicBezTo>
                <a:cubicBezTo>
                  <a:pt x="987" y="410"/>
                  <a:pt x="986" y="410"/>
                  <a:pt x="985" y="411"/>
                </a:cubicBezTo>
                <a:cubicBezTo>
                  <a:pt x="985" y="411"/>
                  <a:pt x="985" y="412"/>
                  <a:pt x="984" y="412"/>
                </a:cubicBezTo>
                <a:cubicBezTo>
                  <a:pt x="984" y="412"/>
                  <a:pt x="984" y="411"/>
                  <a:pt x="983" y="411"/>
                </a:cubicBezTo>
                <a:cubicBezTo>
                  <a:pt x="983" y="411"/>
                  <a:pt x="983" y="412"/>
                  <a:pt x="982" y="411"/>
                </a:cubicBezTo>
                <a:cubicBezTo>
                  <a:pt x="982" y="411"/>
                  <a:pt x="982" y="410"/>
                  <a:pt x="983" y="410"/>
                </a:cubicBezTo>
                <a:cubicBezTo>
                  <a:pt x="983" y="409"/>
                  <a:pt x="983" y="410"/>
                  <a:pt x="983" y="409"/>
                </a:cubicBezTo>
                <a:cubicBezTo>
                  <a:pt x="984" y="409"/>
                  <a:pt x="982" y="408"/>
                  <a:pt x="982" y="409"/>
                </a:cubicBezTo>
                <a:cubicBezTo>
                  <a:pt x="982" y="409"/>
                  <a:pt x="982" y="409"/>
                  <a:pt x="982" y="409"/>
                </a:cubicBezTo>
                <a:cubicBezTo>
                  <a:pt x="981" y="410"/>
                  <a:pt x="981" y="409"/>
                  <a:pt x="981" y="409"/>
                </a:cubicBezTo>
                <a:cubicBezTo>
                  <a:pt x="981" y="408"/>
                  <a:pt x="981" y="408"/>
                  <a:pt x="980" y="408"/>
                </a:cubicBezTo>
                <a:cubicBezTo>
                  <a:pt x="980" y="408"/>
                  <a:pt x="980" y="406"/>
                  <a:pt x="980" y="406"/>
                </a:cubicBezTo>
                <a:cubicBezTo>
                  <a:pt x="981" y="405"/>
                  <a:pt x="981" y="407"/>
                  <a:pt x="981" y="407"/>
                </a:cubicBezTo>
                <a:cubicBezTo>
                  <a:pt x="981" y="408"/>
                  <a:pt x="981" y="407"/>
                  <a:pt x="982" y="408"/>
                </a:cubicBezTo>
                <a:cubicBezTo>
                  <a:pt x="982" y="408"/>
                  <a:pt x="982" y="408"/>
                  <a:pt x="983" y="408"/>
                </a:cubicBezTo>
                <a:cubicBezTo>
                  <a:pt x="984" y="408"/>
                  <a:pt x="983" y="407"/>
                  <a:pt x="983" y="406"/>
                </a:cubicBezTo>
                <a:cubicBezTo>
                  <a:pt x="983" y="406"/>
                  <a:pt x="984" y="405"/>
                  <a:pt x="984" y="406"/>
                </a:cubicBezTo>
                <a:cubicBezTo>
                  <a:pt x="984" y="406"/>
                  <a:pt x="984" y="407"/>
                  <a:pt x="984" y="407"/>
                </a:cubicBezTo>
                <a:cubicBezTo>
                  <a:pt x="984" y="407"/>
                  <a:pt x="984" y="408"/>
                  <a:pt x="984" y="408"/>
                </a:cubicBezTo>
                <a:cubicBezTo>
                  <a:pt x="984" y="408"/>
                  <a:pt x="984" y="409"/>
                  <a:pt x="985" y="409"/>
                </a:cubicBezTo>
                <a:cubicBezTo>
                  <a:pt x="985" y="410"/>
                  <a:pt x="986" y="410"/>
                  <a:pt x="987" y="410"/>
                </a:cubicBezTo>
                <a:cubicBezTo>
                  <a:pt x="988" y="410"/>
                  <a:pt x="989" y="410"/>
                  <a:pt x="990" y="410"/>
                </a:cubicBezTo>
                <a:cubicBezTo>
                  <a:pt x="990" y="410"/>
                  <a:pt x="991" y="409"/>
                  <a:pt x="991" y="409"/>
                </a:cubicBezTo>
                <a:cubicBezTo>
                  <a:pt x="992" y="409"/>
                  <a:pt x="992" y="409"/>
                  <a:pt x="993" y="409"/>
                </a:cubicBezTo>
                <a:cubicBezTo>
                  <a:pt x="993" y="409"/>
                  <a:pt x="993" y="409"/>
                  <a:pt x="994" y="409"/>
                </a:cubicBezTo>
                <a:cubicBezTo>
                  <a:pt x="994" y="409"/>
                  <a:pt x="993" y="409"/>
                  <a:pt x="993" y="408"/>
                </a:cubicBezTo>
                <a:cubicBezTo>
                  <a:pt x="992" y="408"/>
                  <a:pt x="993" y="407"/>
                  <a:pt x="993" y="406"/>
                </a:cubicBezTo>
                <a:cubicBezTo>
                  <a:pt x="993" y="405"/>
                  <a:pt x="992" y="405"/>
                  <a:pt x="991" y="405"/>
                </a:cubicBezTo>
                <a:cubicBezTo>
                  <a:pt x="991" y="405"/>
                  <a:pt x="991" y="404"/>
                  <a:pt x="990" y="404"/>
                </a:cubicBezTo>
                <a:cubicBezTo>
                  <a:pt x="990" y="403"/>
                  <a:pt x="988" y="403"/>
                  <a:pt x="988" y="402"/>
                </a:cubicBezTo>
                <a:cubicBezTo>
                  <a:pt x="988" y="402"/>
                  <a:pt x="988" y="402"/>
                  <a:pt x="988" y="401"/>
                </a:cubicBezTo>
                <a:cubicBezTo>
                  <a:pt x="988" y="401"/>
                  <a:pt x="987" y="401"/>
                  <a:pt x="987" y="400"/>
                </a:cubicBezTo>
                <a:cubicBezTo>
                  <a:pt x="987" y="400"/>
                  <a:pt x="986" y="400"/>
                  <a:pt x="986" y="399"/>
                </a:cubicBezTo>
                <a:cubicBezTo>
                  <a:pt x="986" y="399"/>
                  <a:pt x="987" y="399"/>
                  <a:pt x="987" y="399"/>
                </a:cubicBezTo>
                <a:cubicBezTo>
                  <a:pt x="988" y="400"/>
                  <a:pt x="989" y="400"/>
                  <a:pt x="989" y="401"/>
                </a:cubicBezTo>
                <a:cubicBezTo>
                  <a:pt x="989" y="401"/>
                  <a:pt x="990" y="401"/>
                  <a:pt x="990" y="401"/>
                </a:cubicBezTo>
                <a:cubicBezTo>
                  <a:pt x="991" y="402"/>
                  <a:pt x="991" y="401"/>
                  <a:pt x="991" y="402"/>
                </a:cubicBezTo>
                <a:cubicBezTo>
                  <a:pt x="992" y="402"/>
                  <a:pt x="992" y="403"/>
                  <a:pt x="992" y="402"/>
                </a:cubicBezTo>
                <a:cubicBezTo>
                  <a:pt x="993" y="402"/>
                  <a:pt x="992" y="402"/>
                  <a:pt x="992" y="401"/>
                </a:cubicBezTo>
                <a:cubicBezTo>
                  <a:pt x="992" y="401"/>
                  <a:pt x="992" y="401"/>
                  <a:pt x="992" y="400"/>
                </a:cubicBezTo>
                <a:cubicBezTo>
                  <a:pt x="992" y="400"/>
                  <a:pt x="991" y="400"/>
                  <a:pt x="991" y="400"/>
                </a:cubicBezTo>
                <a:cubicBezTo>
                  <a:pt x="992" y="399"/>
                  <a:pt x="992" y="399"/>
                  <a:pt x="993" y="399"/>
                </a:cubicBezTo>
                <a:cubicBezTo>
                  <a:pt x="993" y="400"/>
                  <a:pt x="993" y="400"/>
                  <a:pt x="994" y="400"/>
                </a:cubicBezTo>
                <a:cubicBezTo>
                  <a:pt x="994" y="399"/>
                  <a:pt x="993" y="398"/>
                  <a:pt x="993" y="398"/>
                </a:cubicBezTo>
                <a:cubicBezTo>
                  <a:pt x="993" y="398"/>
                  <a:pt x="992" y="397"/>
                  <a:pt x="992" y="397"/>
                </a:cubicBezTo>
                <a:cubicBezTo>
                  <a:pt x="991" y="397"/>
                  <a:pt x="988" y="397"/>
                  <a:pt x="988" y="396"/>
                </a:cubicBezTo>
                <a:cubicBezTo>
                  <a:pt x="988" y="396"/>
                  <a:pt x="990" y="396"/>
                  <a:pt x="990" y="396"/>
                </a:cubicBezTo>
                <a:cubicBezTo>
                  <a:pt x="991" y="396"/>
                  <a:pt x="992" y="396"/>
                  <a:pt x="992" y="396"/>
                </a:cubicBezTo>
                <a:cubicBezTo>
                  <a:pt x="993" y="396"/>
                  <a:pt x="993" y="397"/>
                  <a:pt x="994" y="397"/>
                </a:cubicBezTo>
                <a:cubicBezTo>
                  <a:pt x="995" y="397"/>
                  <a:pt x="995" y="397"/>
                  <a:pt x="996" y="397"/>
                </a:cubicBezTo>
                <a:cubicBezTo>
                  <a:pt x="996" y="397"/>
                  <a:pt x="997" y="397"/>
                  <a:pt x="997" y="396"/>
                </a:cubicBezTo>
                <a:cubicBezTo>
                  <a:pt x="997" y="396"/>
                  <a:pt x="996" y="396"/>
                  <a:pt x="997" y="396"/>
                </a:cubicBezTo>
                <a:cubicBezTo>
                  <a:pt x="997" y="395"/>
                  <a:pt x="998" y="396"/>
                  <a:pt x="998" y="397"/>
                </a:cubicBezTo>
                <a:cubicBezTo>
                  <a:pt x="998" y="397"/>
                  <a:pt x="997" y="397"/>
                  <a:pt x="998" y="398"/>
                </a:cubicBezTo>
                <a:cubicBezTo>
                  <a:pt x="998" y="398"/>
                  <a:pt x="998" y="399"/>
                  <a:pt x="998" y="399"/>
                </a:cubicBezTo>
                <a:cubicBezTo>
                  <a:pt x="998" y="399"/>
                  <a:pt x="998" y="399"/>
                  <a:pt x="998" y="400"/>
                </a:cubicBezTo>
                <a:cubicBezTo>
                  <a:pt x="998" y="401"/>
                  <a:pt x="1001" y="399"/>
                  <a:pt x="1001" y="400"/>
                </a:cubicBezTo>
                <a:cubicBezTo>
                  <a:pt x="1001" y="401"/>
                  <a:pt x="1001" y="401"/>
                  <a:pt x="1001" y="402"/>
                </a:cubicBezTo>
                <a:cubicBezTo>
                  <a:pt x="1002" y="402"/>
                  <a:pt x="1002" y="402"/>
                  <a:pt x="1003" y="403"/>
                </a:cubicBezTo>
                <a:cubicBezTo>
                  <a:pt x="1003" y="403"/>
                  <a:pt x="1005" y="402"/>
                  <a:pt x="1005" y="403"/>
                </a:cubicBezTo>
                <a:cubicBezTo>
                  <a:pt x="1005" y="403"/>
                  <a:pt x="1004" y="403"/>
                  <a:pt x="1004" y="404"/>
                </a:cubicBezTo>
                <a:cubicBezTo>
                  <a:pt x="1004" y="404"/>
                  <a:pt x="1005" y="404"/>
                  <a:pt x="1005" y="404"/>
                </a:cubicBezTo>
                <a:cubicBezTo>
                  <a:pt x="1005" y="404"/>
                  <a:pt x="1006" y="404"/>
                  <a:pt x="1006" y="405"/>
                </a:cubicBezTo>
                <a:cubicBezTo>
                  <a:pt x="1006" y="405"/>
                  <a:pt x="1006" y="405"/>
                  <a:pt x="1006" y="405"/>
                </a:cubicBezTo>
                <a:cubicBezTo>
                  <a:pt x="1007" y="405"/>
                  <a:pt x="1009" y="405"/>
                  <a:pt x="1009" y="405"/>
                </a:cubicBezTo>
                <a:cubicBezTo>
                  <a:pt x="1009" y="404"/>
                  <a:pt x="1010" y="404"/>
                  <a:pt x="1010" y="404"/>
                </a:cubicBezTo>
                <a:cubicBezTo>
                  <a:pt x="1010" y="404"/>
                  <a:pt x="1010" y="405"/>
                  <a:pt x="1010" y="405"/>
                </a:cubicBezTo>
                <a:cubicBezTo>
                  <a:pt x="1009" y="406"/>
                  <a:pt x="1009" y="406"/>
                  <a:pt x="1008" y="406"/>
                </a:cubicBezTo>
                <a:cubicBezTo>
                  <a:pt x="1008" y="407"/>
                  <a:pt x="1008" y="408"/>
                  <a:pt x="1008" y="408"/>
                </a:cubicBezTo>
                <a:cubicBezTo>
                  <a:pt x="1008" y="408"/>
                  <a:pt x="1009" y="408"/>
                  <a:pt x="1009" y="408"/>
                </a:cubicBezTo>
                <a:cubicBezTo>
                  <a:pt x="1009" y="407"/>
                  <a:pt x="1009" y="407"/>
                  <a:pt x="1010" y="407"/>
                </a:cubicBezTo>
                <a:cubicBezTo>
                  <a:pt x="1010" y="407"/>
                  <a:pt x="1011" y="407"/>
                  <a:pt x="1012" y="406"/>
                </a:cubicBezTo>
                <a:cubicBezTo>
                  <a:pt x="1012" y="406"/>
                  <a:pt x="1012" y="406"/>
                  <a:pt x="1013" y="406"/>
                </a:cubicBezTo>
                <a:cubicBezTo>
                  <a:pt x="1013" y="406"/>
                  <a:pt x="1013" y="406"/>
                  <a:pt x="1014" y="406"/>
                </a:cubicBezTo>
                <a:cubicBezTo>
                  <a:pt x="1015" y="405"/>
                  <a:pt x="1016" y="405"/>
                  <a:pt x="1017" y="405"/>
                </a:cubicBezTo>
                <a:cubicBezTo>
                  <a:pt x="1018" y="405"/>
                  <a:pt x="1019" y="405"/>
                  <a:pt x="1020" y="404"/>
                </a:cubicBezTo>
                <a:cubicBezTo>
                  <a:pt x="1020" y="404"/>
                  <a:pt x="1021" y="404"/>
                  <a:pt x="1021" y="403"/>
                </a:cubicBezTo>
                <a:cubicBezTo>
                  <a:pt x="1021" y="403"/>
                  <a:pt x="1022" y="402"/>
                  <a:pt x="1022" y="403"/>
                </a:cubicBezTo>
                <a:cubicBezTo>
                  <a:pt x="1022" y="403"/>
                  <a:pt x="1021" y="403"/>
                  <a:pt x="1021" y="404"/>
                </a:cubicBezTo>
                <a:cubicBezTo>
                  <a:pt x="1021" y="404"/>
                  <a:pt x="1021" y="404"/>
                  <a:pt x="1021" y="405"/>
                </a:cubicBezTo>
                <a:cubicBezTo>
                  <a:pt x="1021" y="406"/>
                  <a:pt x="1020" y="406"/>
                  <a:pt x="1021" y="407"/>
                </a:cubicBezTo>
                <a:cubicBezTo>
                  <a:pt x="1021" y="407"/>
                  <a:pt x="1021" y="408"/>
                  <a:pt x="1021" y="408"/>
                </a:cubicBezTo>
                <a:cubicBezTo>
                  <a:pt x="1021" y="408"/>
                  <a:pt x="1020" y="408"/>
                  <a:pt x="1020" y="408"/>
                </a:cubicBezTo>
                <a:cubicBezTo>
                  <a:pt x="1019" y="408"/>
                  <a:pt x="1018" y="408"/>
                  <a:pt x="1017" y="408"/>
                </a:cubicBezTo>
                <a:cubicBezTo>
                  <a:pt x="1017" y="408"/>
                  <a:pt x="1017" y="409"/>
                  <a:pt x="1016" y="409"/>
                </a:cubicBezTo>
                <a:cubicBezTo>
                  <a:pt x="1016" y="409"/>
                  <a:pt x="1015" y="409"/>
                  <a:pt x="1015" y="409"/>
                </a:cubicBezTo>
                <a:cubicBezTo>
                  <a:pt x="1014" y="409"/>
                  <a:pt x="1014" y="410"/>
                  <a:pt x="1013" y="410"/>
                </a:cubicBezTo>
                <a:cubicBezTo>
                  <a:pt x="1013" y="411"/>
                  <a:pt x="1012" y="411"/>
                  <a:pt x="1013" y="412"/>
                </a:cubicBezTo>
                <a:cubicBezTo>
                  <a:pt x="1013" y="412"/>
                  <a:pt x="1014" y="412"/>
                  <a:pt x="1014" y="413"/>
                </a:cubicBezTo>
                <a:cubicBezTo>
                  <a:pt x="1014" y="413"/>
                  <a:pt x="1013" y="413"/>
                  <a:pt x="1014" y="414"/>
                </a:cubicBezTo>
                <a:cubicBezTo>
                  <a:pt x="1014" y="414"/>
                  <a:pt x="1015" y="413"/>
                  <a:pt x="1016" y="413"/>
                </a:cubicBezTo>
                <a:cubicBezTo>
                  <a:pt x="1016" y="413"/>
                  <a:pt x="1017" y="413"/>
                  <a:pt x="1017" y="414"/>
                </a:cubicBezTo>
                <a:cubicBezTo>
                  <a:pt x="1017" y="414"/>
                  <a:pt x="1016" y="414"/>
                  <a:pt x="1016" y="414"/>
                </a:cubicBezTo>
                <a:cubicBezTo>
                  <a:pt x="1016" y="414"/>
                  <a:pt x="1016" y="415"/>
                  <a:pt x="1016" y="415"/>
                </a:cubicBezTo>
                <a:cubicBezTo>
                  <a:pt x="1016" y="415"/>
                  <a:pt x="1016" y="415"/>
                  <a:pt x="1015" y="415"/>
                </a:cubicBezTo>
                <a:cubicBezTo>
                  <a:pt x="1015" y="415"/>
                  <a:pt x="1015" y="415"/>
                  <a:pt x="1015" y="416"/>
                </a:cubicBezTo>
                <a:cubicBezTo>
                  <a:pt x="1015" y="416"/>
                  <a:pt x="1015" y="416"/>
                  <a:pt x="1015" y="416"/>
                </a:cubicBezTo>
                <a:cubicBezTo>
                  <a:pt x="1016" y="416"/>
                  <a:pt x="1017" y="416"/>
                  <a:pt x="1017" y="416"/>
                </a:cubicBezTo>
                <a:cubicBezTo>
                  <a:pt x="1018" y="416"/>
                  <a:pt x="1018" y="416"/>
                  <a:pt x="1018" y="416"/>
                </a:cubicBezTo>
                <a:cubicBezTo>
                  <a:pt x="1019" y="416"/>
                  <a:pt x="1019" y="416"/>
                  <a:pt x="1019" y="417"/>
                </a:cubicBezTo>
                <a:cubicBezTo>
                  <a:pt x="1019" y="417"/>
                  <a:pt x="1018" y="417"/>
                  <a:pt x="1018" y="417"/>
                </a:cubicBezTo>
                <a:cubicBezTo>
                  <a:pt x="1018" y="417"/>
                  <a:pt x="1016" y="416"/>
                  <a:pt x="1017" y="417"/>
                </a:cubicBezTo>
                <a:cubicBezTo>
                  <a:pt x="1017" y="418"/>
                  <a:pt x="1017" y="418"/>
                  <a:pt x="1017" y="418"/>
                </a:cubicBezTo>
                <a:cubicBezTo>
                  <a:pt x="1017" y="419"/>
                  <a:pt x="1017" y="419"/>
                  <a:pt x="1018" y="419"/>
                </a:cubicBezTo>
                <a:cubicBezTo>
                  <a:pt x="1018" y="419"/>
                  <a:pt x="1019" y="419"/>
                  <a:pt x="1019" y="419"/>
                </a:cubicBezTo>
                <a:cubicBezTo>
                  <a:pt x="1020" y="419"/>
                  <a:pt x="1020" y="420"/>
                  <a:pt x="1021" y="420"/>
                </a:cubicBezTo>
                <a:cubicBezTo>
                  <a:pt x="1021" y="419"/>
                  <a:pt x="1021" y="419"/>
                  <a:pt x="1021" y="419"/>
                </a:cubicBezTo>
                <a:cubicBezTo>
                  <a:pt x="1021" y="419"/>
                  <a:pt x="1022" y="419"/>
                  <a:pt x="1022" y="419"/>
                </a:cubicBezTo>
                <a:cubicBezTo>
                  <a:pt x="1023" y="419"/>
                  <a:pt x="1024" y="418"/>
                  <a:pt x="1024" y="418"/>
                </a:cubicBezTo>
                <a:cubicBezTo>
                  <a:pt x="1024" y="419"/>
                  <a:pt x="1023" y="419"/>
                  <a:pt x="1023" y="419"/>
                </a:cubicBezTo>
                <a:cubicBezTo>
                  <a:pt x="1022" y="419"/>
                  <a:pt x="1022" y="419"/>
                  <a:pt x="1022" y="419"/>
                </a:cubicBezTo>
                <a:cubicBezTo>
                  <a:pt x="1021" y="420"/>
                  <a:pt x="1022" y="420"/>
                  <a:pt x="1021" y="420"/>
                </a:cubicBezTo>
                <a:cubicBezTo>
                  <a:pt x="1021" y="420"/>
                  <a:pt x="1021" y="420"/>
                  <a:pt x="1020" y="421"/>
                </a:cubicBezTo>
                <a:cubicBezTo>
                  <a:pt x="1020" y="421"/>
                  <a:pt x="1021" y="422"/>
                  <a:pt x="1021" y="422"/>
                </a:cubicBezTo>
                <a:cubicBezTo>
                  <a:pt x="1022" y="422"/>
                  <a:pt x="1022" y="422"/>
                  <a:pt x="1022" y="423"/>
                </a:cubicBezTo>
                <a:cubicBezTo>
                  <a:pt x="1022" y="423"/>
                  <a:pt x="1022" y="423"/>
                  <a:pt x="1023" y="424"/>
                </a:cubicBezTo>
                <a:cubicBezTo>
                  <a:pt x="1023" y="424"/>
                  <a:pt x="1023" y="425"/>
                  <a:pt x="1024" y="425"/>
                </a:cubicBezTo>
                <a:cubicBezTo>
                  <a:pt x="1024" y="425"/>
                  <a:pt x="1024" y="424"/>
                  <a:pt x="1024" y="424"/>
                </a:cubicBezTo>
                <a:cubicBezTo>
                  <a:pt x="1024" y="423"/>
                  <a:pt x="1024" y="423"/>
                  <a:pt x="1025" y="422"/>
                </a:cubicBezTo>
                <a:cubicBezTo>
                  <a:pt x="1025" y="422"/>
                  <a:pt x="1025" y="421"/>
                  <a:pt x="1025" y="420"/>
                </a:cubicBezTo>
                <a:cubicBezTo>
                  <a:pt x="1025" y="420"/>
                  <a:pt x="1025" y="419"/>
                  <a:pt x="1026" y="419"/>
                </a:cubicBezTo>
                <a:cubicBezTo>
                  <a:pt x="1026" y="419"/>
                  <a:pt x="1026" y="420"/>
                  <a:pt x="1026" y="420"/>
                </a:cubicBezTo>
                <a:cubicBezTo>
                  <a:pt x="1026" y="420"/>
                  <a:pt x="1026" y="421"/>
                  <a:pt x="1026" y="421"/>
                </a:cubicBezTo>
                <a:cubicBezTo>
                  <a:pt x="1025" y="422"/>
                  <a:pt x="1026" y="422"/>
                  <a:pt x="1026" y="422"/>
                </a:cubicBezTo>
                <a:cubicBezTo>
                  <a:pt x="1026" y="422"/>
                  <a:pt x="1026" y="423"/>
                  <a:pt x="1026" y="423"/>
                </a:cubicBezTo>
                <a:cubicBezTo>
                  <a:pt x="1026" y="424"/>
                  <a:pt x="1027" y="423"/>
                  <a:pt x="1027" y="423"/>
                </a:cubicBezTo>
                <a:cubicBezTo>
                  <a:pt x="1027" y="423"/>
                  <a:pt x="1028" y="423"/>
                  <a:pt x="1028" y="423"/>
                </a:cubicBezTo>
                <a:cubicBezTo>
                  <a:pt x="1028" y="424"/>
                  <a:pt x="1027" y="424"/>
                  <a:pt x="1027" y="424"/>
                </a:cubicBezTo>
                <a:cubicBezTo>
                  <a:pt x="1026" y="425"/>
                  <a:pt x="1027" y="425"/>
                  <a:pt x="1027" y="425"/>
                </a:cubicBezTo>
                <a:cubicBezTo>
                  <a:pt x="1028" y="425"/>
                  <a:pt x="1028" y="425"/>
                  <a:pt x="1028" y="425"/>
                </a:cubicBezTo>
                <a:cubicBezTo>
                  <a:pt x="1029" y="425"/>
                  <a:pt x="1030" y="424"/>
                  <a:pt x="1031" y="425"/>
                </a:cubicBezTo>
                <a:cubicBezTo>
                  <a:pt x="1031" y="425"/>
                  <a:pt x="1031" y="425"/>
                  <a:pt x="1031" y="425"/>
                </a:cubicBezTo>
                <a:cubicBezTo>
                  <a:pt x="1031" y="426"/>
                  <a:pt x="1031" y="426"/>
                  <a:pt x="1032" y="426"/>
                </a:cubicBezTo>
                <a:cubicBezTo>
                  <a:pt x="1032" y="426"/>
                  <a:pt x="1032" y="427"/>
                  <a:pt x="1033" y="427"/>
                </a:cubicBezTo>
                <a:cubicBezTo>
                  <a:pt x="1033" y="427"/>
                  <a:pt x="1034" y="427"/>
                  <a:pt x="1034" y="427"/>
                </a:cubicBezTo>
                <a:cubicBezTo>
                  <a:pt x="1034" y="427"/>
                  <a:pt x="1034" y="428"/>
                  <a:pt x="1034" y="428"/>
                </a:cubicBezTo>
                <a:cubicBezTo>
                  <a:pt x="1034" y="428"/>
                  <a:pt x="1035" y="428"/>
                  <a:pt x="1035" y="428"/>
                </a:cubicBezTo>
                <a:cubicBezTo>
                  <a:pt x="1035" y="428"/>
                  <a:pt x="1035" y="427"/>
                  <a:pt x="1035" y="427"/>
                </a:cubicBezTo>
                <a:cubicBezTo>
                  <a:pt x="1035" y="426"/>
                  <a:pt x="1036" y="426"/>
                  <a:pt x="1036" y="425"/>
                </a:cubicBezTo>
                <a:cubicBezTo>
                  <a:pt x="1036" y="424"/>
                  <a:pt x="1036" y="424"/>
                  <a:pt x="1036" y="424"/>
                </a:cubicBezTo>
                <a:cubicBezTo>
                  <a:pt x="1036" y="422"/>
                  <a:pt x="1038" y="423"/>
                  <a:pt x="1038" y="422"/>
                </a:cubicBezTo>
                <a:cubicBezTo>
                  <a:pt x="1038" y="422"/>
                  <a:pt x="1037" y="422"/>
                  <a:pt x="1036" y="421"/>
                </a:cubicBezTo>
                <a:cubicBezTo>
                  <a:pt x="1036" y="421"/>
                  <a:pt x="1037" y="421"/>
                  <a:pt x="1037" y="420"/>
                </a:cubicBezTo>
                <a:cubicBezTo>
                  <a:pt x="1037" y="420"/>
                  <a:pt x="1036" y="420"/>
                  <a:pt x="1036" y="420"/>
                </a:cubicBezTo>
                <a:cubicBezTo>
                  <a:pt x="1036" y="419"/>
                  <a:pt x="1037" y="419"/>
                  <a:pt x="1036" y="418"/>
                </a:cubicBezTo>
                <a:cubicBezTo>
                  <a:pt x="1035" y="418"/>
                  <a:pt x="1035" y="418"/>
                  <a:pt x="1035" y="417"/>
                </a:cubicBezTo>
                <a:cubicBezTo>
                  <a:pt x="1035" y="417"/>
                  <a:pt x="1037" y="419"/>
                  <a:pt x="1037" y="418"/>
                </a:cubicBezTo>
                <a:cubicBezTo>
                  <a:pt x="1037" y="417"/>
                  <a:pt x="1037" y="417"/>
                  <a:pt x="1037" y="417"/>
                </a:cubicBezTo>
                <a:cubicBezTo>
                  <a:pt x="1036" y="417"/>
                  <a:pt x="1036" y="417"/>
                  <a:pt x="1036" y="417"/>
                </a:cubicBezTo>
                <a:cubicBezTo>
                  <a:pt x="1035" y="416"/>
                  <a:pt x="1035" y="416"/>
                  <a:pt x="1035" y="416"/>
                </a:cubicBezTo>
                <a:cubicBezTo>
                  <a:pt x="1034" y="416"/>
                  <a:pt x="1034" y="415"/>
                  <a:pt x="1035" y="415"/>
                </a:cubicBezTo>
                <a:cubicBezTo>
                  <a:pt x="1036" y="415"/>
                  <a:pt x="1036" y="416"/>
                  <a:pt x="1037" y="416"/>
                </a:cubicBezTo>
                <a:cubicBezTo>
                  <a:pt x="1037" y="416"/>
                  <a:pt x="1037" y="416"/>
                  <a:pt x="1037" y="416"/>
                </a:cubicBezTo>
                <a:cubicBezTo>
                  <a:pt x="1037" y="415"/>
                  <a:pt x="1037" y="415"/>
                  <a:pt x="1037" y="415"/>
                </a:cubicBezTo>
                <a:cubicBezTo>
                  <a:pt x="1036" y="414"/>
                  <a:pt x="1035" y="414"/>
                  <a:pt x="1035" y="414"/>
                </a:cubicBezTo>
                <a:cubicBezTo>
                  <a:pt x="1036" y="413"/>
                  <a:pt x="1036" y="413"/>
                  <a:pt x="1037" y="414"/>
                </a:cubicBezTo>
                <a:cubicBezTo>
                  <a:pt x="1037" y="414"/>
                  <a:pt x="1037" y="414"/>
                  <a:pt x="1038" y="414"/>
                </a:cubicBezTo>
                <a:cubicBezTo>
                  <a:pt x="1038" y="414"/>
                  <a:pt x="1037" y="413"/>
                  <a:pt x="1037" y="413"/>
                </a:cubicBezTo>
                <a:cubicBezTo>
                  <a:pt x="1037" y="412"/>
                  <a:pt x="1037" y="412"/>
                  <a:pt x="1036" y="411"/>
                </a:cubicBezTo>
                <a:cubicBezTo>
                  <a:pt x="1036" y="410"/>
                  <a:pt x="1036" y="410"/>
                  <a:pt x="1036" y="410"/>
                </a:cubicBezTo>
                <a:cubicBezTo>
                  <a:pt x="1037" y="410"/>
                  <a:pt x="1037" y="412"/>
                  <a:pt x="1037" y="412"/>
                </a:cubicBezTo>
                <a:cubicBezTo>
                  <a:pt x="1038" y="413"/>
                  <a:pt x="1038" y="413"/>
                  <a:pt x="1038" y="413"/>
                </a:cubicBezTo>
                <a:cubicBezTo>
                  <a:pt x="1038" y="413"/>
                  <a:pt x="1038" y="413"/>
                  <a:pt x="1039" y="414"/>
                </a:cubicBezTo>
                <a:cubicBezTo>
                  <a:pt x="1039" y="414"/>
                  <a:pt x="1039" y="414"/>
                  <a:pt x="1040" y="414"/>
                </a:cubicBezTo>
                <a:cubicBezTo>
                  <a:pt x="1040" y="415"/>
                  <a:pt x="1041" y="414"/>
                  <a:pt x="1041" y="414"/>
                </a:cubicBezTo>
                <a:cubicBezTo>
                  <a:pt x="1042" y="415"/>
                  <a:pt x="1041" y="415"/>
                  <a:pt x="1041" y="415"/>
                </a:cubicBezTo>
                <a:cubicBezTo>
                  <a:pt x="1042" y="415"/>
                  <a:pt x="1042" y="415"/>
                  <a:pt x="1042" y="415"/>
                </a:cubicBezTo>
                <a:cubicBezTo>
                  <a:pt x="1042" y="414"/>
                  <a:pt x="1042" y="414"/>
                  <a:pt x="1042" y="413"/>
                </a:cubicBezTo>
                <a:cubicBezTo>
                  <a:pt x="1043" y="413"/>
                  <a:pt x="1043" y="414"/>
                  <a:pt x="1043" y="414"/>
                </a:cubicBezTo>
                <a:cubicBezTo>
                  <a:pt x="1043" y="415"/>
                  <a:pt x="1043" y="415"/>
                  <a:pt x="1044" y="415"/>
                </a:cubicBezTo>
                <a:cubicBezTo>
                  <a:pt x="1044" y="415"/>
                  <a:pt x="1044" y="415"/>
                  <a:pt x="1044" y="415"/>
                </a:cubicBezTo>
                <a:cubicBezTo>
                  <a:pt x="1045" y="416"/>
                  <a:pt x="1045" y="415"/>
                  <a:pt x="1045" y="414"/>
                </a:cubicBezTo>
                <a:cubicBezTo>
                  <a:pt x="1046" y="413"/>
                  <a:pt x="1044" y="413"/>
                  <a:pt x="1044" y="413"/>
                </a:cubicBezTo>
                <a:cubicBezTo>
                  <a:pt x="1044" y="412"/>
                  <a:pt x="1045" y="413"/>
                  <a:pt x="1046" y="413"/>
                </a:cubicBezTo>
                <a:cubicBezTo>
                  <a:pt x="1046" y="413"/>
                  <a:pt x="1047" y="414"/>
                  <a:pt x="1047" y="413"/>
                </a:cubicBezTo>
                <a:cubicBezTo>
                  <a:pt x="1046" y="413"/>
                  <a:pt x="1046" y="412"/>
                  <a:pt x="1046" y="412"/>
                </a:cubicBezTo>
                <a:cubicBezTo>
                  <a:pt x="1046" y="412"/>
                  <a:pt x="1045" y="412"/>
                  <a:pt x="1045" y="411"/>
                </a:cubicBezTo>
                <a:cubicBezTo>
                  <a:pt x="1045" y="411"/>
                  <a:pt x="1045" y="411"/>
                  <a:pt x="1045" y="411"/>
                </a:cubicBezTo>
                <a:cubicBezTo>
                  <a:pt x="1045" y="410"/>
                  <a:pt x="1044" y="411"/>
                  <a:pt x="1044" y="410"/>
                </a:cubicBezTo>
                <a:cubicBezTo>
                  <a:pt x="1045" y="410"/>
                  <a:pt x="1045" y="411"/>
                  <a:pt x="1046" y="411"/>
                </a:cubicBezTo>
                <a:cubicBezTo>
                  <a:pt x="1047" y="411"/>
                  <a:pt x="1048" y="411"/>
                  <a:pt x="1048" y="411"/>
                </a:cubicBezTo>
                <a:cubicBezTo>
                  <a:pt x="1049" y="411"/>
                  <a:pt x="1049" y="412"/>
                  <a:pt x="1049" y="411"/>
                </a:cubicBezTo>
                <a:cubicBezTo>
                  <a:pt x="1050" y="411"/>
                  <a:pt x="1049" y="411"/>
                  <a:pt x="1049" y="410"/>
                </a:cubicBezTo>
                <a:cubicBezTo>
                  <a:pt x="1049" y="410"/>
                  <a:pt x="1048" y="410"/>
                  <a:pt x="1048" y="409"/>
                </a:cubicBezTo>
                <a:cubicBezTo>
                  <a:pt x="1047" y="408"/>
                  <a:pt x="1047" y="408"/>
                  <a:pt x="1046" y="408"/>
                </a:cubicBezTo>
                <a:cubicBezTo>
                  <a:pt x="1046" y="407"/>
                  <a:pt x="1045" y="407"/>
                  <a:pt x="1045" y="407"/>
                </a:cubicBezTo>
                <a:cubicBezTo>
                  <a:pt x="1045" y="407"/>
                  <a:pt x="1045" y="407"/>
                  <a:pt x="1045" y="407"/>
                </a:cubicBezTo>
                <a:cubicBezTo>
                  <a:pt x="1045" y="407"/>
                  <a:pt x="1046" y="407"/>
                  <a:pt x="1046" y="407"/>
                </a:cubicBezTo>
                <a:cubicBezTo>
                  <a:pt x="1047" y="407"/>
                  <a:pt x="1047" y="407"/>
                  <a:pt x="1047" y="407"/>
                </a:cubicBezTo>
                <a:cubicBezTo>
                  <a:pt x="1048" y="407"/>
                  <a:pt x="1048" y="408"/>
                  <a:pt x="1049" y="408"/>
                </a:cubicBezTo>
                <a:cubicBezTo>
                  <a:pt x="1050" y="408"/>
                  <a:pt x="1051" y="407"/>
                  <a:pt x="1052" y="407"/>
                </a:cubicBezTo>
                <a:cubicBezTo>
                  <a:pt x="1052" y="407"/>
                  <a:pt x="1052" y="408"/>
                  <a:pt x="1053" y="407"/>
                </a:cubicBezTo>
                <a:cubicBezTo>
                  <a:pt x="1053" y="407"/>
                  <a:pt x="1053" y="407"/>
                  <a:pt x="1052" y="407"/>
                </a:cubicBezTo>
                <a:cubicBezTo>
                  <a:pt x="1052" y="406"/>
                  <a:pt x="1051" y="406"/>
                  <a:pt x="1051" y="405"/>
                </a:cubicBezTo>
                <a:cubicBezTo>
                  <a:pt x="1050" y="405"/>
                  <a:pt x="1050" y="405"/>
                  <a:pt x="1050" y="404"/>
                </a:cubicBezTo>
                <a:cubicBezTo>
                  <a:pt x="1049" y="404"/>
                  <a:pt x="1049" y="404"/>
                  <a:pt x="1049" y="404"/>
                </a:cubicBezTo>
                <a:cubicBezTo>
                  <a:pt x="1048" y="404"/>
                  <a:pt x="1047" y="403"/>
                  <a:pt x="1046" y="404"/>
                </a:cubicBezTo>
                <a:cubicBezTo>
                  <a:pt x="1046" y="404"/>
                  <a:pt x="1044" y="404"/>
                  <a:pt x="1044" y="403"/>
                </a:cubicBezTo>
                <a:cubicBezTo>
                  <a:pt x="1045" y="403"/>
                  <a:pt x="1045" y="403"/>
                  <a:pt x="1045" y="403"/>
                </a:cubicBezTo>
                <a:cubicBezTo>
                  <a:pt x="1046" y="403"/>
                  <a:pt x="1046" y="403"/>
                  <a:pt x="1046" y="403"/>
                </a:cubicBezTo>
                <a:cubicBezTo>
                  <a:pt x="1046" y="402"/>
                  <a:pt x="1047" y="402"/>
                  <a:pt x="1047" y="401"/>
                </a:cubicBezTo>
                <a:cubicBezTo>
                  <a:pt x="1047" y="401"/>
                  <a:pt x="1047" y="400"/>
                  <a:pt x="1047" y="400"/>
                </a:cubicBezTo>
                <a:cubicBezTo>
                  <a:pt x="1047" y="400"/>
                  <a:pt x="1048" y="400"/>
                  <a:pt x="1048" y="400"/>
                </a:cubicBezTo>
                <a:cubicBezTo>
                  <a:pt x="1049" y="400"/>
                  <a:pt x="1049" y="401"/>
                  <a:pt x="1050" y="401"/>
                </a:cubicBezTo>
                <a:cubicBezTo>
                  <a:pt x="1051" y="401"/>
                  <a:pt x="1051" y="402"/>
                  <a:pt x="1052" y="402"/>
                </a:cubicBezTo>
                <a:cubicBezTo>
                  <a:pt x="1053" y="402"/>
                  <a:pt x="1054" y="402"/>
                  <a:pt x="1054" y="402"/>
                </a:cubicBezTo>
                <a:cubicBezTo>
                  <a:pt x="1055" y="402"/>
                  <a:pt x="1055" y="402"/>
                  <a:pt x="1056" y="402"/>
                </a:cubicBezTo>
                <a:cubicBezTo>
                  <a:pt x="1057" y="401"/>
                  <a:pt x="1057" y="401"/>
                  <a:pt x="1058" y="401"/>
                </a:cubicBezTo>
                <a:cubicBezTo>
                  <a:pt x="1058" y="401"/>
                  <a:pt x="1059" y="401"/>
                  <a:pt x="1059" y="401"/>
                </a:cubicBezTo>
                <a:cubicBezTo>
                  <a:pt x="1059" y="400"/>
                  <a:pt x="1058" y="400"/>
                  <a:pt x="1058" y="400"/>
                </a:cubicBezTo>
                <a:cubicBezTo>
                  <a:pt x="1058" y="400"/>
                  <a:pt x="1057" y="400"/>
                  <a:pt x="1057" y="400"/>
                </a:cubicBezTo>
                <a:cubicBezTo>
                  <a:pt x="1056" y="400"/>
                  <a:pt x="1056" y="400"/>
                  <a:pt x="1056" y="400"/>
                </a:cubicBezTo>
                <a:cubicBezTo>
                  <a:pt x="1055" y="400"/>
                  <a:pt x="1055" y="400"/>
                  <a:pt x="1055" y="400"/>
                </a:cubicBezTo>
                <a:cubicBezTo>
                  <a:pt x="1054" y="400"/>
                  <a:pt x="1054" y="400"/>
                  <a:pt x="1054" y="399"/>
                </a:cubicBezTo>
                <a:cubicBezTo>
                  <a:pt x="1055" y="399"/>
                  <a:pt x="1056" y="399"/>
                  <a:pt x="1056" y="399"/>
                </a:cubicBezTo>
                <a:cubicBezTo>
                  <a:pt x="1057" y="399"/>
                  <a:pt x="1058" y="399"/>
                  <a:pt x="1057" y="398"/>
                </a:cubicBezTo>
                <a:cubicBezTo>
                  <a:pt x="1057" y="398"/>
                  <a:pt x="1057" y="397"/>
                  <a:pt x="1057" y="397"/>
                </a:cubicBezTo>
                <a:cubicBezTo>
                  <a:pt x="1056" y="397"/>
                  <a:pt x="1056" y="397"/>
                  <a:pt x="1055" y="397"/>
                </a:cubicBezTo>
                <a:cubicBezTo>
                  <a:pt x="1055" y="396"/>
                  <a:pt x="1055" y="395"/>
                  <a:pt x="1054" y="395"/>
                </a:cubicBezTo>
                <a:cubicBezTo>
                  <a:pt x="1053" y="395"/>
                  <a:pt x="1053" y="395"/>
                  <a:pt x="1052" y="395"/>
                </a:cubicBezTo>
                <a:cubicBezTo>
                  <a:pt x="1052" y="395"/>
                  <a:pt x="1052" y="396"/>
                  <a:pt x="1051" y="395"/>
                </a:cubicBezTo>
                <a:cubicBezTo>
                  <a:pt x="1052" y="395"/>
                  <a:pt x="1052" y="395"/>
                  <a:pt x="1053" y="394"/>
                </a:cubicBezTo>
                <a:cubicBezTo>
                  <a:pt x="1054" y="394"/>
                  <a:pt x="1054" y="395"/>
                  <a:pt x="1055" y="395"/>
                </a:cubicBezTo>
                <a:cubicBezTo>
                  <a:pt x="1055" y="395"/>
                  <a:pt x="1056" y="395"/>
                  <a:pt x="1056" y="396"/>
                </a:cubicBezTo>
                <a:cubicBezTo>
                  <a:pt x="1056" y="396"/>
                  <a:pt x="1057" y="396"/>
                  <a:pt x="1057" y="396"/>
                </a:cubicBezTo>
                <a:cubicBezTo>
                  <a:pt x="1057" y="397"/>
                  <a:pt x="1057" y="397"/>
                  <a:pt x="1057" y="397"/>
                </a:cubicBezTo>
                <a:cubicBezTo>
                  <a:pt x="1059" y="398"/>
                  <a:pt x="1059" y="397"/>
                  <a:pt x="1060" y="396"/>
                </a:cubicBezTo>
                <a:cubicBezTo>
                  <a:pt x="1060" y="396"/>
                  <a:pt x="1061" y="396"/>
                  <a:pt x="1061" y="396"/>
                </a:cubicBezTo>
                <a:cubicBezTo>
                  <a:pt x="1061" y="396"/>
                  <a:pt x="1061" y="395"/>
                  <a:pt x="1061" y="395"/>
                </a:cubicBezTo>
                <a:cubicBezTo>
                  <a:pt x="1061" y="394"/>
                  <a:pt x="1060" y="394"/>
                  <a:pt x="1059" y="393"/>
                </a:cubicBezTo>
                <a:cubicBezTo>
                  <a:pt x="1059" y="393"/>
                  <a:pt x="1058" y="392"/>
                  <a:pt x="1057" y="391"/>
                </a:cubicBezTo>
                <a:cubicBezTo>
                  <a:pt x="1057" y="391"/>
                  <a:pt x="1056" y="390"/>
                  <a:pt x="1056" y="390"/>
                </a:cubicBezTo>
                <a:cubicBezTo>
                  <a:pt x="1055" y="390"/>
                  <a:pt x="1055" y="390"/>
                  <a:pt x="1054" y="390"/>
                </a:cubicBezTo>
                <a:cubicBezTo>
                  <a:pt x="1054" y="390"/>
                  <a:pt x="1054" y="390"/>
                  <a:pt x="1053" y="390"/>
                </a:cubicBezTo>
                <a:cubicBezTo>
                  <a:pt x="1053" y="390"/>
                  <a:pt x="1052" y="390"/>
                  <a:pt x="1052" y="390"/>
                </a:cubicBezTo>
                <a:cubicBezTo>
                  <a:pt x="1051" y="389"/>
                  <a:pt x="1053" y="389"/>
                  <a:pt x="1053" y="388"/>
                </a:cubicBezTo>
                <a:cubicBezTo>
                  <a:pt x="1053" y="387"/>
                  <a:pt x="1051" y="388"/>
                  <a:pt x="1051" y="388"/>
                </a:cubicBezTo>
                <a:cubicBezTo>
                  <a:pt x="1050" y="388"/>
                  <a:pt x="1050" y="389"/>
                  <a:pt x="1050" y="389"/>
                </a:cubicBezTo>
                <a:cubicBezTo>
                  <a:pt x="1050" y="389"/>
                  <a:pt x="1049" y="389"/>
                  <a:pt x="1049" y="389"/>
                </a:cubicBezTo>
                <a:cubicBezTo>
                  <a:pt x="1048" y="390"/>
                  <a:pt x="1049" y="390"/>
                  <a:pt x="1048" y="391"/>
                </a:cubicBezTo>
                <a:cubicBezTo>
                  <a:pt x="1048" y="391"/>
                  <a:pt x="1047" y="391"/>
                  <a:pt x="1047" y="391"/>
                </a:cubicBezTo>
                <a:cubicBezTo>
                  <a:pt x="1047" y="390"/>
                  <a:pt x="1047" y="390"/>
                  <a:pt x="1047" y="390"/>
                </a:cubicBezTo>
                <a:cubicBezTo>
                  <a:pt x="1047" y="389"/>
                  <a:pt x="1046" y="390"/>
                  <a:pt x="1046" y="390"/>
                </a:cubicBezTo>
                <a:cubicBezTo>
                  <a:pt x="1045" y="390"/>
                  <a:pt x="1044" y="389"/>
                  <a:pt x="1044" y="390"/>
                </a:cubicBezTo>
                <a:cubicBezTo>
                  <a:pt x="1044" y="391"/>
                  <a:pt x="1045" y="392"/>
                  <a:pt x="1044" y="393"/>
                </a:cubicBezTo>
                <a:cubicBezTo>
                  <a:pt x="1044" y="393"/>
                  <a:pt x="1044" y="393"/>
                  <a:pt x="1044" y="394"/>
                </a:cubicBezTo>
                <a:cubicBezTo>
                  <a:pt x="1044" y="394"/>
                  <a:pt x="1043" y="394"/>
                  <a:pt x="1043" y="395"/>
                </a:cubicBezTo>
                <a:cubicBezTo>
                  <a:pt x="1043" y="395"/>
                  <a:pt x="1043" y="394"/>
                  <a:pt x="1043" y="393"/>
                </a:cubicBezTo>
                <a:cubicBezTo>
                  <a:pt x="1043" y="393"/>
                  <a:pt x="1044" y="393"/>
                  <a:pt x="1044" y="393"/>
                </a:cubicBezTo>
                <a:cubicBezTo>
                  <a:pt x="1044" y="392"/>
                  <a:pt x="1043" y="392"/>
                  <a:pt x="1043" y="392"/>
                </a:cubicBezTo>
                <a:cubicBezTo>
                  <a:pt x="1043" y="391"/>
                  <a:pt x="1044" y="391"/>
                  <a:pt x="1044" y="390"/>
                </a:cubicBezTo>
                <a:cubicBezTo>
                  <a:pt x="1044" y="390"/>
                  <a:pt x="1044" y="390"/>
                  <a:pt x="1043" y="390"/>
                </a:cubicBezTo>
                <a:cubicBezTo>
                  <a:pt x="1043" y="390"/>
                  <a:pt x="1043" y="390"/>
                  <a:pt x="1043" y="390"/>
                </a:cubicBezTo>
                <a:cubicBezTo>
                  <a:pt x="1043" y="389"/>
                  <a:pt x="1043" y="389"/>
                  <a:pt x="1043" y="389"/>
                </a:cubicBezTo>
                <a:cubicBezTo>
                  <a:pt x="1042" y="389"/>
                  <a:pt x="1042" y="389"/>
                  <a:pt x="1042" y="389"/>
                </a:cubicBezTo>
                <a:cubicBezTo>
                  <a:pt x="1041" y="389"/>
                  <a:pt x="1041" y="389"/>
                  <a:pt x="1040" y="389"/>
                </a:cubicBezTo>
                <a:cubicBezTo>
                  <a:pt x="1040" y="390"/>
                  <a:pt x="1039" y="390"/>
                  <a:pt x="1038" y="390"/>
                </a:cubicBezTo>
                <a:cubicBezTo>
                  <a:pt x="1037" y="390"/>
                  <a:pt x="1038" y="391"/>
                  <a:pt x="1038" y="391"/>
                </a:cubicBezTo>
                <a:cubicBezTo>
                  <a:pt x="1037" y="392"/>
                  <a:pt x="1037" y="392"/>
                  <a:pt x="1037" y="392"/>
                </a:cubicBezTo>
                <a:cubicBezTo>
                  <a:pt x="1037" y="393"/>
                  <a:pt x="1038" y="393"/>
                  <a:pt x="1037" y="393"/>
                </a:cubicBezTo>
                <a:cubicBezTo>
                  <a:pt x="1037" y="393"/>
                  <a:pt x="1036" y="392"/>
                  <a:pt x="1037" y="392"/>
                </a:cubicBezTo>
                <a:cubicBezTo>
                  <a:pt x="1037" y="392"/>
                  <a:pt x="1037" y="391"/>
                  <a:pt x="1037" y="391"/>
                </a:cubicBezTo>
                <a:cubicBezTo>
                  <a:pt x="1037" y="391"/>
                  <a:pt x="1037" y="391"/>
                  <a:pt x="1037" y="390"/>
                </a:cubicBezTo>
                <a:cubicBezTo>
                  <a:pt x="1036" y="390"/>
                  <a:pt x="1036" y="391"/>
                  <a:pt x="1035" y="391"/>
                </a:cubicBezTo>
                <a:cubicBezTo>
                  <a:pt x="1035" y="390"/>
                  <a:pt x="1036" y="390"/>
                  <a:pt x="1037" y="390"/>
                </a:cubicBezTo>
                <a:cubicBezTo>
                  <a:pt x="1038" y="389"/>
                  <a:pt x="1038" y="389"/>
                  <a:pt x="1039" y="389"/>
                </a:cubicBezTo>
                <a:cubicBezTo>
                  <a:pt x="1039" y="388"/>
                  <a:pt x="1039" y="388"/>
                  <a:pt x="1039" y="387"/>
                </a:cubicBezTo>
                <a:cubicBezTo>
                  <a:pt x="1039" y="387"/>
                  <a:pt x="1039" y="387"/>
                  <a:pt x="1039" y="386"/>
                </a:cubicBezTo>
                <a:cubicBezTo>
                  <a:pt x="1039" y="386"/>
                  <a:pt x="1039" y="385"/>
                  <a:pt x="1039" y="385"/>
                </a:cubicBezTo>
                <a:cubicBezTo>
                  <a:pt x="1040" y="385"/>
                  <a:pt x="1041" y="386"/>
                  <a:pt x="1042" y="384"/>
                </a:cubicBezTo>
                <a:cubicBezTo>
                  <a:pt x="1042" y="384"/>
                  <a:pt x="1042" y="384"/>
                  <a:pt x="1041" y="383"/>
                </a:cubicBezTo>
                <a:cubicBezTo>
                  <a:pt x="1041" y="383"/>
                  <a:pt x="1041" y="383"/>
                  <a:pt x="1041" y="383"/>
                </a:cubicBezTo>
                <a:cubicBezTo>
                  <a:pt x="1040" y="383"/>
                  <a:pt x="1040" y="383"/>
                  <a:pt x="1040" y="383"/>
                </a:cubicBezTo>
                <a:cubicBezTo>
                  <a:pt x="1039" y="384"/>
                  <a:pt x="1038" y="383"/>
                  <a:pt x="1038" y="384"/>
                </a:cubicBezTo>
                <a:cubicBezTo>
                  <a:pt x="1038" y="384"/>
                  <a:pt x="1037" y="384"/>
                  <a:pt x="1037" y="384"/>
                </a:cubicBezTo>
                <a:cubicBezTo>
                  <a:pt x="1037" y="384"/>
                  <a:pt x="1037" y="385"/>
                  <a:pt x="1036" y="385"/>
                </a:cubicBezTo>
                <a:cubicBezTo>
                  <a:pt x="1036" y="385"/>
                  <a:pt x="1036" y="386"/>
                  <a:pt x="1036" y="386"/>
                </a:cubicBezTo>
                <a:cubicBezTo>
                  <a:pt x="1036" y="386"/>
                  <a:pt x="1036" y="387"/>
                  <a:pt x="1035" y="387"/>
                </a:cubicBezTo>
                <a:cubicBezTo>
                  <a:pt x="1035" y="387"/>
                  <a:pt x="1035" y="387"/>
                  <a:pt x="1035" y="386"/>
                </a:cubicBezTo>
                <a:cubicBezTo>
                  <a:pt x="1035" y="386"/>
                  <a:pt x="1035" y="386"/>
                  <a:pt x="1036" y="385"/>
                </a:cubicBezTo>
                <a:cubicBezTo>
                  <a:pt x="1036" y="385"/>
                  <a:pt x="1036" y="385"/>
                  <a:pt x="1036" y="384"/>
                </a:cubicBezTo>
                <a:cubicBezTo>
                  <a:pt x="1036" y="384"/>
                  <a:pt x="1035" y="384"/>
                  <a:pt x="1035" y="384"/>
                </a:cubicBezTo>
                <a:cubicBezTo>
                  <a:pt x="1034" y="384"/>
                  <a:pt x="1033" y="384"/>
                  <a:pt x="1033" y="384"/>
                </a:cubicBezTo>
                <a:cubicBezTo>
                  <a:pt x="1032" y="384"/>
                  <a:pt x="1031" y="384"/>
                  <a:pt x="1030" y="385"/>
                </a:cubicBezTo>
                <a:cubicBezTo>
                  <a:pt x="1030" y="385"/>
                  <a:pt x="1029" y="385"/>
                  <a:pt x="1028" y="385"/>
                </a:cubicBezTo>
                <a:cubicBezTo>
                  <a:pt x="1028" y="385"/>
                  <a:pt x="1026" y="386"/>
                  <a:pt x="1026" y="385"/>
                </a:cubicBezTo>
                <a:cubicBezTo>
                  <a:pt x="1026" y="385"/>
                  <a:pt x="1027" y="385"/>
                  <a:pt x="1027" y="385"/>
                </a:cubicBezTo>
                <a:cubicBezTo>
                  <a:pt x="1028" y="385"/>
                  <a:pt x="1028" y="385"/>
                  <a:pt x="1028" y="384"/>
                </a:cubicBezTo>
                <a:cubicBezTo>
                  <a:pt x="1029" y="384"/>
                  <a:pt x="1029" y="384"/>
                  <a:pt x="1029" y="384"/>
                </a:cubicBezTo>
                <a:cubicBezTo>
                  <a:pt x="1030" y="384"/>
                  <a:pt x="1030" y="384"/>
                  <a:pt x="1031" y="384"/>
                </a:cubicBezTo>
                <a:cubicBezTo>
                  <a:pt x="1031" y="383"/>
                  <a:pt x="1029" y="384"/>
                  <a:pt x="1029" y="384"/>
                </a:cubicBezTo>
                <a:cubicBezTo>
                  <a:pt x="1028" y="384"/>
                  <a:pt x="1028" y="384"/>
                  <a:pt x="1027" y="384"/>
                </a:cubicBezTo>
                <a:cubicBezTo>
                  <a:pt x="1027" y="384"/>
                  <a:pt x="1027" y="384"/>
                  <a:pt x="1026" y="384"/>
                </a:cubicBezTo>
                <a:cubicBezTo>
                  <a:pt x="1026" y="383"/>
                  <a:pt x="1027" y="383"/>
                  <a:pt x="1028" y="383"/>
                </a:cubicBezTo>
                <a:cubicBezTo>
                  <a:pt x="1028" y="383"/>
                  <a:pt x="1028" y="382"/>
                  <a:pt x="1029" y="382"/>
                </a:cubicBezTo>
                <a:cubicBezTo>
                  <a:pt x="1029" y="382"/>
                  <a:pt x="1030" y="383"/>
                  <a:pt x="1031" y="382"/>
                </a:cubicBezTo>
                <a:cubicBezTo>
                  <a:pt x="1031" y="382"/>
                  <a:pt x="1031" y="381"/>
                  <a:pt x="1031" y="381"/>
                </a:cubicBezTo>
                <a:cubicBezTo>
                  <a:pt x="1030" y="380"/>
                  <a:pt x="1030" y="380"/>
                  <a:pt x="1030" y="379"/>
                </a:cubicBezTo>
                <a:cubicBezTo>
                  <a:pt x="1029" y="378"/>
                  <a:pt x="1029" y="377"/>
                  <a:pt x="1029" y="377"/>
                </a:cubicBezTo>
                <a:cubicBezTo>
                  <a:pt x="1029" y="376"/>
                  <a:pt x="1028" y="376"/>
                  <a:pt x="1027" y="375"/>
                </a:cubicBezTo>
                <a:cubicBezTo>
                  <a:pt x="1027" y="375"/>
                  <a:pt x="1027" y="375"/>
                  <a:pt x="1027" y="374"/>
                </a:cubicBezTo>
                <a:cubicBezTo>
                  <a:pt x="1026" y="374"/>
                  <a:pt x="1026" y="374"/>
                  <a:pt x="1026" y="374"/>
                </a:cubicBezTo>
                <a:cubicBezTo>
                  <a:pt x="1025" y="373"/>
                  <a:pt x="1025" y="373"/>
                  <a:pt x="1024" y="373"/>
                </a:cubicBezTo>
                <a:cubicBezTo>
                  <a:pt x="1024" y="373"/>
                  <a:pt x="1023" y="373"/>
                  <a:pt x="1022" y="373"/>
                </a:cubicBezTo>
                <a:cubicBezTo>
                  <a:pt x="1022" y="373"/>
                  <a:pt x="1022" y="373"/>
                  <a:pt x="1021" y="374"/>
                </a:cubicBezTo>
                <a:cubicBezTo>
                  <a:pt x="1021" y="374"/>
                  <a:pt x="1022" y="375"/>
                  <a:pt x="1021" y="375"/>
                </a:cubicBezTo>
                <a:cubicBezTo>
                  <a:pt x="1021" y="375"/>
                  <a:pt x="1020" y="375"/>
                  <a:pt x="1020" y="375"/>
                </a:cubicBezTo>
                <a:cubicBezTo>
                  <a:pt x="1020" y="374"/>
                  <a:pt x="1021" y="374"/>
                  <a:pt x="1020" y="374"/>
                </a:cubicBezTo>
                <a:cubicBezTo>
                  <a:pt x="1020" y="374"/>
                  <a:pt x="1019" y="374"/>
                  <a:pt x="1019" y="374"/>
                </a:cubicBezTo>
                <a:cubicBezTo>
                  <a:pt x="1019" y="374"/>
                  <a:pt x="1018" y="375"/>
                  <a:pt x="1018" y="374"/>
                </a:cubicBezTo>
                <a:cubicBezTo>
                  <a:pt x="1017" y="374"/>
                  <a:pt x="1018" y="374"/>
                  <a:pt x="1018" y="373"/>
                </a:cubicBezTo>
                <a:cubicBezTo>
                  <a:pt x="1018" y="373"/>
                  <a:pt x="1018" y="373"/>
                  <a:pt x="1018" y="372"/>
                </a:cubicBezTo>
                <a:cubicBezTo>
                  <a:pt x="1018" y="372"/>
                  <a:pt x="1018" y="372"/>
                  <a:pt x="1019" y="372"/>
                </a:cubicBezTo>
                <a:cubicBezTo>
                  <a:pt x="1019" y="372"/>
                  <a:pt x="1019" y="371"/>
                  <a:pt x="1019" y="371"/>
                </a:cubicBezTo>
                <a:cubicBezTo>
                  <a:pt x="1019" y="370"/>
                  <a:pt x="1019" y="370"/>
                  <a:pt x="1020" y="370"/>
                </a:cubicBezTo>
                <a:cubicBezTo>
                  <a:pt x="1020" y="370"/>
                  <a:pt x="1022" y="370"/>
                  <a:pt x="1022" y="370"/>
                </a:cubicBezTo>
                <a:cubicBezTo>
                  <a:pt x="1022" y="369"/>
                  <a:pt x="1021" y="370"/>
                  <a:pt x="1020" y="370"/>
                </a:cubicBezTo>
                <a:cubicBezTo>
                  <a:pt x="1019" y="370"/>
                  <a:pt x="1018" y="369"/>
                  <a:pt x="1018" y="370"/>
                </a:cubicBezTo>
                <a:cubicBezTo>
                  <a:pt x="1017" y="370"/>
                  <a:pt x="1017" y="370"/>
                  <a:pt x="1016" y="370"/>
                </a:cubicBezTo>
                <a:cubicBezTo>
                  <a:pt x="1016" y="370"/>
                  <a:pt x="1016" y="370"/>
                  <a:pt x="1015" y="370"/>
                </a:cubicBezTo>
                <a:cubicBezTo>
                  <a:pt x="1014" y="370"/>
                  <a:pt x="1014" y="371"/>
                  <a:pt x="1013" y="372"/>
                </a:cubicBezTo>
                <a:cubicBezTo>
                  <a:pt x="1013" y="372"/>
                  <a:pt x="1013" y="373"/>
                  <a:pt x="1013" y="374"/>
                </a:cubicBezTo>
                <a:cubicBezTo>
                  <a:pt x="1014" y="374"/>
                  <a:pt x="1014" y="375"/>
                  <a:pt x="1014" y="376"/>
                </a:cubicBezTo>
                <a:cubicBezTo>
                  <a:pt x="1014" y="376"/>
                  <a:pt x="1014" y="375"/>
                  <a:pt x="1014" y="375"/>
                </a:cubicBezTo>
                <a:cubicBezTo>
                  <a:pt x="1012" y="374"/>
                  <a:pt x="1012" y="372"/>
                  <a:pt x="1013" y="371"/>
                </a:cubicBezTo>
                <a:cubicBezTo>
                  <a:pt x="1013" y="371"/>
                  <a:pt x="1014" y="370"/>
                  <a:pt x="1014" y="370"/>
                </a:cubicBezTo>
                <a:cubicBezTo>
                  <a:pt x="1014" y="369"/>
                  <a:pt x="1013" y="369"/>
                  <a:pt x="1013" y="370"/>
                </a:cubicBezTo>
                <a:cubicBezTo>
                  <a:pt x="1012" y="370"/>
                  <a:pt x="1012" y="369"/>
                  <a:pt x="1012" y="369"/>
                </a:cubicBezTo>
                <a:cubicBezTo>
                  <a:pt x="1011" y="369"/>
                  <a:pt x="1010" y="371"/>
                  <a:pt x="1009" y="372"/>
                </a:cubicBezTo>
                <a:cubicBezTo>
                  <a:pt x="1008" y="372"/>
                  <a:pt x="1008" y="372"/>
                  <a:pt x="1008" y="373"/>
                </a:cubicBezTo>
                <a:cubicBezTo>
                  <a:pt x="1008" y="374"/>
                  <a:pt x="1008" y="374"/>
                  <a:pt x="1008" y="375"/>
                </a:cubicBezTo>
                <a:cubicBezTo>
                  <a:pt x="1007" y="376"/>
                  <a:pt x="1007" y="374"/>
                  <a:pt x="1007" y="374"/>
                </a:cubicBezTo>
                <a:cubicBezTo>
                  <a:pt x="1007" y="373"/>
                  <a:pt x="1007" y="373"/>
                  <a:pt x="1007" y="373"/>
                </a:cubicBezTo>
                <a:cubicBezTo>
                  <a:pt x="1007" y="372"/>
                  <a:pt x="1008" y="372"/>
                  <a:pt x="1008" y="372"/>
                </a:cubicBezTo>
                <a:cubicBezTo>
                  <a:pt x="1008" y="371"/>
                  <a:pt x="1007" y="371"/>
                  <a:pt x="1007" y="370"/>
                </a:cubicBezTo>
                <a:cubicBezTo>
                  <a:pt x="1008" y="369"/>
                  <a:pt x="1009" y="369"/>
                  <a:pt x="1009" y="368"/>
                </a:cubicBezTo>
                <a:cubicBezTo>
                  <a:pt x="1009" y="368"/>
                  <a:pt x="1009" y="366"/>
                  <a:pt x="1008" y="366"/>
                </a:cubicBezTo>
                <a:cubicBezTo>
                  <a:pt x="1008" y="367"/>
                  <a:pt x="1008" y="367"/>
                  <a:pt x="1007" y="368"/>
                </a:cubicBezTo>
                <a:cubicBezTo>
                  <a:pt x="1007" y="368"/>
                  <a:pt x="1007" y="368"/>
                  <a:pt x="1006" y="369"/>
                </a:cubicBezTo>
                <a:cubicBezTo>
                  <a:pt x="1006" y="369"/>
                  <a:pt x="1006" y="369"/>
                  <a:pt x="1005" y="369"/>
                </a:cubicBezTo>
                <a:cubicBezTo>
                  <a:pt x="1005" y="370"/>
                  <a:pt x="1004" y="369"/>
                  <a:pt x="1004" y="370"/>
                </a:cubicBezTo>
                <a:cubicBezTo>
                  <a:pt x="1004" y="370"/>
                  <a:pt x="1004" y="370"/>
                  <a:pt x="1003" y="371"/>
                </a:cubicBezTo>
                <a:cubicBezTo>
                  <a:pt x="1003" y="371"/>
                  <a:pt x="1003" y="372"/>
                  <a:pt x="1003" y="372"/>
                </a:cubicBezTo>
                <a:cubicBezTo>
                  <a:pt x="1003" y="372"/>
                  <a:pt x="1003" y="373"/>
                  <a:pt x="1003" y="373"/>
                </a:cubicBezTo>
                <a:cubicBezTo>
                  <a:pt x="1002" y="373"/>
                  <a:pt x="1002" y="373"/>
                  <a:pt x="1002" y="373"/>
                </a:cubicBezTo>
                <a:cubicBezTo>
                  <a:pt x="1001" y="372"/>
                  <a:pt x="1001" y="373"/>
                  <a:pt x="1001" y="372"/>
                </a:cubicBezTo>
                <a:cubicBezTo>
                  <a:pt x="1001" y="372"/>
                  <a:pt x="1002" y="372"/>
                  <a:pt x="1002" y="372"/>
                </a:cubicBezTo>
                <a:cubicBezTo>
                  <a:pt x="1003" y="372"/>
                  <a:pt x="1003" y="371"/>
                  <a:pt x="1003" y="371"/>
                </a:cubicBezTo>
                <a:cubicBezTo>
                  <a:pt x="1003" y="370"/>
                  <a:pt x="1003" y="370"/>
                  <a:pt x="1003" y="370"/>
                </a:cubicBezTo>
                <a:cubicBezTo>
                  <a:pt x="1004" y="369"/>
                  <a:pt x="1004" y="369"/>
                  <a:pt x="1004" y="369"/>
                </a:cubicBezTo>
                <a:cubicBezTo>
                  <a:pt x="1005" y="369"/>
                  <a:pt x="1005" y="369"/>
                  <a:pt x="1005" y="368"/>
                </a:cubicBezTo>
                <a:cubicBezTo>
                  <a:pt x="1005" y="368"/>
                  <a:pt x="1005" y="368"/>
                  <a:pt x="1004" y="368"/>
                </a:cubicBezTo>
                <a:cubicBezTo>
                  <a:pt x="1004" y="367"/>
                  <a:pt x="1004" y="367"/>
                  <a:pt x="1003" y="367"/>
                </a:cubicBezTo>
                <a:cubicBezTo>
                  <a:pt x="1003" y="368"/>
                  <a:pt x="1003" y="368"/>
                  <a:pt x="1002" y="368"/>
                </a:cubicBezTo>
                <a:cubicBezTo>
                  <a:pt x="1002" y="368"/>
                  <a:pt x="1002" y="368"/>
                  <a:pt x="1002" y="368"/>
                </a:cubicBezTo>
                <a:cubicBezTo>
                  <a:pt x="1001" y="368"/>
                  <a:pt x="1001" y="368"/>
                  <a:pt x="1001" y="368"/>
                </a:cubicBezTo>
                <a:cubicBezTo>
                  <a:pt x="1001" y="368"/>
                  <a:pt x="1000" y="369"/>
                  <a:pt x="1000" y="369"/>
                </a:cubicBezTo>
                <a:cubicBezTo>
                  <a:pt x="999" y="369"/>
                  <a:pt x="999" y="368"/>
                  <a:pt x="999" y="368"/>
                </a:cubicBezTo>
                <a:cubicBezTo>
                  <a:pt x="1000" y="367"/>
                  <a:pt x="1000" y="367"/>
                  <a:pt x="999" y="367"/>
                </a:cubicBezTo>
                <a:cubicBezTo>
                  <a:pt x="998" y="367"/>
                  <a:pt x="998" y="368"/>
                  <a:pt x="998" y="368"/>
                </a:cubicBezTo>
                <a:cubicBezTo>
                  <a:pt x="997" y="368"/>
                  <a:pt x="997" y="368"/>
                  <a:pt x="996" y="368"/>
                </a:cubicBezTo>
                <a:cubicBezTo>
                  <a:pt x="996" y="368"/>
                  <a:pt x="997" y="367"/>
                  <a:pt x="997" y="367"/>
                </a:cubicBezTo>
                <a:cubicBezTo>
                  <a:pt x="997" y="367"/>
                  <a:pt x="997" y="366"/>
                  <a:pt x="998" y="366"/>
                </a:cubicBezTo>
                <a:cubicBezTo>
                  <a:pt x="998" y="366"/>
                  <a:pt x="998" y="366"/>
                  <a:pt x="998" y="365"/>
                </a:cubicBezTo>
                <a:cubicBezTo>
                  <a:pt x="998" y="364"/>
                  <a:pt x="997" y="364"/>
                  <a:pt x="996" y="364"/>
                </a:cubicBezTo>
                <a:cubicBezTo>
                  <a:pt x="995" y="364"/>
                  <a:pt x="994" y="364"/>
                  <a:pt x="994" y="364"/>
                </a:cubicBezTo>
                <a:cubicBezTo>
                  <a:pt x="993" y="364"/>
                  <a:pt x="993" y="365"/>
                  <a:pt x="993" y="365"/>
                </a:cubicBezTo>
                <a:cubicBezTo>
                  <a:pt x="992" y="365"/>
                  <a:pt x="993" y="365"/>
                  <a:pt x="993" y="364"/>
                </a:cubicBezTo>
                <a:cubicBezTo>
                  <a:pt x="993" y="363"/>
                  <a:pt x="994" y="364"/>
                  <a:pt x="995" y="363"/>
                </a:cubicBezTo>
                <a:cubicBezTo>
                  <a:pt x="995" y="363"/>
                  <a:pt x="996" y="363"/>
                  <a:pt x="995" y="363"/>
                </a:cubicBezTo>
                <a:cubicBezTo>
                  <a:pt x="995" y="363"/>
                  <a:pt x="994" y="363"/>
                  <a:pt x="994" y="363"/>
                </a:cubicBezTo>
                <a:cubicBezTo>
                  <a:pt x="993" y="363"/>
                  <a:pt x="992" y="363"/>
                  <a:pt x="991" y="363"/>
                </a:cubicBezTo>
                <a:cubicBezTo>
                  <a:pt x="991" y="363"/>
                  <a:pt x="990" y="363"/>
                  <a:pt x="990" y="363"/>
                </a:cubicBezTo>
                <a:cubicBezTo>
                  <a:pt x="990" y="363"/>
                  <a:pt x="990" y="364"/>
                  <a:pt x="989" y="364"/>
                </a:cubicBezTo>
                <a:cubicBezTo>
                  <a:pt x="989" y="364"/>
                  <a:pt x="989" y="363"/>
                  <a:pt x="989" y="363"/>
                </a:cubicBezTo>
                <a:cubicBezTo>
                  <a:pt x="989" y="362"/>
                  <a:pt x="990" y="362"/>
                  <a:pt x="990" y="362"/>
                </a:cubicBezTo>
                <a:cubicBezTo>
                  <a:pt x="990" y="362"/>
                  <a:pt x="991" y="362"/>
                  <a:pt x="991" y="362"/>
                </a:cubicBezTo>
                <a:cubicBezTo>
                  <a:pt x="991" y="361"/>
                  <a:pt x="992" y="361"/>
                  <a:pt x="992" y="361"/>
                </a:cubicBezTo>
                <a:cubicBezTo>
                  <a:pt x="993" y="361"/>
                  <a:pt x="993" y="361"/>
                  <a:pt x="993" y="362"/>
                </a:cubicBezTo>
                <a:cubicBezTo>
                  <a:pt x="994" y="362"/>
                  <a:pt x="994" y="362"/>
                  <a:pt x="994" y="362"/>
                </a:cubicBezTo>
                <a:cubicBezTo>
                  <a:pt x="994" y="362"/>
                  <a:pt x="994" y="362"/>
                  <a:pt x="994" y="362"/>
                </a:cubicBezTo>
                <a:cubicBezTo>
                  <a:pt x="995" y="363"/>
                  <a:pt x="996" y="362"/>
                  <a:pt x="997" y="362"/>
                </a:cubicBezTo>
                <a:cubicBezTo>
                  <a:pt x="997" y="361"/>
                  <a:pt x="997" y="361"/>
                  <a:pt x="997" y="361"/>
                </a:cubicBezTo>
                <a:cubicBezTo>
                  <a:pt x="998" y="361"/>
                  <a:pt x="998" y="361"/>
                  <a:pt x="999" y="361"/>
                </a:cubicBezTo>
                <a:cubicBezTo>
                  <a:pt x="999" y="361"/>
                  <a:pt x="1000" y="361"/>
                  <a:pt x="999" y="360"/>
                </a:cubicBezTo>
                <a:cubicBezTo>
                  <a:pt x="999" y="360"/>
                  <a:pt x="999" y="360"/>
                  <a:pt x="998" y="360"/>
                </a:cubicBezTo>
                <a:cubicBezTo>
                  <a:pt x="997" y="360"/>
                  <a:pt x="997" y="360"/>
                  <a:pt x="996" y="360"/>
                </a:cubicBezTo>
                <a:cubicBezTo>
                  <a:pt x="995" y="360"/>
                  <a:pt x="995" y="360"/>
                  <a:pt x="994" y="360"/>
                </a:cubicBezTo>
                <a:cubicBezTo>
                  <a:pt x="994" y="361"/>
                  <a:pt x="994" y="361"/>
                  <a:pt x="993" y="361"/>
                </a:cubicBezTo>
                <a:cubicBezTo>
                  <a:pt x="992" y="361"/>
                  <a:pt x="992" y="361"/>
                  <a:pt x="991" y="361"/>
                </a:cubicBezTo>
                <a:cubicBezTo>
                  <a:pt x="990" y="361"/>
                  <a:pt x="990" y="361"/>
                  <a:pt x="990" y="361"/>
                </a:cubicBezTo>
                <a:cubicBezTo>
                  <a:pt x="989" y="362"/>
                  <a:pt x="989" y="362"/>
                  <a:pt x="989" y="361"/>
                </a:cubicBezTo>
                <a:cubicBezTo>
                  <a:pt x="989" y="361"/>
                  <a:pt x="989" y="360"/>
                  <a:pt x="989" y="360"/>
                </a:cubicBezTo>
                <a:cubicBezTo>
                  <a:pt x="989" y="360"/>
                  <a:pt x="989" y="359"/>
                  <a:pt x="989" y="359"/>
                </a:cubicBezTo>
                <a:cubicBezTo>
                  <a:pt x="989" y="359"/>
                  <a:pt x="990" y="359"/>
                  <a:pt x="990" y="359"/>
                </a:cubicBezTo>
                <a:cubicBezTo>
                  <a:pt x="990" y="359"/>
                  <a:pt x="990" y="358"/>
                  <a:pt x="990" y="358"/>
                </a:cubicBezTo>
                <a:cubicBezTo>
                  <a:pt x="989" y="358"/>
                  <a:pt x="989" y="359"/>
                  <a:pt x="988" y="359"/>
                </a:cubicBezTo>
                <a:cubicBezTo>
                  <a:pt x="988" y="359"/>
                  <a:pt x="988" y="359"/>
                  <a:pt x="987" y="360"/>
                </a:cubicBezTo>
                <a:cubicBezTo>
                  <a:pt x="987" y="360"/>
                  <a:pt x="987" y="360"/>
                  <a:pt x="986" y="360"/>
                </a:cubicBezTo>
                <a:cubicBezTo>
                  <a:pt x="986" y="361"/>
                  <a:pt x="986" y="361"/>
                  <a:pt x="985" y="361"/>
                </a:cubicBezTo>
                <a:cubicBezTo>
                  <a:pt x="985" y="361"/>
                  <a:pt x="985" y="361"/>
                  <a:pt x="985" y="360"/>
                </a:cubicBezTo>
                <a:cubicBezTo>
                  <a:pt x="985" y="359"/>
                  <a:pt x="985" y="359"/>
                  <a:pt x="984" y="358"/>
                </a:cubicBezTo>
                <a:cubicBezTo>
                  <a:pt x="984" y="358"/>
                  <a:pt x="983" y="358"/>
                  <a:pt x="983" y="358"/>
                </a:cubicBezTo>
                <a:cubicBezTo>
                  <a:pt x="982" y="358"/>
                  <a:pt x="982" y="358"/>
                  <a:pt x="982" y="357"/>
                </a:cubicBezTo>
                <a:cubicBezTo>
                  <a:pt x="981" y="357"/>
                  <a:pt x="980" y="357"/>
                  <a:pt x="979" y="357"/>
                </a:cubicBezTo>
                <a:cubicBezTo>
                  <a:pt x="979" y="357"/>
                  <a:pt x="979" y="358"/>
                  <a:pt x="978" y="358"/>
                </a:cubicBezTo>
                <a:cubicBezTo>
                  <a:pt x="978" y="358"/>
                  <a:pt x="978" y="358"/>
                  <a:pt x="977" y="358"/>
                </a:cubicBezTo>
                <a:cubicBezTo>
                  <a:pt x="977" y="358"/>
                  <a:pt x="976" y="358"/>
                  <a:pt x="976" y="358"/>
                </a:cubicBezTo>
                <a:cubicBezTo>
                  <a:pt x="976" y="358"/>
                  <a:pt x="977" y="357"/>
                  <a:pt x="977" y="357"/>
                </a:cubicBezTo>
                <a:cubicBezTo>
                  <a:pt x="978" y="356"/>
                  <a:pt x="979" y="357"/>
                  <a:pt x="980" y="356"/>
                </a:cubicBezTo>
                <a:cubicBezTo>
                  <a:pt x="980" y="356"/>
                  <a:pt x="981" y="356"/>
                  <a:pt x="981" y="356"/>
                </a:cubicBezTo>
                <a:cubicBezTo>
                  <a:pt x="981" y="356"/>
                  <a:pt x="982" y="356"/>
                  <a:pt x="982" y="357"/>
                </a:cubicBezTo>
                <a:cubicBezTo>
                  <a:pt x="983" y="357"/>
                  <a:pt x="984" y="357"/>
                  <a:pt x="983" y="356"/>
                </a:cubicBezTo>
                <a:cubicBezTo>
                  <a:pt x="983" y="356"/>
                  <a:pt x="982" y="355"/>
                  <a:pt x="982" y="355"/>
                </a:cubicBezTo>
                <a:cubicBezTo>
                  <a:pt x="982" y="355"/>
                  <a:pt x="981" y="355"/>
                  <a:pt x="981" y="355"/>
                </a:cubicBezTo>
                <a:cubicBezTo>
                  <a:pt x="980" y="355"/>
                  <a:pt x="980" y="354"/>
                  <a:pt x="980" y="354"/>
                </a:cubicBezTo>
                <a:cubicBezTo>
                  <a:pt x="979" y="354"/>
                  <a:pt x="979" y="354"/>
                  <a:pt x="978" y="354"/>
                </a:cubicBezTo>
                <a:cubicBezTo>
                  <a:pt x="977" y="354"/>
                  <a:pt x="976" y="354"/>
                  <a:pt x="976" y="354"/>
                </a:cubicBezTo>
                <a:cubicBezTo>
                  <a:pt x="975" y="354"/>
                  <a:pt x="975" y="355"/>
                  <a:pt x="974" y="354"/>
                </a:cubicBezTo>
                <a:cubicBezTo>
                  <a:pt x="974" y="354"/>
                  <a:pt x="974" y="354"/>
                  <a:pt x="974" y="353"/>
                </a:cubicBezTo>
                <a:cubicBezTo>
                  <a:pt x="973" y="353"/>
                  <a:pt x="972" y="353"/>
                  <a:pt x="971" y="353"/>
                </a:cubicBezTo>
                <a:cubicBezTo>
                  <a:pt x="971" y="353"/>
                  <a:pt x="970" y="353"/>
                  <a:pt x="970" y="353"/>
                </a:cubicBezTo>
                <a:cubicBezTo>
                  <a:pt x="970" y="353"/>
                  <a:pt x="969" y="353"/>
                  <a:pt x="969" y="353"/>
                </a:cubicBezTo>
                <a:cubicBezTo>
                  <a:pt x="970" y="352"/>
                  <a:pt x="970" y="352"/>
                  <a:pt x="971" y="352"/>
                </a:cubicBezTo>
                <a:cubicBezTo>
                  <a:pt x="972" y="352"/>
                  <a:pt x="973" y="353"/>
                  <a:pt x="974" y="353"/>
                </a:cubicBezTo>
                <a:cubicBezTo>
                  <a:pt x="974" y="353"/>
                  <a:pt x="975" y="353"/>
                  <a:pt x="975" y="353"/>
                </a:cubicBezTo>
                <a:cubicBezTo>
                  <a:pt x="975" y="353"/>
                  <a:pt x="976" y="353"/>
                  <a:pt x="976" y="353"/>
                </a:cubicBezTo>
                <a:cubicBezTo>
                  <a:pt x="977" y="354"/>
                  <a:pt x="978" y="353"/>
                  <a:pt x="979" y="353"/>
                </a:cubicBezTo>
                <a:cubicBezTo>
                  <a:pt x="980" y="353"/>
                  <a:pt x="980" y="353"/>
                  <a:pt x="981" y="353"/>
                </a:cubicBezTo>
                <a:cubicBezTo>
                  <a:pt x="982" y="353"/>
                  <a:pt x="982" y="353"/>
                  <a:pt x="983" y="353"/>
                </a:cubicBezTo>
                <a:cubicBezTo>
                  <a:pt x="984" y="353"/>
                  <a:pt x="984" y="353"/>
                  <a:pt x="984" y="353"/>
                </a:cubicBezTo>
                <a:cubicBezTo>
                  <a:pt x="984" y="353"/>
                  <a:pt x="985" y="354"/>
                  <a:pt x="985" y="354"/>
                </a:cubicBezTo>
                <a:cubicBezTo>
                  <a:pt x="986" y="354"/>
                  <a:pt x="985" y="353"/>
                  <a:pt x="985" y="353"/>
                </a:cubicBezTo>
                <a:cubicBezTo>
                  <a:pt x="984" y="353"/>
                  <a:pt x="983" y="353"/>
                  <a:pt x="983" y="352"/>
                </a:cubicBezTo>
                <a:cubicBezTo>
                  <a:pt x="983" y="352"/>
                  <a:pt x="983" y="352"/>
                  <a:pt x="984" y="352"/>
                </a:cubicBezTo>
                <a:cubicBezTo>
                  <a:pt x="984" y="352"/>
                  <a:pt x="984" y="352"/>
                  <a:pt x="984" y="352"/>
                </a:cubicBezTo>
                <a:cubicBezTo>
                  <a:pt x="985" y="352"/>
                  <a:pt x="984" y="351"/>
                  <a:pt x="984" y="351"/>
                </a:cubicBezTo>
                <a:cubicBezTo>
                  <a:pt x="984" y="350"/>
                  <a:pt x="983" y="351"/>
                  <a:pt x="983" y="350"/>
                </a:cubicBezTo>
                <a:cubicBezTo>
                  <a:pt x="983" y="350"/>
                  <a:pt x="983" y="350"/>
                  <a:pt x="983" y="350"/>
                </a:cubicBezTo>
                <a:cubicBezTo>
                  <a:pt x="982" y="350"/>
                  <a:pt x="981" y="350"/>
                  <a:pt x="981" y="349"/>
                </a:cubicBezTo>
                <a:cubicBezTo>
                  <a:pt x="982" y="349"/>
                  <a:pt x="983" y="350"/>
                  <a:pt x="984" y="350"/>
                </a:cubicBezTo>
                <a:cubicBezTo>
                  <a:pt x="985" y="350"/>
                  <a:pt x="985" y="350"/>
                  <a:pt x="985" y="349"/>
                </a:cubicBezTo>
                <a:cubicBezTo>
                  <a:pt x="986" y="349"/>
                  <a:pt x="986" y="349"/>
                  <a:pt x="987" y="349"/>
                </a:cubicBezTo>
                <a:cubicBezTo>
                  <a:pt x="988" y="349"/>
                  <a:pt x="987" y="348"/>
                  <a:pt x="986" y="348"/>
                </a:cubicBezTo>
                <a:cubicBezTo>
                  <a:pt x="985" y="347"/>
                  <a:pt x="985" y="347"/>
                  <a:pt x="984" y="347"/>
                </a:cubicBezTo>
                <a:cubicBezTo>
                  <a:pt x="983" y="347"/>
                  <a:pt x="983" y="347"/>
                  <a:pt x="982" y="346"/>
                </a:cubicBezTo>
                <a:cubicBezTo>
                  <a:pt x="981" y="346"/>
                  <a:pt x="981" y="346"/>
                  <a:pt x="981" y="346"/>
                </a:cubicBezTo>
                <a:cubicBezTo>
                  <a:pt x="980" y="346"/>
                  <a:pt x="980" y="346"/>
                  <a:pt x="980" y="346"/>
                </a:cubicBezTo>
                <a:cubicBezTo>
                  <a:pt x="979" y="346"/>
                  <a:pt x="979" y="346"/>
                  <a:pt x="979" y="346"/>
                </a:cubicBezTo>
                <a:cubicBezTo>
                  <a:pt x="978" y="345"/>
                  <a:pt x="977" y="345"/>
                  <a:pt x="978" y="345"/>
                </a:cubicBezTo>
                <a:cubicBezTo>
                  <a:pt x="978" y="345"/>
                  <a:pt x="979" y="345"/>
                  <a:pt x="979" y="345"/>
                </a:cubicBezTo>
                <a:cubicBezTo>
                  <a:pt x="979" y="345"/>
                  <a:pt x="980" y="345"/>
                  <a:pt x="980" y="345"/>
                </a:cubicBezTo>
                <a:cubicBezTo>
                  <a:pt x="981" y="345"/>
                  <a:pt x="982" y="345"/>
                  <a:pt x="983" y="345"/>
                </a:cubicBezTo>
                <a:cubicBezTo>
                  <a:pt x="983" y="345"/>
                  <a:pt x="982" y="343"/>
                  <a:pt x="982" y="343"/>
                </a:cubicBezTo>
                <a:cubicBezTo>
                  <a:pt x="982" y="343"/>
                  <a:pt x="983" y="343"/>
                  <a:pt x="983" y="343"/>
                </a:cubicBezTo>
                <a:cubicBezTo>
                  <a:pt x="984" y="344"/>
                  <a:pt x="984" y="344"/>
                  <a:pt x="985" y="344"/>
                </a:cubicBezTo>
                <a:cubicBezTo>
                  <a:pt x="985" y="345"/>
                  <a:pt x="986" y="345"/>
                  <a:pt x="987" y="345"/>
                </a:cubicBezTo>
                <a:cubicBezTo>
                  <a:pt x="988" y="346"/>
                  <a:pt x="989" y="346"/>
                  <a:pt x="990" y="346"/>
                </a:cubicBezTo>
                <a:cubicBezTo>
                  <a:pt x="991" y="346"/>
                  <a:pt x="991" y="345"/>
                  <a:pt x="992" y="346"/>
                </a:cubicBezTo>
                <a:cubicBezTo>
                  <a:pt x="993" y="346"/>
                  <a:pt x="993" y="346"/>
                  <a:pt x="994" y="346"/>
                </a:cubicBezTo>
                <a:cubicBezTo>
                  <a:pt x="994" y="346"/>
                  <a:pt x="994" y="346"/>
                  <a:pt x="995" y="346"/>
                </a:cubicBezTo>
                <a:cubicBezTo>
                  <a:pt x="995" y="346"/>
                  <a:pt x="995" y="346"/>
                  <a:pt x="996" y="346"/>
                </a:cubicBezTo>
                <a:cubicBezTo>
                  <a:pt x="996" y="346"/>
                  <a:pt x="997" y="346"/>
                  <a:pt x="997" y="346"/>
                </a:cubicBezTo>
                <a:cubicBezTo>
                  <a:pt x="998" y="346"/>
                  <a:pt x="998" y="347"/>
                  <a:pt x="999" y="347"/>
                </a:cubicBezTo>
                <a:cubicBezTo>
                  <a:pt x="999" y="346"/>
                  <a:pt x="999" y="345"/>
                  <a:pt x="999" y="344"/>
                </a:cubicBezTo>
                <a:cubicBezTo>
                  <a:pt x="999" y="343"/>
                  <a:pt x="998" y="343"/>
                  <a:pt x="998" y="342"/>
                </a:cubicBezTo>
                <a:cubicBezTo>
                  <a:pt x="997" y="342"/>
                  <a:pt x="996" y="341"/>
                  <a:pt x="996" y="341"/>
                </a:cubicBezTo>
                <a:cubicBezTo>
                  <a:pt x="995" y="341"/>
                  <a:pt x="994" y="341"/>
                  <a:pt x="993" y="340"/>
                </a:cubicBezTo>
                <a:cubicBezTo>
                  <a:pt x="993" y="340"/>
                  <a:pt x="992" y="340"/>
                  <a:pt x="991" y="340"/>
                </a:cubicBezTo>
                <a:cubicBezTo>
                  <a:pt x="989" y="340"/>
                  <a:pt x="988" y="340"/>
                  <a:pt x="986" y="340"/>
                </a:cubicBezTo>
                <a:cubicBezTo>
                  <a:pt x="985" y="340"/>
                  <a:pt x="984" y="340"/>
                  <a:pt x="984" y="340"/>
                </a:cubicBezTo>
                <a:cubicBezTo>
                  <a:pt x="983" y="339"/>
                  <a:pt x="983" y="339"/>
                  <a:pt x="982" y="339"/>
                </a:cubicBezTo>
                <a:cubicBezTo>
                  <a:pt x="981" y="339"/>
                  <a:pt x="980" y="339"/>
                  <a:pt x="979" y="338"/>
                </a:cubicBezTo>
                <a:cubicBezTo>
                  <a:pt x="979" y="337"/>
                  <a:pt x="978" y="337"/>
                  <a:pt x="977" y="337"/>
                </a:cubicBezTo>
                <a:cubicBezTo>
                  <a:pt x="977" y="337"/>
                  <a:pt x="976" y="337"/>
                  <a:pt x="976" y="337"/>
                </a:cubicBezTo>
                <a:cubicBezTo>
                  <a:pt x="975" y="337"/>
                  <a:pt x="975" y="338"/>
                  <a:pt x="975" y="338"/>
                </a:cubicBezTo>
                <a:cubicBezTo>
                  <a:pt x="974" y="338"/>
                  <a:pt x="973" y="339"/>
                  <a:pt x="972" y="338"/>
                </a:cubicBezTo>
                <a:cubicBezTo>
                  <a:pt x="973" y="338"/>
                  <a:pt x="973" y="338"/>
                  <a:pt x="974" y="338"/>
                </a:cubicBezTo>
                <a:cubicBezTo>
                  <a:pt x="974" y="338"/>
                  <a:pt x="974" y="337"/>
                  <a:pt x="975" y="337"/>
                </a:cubicBezTo>
                <a:cubicBezTo>
                  <a:pt x="975" y="337"/>
                  <a:pt x="976" y="336"/>
                  <a:pt x="977" y="336"/>
                </a:cubicBezTo>
                <a:cubicBezTo>
                  <a:pt x="978" y="336"/>
                  <a:pt x="979" y="337"/>
                  <a:pt x="980" y="337"/>
                </a:cubicBezTo>
                <a:cubicBezTo>
                  <a:pt x="981" y="336"/>
                  <a:pt x="981" y="336"/>
                  <a:pt x="982" y="335"/>
                </a:cubicBezTo>
                <a:cubicBezTo>
                  <a:pt x="982" y="335"/>
                  <a:pt x="984" y="334"/>
                  <a:pt x="984" y="334"/>
                </a:cubicBezTo>
                <a:cubicBezTo>
                  <a:pt x="985" y="334"/>
                  <a:pt x="985" y="334"/>
                  <a:pt x="986" y="334"/>
                </a:cubicBezTo>
                <a:cubicBezTo>
                  <a:pt x="986" y="333"/>
                  <a:pt x="986" y="333"/>
                  <a:pt x="987" y="333"/>
                </a:cubicBezTo>
                <a:cubicBezTo>
                  <a:pt x="987" y="333"/>
                  <a:pt x="988" y="334"/>
                  <a:pt x="989" y="334"/>
                </a:cubicBezTo>
                <a:cubicBezTo>
                  <a:pt x="989" y="334"/>
                  <a:pt x="989" y="334"/>
                  <a:pt x="990" y="334"/>
                </a:cubicBezTo>
                <a:cubicBezTo>
                  <a:pt x="990" y="335"/>
                  <a:pt x="991" y="335"/>
                  <a:pt x="991" y="335"/>
                </a:cubicBezTo>
                <a:cubicBezTo>
                  <a:pt x="991" y="335"/>
                  <a:pt x="992" y="335"/>
                  <a:pt x="992" y="335"/>
                </a:cubicBezTo>
                <a:cubicBezTo>
                  <a:pt x="993" y="335"/>
                  <a:pt x="994" y="335"/>
                  <a:pt x="994" y="334"/>
                </a:cubicBezTo>
                <a:cubicBezTo>
                  <a:pt x="994" y="333"/>
                  <a:pt x="994" y="333"/>
                  <a:pt x="994" y="332"/>
                </a:cubicBezTo>
                <a:cubicBezTo>
                  <a:pt x="993" y="331"/>
                  <a:pt x="994" y="330"/>
                  <a:pt x="993" y="329"/>
                </a:cubicBezTo>
                <a:cubicBezTo>
                  <a:pt x="992" y="328"/>
                  <a:pt x="991" y="327"/>
                  <a:pt x="989" y="326"/>
                </a:cubicBezTo>
                <a:cubicBezTo>
                  <a:pt x="989" y="325"/>
                  <a:pt x="988" y="324"/>
                  <a:pt x="987" y="324"/>
                </a:cubicBezTo>
                <a:cubicBezTo>
                  <a:pt x="986" y="324"/>
                  <a:pt x="985" y="324"/>
                  <a:pt x="985" y="323"/>
                </a:cubicBezTo>
                <a:cubicBezTo>
                  <a:pt x="984" y="323"/>
                  <a:pt x="983" y="322"/>
                  <a:pt x="983" y="323"/>
                </a:cubicBezTo>
                <a:cubicBezTo>
                  <a:pt x="982" y="323"/>
                  <a:pt x="982" y="324"/>
                  <a:pt x="982" y="324"/>
                </a:cubicBezTo>
                <a:cubicBezTo>
                  <a:pt x="982" y="325"/>
                  <a:pt x="982" y="325"/>
                  <a:pt x="982" y="325"/>
                </a:cubicBezTo>
                <a:cubicBezTo>
                  <a:pt x="982" y="326"/>
                  <a:pt x="983" y="327"/>
                  <a:pt x="981" y="327"/>
                </a:cubicBezTo>
                <a:cubicBezTo>
                  <a:pt x="981" y="327"/>
                  <a:pt x="980" y="327"/>
                  <a:pt x="980" y="327"/>
                </a:cubicBezTo>
                <a:cubicBezTo>
                  <a:pt x="980" y="327"/>
                  <a:pt x="979" y="328"/>
                  <a:pt x="979" y="328"/>
                </a:cubicBezTo>
                <a:cubicBezTo>
                  <a:pt x="978" y="328"/>
                  <a:pt x="978" y="328"/>
                  <a:pt x="978" y="329"/>
                </a:cubicBezTo>
                <a:cubicBezTo>
                  <a:pt x="977" y="329"/>
                  <a:pt x="977" y="329"/>
                  <a:pt x="977" y="329"/>
                </a:cubicBezTo>
                <a:cubicBezTo>
                  <a:pt x="976" y="330"/>
                  <a:pt x="976" y="330"/>
                  <a:pt x="975" y="330"/>
                </a:cubicBezTo>
                <a:cubicBezTo>
                  <a:pt x="975" y="330"/>
                  <a:pt x="974" y="330"/>
                  <a:pt x="973" y="330"/>
                </a:cubicBezTo>
                <a:cubicBezTo>
                  <a:pt x="972" y="330"/>
                  <a:pt x="972" y="331"/>
                  <a:pt x="971" y="331"/>
                </a:cubicBezTo>
                <a:cubicBezTo>
                  <a:pt x="970" y="332"/>
                  <a:pt x="970" y="332"/>
                  <a:pt x="969" y="333"/>
                </a:cubicBezTo>
                <a:cubicBezTo>
                  <a:pt x="968" y="333"/>
                  <a:pt x="966" y="334"/>
                  <a:pt x="965" y="333"/>
                </a:cubicBezTo>
                <a:cubicBezTo>
                  <a:pt x="966" y="333"/>
                  <a:pt x="967" y="333"/>
                  <a:pt x="969" y="332"/>
                </a:cubicBezTo>
                <a:cubicBezTo>
                  <a:pt x="969" y="332"/>
                  <a:pt x="970" y="331"/>
                  <a:pt x="970" y="331"/>
                </a:cubicBezTo>
                <a:cubicBezTo>
                  <a:pt x="971" y="330"/>
                  <a:pt x="972" y="330"/>
                  <a:pt x="972" y="330"/>
                </a:cubicBezTo>
                <a:cubicBezTo>
                  <a:pt x="973" y="330"/>
                  <a:pt x="973" y="329"/>
                  <a:pt x="974" y="329"/>
                </a:cubicBezTo>
                <a:cubicBezTo>
                  <a:pt x="974" y="329"/>
                  <a:pt x="974" y="329"/>
                  <a:pt x="975" y="329"/>
                </a:cubicBezTo>
                <a:cubicBezTo>
                  <a:pt x="975" y="328"/>
                  <a:pt x="975" y="328"/>
                  <a:pt x="976" y="328"/>
                </a:cubicBezTo>
                <a:cubicBezTo>
                  <a:pt x="976" y="328"/>
                  <a:pt x="976" y="326"/>
                  <a:pt x="976" y="326"/>
                </a:cubicBezTo>
                <a:cubicBezTo>
                  <a:pt x="976" y="325"/>
                  <a:pt x="975" y="325"/>
                  <a:pt x="975" y="325"/>
                </a:cubicBezTo>
                <a:cubicBezTo>
                  <a:pt x="974" y="325"/>
                  <a:pt x="973" y="325"/>
                  <a:pt x="972" y="325"/>
                </a:cubicBezTo>
                <a:cubicBezTo>
                  <a:pt x="972" y="325"/>
                  <a:pt x="971" y="325"/>
                  <a:pt x="970" y="325"/>
                </a:cubicBezTo>
                <a:cubicBezTo>
                  <a:pt x="970" y="325"/>
                  <a:pt x="969" y="325"/>
                  <a:pt x="968" y="326"/>
                </a:cubicBezTo>
                <a:cubicBezTo>
                  <a:pt x="968" y="326"/>
                  <a:pt x="967" y="326"/>
                  <a:pt x="967" y="326"/>
                </a:cubicBezTo>
                <a:cubicBezTo>
                  <a:pt x="967" y="327"/>
                  <a:pt x="966" y="326"/>
                  <a:pt x="966" y="327"/>
                </a:cubicBezTo>
                <a:cubicBezTo>
                  <a:pt x="965" y="327"/>
                  <a:pt x="965" y="327"/>
                  <a:pt x="965" y="327"/>
                </a:cubicBezTo>
                <a:cubicBezTo>
                  <a:pt x="965" y="328"/>
                  <a:pt x="965" y="328"/>
                  <a:pt x="965" y="329"/>
                </a:cubicBezTo>
                <a:cubicBezTo>
                  <a:pt x="964" y="329"/>
                  <a:pt x="964" y="330"/>
                  <a:pt x="964" y="330"/>
                </a:cubicBezTo>
                <a:cubicBezTo>
                  <a:pt x="963" y="330"/>
                  <a:pt x="964" y="329"/>
                  <a:pt x="963" y="329"/>
                </a:cubicBezTo>
                <a:cubicBezTo>
                  <a:pt x="963" y="328"/>
                  <a:pt x="963" y="328"/>
                  <a:pt x="962" y="328"/>
                </a:cubicBezTo>
                <a:cubicBezTo>
                  <a:pt x="962" y="327"/>
                  <a:pt x="963" y="327"/>
                  <a:pt x="963" y="327"/>
                </a:cubicBezTo>
                <a:cubicBezTo>
                  <a:pt x="964" y="326"/>
                  <a:pt x="964" y="326"/>
                  <a:pt x="965" y="325"/>
                </a:cubicBezTo>
                <a:cubicBezTo>
                  <a:pt x="966" y="325"/>
                  <a:pt x="967" y="325"/>
                  <a:pt x="968" y="324"/>
                </a:cubicBezTo>
                <a:cubicBezTo>
                  <a:pt x="969" y="324"/>
                  <a:pt x="969" y="324"/>
                  <a:pt x="970" y="323"/>
                </a:cubicBezTo>
                <a:cubicBezTo>
                  <a:pt x="971" y="323"/>
                  <a:pt x="972" y="323"/>
                  <a:pt x="973" y="323"/>
                </a:cubicBezTo>
                <a:cubicBezTo>
                  <a:pt x="974" y="323"/>
                  <a:pt x="974" y="323"/>
                  <a:pt x="975" y="323"/>
                </a:cubicBezTo>
                <a:cubicBezTo>
                  <a:pt x="976" y="322"/>
                  <a:pt x="977" y="321"/>
                  <a:pt x="977" y="321"/>
                </a:cubicBezTo>
                <a:cubicBezTo>
                  <a:pt x="978" y="321"/>
                  <a:pt x="978" y="322"/>
                  <a:pt x="979" y="322"/>
                </a:cubicBezTo>
                <a:cubicBezTo>
                  <a:pt x="979" y="322"/>
                  <a:pt x="979" y="321"/>
                  <a:pt x="979" y="321"/>
                </a:cubicBezTo>
                <a:cubicBezTo>
                  <a:pt x="980" y="320"/>
                  <a:pt x="980" y="320"/>
                  <a:pt x="980" y="319"/>
                </a:cubicBezTo>
                <a:cubicBezTo>
                  <a:pt x="981" y="318"/>
                  <a:pt x="981" y="317"/>
                  <a:pt x="980" y="317"/>
                </a:cubicBezTo>
                <a:cubicBezTo>
                  <a:pt x="979" y="316"/>
                  <a:pt x="978" y="316"/>
                  <a:pt x="977" y="316"/>
                </a:cubicBezTo>
                <a:cubicBezTo>
                  <a:pt x="977" y="316"/>
                  <a:pt x="976" y="316"/>
                  <a:pt x="975" y="315"/>
                </a:cubicBezTo>
                <a:cubicBezTo>
                  <a:pt x="974" y="315"/>
                  <a:pt x="973" y="315"/>
                  <a:pt x="973" y="314"/>
                </a:cubicBezTo>
                <a:cubicBezTo>
                  <a:pt x="972" y="314"/>
                  <a:pt x="971" y="314"/>
                  <a:pt x="970" y="313"/>
                </a:cubicBezTo>
                <a:cubicBezTo>
                  <a:pt x="970" y="313"/>
                  <a:pt x="970" y="313"/>
                  <a:pt x="969" y="313"/>
                </a:cubicBezTo>
                <a:cubicBezTo>
                  <a:pt x="968" y="312"/>
                  <a:pt x="967" y="313"/>
                  <a:pt x="966" y="313"/>
                </a:cubicBezTo>
                <a:cubicBezTo>
                  <a:pt x="965" y="314"/>
                  <a:pt x="965" y="314"/>
                  <a:pt x="965" y="314"/>
                </a:cubicBezTo>
                <a:cubicBezTo>
                  <a:pt x="964" y="314"/>
                  <a:pt x="964" y="314"/>
                  <a:pt x="963" y="314"/>
                </a:cubicBezTo>
                <a:cubicBezTo>
                  <a:pt x="963" y="315"/>
                  <a:pt x="963" y="315"/>
                  <a:pt x="962" y="315"/>
                </a:cubicBezTo>
                <a:cubicBezTo>
                  <a:pt x="962" y="316"/>
                  <a:pt x="961" y="316"/>
                  <a:pt x="960" y="316"/>
                </a:cubicBezTo>
                <a:cubicBezTo>
                  <a:pt x="960" y="316"/>
                  <a:pt x="959" y="316"/>
                  <a:pt x="958" y="317"/>
                </a:cubicBezTo>
                <a:cubicBezTo>
                  <a:pt x="957" y="317"/>
                  <a:pt x="958" y="318"/>
                  <a:pt x="958" y="319"/>
                </a:cubicBezTo>
                <a:cubicBezTo>
                  <a:pt x="957" y="318"/>
                  <a:pt x="957" y="317"/>
                  <a:pt x="957" y="316"/>
                </a:cubicBezTo>
                <a:cubicBezTo>
                  <a:pt x="958" y="316"/>
                  <a:pt x="959" y="316"/>
                  <a:pt x="960" y="316"/>
                </a:cubicBezTo>
                <a:cubicBezTo>
                  <a:pt x="960" y="315"/>
                  <a:pt x="961" y="315"/>
                  <a:pt x="962" y="314"/>
                </a:cubicBezTo>
                <a:cubicBezTo>
                  <a:pt x="962" y="314"/>
                  <a:pt x="963" y="313"/>
                  <a:pt x="963" y="313"/>
                </a:cubicBezTo>
                <a:cubicBezTo>
                  <a:pt x="964" y="313"/>
                  <a:pt x="964" y="312"/>
                  <a:pt x="964" y="312"/>
                </a:cubicBezTo>
                <a:cubicBezTo>
                  <a:pt x="964" y="311"/>
                  <a:pt x="962" y="311"/>
                  <a:pt x="962" y="311"/>
                </a:cubicBezTo>
                <a:cubicBezTo>
                  <a:pt x="961" y="312"/>
                  <a:pt x="960" y="312"/>
                  <a:pt x="960" y="312"/>
                </a:cubicBezTo>
                <a:cubicBezTo>
                  <a:pt x="959" y="312"/>
                  <a:pt x="958" y="313"/>
                  <a:pt x="957" y="313"/>
                </a:cubicBezTo>
                <a:cubicBezTo>
                  <a:pt x="956" y="313"/>
                  <a:pt x="956" y="314"/>
                  <a:pt x="955" y="314"/>
                </a:cubicBezTo>
                <a:cubicBezTo>
                  <a:pt x="954" y="314"/>
                  <a:pt x="953" y="315"/>
                  <a:pt x="953" y="315"/>
                </a:cubicBezTo>
                <a:cubicBezTo>
                  <a:pt x="952" y="316"/>
                  <a:pt x="951" y="316"/>
                  <a:pt x="950" y="316"/>
                </a:cubicBezTo>
                <a:cubicBezTo>
                  <a:pt x="950" y="317"/>
                  <a:pt x="950" y="317"/>
                  <a:pt x="950" y="317"/>
                </a:cubicBezTo>
                <a:cubicBezTo>
                  <a:pt x="949" y="318"/>
                  <a:pt x="949" y="318"/>
                  <a:pt x="949" y="318"/>
                </a:cubicBezTo>
                <a:cubicBezTo>
                  <a:pt x="948" y="319"/>
                  <a:pt x="949" y="320"/>
                  <a:pt x="948" y="321"/>
                </a:cubicBezTo>
                <a:cubicBezTo>
                  <a:pt x="948" y="322"/>
                  <a:pt x="948" y="322"/>
                  <a:pt x="948" y="323"/>
                </a:cubicBezTo>
                <a:cubicBezTo>
                  <a:pt x="948" y="324"/>
                  <a:pt x="948" y="325"/>
                  <a:pt x="947" y="325"/>
                </a:cubicBezTo>
                <a:cubicBezTo>
                  <a:pt x="947" y="325"/>
                  <a:pt x="947" y="324"/>
                  <a:pt x="947" y="323"/>
                </a:cubicBezTo>
                <a:cubicBezTo>
                  <a:pt x="947" y="323"/>
                  <a:pt x="947" y="323"/>
                  <a:pt x="947" y="322"/>
                </a:cubicBezTo>
                <a:cubicBezTo>
                  <a:pt x="947" y="322"/>
                  <a:pt x="947" y="321"/>
                  <a:pt x="947" y="321"/>
                </a:cubicBezTo>
                <a:cubicBezTo>
                  <a:pt x="948" y="320"/>
                  <a:pt x="948" y="320"/>
                  <a:pt x="948" y="319"/>
                </a:cubicBezTo>
                <a:cubicBezTo>
                  <a:pt x="948" y="318"/>
                  <a:pt x="947" y="317"/>
                  <a:pt x="947" y="317"/>
                </a:cubicBezTo>
                <a:cubicBezTo>
                  <a:pt x="946" y="317"/>
                  <a:pt x="945" y="317"/>
                  <a:pt x="944" y="317"/>
                </a:cubicBezTo>
                <a:cubicBezTo>
                  <a:pt x="944" y="316"/>
                  <a:pt x="948" y="317"/>
                  <a:pt x="948" y="317"/>
                </a:cubicBezTo>
                <a:cubicBezTo>
                  <a:pt x="949" y="317"/>
                  <a:pt x="950" y="315"/>
                  <a:pt x="950" y="315"/>
                </a:cubicBezTo>
                <a:cubicBezTo>
                  <a:pt x="951" y="315"/>
                  <a:pt x="951" y="315"/>
                  <a:pt x="952" y="314"/>
                </a:cubicBezTo>
                <a:cubicBezTo>
                  <a:pt x="952" y="314"/>
                  <a:pt x="953" y="314"/>
                  <a:pt x="953" y="313"/>
                </a:cubicBezTo>
                <a:cubicBezTo>
                  <a:pt x="954" y="313"/>
                  <a:pt x="954" y="312"/>
                  <a:pt x="954" y="312"/>
                </a:cubicBezTo>
                <a:cubicBezTo>
                  <a:pt x="954" y="312"/>
                  <a:pt x="955" y="312"/>
                  <a:pt x="955" y="311"/>
                </a:cubicBezTo>
                <a:cubicBezTo>
                  <a:pt x="955" y="311"/>
                  <a:pt x="956" y="310"/>
                  <a:pt x="955" y="309"/>
                </a:cubicBezTo>
                <a:cubicBezTo>
                  <a:pt x="955" y="309"/>
                  <a:pt x="955" y="309"/>
                  <a:pt x="955" y="308"/>
                </a:cubicBezTo>
                <a:cubicBezTo>
                  <a:pt x="955" y="308"/>
                  <a:pt x="955" y="308"/>
                  <a:pt x="955" y="307"/>
                </a:cubicBezTo>
                <a:cubicBezTo>
                  <a:pt x="954" y="307"/>
                  <a:pt x="954" y="307"/>
                  <a:pt x="954" y="307"/>
                </a:cubicBezTo>
                <a:cubicBezTo>
                  <a:pt x="953" y="306"/>
                  <a:pt x="953" y="306"/>
                  <a:pt x="952" y="306"/>
                </a:cubicBezTo>
                <a:cubicBezTo>
                  <a:pt x="951" y="307"/>
                  <a:pt x="950" y="306"/>
                  <a:pt x="950" y="307"/>
                </a:cubicBezTo>
                <a:cubicBezTo>
                  <a:pt x="948" y="308"/>
                  <a:pt x="949" y="311"/>
                  <a:pt x="947" y="311"/>
                </a:cubicBezTo>
                <a:cubicBezTo>
                  <a:pt x="945" y="311"/>
                  <a:pt x="944" y="311"/>
                  <a:pt x="942" y="312"/>
                </a:cubicBezTo>
                <a:cubicBezTo>
                  <a:pt x="941" y="312"/>
                  <a:pt x="940" y="312"/>
                  <a:pt x="940" y="313"/>
                </a:cubicBezTo>
                <a:cubicBezTo>
                  <a:pt x="939" y="313"/>
                  <a:pt x="939" y="313"/>
                  <a:pt x="938" y="313"/>
                </a:cubicBezTo>
                <a:cubicBezTo>
                  <a:pt x="938" y="313"/>
                  <a:pt x="937" y="313"/>
                  <a:pt x="936" y="313"/>
                </a:cubicBezTo>
                <a:cubicBezTo>
                  <a:pt x="936" y="314"/>
                  <a:pt x="936" y="314"/>
                  <a:pt x="936" y="314"/>
                </a:cubicBezTo>
                <a:cubicBezTo>
                  <a:pt x="935" y="315"/>
                  <a:pt x="935" y="313"/>
                  <a:pt x="936" y="313"/>
                </a:cubicBezTo>
                <a:cubicBezTo>
                  <a:pt x="936" y="313"/>
                  <a:pt x="937" y="313"/>
                  <a:pt x="937" y="312"/>
                </a:cubicBezTo>
                <a:cubicBezTo>
                  <a:pt x="937" y="312"/>
                  <a:pt x="936" y="311"/>
                  <a:pt x="936" y="311"/>
                </a:cubicBezTo>
                <a:cubicBezTo>
                  <a:pt x="935" y="311"/>
                  <a:pt x="935" y="312"/>
                  <a:pt x="935" y="311"/>
                </a:cubicBezTo>
                <a:cubicBezTo>
                  <a:pt x="934" y="311"/>
                  <a:pt x="935" y="310"/>
                  <a:pt x="936" y="310"/>
                </a:cubicBezTo>
                <a:cubicBezTo>
                  <a:pt x="936" y="310"/>
                  <a:pt x="936" y="309"/>
                  <a:pt x="937" y="309"/>
                </a:cubicBezTo>
                <a:cubicBezTo>
                  <a:pt x="938" y="308"/>
                  <a:pt x="938" y="307"/>
                  <a:pt x="939" y="307"/>
                </a:cubicBezTo>
                <a:cubicBezTo>
                  <a:pt x="940" y="307"/>
                  <a:pt x="940" y="306"/>
                  <a:pt x="940" y="306"/>
                </a:cubicBezTo>
                <a:cubicBezTo>
                  <a:pt x="941" y="306"/>
                  <a:pt x="941" y="306"/>
                  <a:pt x="942" y="306"/>
                </a:cubicBezTo>
                <a:cubicBezTo>
                  <a:pt x="942" y="307"/>
                  <a:pt x="943" y="307"/>
                  <a:pt x="944" y="307"/>
                </a:cubicBezTo>
                <a:cubicBezTo>
                  <a:pt x="945" y="308"/>
                  <a:pt x="946" y="306"/>
                  <a:pt x="947" y="305"/>
                </a:cubicBezTo>
                <a:cubicBezTo>
                  <a:pt x="947" y="304"/>
                  <a:pt x="949" y="304"/>
                  <a:pt x="949" y="303"/>
                </a:cubicBezTo>
                <a:cubicBezTo>
                  <a:pt x="949" y="302"/>
                  <a:pt x="948" y="302"/>
                  <a:pt x="947" y="301"/>
                </a:cubicBezTo>
                <a:cubicBezTo>
                  <a:pt x="947" y="301"/>
                  <a:pt x="946" y="300"/>
                  <a:pt x="946" y="300"/>
                </a:cubicBezTo>
                <a:cubicBezTo>
                  <a:pt x="945" y="299"/>
                  <a:pt x="945" y="298"/>
                  <a:pt x="944" y="298"/>
                </a:cubicBezTo>
                <a:cubicBezTo>
                  <a:pt x="943" y="298"/>
                  <a:pt x="943" y="298"/>
                  <a:pt x="942" y="297"/>
                </a:cubicBezTo>
                <a:cubicBezTo>
                  <a:pt x="941" y="297"/>
                  <a:pt x="940" y="297"/>
                  <a:pt x="940" y="297"/>
                </a:cubicBezTo>
                <a:cubicBezTo>
                  <a:pt x="938" y="296"/>
                  <a:pt x="936" y="296"/>
                  <a:pt x="934" y="295"/>
                </a:cubicBezTo>
                <a:cubicBezTo>
                  <a:pt x="934" y="295"/>
                  <a:pt x="934" y="295"/>
                  <a:pt x="933" y="295"/>
                </a:cubicBezTo>
                <a:cubicBezTo>
                  <a:pt x="933" y="295"/>
                  <a:pt x="932" y="295"/>
                  <a:pt x="932" y="295"/>
                </a:cubicBezTo>
                <a:cubicBezTo>
                  <a:pt x="931" y="296"/>
                  <a:pt x="931" y="296"/>
                  <a:pt x="930" y="297"/>
                </a:cubicBezTo>
                <a:close/>
                <a:moveTo>
                  <a:pt x="793" y="268"/>
                </a:moveTo>
                <a:cubicBezTo>
                  <a:pt x="792" y="268"/>
                  <a:pt x="790" y="268"/>
                  <a:pt x="791" y="267"/>
                </a:cubicBezTo>
                <a:cubicBezTo>
                  <a:pt x="792" y="267"/>
                  <a:pt x="793" y="268"/>
                  <a:pt x="794" y="268"/>
                </a:cubicBezTo>
                <a:cubicBezTo>
                  <a:pt x="794" y="268"/>
                  <a:pt x="796" y="268"/>
                  <a:pt x="796" y="269"/>
                </a:cubicBezTo>
                <a:cubicBezTo>
                  <a:pt x="795" y="269"/>
                  <a:pt x="793" y="268"/>
                  <a:pt x="793" y="268"/>
                </a:cubicBezTo>
                <a:close/>
                <a:moveTo>
                  <a:pt x="800" y="265"/>
                </a:moveTo>
                <a:cubicBezTo>
                  <a:pt x="799" y="264"/>
                  <a:pt x="798" y="264"/>
                  <a:pt x="798" y="264"/>
                </a:cubicBezTo>
                <a:cubicBezTo>
                  <a:pt x="797" y="264"/>
                  <a:pt x="796" y="265"/>
                  <a:pt x="795" y="264"/>
                </a:cubicBezTo>
                <a:cubicBezTo>
                  <a:pt x="795" y="264"/>
                  <a:pt x="794" y="264"/>
                  <a:pt x="794" y="264"/>
                </a:cubicBezTo>
                <a:cubicBezTo>
                  <a:pt x="794" y="264"/>
                  <a:pt x="793" y="264"/>
                  <a:pt x="793" y="264"/>
                </a:cubicBezTo>
                <a:cubicBezTo>
                  <a:pt x="792" y="264"/>
                  <a:pt x="791" y="264"/>
                  <a:pt x="791" y="263"/>
                </a:cubicBezTo>
                <a:cubicBezTo>
                  <a:pt x="791" y="263"/>
                  <a:pt x="791" y="263"/>
                  <a:pt x="791" y="263"/>
                </a:cubicBezTo>
                <a:cubicBezTo>
                  <a:pt x="791" y="262"/>
                  <a:pt x="790" y="262"/>
                  <a:pt x="791" y="262"/>
                </a:cubicBezTo>
                <a:cubicBezTo>
                  <a:pt x="791" y="262"/>
                  <a:pt x="791" y="262"/>
                  <a:pt x="792" y="262"/>
                </a:cubicBezTo>
                <a:cubicBezTo>
                  <a:pt x="792" y="263"/>
                  <a:pt x="793" y="263"/>
                  <a:pt x="794" y="263"/>
                </a:cubicBezTo>
                <a:cubicBezTo>
                  <a:pt x="795" y="263"/>
                  <a:pt x="796" y="263"/>
                  <a:pt x="797" y="264"/>
                </a:cubicBezTo>
                <a:cubicBezTo>
                  <a:pt x="798" y="264"/>
                  <a:pt x="799" y="264"/>
                  <a:pt x="800" y="264"/>
                </a:cubicBezTo>
                <a:cubicBezTo>
                  <a:pt x="800" y="264"/>
                  <a:pt x="802" y="264"/>
                  <a:pt x="802" y="265"/>
                </a:cubicBezTo>
                <a:cubicBezTo>
                  <a:pt x="802" y="266"/>
                  <a:pt x="800" y="265"/>
                  <a:pt x="800" y="265"/>
                </a:cubicBezTo>
                <a:close/>
                <a:moveTo>
                  <a:pt x="897" y="423"/>
                </a:moveTo>
                <a:cubicBezTo>
                  <a:pt x="897" y="423"/>
                  <a:pt x="898" y="424"/>
                  <a:pt x="898" y="424"/>
                </a:cubicBezTo>
                <a:cubicBezTo>
                  <a:pt x="897" y="424"/>
                  <a:pt x="897" y="423"/>
                  <a:pt x="897" y="423"/>
                </a:cubicBezTo>
                <a:cubicBezTo>
                  <a:pt x="896" y="423"/>
                  <a:pt x="897" y="422"/>
                  <a:pt x="897" y="423"/>
                </a:cubicBezTo>
                <a:close/>
                <a:moveTo>
                  <a:pt x="901" y="427"/>
                </a:moveTo>
                <a:cubicBezTo>
                  <a:pt x="901" y="427"/>
                  <a:pt x="900" y="428"/>
                  <a:pt x="900" y="428"/>
                </a:cubicBezTo>
                <a:cubicBezTo>
                  <a:pt x="900" y="428"/>
                  <a:pt x="900" y="428"/>
                  <a:pt x="899" y="428"/>
                </a:cubicBezTo>
                <a:cubicBezTo>
                  <a:pt x="899" y="428"/>
                  <a:pt x="899" y="428"/>
                  <a:pt x="899" y="428"/>
                </a:cubicBezTo>
                <a:cubicBezTo>
                  <a:pt x="900" y="428"/>
                  <a:pt x="900" y="428"/>
                  <a:pt x="900" y="429"/>
                </a:cubicBezTo>
                <a:cubicBezTo>
                  <a:pt x="900" y="429"/>
                  <a:pt x="901" y="429"/>
                  <a:pt x="901" y="430"/>
                </a:cubicBezTo>
                <a:cubicBezTo>
                  <a:pt x="901" y="430"/>
                  <a:pt x="900" y="430"/>
                  <a:pt x="900" y="430"/>
                </a:cubicBezTo>
                <a:cubicBezTo>
                  <a:pt x="900" y="430"/>
                  <a:pt x="900" y="429"/>
                  <a:pt x="899" y="429"/>
                </a:cubicBezTo>
                <a:cubicBezTo>
                  <a:pt x="899" y="429"/>
                  <a:pt x="898" y="429"/>
                  <a:pt x="898" y="429"/>
                </a:cubicBezTo>
                <a:cubicBezTo>
                  <a:pt x="897" y="428"/>
                  <a:pt x="897" y="428"/>
                  <a:pt x="897" y="428"/>
                </a:cubicBezTo>
                <a:cubicBezTo>
                  <a:pt x="897" y="427"/>
                  <a:pt x="897" y="427"/>
                  <a:pt x="898" y="427"/>
                </a:cubicBezTo>
                <a:cubicBezTo>
                  <a:pt x="898" y="427"/>
                  <a:pt x="898" y="427"/>
                  <a:pt x="898" y="427"/>
                </a:cubicBezTo>
                <a:cubicBezTo>
                  <a:pt x="898" y="427"/>
                  <a:pt x="899" y="427"/>
                  <a:pt x="899" y="427"/>
                </a:cubicBezTo>
                <a:cubicBezTo>
                  <a:pt x="899" y="427"/>
                  <a:pt x="900" y="427"/>
                  <a:pt x="900" y="426"/>
                </a:cubicBezTo>
                <a:cubicBezTo>
                  <a:pt x="900" y="426"/>
                  <a:pt x="899" y="426"/>
                  <a:pt x="900" y="425"/>
                </a:cubicBezTo>
                <a:cubicBezTo>
                  <a:pt x="900" y="425"/>
                  <a:pt x="900" y="426"/>
                  <a:pt x="900" y="426"/>
                </a:cubicBezTo>
                <a:cubicBezTo>
                  <a:pt x="901" y="426"/>
                  <a:pt x="902" y="427"/>
                  <a:pt x="901" y="427"/>
                </a:cubicBezTo>
                <a:close/>
                <a:moveTo>
                  <a:pt x="909" y="429"/>
                </a:moveTo>
                <a:cubicBezTo>
                  <a:pt x="909" y="430"/>
                  <a:pt x="908" y="430"/>
                  <a:pt x="908" y="431"/>
                </a:cubicBezTo>
                <a:cubicBezTo>
                  <a:pt x="908" y="431"/>
                  <a:pt x="909" y="433"/>
                  <a:pt x="908" y="433"/>
                </a:cubicBezTo>
                <a:cubicBezTo>
                  <a:pt x="907" y="432"/>
                  <a:pt x="908" y="432"/>
                  <a:pt x="907" y="432"/>
                </a:cubicBezTo>
                <a:cubicBezTo>
                  <a:pt x="907" y="431"/>
                  <a:pt x="907" y="431"/>
                  <a:pt x="906" y="431"/>
                </a:cubicBezTo>
                <a:cubicBezTo>
                  <a:pt x="906" y="431"/>
                  <a:pt x="906" y="431"/>
                  <a:pt x="906" y="430"/>
                </a:cubicBezTo>
                <a:cubicBezTo>
                  <a:pt x="906" y="430"/>
                  <a:pt x="907" y="430"/>
                  <a:pt x="907" y="430"/>
                </a:cubicBezTo>
                <a:cubicBezTo>
                  <a:pt x="908" y="430"/>
                  <a:pt x="908" y="429"/>
                  <a:pt x="908" y="429"/>
                </a:cubicBezTo>
                <a:cubicBezTo>
                  <a:pt x="908" y="428"/>
                  <a:pt x="909" y="428"/>
                  <a:pt x="909" y="428"/>
                </a:cubicBezTo>
                <a:cubicBezTo>
                  <a:pt x="909" y="428"/>
                  <a:pt x="909" y="429"/>
                  <a:pt x="909" y="429"/>
                </a:cubicBezTo>
                <a:close/>
                <a:moveTo>
                  <a:pt x="958" y="331"/>
                </a:moveTo>
                <a:cubicBezTo>
                  <a:pt x="959" y="331"/>
                  <a:pt x="959" y="330"/>
                  <a:pt x="960" y="330"/>
                </a:cubicBezTo>
                <a:cubicBezTo>
                  <a:pt x="960" y="330"/>
                  <a:pt x="961" y="330"/>
                  <a:pt x="960" y="330"/>
                </a:cubicBezTo>
                <a:cubicBezTo>
                  <a:pt x="960" y="331"/>
                  <a:pt x="959" y="331"/>
                  <a:pt x="959" y="331"/>
                </a:cubicBezTo>
                <a:cubicBezTo>
                  <a:pt x="958" y="331"/>
                  <a:pt x="958" y="332"/>
                  <a:pt x="957" y="332"/>
                </a:cubicBezTo>
                <a:cubicBezTo>
                  <a:pt x="957" y="331"/>
                  <a:pt x="958" y="331"/>
                  <a:pt x="958" y="331"/>
                </a:cubicBezTo>
                <a:close/>
                <a:moveTo>
                  <a:pt x="985" y="505"/>
                </a:moveTo>
                <a:cubicBezTo>
                  <a:pt x="985" y="505"/>
                  <a:pt x="984" y="505"/>
                  <a:pt x="984" y="505"/>
                </a:cubicBezTo>
                <a:cubicBezTo>
                  <a:pt x="983" y="505"/>
                  <a:pt x="983" y="506"/>
                  <a:pt x="982" y="507"/>
                </a:cubicBezTo>
                <a:cubicBezTo>
                  <a:pt x="982" y="507"/>
                  <a:pt x="981" y="508"/>
                  <a:pt x="981" y="509"/>
                </a:cubicBezTo>
                <a:cubicBezTo>
                  <a:pt x="980" y="509"/>
                  <a:pt x="980" y="510"/>
                  <a:pt x="980" y="510"/>
                </a:cubicBezTo>
                <a:cubicBezTo>
                  <a:pt x="980" y="512"/>
                  <a:pt x="981" y="511"/>
                  <a:pt x="982" y="511"/>
                </a:cubicBezTo>
                <a:cubicBezTo>
                  <a:pt x="983" y="510"/>
                  <a:pt x="983" y="510"/>
                  <a:pt x="984" y="510"/>
                </a:cubicBezTo>
                <a:cubicBezTo>
                  <a:pt x="985" y="510"/>
                  <a:pt x="985" y="509"/>
                  <a:pt x="985" y="509"/>
                </a:cubicBezTo>
                <a:cubicBezTo>
                  <a:pt x="985" y="509"/>
                  <a:pt x="986" y="509"/>
                  <a:pt x="986" y="509"/>
                </a:cubicBezTo>
                <a:cubicBezTo>
                  <a:pt x="986" y="508"/>
                  <a:pt x="985" y="507"/>
                  <a:pt x="985" y="507"/>
                </a:cubicBezTo>
                <a:cubicBezTo>
                  <a:pt x="985" y="506"/>
                  <a:pt x="985" y="506"/>
                  <a:pt x="985" y="505"/>
                </a:cubicBezTo>
                <a:close/>
                <a:moveTo>
                  <a:pt x="936" y="166"/>
                </a:moveTo>
                <a:cubicBezTo>
                  <a:pt x="937" y="166"/>
                  <a:pt x="938" y="166"/>
                  <a:pt x="938" y="167"/>
                </a:cubicBezTo>
                <a:cubicBezTo>
                  <a:pt x="939" y="167"/>
                  <a:pt x="940" y="167"/>
                  <a:pt x="940" y="167"/>
                </a:cubicBezTo>
                <a:cubicBezTo>
                  <a:pt x="941" y="166"/>
                  <a:pt x="942" y="166"/>
                  <a:pt x="943" y="166"/>
                </a:cubicBezTo>
                <a:cubicBezTo>
                  <a:pt x="944" y="166"/>
                  <a:pt x="946" y="167"/>
                  <a:pt x="945" y="166"/>
                </a:cubicBezTo>
                <a:cubicBezTo>
                  <a:pt x="945" y="165"/>
                  <a:pt x="944" y="165"/>
                  <a:pt x="943" y="165"/>
                </a:cubicBezTo>
                <a:cubicBezTo>
                  <a:pt x="942" y="165"/>
                  <a:pt x="940" y="164"/>
                  <a:pt x="939" y="164"/>
                </a:cubicBezTo>
                <a:cubicBezTo>
                  <a:pt x="938" y="164"/>
                  <a:pt x="938" y="164"/>
                  <a:pt x="937" y="164"/>
                </a:cubicBezTo>
                <a:cubicBezTo>
                  <a:pt x="937" y="164"/>
                  <a:pt x="936" y="164"/>
                  <a:pt x="936" y="164"/>
                </a:cubicBezTo>
                <a:cubicBezTo>
                  <a:pt x="935" y="164"/>
                  <a:pt x="935" y="164"/>
                  <a:pt x="934" y="164"/>
                </a:cubicBezTo>
                <a:cubicBezTo>
                  <a:pt x="933" y="164"/>
                  <a:pt x="933" y="164"/>
                  <a:pt x="932" y="165"/>
                </a:cubicBezTo>
                <a:cubicBezTo>
                  <a:pt x="932" y="165"/>
                  <a:pt x="933" y="165"/>
                  <a:pt x="934" y="165"/>
                </a:cubicBezTo>
                <a:cubicBezTo>
                  <a:pt x="935" y="166"/>
                  <a:pt x="936" y="166"/>
                  <a:pt x="936" y="166"/>
                </a:cubicBezTo>
                <a:close/>
                <a:moveTo>
                  <a:pt x="914" y="469"/>
                </a:moveTo>
                <a:cubicBezTo>
                  <a:pt x="913" y="468"/>
                  <a:pt x="912" y="468"/>
                  <a:pt x="911" y="467"/>
                </a:cubicBezTo>
                <a:cubicBezTo>
                  <a:pt x="911" y="467"/>
                  <a:pt x="909" y="467"/>
                  <a:pt x="909" y="468"/>
                </a:cubicBezTo>
                <a:cubicBezTo>
                  <a:pt x="910" y="468"/>
                  <a:pt x="910" y="468"/>
                  <a:pt x="911" y="469"/>
                </a:cubicBezTo>
                <a:cubicBezTo>
                  <a:pt x="912" y="469"/>
                  <a:pt x="913" y="470"/>
                  <a:pt x="913" y="470"/>
                </a:cubicBezTo>
                <a:cubicBezTo>
                  <a:pt x="914" y="470"/>
                  <a:pt x="914" y="470"/>
                  <a:pt x="915" y="470"/>
                </a:cubicBezTo>
                <a:cubicBezTo>
                  <a:pt x="915" y="470"/>
                  <a:pt x="915" y="470"/>
                  <a:pt x="916" y="470"/>
                </a:cubicBezTo>
                <a:cubicBezTo>
                  <a:pt x="916" y="469"/>
                  <a:pt x="916" y="469"/>
                  <a:pt x="916" y="469"/>
                </a:cubicBezTo>
                <a:cubicBezTo>
                  <a:pt x="915" y="469"/>
                  <a:pt x="915" y="469"/>
                  <a:pt x="914" y="469"/>
                </a:cubicBezTo>
                <a:close/>
                <a:moveTo>
                  <a:pt x="857" y="580"/>
                </a:moveTo>
                <a:cubicBezTo>
                  <a:pt x="856" y="580"/>
                  <a:pt x="856" y="581"/>
                  <a:pt x="856" y="581"/>
                </a:cubicBezTo>
                <a:cubicBezTo>
                  <a:pt x="856" y="582"/>
                  <a:pt x="856" y="582"/>
                  <a:pt x="856" y="582"/>
                </a:cubicBezTo>
                <a:cubicBezTo>
                  <a:pt x="856" y="583"/>
                  <a:pt x="855" y="583"/>
                  <a:pt x="855" y="583"/>
                </a:cubicBezTo>
                <a:cubicBezTo>
                  <a:pt x="855" y="584"/>
                  <a:pt x="856" y="584"/>
                  <a:pt x="856" y="584"/>
                </a:cubicBezTo>
                <a:cubicBezTo>
                  <a:pt x="856" y="583"/>
                  <a:pt x="856" y="583"/>
                  <a:pt x="857" y="583"/>
                </a:cubicBezTo>
                <a:cubicBezTo>
                  <a:pt x="857" y="582"/>
                  <a:pt x="857" y="582"/>
                  <a:pt x="857" y="582"/>
                </a:cubicBezTo>
                <a:cubicBezTo>
                  <a:pt x="858" y="581"/>
                  <a:pt x="858" y="581"/>
                  <a:pt x="858" y="581"/>
                </a:cubicBezTo>
                <a:cubicBezTo>
                  <a:pt x="858" y="580"/>
                  <a:pt x="858" y="579"/>
                  <a:pt x="859" y="578"/>
                </a:cubicBezTo>
                <a:cubicBezTo>
                  <a:pt x="859" y="578"/>
                  <a:pt x="859" y="578"/>
                  <a:pt x="859" y="578"/>
                </a:cubicBezTo>
                <a:cubicBezTo>
                  <a:pt x="860" y="577"/>
                  <a:pt x="860" y="577"/>
                  <a:pt x="860" y="577"/>
                </a:cubicBezTo>
                <a:cubicBezTo>
                  <a:pt x="860" y="576"/>
                  <a:pt x="861" y="575"/>
                  <a:pt x="860" y="574"/>
                </a:cubicBezTo>
                <a:cubicBezTo>
                  <a:pt x="860" y="574"/>
                  <a:pt x="859" y="574"/>
                  <a:pt x="858" y="574"/>
                </a:cubicBezTo>
                <a:cubicBezTo>
                  <a:pt x="858" y="574"/>
                  <a:pt x="858" y="573"/>
                  <a:pt x="858" y="573"/>
                </a:cubicBezTo>
                <a:cubicBezTo>
                  <a:pt x="857" y="573"/>
                  <a:pt x="857" y="573"/>
                  <a:pt x="857" y="572"/>
                </a:cubicBezTo>
                <a:cubicBezTo>
                  <a:pt x="857" y="572"/>
                  <a:pt x="857" y="571"/>
                  <a:pt x="856" y="571"/>
                </a:cubicBezTo>
                <a:cubicBezTo>
                  <a:pt x="855" y="571"/>
                  <a:pt x="855" y="575"/>
                  <a:pt x="855" y="575"/>
                </a:cubicBezTo>
                <a:cubicBezTo>
                  <a:pt x="855" y="575"/>
                  <a:pt x="855" y="576"/>
                  <a:pt x="855" y="576"/>
                </a:cubicBezTo>
                <a:cubicBezTo>
                  <a:pt x="855" y="576"/>
                  <a:pt x="855" y="577"/>
                  <a:pt x="855" y="577"/>
                </a:cubicBezTo>
                <a:cubicBezTo>
                  <a:pt x="855" y="577"/>
                  <a:pt x="854" y="578"/>
                  <a:pt x="854" y="578"/>
                </a:cubicBezTo>
                <a:cubicBezTo>
                  <a:pt x="854" y="578"/>
                  <a:pt x="854" y="578"/>
                  <a:pt x="853" y="578"/>
                </a:cubicBezTo>
                <a:cubicBezTo>
                  <a:pt x="853" y="578"/>
                  <a:pt x="853" y="578"/>
                  <a:pt x="853" y="578"/>
                </a:cubicBezTo>
                <a:cubicBezTo>
                  <a:pt x="854" y="577"/>
                  <a:pt x="854" y="575"/>
                  <a:pt x="854" y="574"/>
                </a:cubicBezTo>
                <a:cubicBezTo>
                  <a:pt x="854" y="574"/>
                  <a:pt x="855" y="572"/>
                  <a:pt x="854" y="572"/>
                </a:cubicBezTo>
                <a:cubicBezTo>
                  <a:pt x="854" y="572"/>
                  <a:pt x="854" y="572"/>
                  <a:pt x="853" y="572"/>
                </a:cubicBezTo>
                <a:cubicBezTo>
                  <a:pt x="853" y="573"/>
                  <a:pt x="853" y="574"/>
                  <a:pt x="853" y="575"/>
                </a:cubicBezTo>
                <a:cubicBezTo>
                  <a:pt x="853" y="576"/>
                  <a:pt x="853" y="576"/>
                  <a:pt x="853" y="577"/>
                </a:cubicBezTo>
                <a:cubicBezTo>
                  <a:pt x="852" y="578"/>
                  <a:pt x="851" y="578"/>
                  <a:pt x="851" y="578"/>
                </a:cubicBezTo>
                <a:cubicBezTo>
                  <a:pt x="850" y="579"/>
                  <a:pt x="850" y="580"/>
                  <a:pt x="849" y="580"/>
                </a:cubicBezTo>
                <a:cubicBezTo>
                  <a:pt x="849" y="581"/>
                  <a:pt x="848" y="581"/>
                  <a:pt x="848" y="582"/>
                </a:cubicBezTo>
                <a:cubicBezTo>
                  <a:pt x="848" y="582"/>
                  <a:pt x="848" y="583"/>
                  <a:pt x="848" y="583"/>
                </a:cubicBezTo>
                <a:cubicBezTo>
                  <a:pt x="848" y="583"/>
                  <a:pt x="848" y="584"/>
                  <a:pt x="849" y="584"/>
                </a:cubicBezTo>
                <a:cubicBezTo>
                  <a:pt x="849" y="585"/>
                  <a:pt x="849" y="584"/>
                  <a:pt x="850" y="583"/>
                </a:cubicBezTo>
                <a:cubicBezTo>
                  <a:pt x="850" y="582"/>
                  <a:pt x="850" y="582"/>
                  <a:pt x="851" y="581"/>
                </a:cubicBezTo>
                <a:cubicBezTo>
                  <a:pt x="851" y="581"/>
                  <a:pt x="852" y="580"/>
                  <a:pt x="852" y="580"/>
                </a:cubicBezTo>
                <a:cubicBezTo>
                  <a:pt x="852" y="580"/>
                  <a:pt x="853" y="579"/>
                  <a:pt x="853" y="579"/>
                </a:cubicBezTo>
                <a:cubicBezTo>
                  <a:pt x="854" y="580"/>
                  <a:pt x="852" y="581"/>
                  <a:pt x="852" y="582"/>
                </a:cubicBezTo>
                <a:cubicBezTo>
                  <a:pt x="851" y="582"/>
                  <a:pt x="851" y="583"/>
                  <a:pt x="851" y="583"/>
                </a:cubicBezTo>
                <a:cubicBezTo>
                  <a:pt x="850" y="584"/>
                  <a:pt x="850" y="584"/>
                  <a:pt x="850" y="585"/>
                </a:cubicBezTo>
                <a:cubicBezTo>
                  <a:pt x="851" y="585"/>
                  <a:pt x="852" y="584"/>
                  <a:pt x="852" y="583"/>
                </a:cubicBezTo>
                <a:cubicBezTo>
                  <a:pt x="853" y="583"/>
                  <a:pt x="854" y="583"/>
                  <a:pt x="854" y="582"/>
                </a:cubicBezTo>
                <a:cubicBezTo>
                  <a:pt x="855" y="582"/>
                  <a:pt x="855" y="581"/>
                  <a:pt x="856" y="580"/>
                </a:cubicBezTo>
                <a:cubicBezTo>
                  <a:pt x="856" y="580"/>
                  <a:pt x="856" y="580"/>
                  <a:pt x="856" y="579"/>
                </a:cubicBezTo>
                <a:cubicBezTo>
                  <a:pt x="856" y="579"/>
                  <a:pt x="856" y="579"/>
                  <a:pt x="857" y="578"/>
                </a:cubicBezTo>
                <a:cubicBezTo>
                  <a:pt x="857" y="578"/>
                  <a:pt x="858" y="578"/>
                  <a:pt x="858" y="579"/>
                </a:cubicBezTo>
                <a:cubicBezTo>
                  <a:pt x="857" y="579"/>
                  <a:pt x="857" y="580"/>
                  <a:pt x="857" y="580"/>
                </a:cubicBezTo>
                <a:close/>
                <a:moveTo>
                  <a:pt x="881" y="450"/>
                </a:moveTo>
                <a:cubicBezTo>
                  <a:pt x="880" y="450"/>
                  <a:pt x="879" y="450"/>
                  <a:pt x="878" y="450"/>
                </a:cubicBezTo>
                <a:cubicBezTo>
                  <a:pt x="878" y="450"/>
                  <a:pt x="878" y="450"/>
                  <a:pt x="878" y="451"/>
                </a:cubicBezTo>
                <a:cubicBezTo>
                  <a:pt x="877" y="451"/>
                  <a:pt x="877" y="452"/>
                  <a:pt x="877" y="452"/>
                </a:cubicBezTo>
                <a:cubicBezTo>
                  <a:pt x="877" y="453"/>
                  <a:pt x="878" y="453"/>
                  <a:pt x="879" y="453"/>
                </a:cubicBezTo>
                <a:cubicBezTo>
                  <a:pt x="879" y="453"/>
                  <a:pt x="880" y="454"/>
                  <a:pt x="881" y="455"/>
                </a:cubicBezTo>
                <a:cubicBezTo>
                  <a:pt x="881" y="455"/>
                  <a:pt x="882" y="455"/>
                  <a:pt x="882" y="455"/>
                </a:cubicBezTo>
                <a:cubicBezTo>
                  <a:pt x="882" y="455"/>
                  <a:pt x="883" y="456"/>
                  <a:pt x="883" y="456"/>
                </a:cubicBezTo>
                <a:cubicBezTo>
                  <a:pt x="884" y="456"/>
                  <a:pt x="885" y="456"/>
                  <a:pt x="885" y="456"/>
                </a:cubicBezTo>
                <a:cubicBezTo>
                  <a:pt x="886" y="456"/>
                  <a:pt x="886" y="455"/>
                  <a:pt x="886" y="455"/>
                </a:cubicBezTo>
                <a:cubicBezTo>
                  <a:pt x="887" y="455"/>
                  <a:pt x="887" y="455"/>
                  <a:pt x="887" y="454"/>
                </a:cubicBezTo>
                <a:cubicBezTo>
                  <a:pt x="887" y="453"/>
                  <a:pt x="885" y="454"/>
                  <a:pt x="885" y="453"/>
                </a:cubicBezTo>
                <a:cubicBezTo>
                  <a:pt x="883" y="453"/>
                  <a:pt x="882" y="451"/>
                  <a:pt x="881" y="450"/>
                </a:cubicBezTo>
                <a:close/>
                <a:moveTo>
                  <a:pt x="712" y="57"/>
                </a:moveTo>
                <a:cubicBezTo>
                  <a:pt x="714" y="57"/>
                  <a:pt x="716" y="57"/>
                  <a:pt x="717" y="58"/>
                </a:cubicBezTo>
                <a:cubicBezTo>
                  <a:pt x="718" y="58"/>
                  <a:pt x="718" y="58"/>
                  <a:pt x="719" y="59"/>
                </a:cubicBezTo>
                <a:cubicBezTo>
                  <a:pt x="719" y="59"/>
                  <a:pt x="719" y="59"/>
                  <a:pt x="720" y="59"/>
                </a:cubicBezTo>
                <a:cubicBezTo>
                  <a:pt x="721" y="59"/>
                  <a:pt x="721" y="59"/>
                  <a:pt x="722" y="58"/>
                </a:cubicBezTo>
                <a:cubicBezTo>
                  <a:pt x="722" y="57"/>
                  <a:pt x="723" y="56"/>
                  <a:pt x="724" y="56"/>
                </a:cubicBezTo>
                <a:cubicBezTo>
                  <a:pt x="724" y="56"/>
                  <a:pt x="725" y="56"/>
                  <a:pt x="725" y="56"/>
                </a:cubicBezTo>
                <a:cubicBezTo>
                  <a:pt x="725" y="56"/>
                  <a:pt x="726" y="56"/>
                  <a:pt x="726" y="55"/>
                </a:cubicBezTo>
                <a:cubicBezTo>
                  <a:pt x="726" y="55"/>
                  <a:pt x="726" y="55"/>
                  <a:pt x="727" y="55"/>
                </a:cubicBezTo>
                <a:cubicBezTo>
                  <a:pt x="727" y="55"/>
                  <a:pt x="728" y="56"/>
                  <a:pt x="729" y="55"/>
                </a:cubicBezTo>
                <a:cubicBezTo>
                  <a:pt x="729" y="55"/>
                  <a:pt x="730" y="55"/>
                  <a:pt x="730" y="55"/>
                </a:cubicBezTo>
                <a:cubicBezTo>
                  <a:pt x="731" y="55"/>
                  <a:pt x="732" y="55"/>
                  <a:pt x="732" y="56"/>
                </a:cubicBezTo>
                <a:cubicBezTo>
                  <a:pt x="733" y="56"/>
                  <a:pt x="734" y="56"/>
                  <a:pt x="735" y="56"/>
                </a:cubicBezTo>
                <a:cubicBezTo>
                  <a:pt x="735" y="56"/>
                  <a:pt x="736" y="56"/>
                  <a:pt x="737" y="57"/>
                </a:cubicBezTo>
                <a:cubicBezTo>
                  <a:pt x="736" y="57"/>
                  <a:pt x="735" y="57"/>
                  <a:pt x="735" y="57"/>
                </a:cubicBezTo>
                <a:cubicBezTo>
                  <a:pt x="734" y="57"/>
                  <a:pt x="733" y="58"/>
                  <a:pt x="733" y="58"/>
                </a:cubicBezTo>
                <a:cubicBezTo>
                  <a:pt x="731" y="58"/>
                  <a:pt x="730" y="59"/>
                  <a:pt x="729" y="59"/>
                </a:cubicBezTo>
                <a:cubicBezTo>
                  <a:pt x="728" y="59"/>
                  <a:pt x="724" y="60"/>
                  <a:pt x="724" y="61"/>
                </a:cubicBezTo>
                <a:cubicBezTo>
                  <a:pt x="725" y="62"/>
                  <a:pt x="725" y="62"/>
                  <a:pt x="726" y="62"/>
                </a:cubicBezTo>
                <a:cubicBezTo>
                  <a:pt x="727" y="63"/>
                  <a:pt x="727" y="63"/>
                  <a:pt x="728" y="63"/>
                </a:cubicBezTo>
                <a:cubicBezTo>
                  <a:pt x="730" y="63"/>
                  <a:pt x="732" y="62"/>
                  <a:pt x="734" y="62"/>
                </a:cubicBezTo>
                <a:cubicBezTo>
                  <a:pt x="735" y="62"/>
                  <a:pt x="736" y="62"/>
                  <a:pt x="737" y="61"/>
                </a:cubicBezTo>
                <a:cubicBezTo>
                  <a:pt x="738" y="61"/>
                  <a:pt x="739" y="61"/>
                  <a:pt x="740" y="60"/>
                </a:cubicBezTo>
                <a:cubicBezTo>
                  <a:pt x="742" y="60"/>
                  <a:pt x="744" y="58"/>
                  <a:pt x="746" y="58"/>
                </a:cubicBezTo>
                <a:cubicBezTo>
                  <a:pt x="748" y="58"/>
                  <a:pt x="750" y="58"/>
                  <a:pt x="752" y="58"/>
                </a:cubicBezTo>
                <a:cubicBezTo>
                  <a:pt x="754" y="58"/>
                  <a:pt x="756" y="58"/>
                  <a:pt x="758" y="58"/>
                </a:cubicBezTo>
                <a:cubicBezTo>
                  <a:pt x="760" y="59"/>
                  <a:pt x="762" y="59"/>
                  <a:pt x="763" y="60"/>
                </a:cubicBezTo>
                <a:cubicBezTo>
                  <a:pt x="762" y="60"/>
                  <a:pt x="762" y="59"/>
                  <a:pt x="761" y="59"/>
                </a:cubicBezTo>
                <a:cubicBezTo>
                  <a:pt x="760" y="59"/>
                  <a:pt x="760" y="59"/>
                  <a:pt x="759" y="59"/>
                </a:cubicBezTo>
                <a:cubicBezTo>
                  <a:pt x="757" y="59"/>
                  <a:pt x="755" y="59"/>
                  <a:pt x="753" y="59"/>
                </a:cubicBezTo>
                <a:cubicBezTo>
                  <a:pt x="752" y="59"/>
                  <a:pt x="751" y="59"/>
                  <a:pt x="750" y="59"/>
                </a:cubicBezTo>
                <a:cubicBezTo>
                  <a:pt x="749" y="59"/>
                  <a:pt x="748" y="59"/>
                  <a:pt x="747" y="60"/>
                </a:cubicBezTo>
                <a:cubicBezTo>
                  <a:pt x="746" y="60"/>
                  <a:pt x="745" y="61"/>
                  <a:pt x="744" y="62"/>
                </a:cubicBezTo>
                <a:cubicBezTo>
                  <a:pt x="743" y="62"/>
                  <a:pt x="741" y="62"/>
                  <a:pt x="740" y="62"/>
                </a:cubicBezTo>
                <a:cubicBezTo>
                  <a:pt x="739" y="63"/>
                  <a:pt x="738" y="63"/>
                  <a:pt x="737" y="64"/>
                </a:cubicBezTo>
                <a:cubicBezTo>
                  <a:pt x="736" y="64"/>
                  <a:pt x="735" y="64"/>
                  <a:pt x="735" y="64"/>
                </a:cubicBezTo>
                <a:cubicBezTo>
                  <a:pt x="734" y="65"/>
                  <a:pt x="736" y="65"/>
                  <a:pt x="737" y="65"/>
                </a:cubicBezTo>
                <a:cubicBezTo>
                  <a:pt x="738" y="65"/>
                  <a:pt x="739" y="66"/>
                  <a:pt x="739" y="66"/>
                </a:cubicBezTo>
                <a:cubicBezTo>
                  <a:pt x="740" y="66"/>
                  <a:pt x="741" y="67"/>
                  <a:pt x="742" y="67"/>
                </a:cubicBezTo>
                <a:cubicBezTo>
                  <a:pt x="742" y="67"/>
                  <a:pt x="744" y="66"/>
                  <a:pt x="744" y="67"/>
                </a:cubicBezTo>
                <a:cubicBezTo>
                  <a:pt x="744" y="67"/>
                  <a:pt x="743" y="67"/>
                  <a:pt x="743" y="67"/>
                </a:cubicBezTo>
                <a:cubicBezTo>
                  <a:pt x="742" y="68"/>
                  <a:pt x="742" y="68"/>
                  <a:pt x="741" y="68"/>
                </a:cubicBezTo>
                <a:cubicBezTo>
                  <a:pt x="740" y="68"/>
                  <a:pt x="740" y="68"/>
                  <a:pt x="739" y="68"/>
                </a:cubicBezTo>
                <a:cubicBezTo>
                  <a:pt x="738" y="68"/>
                  <a:pt x="738" y="68"/>
                  <a:pt x="737" y="67"/>
                </a:cubicBezTo>
                <a:cubicBezTo>
                  <a:pt x="737" y="67"/>
                  <a:pt x="737" y="67"/>
                  <a:pt x="736" y="67"/>
                </a:cubicBezTo>
                <a:cubicBezTo>
                  <a:pt x="736" y="67"/>
                  <a:pt x="735" y="67"/>
                  <a:pt x="735" y="67"/>
                </a:cubicBezTo>
                <a:cubicBezTo>
                  <a:pt x="734" y="67"/>
                  <a:pt x="733" y="67"/>
                  <a:pt x="733" y="67"/>
                </a:cubicBezTo>
                <a:cubicBezTo>
                  <a:pt x="732" y="68"/>
                  <a:pt x="731" y="68"/>
                  <a:pt x="731" y="68"/>
                </a:cubicBezTo>
                <a:cubicBezTo>
                  <a:pt x="730" y="68"/>
                  <a:pt x="730" y="69"/>
                  <a:pt x="730" y="70"/>
                </a:cubicBezTo>
                <a:cubicBezTo>
                  <a:pt x="730" y="70"/>
                  <a:pt x="731" y="70"/>
                  <a:pt x="732" y="71"/>
                </a:cubicBezTo>
                <a:cubicBezTo>
                  <a:pt x="732" y="71"/>
                  <a:pt x="733" y="71"/>
                  <a:pt x="733" y="72"/>
                </a:cubicBezTo>
                <a:cubicBezTo>
                  <a:pt x="734" y="72"/>
                  <a:pt x="734" y="72"/>
                  <a:pt x="735" y="72"/>
                </a:cubicBezTo>
                <a:cubicBezTo>
                  <a:pt x="735" y="73"/>
                  <a:pt x="736" y="73"/>
                  <a:pt x="737" y="73"/>
                </a:cubicBezTo>
                <a:cubicBezTo>
                  <a:pt x="738" y="73"/>
                  <a:pt x="739" y="73"/>
                  <a:pt x="740" y="73"/>
                </a:cubicBezTo>
                <a:cubicBezTo>
                  <a:pt x="740" y="73"/>
                  <a:pt x="741" y="73"/>
                  <a:pt x="742" y="73"/>
                </a:cubicBezTo>
                <a:cubicBezTo>
                  <a:pt x="743" y="72"/>
                  <a:pt x="744" y="72"/>
                  <a:pt x="745" y="72"/>
                </a:cubicBezTo>
                <a:cubicBezTo>
                  <a:pt x="746" y="72"/>
                  <a:pt x="747" y="72"/>
                  <a:pt x="749" y="72"/>
                </a:cubicBezTo>
                <a:cubicBezTo>
                  <a:pt x="751" y="72"/>
                  <a:pt x="752" y="71"/>
                  <a:pt x="754" y="71"/>
                </a:cubicBezTo>
                <a:cubicBezTo>
                  <a:pt x="755" y="71"/>
                  <a:pt x="756" y="71"/>
                  <a:pt x="757" y="71"/>
                </a:cubicBezTo>
                <a:cubicBezTo>
                  <a:pt x="757" y="71"/>
                  <a:pt x="758" y="72"/>
                  <a:pt x="759" y="72"/>
                </a:cubicBezTo>
                <a:cubicBezTo>
                  <a:pt x="760" y="72"/>
                  <a:pt x="762" y="71"/>
                  <a:pt x="764" y="71"/>
                </a:cubicBezTo>
                <a:cubicBezTo>
                  <a:pt x="767" y="71"/>
                  <a:pt x="771" y="71"/>
                  <a:pt x="774" y="70"/>
                </a:cubicBezTo>
                <a:cubicBezTo>
                  <a:pt x="776" y="69"/>
                  <a:pt x="777" y="68"/>
                  <a:pt x="779" y="67"/>
                </a:cubicBezTo>
                <a:cubicBezTo>
                  <a:pt x="780" y="66"/>
                  <a:pt x="781" y="66"/>
                  <a:pt x="783" y="66"/>
                </a:cubicBezTo>
                <a:cubicBezTo>
                  <a:pt x="784" y="66"/>
                  <a:pt x="786" y="66"/>
                  <a:pt x="788" y="66"/>
                </a:cubicBezTo>
                <a:cubicBezTo>
                  <a:pt x="789" y="66"/>
                  <a:pt x="790" y="65"/>
                  <a:pt x="791" y="65"/>
                </a:cubicBezTo>
                <a:cubicBezTo>
                  <a:pt x="792" y="65"/>
                  <a:pt x="793" y="65"/>
                  <a:pt x="793" y="66"/>
                </a:cubicBezTo>
                <a:cubicBezTo>
                  <a:pt x="792" y="67"/>
                  <a:pt x="791" y="67"/>
                  <a:pt x="790" y="67"/>
                </a:cubicBezTo>
                <a:cubicBezTo>
                  <a:pt x="789" y="67"/>
                  <a:pt x="788" y="67"/>
                  <a:pt x="787" y="68"/>
                </a:cubicBezTo>
                <a:cubicBezTo>
                  <a:pt x="786" y="68"/>
                  <a:pt x="785" y="68"/>
                  <a:pt x="784" y="68"/>
                </a:cubicBezTo>
                <a:cubicBezTo>
                  <a:pt x="782" y="69"/>
                  <a:pt x="781" y="70"/>
                  <a:pt x="780" y="71"/>
                </a:cubicBezTo>
                <a:cubicBezTo>
                  <a:pt x="779" y="71"/>
                  <a:pt x="779" y="71"/>
                  <a:pt x="778" y="71"/>
                </a:cubicBezTo>
                <a:cubicBezTo>
                  <a:pt x="777" y="71"/>
                  <a:pt x="777" y="72"/>
                  <a:pt x="776" y="72"/>
                </a:cubicBezTo>
                <a:cubicBezTo>
                  <a:pt x="775" y="72"/>
                  <a:pt x="774" y="73"/>
                  <a:pt x="773" y="73"/>
                </a:cubicBezTo>
                <a:cubicBezTo>
                  <a:pt x="770" y="74"/>
                  <a:pt x="767" y="74"/>
                  <a:pt x="763" y="74"/>
                </a:cubicBezTo>
                <a:cubicBezTo>
                  <a:pt x="762" y="74"/>
                  <a:pt x="761" y="74"/>
                  <a:pt x="760" y="74"/>
                </a:cubicBezTo>
                <a:cubicBezTo>
                  <a:pt x="758" y="74"/>
                  <a:pt x="757" y="73"/>
                  <a:pt x="756" y="73"/>
                </a:cubicBezTo>
                <a:cubicBezTo>
                  <a:pt x="753" y="73"/>
                  <a:pt x="750" y="73"/>
                  <a:pt x="748" y="73"/>
                </a:cubicBezTo>
                <a:cubicBezTo>
                  <a:pt x="747" y="73"/>
                  <a:pt x="745" y="74"/>
                  <a:pt x="744" y="74"/>
                </a:cubicBezTo>
                <a:cubicBezTo>
                  <a:pt x="743" y="74"/>
                  <a:pt x="742" y="74"/>
                  <a:pt x="741" y="75"/>
                </a:cubicBezTo>
                <a:cubicBezTo>
                  <a:pt x="740" y="75"/>
                  <a:pt x="739" y="76"/>
                  <a:pt x="740" y="76"/>
                </a:cubicBezTo>
                <a:cubicBezTo>
                  <a:pt x="741" y="77"/>
                  <a:pt x="742" y="77"/>
                  <a:pt x="742" y="77"/>
                </a:cubicBezTo>
                <a:cubicBezTo>
                  <a:pt x="743" y="77"/>
                  <a:pt x="743" y="77"/>
                  <a:pt x="744" y="78"/>
                </a:cubicBezTo>
                <a:cubicBezTo>
                  <a:pt x="744" y="78"/>
                  <a:pt x="744" y="78"/>
                  <a:pt x="745" y="79"/>
                </a:cubicBezTo>
                <a:cubicBezTo>
                  <a:pt x="746" y="79"/>
                  <a:pt x="747" y="79"/>
                  <a:pt x="748" y="79"/>
                </a:cubicBezTo>
                <a:cubicBezTo>
                  <a:pt x="749" y="79"/>
                  <a:pt x="751" y="80"/>
                  <a:pt x="752" y="81"/>
                </a:cubicBezTo>
                <a:cubicBezTo>
                  <a:pt x="753" y="81"/>
                  <a:pt x="754" y="81"/>
                  <a:pt x="755" y="82"/>
                </a:cubicBezTo>
                <a:cubicBezTo>
                  <a:pt x="756" y="82"/>
                  <a:pt x="757" y="82"/>
                  <a:pt x="758" y="83"/>
                </a:cubicBezTo>
                <a:cubicBezTo>
                  <a:pt x="759" y="83"/>
                  <a:pt x="760" y="83"/>
                  <a:pt x="761" y="83"/>
                </a:cubicBezTo>
                <a:cubicBezTo>
                  <a:pt x="762" y="83"/>
                  <a:pt x="763" y="84"/>
                  <a:pt x="764" y="84"/>
                </a:cubicBezTo>
                <a:cubicBezTo>
                  <a:pt x="765" y="83"/>
                  <a:pt x="765" y="83"/>
                  <a:pt x="766" y="82"/>
                </a:cubicBezTo>
                <a:cubicBezTo>
                  <a:pt x="767" y="81"/>
                  <a:pt x="768" y="80"/>
                  <a:pt x="768" y="80"/>
                </a:cubicBezTo>
                <a:cubicBezTo>
                  <a:pt x="770" y="79"/>
                  <a:pt x="772" y="78"/>
                  <a:pt x="773" y="77"/>
                </a:cubicBezTo>
                <a:cubicBezTo>
                  <a:pt x="774" y="76"/>
                  <a:pt x="776" y="75"/>
                  <a:pt x="778" y="74"/>
                </a:cubicBezTo>
                <a:cubicBezTo>
                  <a:pt x="780" y="73"/>
                  <a:pt x="781" y="73"/>
                  <a:pt x="783" y="73"/>
                </a:cubicBezTo>
                <a:cubicBezTo>
                  <a:pt x="783" y="72"/>
                  <a:pt x="784" y="73"/>
                  <a:pt x="784" y="73"/>
                </a:cubicBezTo>
                <a:cubicBezTo>
                  <a:pt x="785" y="72"/>
                  <a:pt x="785" y="72"/>
                  <a:pt x="786" y="72"/>
                </a:cubicBezTo>
                <a:cubicBezTo>
                  <a:pt x="786" y="72"/>
                  <a:pt x="787" y="72"/>
                  <a:pt x="788" y="72"/>
                </a:cubicBezTo>
                <a:cubicBezTo>
                  <a:pt x="789" y="72"/>
                  <a:pt x="790" y="72"/>
                  <a:pt x="791" y="72"/>
                </a:cubicBezTo>
                <a:cubicBezTo>
                  <a:pt x="792" y="72"/>
                  <a:pt x="792" y="71"/>
                  <a:pt x="793" y="71"/>
                </a:cubicBezTo>
                <a:cubicBezTo>
                  <a:pt x="795" y="71"/>
                  <a:pt x="797" y="71"/>
                  <a:pt x="798" y="71"/>
                </a:cubicBezTo>
                <a:cubicBezTo>
                  <a:pt x="802" y="71"/>
                  <a:pt x="805" y="70"/>
                  <a:pt x="809" y="70"/>
                </a:cubicBezTo>
                <a:cubicBezTo>
                  <a:pt x="811" y="70"/>
                  <a:pt x="813" y="69"/>
                  <a:pt x="814" y="69"/>
                </a:cubicBezTo>
                <a:cubicBezTo>
                  <a:pt x="816" y="69"/>
                  <a:pt x="818" y="69"/>
                  <a:pt x="819" y="69"/>
                </a:cubicBezTo>
                <a:cubicBezTo>
                  <a:pt x="818" y="69"/>
                  <a:pt x="816" y="70"/>
                  <a:pt x="815" y="70"/>
                </a:cubicBezTo>
                <a:cubicBezTo>
                  <a:pt x="813" y="70"/>
                  <a:pt x="812" y="70"/>
                  <a:pt x="810" y="70"/>
                </a:cubicBezTo>
                <a:cubicBezTo>
                  <a:pt x="809" y="70"/>
                  <a:pt x="807" y="71"/>
                  <a:pt x="805" y="71"/>
                </a:cubicBezTo>
                <a:cubicBezTo>
                  <a:pt x="804" y="71"/>
                  <a:pt x="802" y="72"/>
                  <a:pt x="800" y="72"/>
                </a:cubicBezTo>
                <a:cubicBezTo>
                  <a:pt x="798" y="72"/>
                  <a:pt x="797" y="72"/>
                  <a:pt x="795" y="72"/>
                </a:cubicBezTo>
                <a:cubicBezTo>
                  <a:pt x="794" y="72"/>
                  <a:pt x="793" y="73"/>
                  <a:pt x="792" y="72"/>
                </a:cubicBezTo>
                <a:cubicBezTo>
                  <a:pt x="791" y="72"/>
                  <a:pt x="791" y="72"/>
                  <a:pt x="790" y="73"/>
                </a:cubicBezTo>
                <a:cubicBezTo>
                  <a:pt x="789" y="73"/>
                  <a:pt x="788" y="73"/>
                  <a:pt x="787" y="74"/>
                </a:cubicBezTo>
                <a:cubicBezTo>
                  <a:pt x="786" y="74"/>
                  <a:pt x="785" y="74"/>
                  <a:pt x="783" y="74"/>
                </a:cubicBezTo>
                <a:cubicBezTo>
                  <a:pt x="782" y="74"/>
                  <a:pt x="781" y="75"/>
                  <a:pt x="781" y="76"/>
                </a:cubicBezTo>
                <a:cubicBezTo>
                  <a:pt x="780" y="76"/>
                  <a:pt x="779" y="77"/>
                  <a:pt x="778" y="77"/>
                </a:cubicBezTo>
                <a:cubicBezTo>
                  <a:pt x="777" y="78"/>
                  <a:pt x="777" y="79"/>
                  <a:pt x="776" y="79"/>
                </a:cubicBezTo>
                <a:cubicBezTo>
                  <a:pt x="775" y="80"/>
                  <a:pt x="774" y="80"/>
                  <a:pt x="773" y="81"/>
                </a:cubicBezTo>
                <a:cubicBezTo>
                  <a:pt x="772" y="82"/>
                  <a:pt x="771" y="82"/>
                  <a:pt x="771" y="83"/>
                </a:cubicBezTo>
                <a:cubicBezTo>
                  <a:pt x="772" y="84"/>
                  <a:pt x="772" y="84"/>
                  <a:pt x="773" y="85"/>
                </a:cubicBezTo>
                <a:cubicBezTo>
                  <a:pt x="775" y="85"/>
                  <a:pt x="776" y="86"/>
                  <a:pt x="778" y="86"/>
                </a:cubicBezTo>
                <a:cubicBezTo>
                  <a:pt x="779" y="86"/>
                  <a:pt x="780" y="86"/>
                  <a:pt x="781" y="86"/>
                </a:cubicBezTo>
                <a:cubicBezTo>
                  <a:pt x="781" y="85"/>
                  <a:pt x="782" y="84"/>
                  <a:pt x="782" y="85"/>
                </a:cubicBezTo>
                <a:cubicBezTo>
                  <a:pt x="782" y="85"/>
                  <a:pt x="781" y="85"/>
                  <a:pt x="781" y="85"/>
                </a:cubicBezTo>
                <a:cubicBezTo>
                  <a:pt x="781" y="86"/>
                  <a:pt x="783" y="86"/>
                  <a:pt x="784" y="86"/>
                </a:cubicBezTo>
                <a:cubicBezTo>
                  <a:pt x="784" y="86"/>
                  <a:pt x="785" y="86"/>
                  <a:pt x="786" y="86"/>
                </a:cubicBezTo>
                <a:cubicBezTo>
                  <a:pt x="788" y="86"/>
                  <a:pt x="791" y="86"/>
                  <a:pt x="793" y="86"/>
                </a:cubicBezTo>
                <a:cubicBezTo>
                  <a:pt x="794" y="86"/>
                  <a:pt x="795" y="86"/>
                  <a:pt x="796" y="86"/>
                </a:cubicBezTo>
                <a:cubicBezTo>
                  <a:pt x="796" y="86"/>
                  <a:pt x="797" y="86"/>
                  <a:pt x="798" y="86"/>
                </a:cubicBezTo>
                <a:cubicBezTo>
                  <a:pt x="798" y="86"/>
                  <a:pt x="799" y="86"/>
                  <a:pt x="799" y="86"/>
                </a:cubicBezTo>
                <a:cubicBezTo>
                  <a:pt x="800" y="86"/>
                  <a:pt x="801" y="86"/>
                  <a:pt x="802" y="86"/>
                </a:cubicBezTo>
                <a:cubicBezTo>
                  <a:pt x="804" y="85"/>
                  <a:pt x="805" y="85"/>
                  <a:pt x="805" y="83"/>
                </a:cubicBezTo>
                <a:cubicBezTo>
                  <a:pt x="805" y="82"/>
                  <a:pt x="804" y="82"/>
                  <a:pt x="804" y="82"/>
                </a:cubicBezTo>
                <a:cubicBezTo>
                  <a:pt x="804" y="81"/>
                  <a:pt x="805" y="80"/>
                  <a:pt x="806" y="80"/>
                </a:cubicBezTo>
                <a:cubicBezTo>
                  <a:pt x="806" y="80"/>
                  <a:pt x="807" y="79"/>
                  <a:pt x="808" y="79"/>
                </a:cubicBezTo>
                <a:cubicBezTo>
                  <a:pt x="809" y="79"/>
                  <a:pt x="810" y="78"/>
                  <a:pt x="810" y="78"/>
                </a:cubicBezTo>
                <a:cubicBezTo>
                  <a:pt x="811" y="78"/>
                  <a:pt x="811" y="78"/>
                  <a:pt x="811" y="78"/>
                </a:cubicBezTo>
                <a:cubicBezTo>
                  <a:pt x="811" y="79"/>
                  <a:pt x="810" y="79"/>
                  <a:pt x="809" y="79"/>
                </a:cubicBezTo>
                <a:cubicBezTo>
                  <a:pt x="809" y="80"/>
                  <a:pt x="807" y="80"/>
                  <a:pt x="807" y="81"/>
                </a:cubicBezTo>
                <a:cubicBezTo>
                  <a:pt x="807" y="82"/>
                  <a:pt x="809" y="81"/>
                  <a:pt x="809" y="81"/>
                </a:cubicBezTo>
                <a:cubicBezTo>
                  <a:pt x="810" y="81"/>
                  <a:pt x="811" y="81"/>
                  <a:pt x="812" y="81"/>
                </a:cubicBezTo>
                <a:cubicBezTo>
                  <a:pt x="814" y="82"/>
                  <a:pt x="815" y="81"/>
                  <a:pt x="817" y="80"/>
                </a:cubicBezTo>
                <a:cubicBezTo>
                  <a:pt x="817" y="80"/>
                  <a:pt x="819" y="80"/>
                  <a:pt x="819" y="80"/>
                </a:cubicBezTo>
                <a:cubicBezTo>
                  <a:pt x="820" y="79"/>
                  <a:pt x="821" y="79"/>
                  <a:pt x="822" y="79"/>
                </a:cubicBezTo>
                <a:cubicBezTo>
                  <a:pt x="823" y="78"/>
                  <a:pt x="823" y="78"/>
                  <a:pt x="824" y="78"/>
                </a:cubicBezTo>
                <a:cubicBezTo>
                  <a:pt x="825" y="79"/>
                  <a:pt x="825" y="79"/>
                  <a:pt x="825" y="79"/>
                </a:cubicBezTo>
                <a:cubicBezTo>
                  <a:pt x="826" y="78"/>
                  <a:pt x="826" y="78"/>
                  <a:pt x="826" y="78"/>
                </a:cubicBezTo>
                <a:cubicBezTo>
                  <a:pt x="828" y="78"/>
                  <a:pt x="826" y="79"/>
                  <a:pt x="826" y="80"/>
                </a:cubicBezTo>
                <a:cubicBezTo>
                  <a:pt x="825" y="80"/>
                  <a:pt x="824" y="80"/>
                  <a:pt x="824" y="81"/>
                </a:cubicBezTo>
                <a:cubicBezTo>
                  <a:pt x="822" y="81"/>
                  <a:pt x="819" y="81"/>
                  <a:pt x="817" y="82"/>
                </a:cubicBezTo>
                <a:cubicBezTo>
                  <a:pt x="816" y="82"/>
                  <a:pt x="816" y="82"/>
                  <a:pt x="815" y="82"/>
                </a:cubicBezTo>
                <a:cubicBezTo>
                  <a:pt x="814" y="82"/>
                  <a:pt x="813" y="83"/>
                  <a:pt x="812" y="83"/>
                </a:cubicBezTo>
                <a:cubicBezTo>
                  <a:pt x="812" y="84"/>
                  <a:pt x="812" y="85"/>
                  <a:pt x="813" y="85"/>
                </a:cubicBezTo>
                <a:cubicBezTo>
                  <a:pt x="813" y="86"/>
                  <a:pt x="814" y="86"/>
                  <a:pt x="815" y="86"/>
                </a:cubicBezTo>
                <a:cubicBezTo>
                  <a:pt x="817" y="86"/>
                  <a:pt x="819" y="86"/>
                  <a:pt x="821" y="86"/>
                </a:cubicBezTo>
                <a:cubicBezTo>
                  <a:pt x="822" y="85"/>
                  <a:pt x="822" y="85"/>
                  <a:pt x="823" y="85"/>
                </a:cubicBezTo>
                <a:cubicBezTo>
                  <a:pt x="824" y="85"/>
                  <a:pt x="824" y="85"/>
                  <a:pt x="825" y="85"/>
                </a:cubicBezTo>
                <a:cubicBezTo>
                  <a:pt x="825" y="85"/>
                  <a:pt x="826" y="84"/>
                  <a:pt x="827" y="84"/>
                </a:cubicBezTo>
                <a:cubicBezTo>
                  <a:pt x="828" y="84"/>
                  <a:pt x="829" y="84"/>
                  <a:pt x="831" y="84"/>
                </a:cubicBezTo>
                <a:cubicBezTo>
                  <a:pt x="833" y="83"/>
                  <a:pt x="835" y="82"/>
                  <a:pt x="837" y="82"/>
                </a:cubicBezTo>
                <a:cubicBezTo>
                  <a:pt x="840" y="82"/>
                  <a:pt x="842" y="81"/>
                  <a:pt x="844" y="80"/>
                </a:cubicBezTo>
                <a:cubicBezTo>
                  <a:pt x="845" y="80"/>
                  <a:pt x="846" y="79"/>
                  <a:pt x="848" y="79"/>
                </a:cubicBezTo>
                <a:cubicBezTo>
                  <a:pt x="849" y="79"/>
                  <a:pt x="850" y="79"/>
                  <a:pt x="851" y="79"/>
                </a:cubicBezTo>
                <a:cubicBezTo>
                  <a:pt x="852" y="78"/>
                  <a:pt x="853" y="78"/>
                  <a:pt x="854" y="77"/>
                </a:cubicBezTo>
                <a:cubicBezTo>
                  <a:pt x="854" y="76"/>
                  <a:pt x="854" y="76"/>
                  <a:pt x="855" y="75"/>
                </a:cubicBezTo>
                <a:cubicBezTo>
                  <a:pt x="855" y="75"/>
                  <a:pt x="856" y="75"/>
                  <a:pt x="857" y="75"/>
                </a:cubicBezTo>
                <a:cubicBezTo>
                  <a:pt x="857" y="75"/>
                  <a:pt x="857" y="74"/>
                  <a:pt x="857" y="74"/>
                </a:cubicBezTo>
                <a:cubicBezTo>
                  <a:pt x="857" y="73"/>
                  <a:pt x="856" y="73"/>
                  <a:pt x="856" y="73"/>
                </a:cubicBezTo>
                <a:cubicBezTo>
                  <a:pt x="855" y="73"/>
                  <a:pt x="856" y="72"/>
                  <a:pt x="857" y="72"/>
                </a:cubicBezTo>
                <a:cubicBezTo>
                  <a:pt x="857" y="71"/>
                  <a:pt x="858" y="71"/>
                  <a:pt x="858" y="71"/>
                </a:cubicBezTo>
                <a:cubicBezTo>
                  <a:pt x="858" y="71"/>
                  <a:pt x="857" y="70"/>
                  <a:pt x="857" y="70"/>
                </a:cubicBezTo>
                <a:cubicBezTo>
                  <a:pt x="857" y="70"/>
                  <a:pt x="855" y="70"/>
                  <a:pt x="855" y="69"/>
                </a:cubicBezTo>
                <a:cubicBezTo>
                  <a:pt x="856" y="69"/>
                  <a:pt x="858" y="69"/>
                  <a:pt x="859" y="70"/>
                </a:cubicBezTo>
                <a:cubicBezTo>
                  <a:pt x="859" y="71"/>
                  <a:pt x="860" y="71"/>
                  <a:pt x="861" y="71"/>
                </a:cubicBezTo>
                <a:cubicBezTo>
                  <a:pt x="862" y="71"/>
                  <a:pt x="862" y="71"/>
                  <a:pt x="862" y="70"/>
                </a:cubicBezTo>
                <a:cubicBezTo>
                  <a:pt x="862" y="69"/>
                  <a:pt x="862" y="68"/>
                  <a:pt x="864" y="68"/>
                </a:cubicBezTo>
                <a:cubicBezTo>
                  <a:pt x="864" y="68"/>
                  <a:pt x="865" y="68"/>
                  <a:pt x="865" y="68"/>
                </a:cubicBezTo>
                <a:cubicBezTo>
                  <a:pt x="865" y="67"/>
                  <a:pt x="866" y="67"/>
                  <a:pt x="866" y="66"/>
                </a:cubicBezTo>
                <a:cubicBezTo>
                  <a:pt x="867" y="66"/>
                  <a:pt x="868" y="65"/>
                  <a:pt x="869" y="65"/>
                </a:cubicBezTo>
                <a:cubicBezTo>
                  <a:pt x="869" y="65"/>
                  <a:pt x="870" y="64"/>
                  <a:pt x="871" y="64"/>
                </a:cubicBezTo>
                <a:cubicBezTo>
                  <a:pt x="872" y="64"/>
                  <a:pt x="873" y="64"/>
                  <a:pt x="874" y="64"/>
                </a:cubicBezTo>
                <a:cubicBezTo>
                  <a:pt x="875" y="64"/>
                  <a:pt x="876" y="63"/>
                  <a:pt x="877" y="63"/>
                </a:cubicBezTo>
                <a:cubicBezTo>
                  <a:pt x="878" y="62"/>
                  <a:pt x="880" y="61"/>
                  <a:pt x="881" y="62"/>
                </a:cubicBezTo>
                <a:cubicBezTo>
                  <a:pt x="881" y="62"/>
                  <a:pt x="880" y="63"/>
                  <a:pt x="880" y="63"/>
                </a:cubicBezTo>
                <a:cubicBezTo>
                  <a:pt x="879" y="63"/>
                  <a:pt x="878" y="64"/>
                  <a:pt x="877" y="64"/>
                </a:cubicBezTo>
                <a:cubicBezTo>
                  <a:pt x="876" y="64"/>
                  <a:pt x="875" y="64"/>
                  <a:pt x="874" y="64"/>
                </a:cubicBezTo>
                <a:cubicBezTo>
                  <a:pt x="874" y="65"/>
                  <a:pt x="873" y="65"/>
                  <a:pt x="872" y="65"/>
                </a:cubicBezTo>
                <a:cubicBezTo>
                  <a:pt x="871" y="65"/>
                  <a:pt x="870" y="65"/>
                  <a:pt x="869" y="66"/>
                </a:cubicBezTo>
                <a:cubicBezTo>
                  <a:pt x="868" y="66"/>
                  <a:pt x="869" y="67"/>
                  <a:pt x="869" y="68"/>
                </a:cubicBezTo>
                <a:cubicBezTo>
                  <a:pt x="868" y="68"/>
                  <a:pt x="868" y="69"/>
                  <a:pt x="867" y="69"/>
                </a:cubicBezTo>
                <a:cubicBezTo>
                  <a:pt x="866" y="69"/>
                  <a:pt x="865" y="69"/>
                  <a:pt x="864" y="70"/>
                </a:cubicBezTo>
                <a:cubicBezTo>
                  <a:pt x="864" y="71"/>
                  <a:pt x="863" y="71"/>
                  <a:pt x="863" y="72"/>
                </a:cubicBezTo>
                <a:cubicBezTo>
                  <a:pt x="862" y="72"/>
                  <a:pt x="861" y="72"/>
                  <a:pt x="860" y="73"/>
                </a:cubicBezTo>
                <a:cubicBezTo>
                  <a:pt x="860" y="73"/>
                  <a:pt x="860" y="74"/>
                  <a:pt x="860" y="75"/>
                </a:cubicBezTo>
                <a:cubicBezTo>
                  <a:pt x="860" y="76"/>
                  <a:pt x="860" y="77"/>
                  <a:pt x="861" y="77"/>
                </a:cubicBezTo>
                <a:cubicBezTo>
                  <a:pt x="862" y="77"/>
                  <a:pt x="863" y="77"/>
                  <a:pt x="864" y="77"/>
                </a:cubicBezTo>
                <a:cubicBezTo>
                  <a:pt x="865" y="76"/>
                  <a:pt x="866" y="76"/>
                  <a:pt x="867" y="76"/>
                </a:cubicBezTo>
                <a:cubicBezTo>
                  <a:pt x="868" y="76"/>
                  <a:pt x="869" y="76"/>
                  <a:pt x="871" y="76"/>
                </a:cubicBezTo>
                <a:cubicBezTo>
                  <a:pt x="872" y="75"/>
                  <a:pt x="873" y="75"/>
                  <a:pt x="875" y="76"/>
                </a:cubicBezTo>
                <a:cubicBezTo>
                  <a:pt x="876" y="76"/>
                  <a:pt x="877" y="76"/>
                  <a:pt x="878" y="76"/>
                </a:cubicBezTo>
                <a:cubicBezTo>
                  <a:pt x="880" y="76"/>
                  <a:pt x="881" y="76"/>
                  <a:pt x="882" y="76"/>
                </a:cubicBezTo>
                <a:cubicBezTo>
                  <a:pt x="883" y="76"/>
                  <a:pt x="885" y="76"/>
                  <a:pt x="886" y="76"/>
                </a:cubicBezTo>
                <a:cubicBezTo>
                  <a:pt x="887" y="76"/>
                  <a:pt x="887" y="77"/>
                  <a:pt x="888" y="77"/>
                </a:cubicBezTo>
                <a:cubicBezTo>
                  <a:pt x="888" y="77"/>
                  <a:pt x="887" y="77"/>
                  <a:pt x="886" y="77"/>
                </a:cubicBezTo>
                <a:cubicBezTo>
                  <a:pt x="883" y="78"/>
                  <a:pt x="881" y="78"/>
                  <a:pt x="878" y="78"/>
                </a:cubicBezTo>
                <a:cubicBezTo>
                  <a:pt x="877" y="78"/>
                  <a:pt x="875" y="78"/>
                  <a:pt x="874" y="78"/>
                </a:cubicBezTo>
                <a:cubicBezTo>
                  <a:pt x="873" y="78"/>
                  <a:pt x="873" y="78"/>
                  <a:pt x="872" y="78"/>
                </a:cubicBezTo>
                <a:cubicBezTo>
                  <a:pt x="871" y="78"/>
                  <a:pt x="870" y="79"/>
                  <a:pt x="869" y="79"/>
                </a:cubicBezTo>
                <a:cubicBezTo>
                  <a:pt x="868" y="79"/>
                  <a:pt x="868" y="79"/>
                  <a:pt x="867" y="79"/>
                </a:cubicBezTo>
                <a:cubicBezTo>
                  <a:pt x="865" y="79"/>
                  <a:pt x="864" y="80"/>
                  <a:pt x="862" y="80"/>
                </a:cubicBezTo>
                <a:cubicBezTo>
                  <a:pt x="860" y="80"/>
                  <a:pt x="859" y="81"/>
                  <a:pt x="857" y="81"/>
                </a:cubicBezTo>
                <a:cubicBezTo>
                  <a:pt x="856" y="81"/>
                  <a:pt x="855" y="82"/>
                  <a:pt x="854" y="82"/>
                </a:cubicBezTo>
                <a:cubicBezTo>
                  <a:pt x="853" y="82"/>
                  <a:pt x="852" y="82"/>
                  <a:pt x="852" y="82"/>
                </a:cubicBezTo>
                <a:cubicBezTo>
                  <a:pt x="851" y="82"/>
                  <a:pt x="851" y="83"/>
                  <a:pt x="851" y="83"/>
                </a:cubicBezTo>
                <a:cubicBezTo>
                  <a:pt x="850" y="83"/>
                  <a:pt x="850" y="83"/>
                  <a:pt x="849" y="83"/>
                </a:cubicBezTo>
                <a:cubicBezTo>
                  <a:pt x="849" y="83"/>
                  <a:pt x="849" y="83"/>
                  <a:pt x="849" y="83"/>
                </a:cubicBezTo>
                <a:cubicBezTo>
                  <a:pt x="848" y="84"/>
                  <a:pt x="851" y="84"/>
                  <a:pt x="851" y="84"/>
                </a:cubicBezTo>
                <a:cubicBezTo>
                  <a:pt x="852" y="84"/>
                  <a:pt x="853" y="84"/>
                  <a:pt x="854" y="84"/>
                </a:cubicBezTo>
                <a:cubicBezTo>
                  <a:pt x="857" y="84"/>
                  <a:pt x="859" y="84"/>
                  <a:pt x="862" y="84"/>
                </a:cubicBezTo>
                <a:cubicBezTo>
                  <a:pt x="864" y="84"/>
                  <a:pt x="866" y="84"/>
                  <a:pt x="867" y="84"/>
                </a:cubicBezTo>
                <a:cubicBezTo>
                  <a:pt x="868" y="84"/>
                  <a:pt x="869" y="84"/>
                  <a:pt x="869" y="84"/>
                </a:cubicBezTo>
                <a:cubicBezTo>
                  <a:pt x="870" y="85"/>
                  <a:pt x="869" y="85"/>
                  <a:pt x="868" y="85"/>
                </a:cubicBezTo>
                <a:cubicBezTo>
                  <a:pt x="868" y="85"/>
                  <a:pt x="868" y="85"/>
                  <a:pt x="867" y="85"/>
                </a:cubicBezTo>
                <a:cubicBezTo>
                  <a:pt x="866" y="85"/>
                  <a:pt x="864" y="85"/>
                  <a:pt x="863" y="85"/>
                </a:cubicBezTo>
                <a:cubicBezTo>
                  <a:pt x="857" y="85"/>
                  <a:pt x="852" y="86"/>
                  <a:pt x="846" y="86"/>
                </a:cubicBezTo>
                <a:cubicBezTo>
                  <a:pt x="845" y="86"/>
                  <a:pt x="844" y="86"/>
                  <a:pt x="843" y="87"/>
                </a:cubicBezTo>
                <a:cubicBezTo>
                  <a:pt x="842" y="87"/>
                  <a:pt x="841" y="87"/>
                  <a:pt x="839" y="88"/>
                </a:cubicBezTo>
                <a:cubicBezTo>
                  <a:pt x="838" y="88"/>
                  <a:pt x="838" y="88"/>
                  <a:pt x="837" y="88"/>
                </a:cubicBezTo>
                <a:cubicBezTo>
                  <a:pt x="836" y="88"/>
                  <a:pt x="835" y="88"/>
                  <a:pt x="834" y="88"/>
                </a:cubicBezTo>
                <a:cubicBezTo>
                  <a:pt x="833" y="88"/>
                  <a:pt x="832" y="89"/>
                  <a:pt x="830" y="89"/>
                </a:cubicBezTo>
                <a:cubicBezTo>
                  <a:pt x="830" y="89"/>
                  <a:pt x="829" y="89"/>
                  <a:pt x="828" y="89"/>
                </a:cubicBezTo>
                <a:cubicBezTo>
                  <a:pt x="827" y="89"/>
                  <a:pt x="827" y="89"/>
                  <a:pt x="826" y="89"/>
                </a:cubicBezTo>
                <a:cubicBezTo>
                  <a:pt x="824" y="89"/>
                  <a:pt x="823" y="89"/>
                  <a:pt x="821" y="90"/>
                </a:cubicBezTo>
                <a:cubicBezTo>
                  <a:pt x="818" y="90"/>
                  <a:pt x="816" y="90"/>
                  <a:pt x="814" y="91"/>
                </a:cubicBezTo>
                <a:cubicBezTo>
                  <a:pt x="813" y="91"/>
                  <a:pt x="812" y="91"/>
                  <a:pt x="812" y="91"/>
                </a:cubicBezTo>
                <a:cubicBezTo>
                  <a:pt x="812" y="92"/>
                  <a:pt x="813" y="93"/>
                  <a:pt x="814" y="93"/>
                </a:cubicBezTo>
                <a:cubicBezTo>
                  <a:pt x="815" y="94"/>
                  <a:pt x="816" y="95"/>
                  <a:pt x="817" y="95"/>
                </a:cubicBezTo>
                <a:cubicBezTo>
                  <a:pt x="818" y="96"/>
                  <a:pt x="819" y="97"/>
                  <a:pt x="821" y="98"/>
                </a:cubicBezTo>
                <a:cubicBezTo>
                  <a:pt x="822" y="99"/>
                  <a:pt x="824" y="100"/>
                  <a:pt x="825" y="100"/>
                </a:cubicBezTo>
                <a:cubicBezTo>
                  <a:pt x="826" y="100"/>
                  <a:pt x="827" y="100"/>
                  <a:pt x="828" y="100"/>
                </a:cubicBezTo>
                <a:cubicBezTo>
                  <a:pt x="828" y="101"/>
                  <a:pt x="829" y="100"/>
                  <a:pt x="830" y="101"/>
                </a:cubicBezTo>
                <a:cubicBezTo>
                  <a:pt x="830" y="101"/>
                  <a:pt x="831" y="101"/>
                  <a:pt x="831" y="102"/>
                </a:cubicBezTo>
                <a:cubicBezTo>
                  <a:pt x="830" y="102"/>
                  <a:pt x="830" y="102"/>
                  <a:pt x="829" y="102"/>
                </a:cubicBezTo>
                <a:cubicBezTo>
                  <a:pt x="829" y="103"/>
                  <a:pt x="829" y="104"/>
                  <a:pt x="829" y="104"/>
                </a:cubicBezTo>
                <a:cubicBezTo>
                  <a:pt x="830" y="105"/>
                  <a:pt x="830" y="105"/>
                  <a:pt x="830" y="105"/>
                </a:cubicBezTo>
                <a:cubicBezTo>
                  <a:pt x="830" y="106"/>
                  <a:pt x="830" y="106"/>
                  <a:pt x="830" y="106"/>
                </a:cubicBezTo>
                <a:cubicBezTo>
                  <a:pt x="831" y="107"/>
                  <a:pt x="832" y="107"/>
                  <a:pt x="833" y="107"/>
                </a:cubicBezTo>
                <a:cubicBezTo>
                  <a:pt x="834" y="107"/>
                  <a:pt x="835" y="108"/>
                  <a:pt x="836" y="108"/>
                </a:cubicBezTo>
                <a:cubicBezTo>
                  <a:pt x="836" y="108"/>
                  <a:pt x="837" y="109"/>
                  <a:pt x="838" y="109"/>
                </a:cubicBezTo>
                <a:cubicBezTo>
                  <a:pt x="839" y="109"/>
                  <a:pt x="840" y="109"/>
                  <a:pt x="841" y="108"/>
                </a:cubicBezTo>
                <a:cubicBezTo>
                  <a:pt x="842" y="108"/>
                  <a:pt x="843" y="108"/>
                  <a:pt x="844" y="108"/>
                </a:cubicBezTo>
                <a:cubicBezTo>
                  <a:pt x="844" y="108"/>
                  <a:pt x="845" y="108"/>
                  <a:pt x="846" y="108"/>
                </a:cubicBezTo>
                <a:cubicBezTo>
                  <a:pt x="847" y="108"/>
                  <a:pt x="847" y="108"/>
                  <a:pt x="848" y="108"/>
                </a:cubicBezTo>
                <a:cubicBezTo>
                  <a:pt x="848" y="108"/>
                  <a:pt x="849" y="108"/>
                  <a:pt x="849" y="108"/>
                </a:cubicBezTo>
                <a:cubicBezTo>
                  <a:pt x="850" y="108"/>
                  <a:pt x="848" y="109"/>
                  <a:pt x="847" y="109"/>
                </a:cubicBezTo>
                <a:cubicBezTo>
                  <a:pt x="847" y="109"/>
                  <a:pt x="846" y="109"/>
                  <a:pt x="845" y="109"/>
                </a:cubicBezTo>
                <a:cubicBezTo>
                  <a:pt x="843" y="109"/>
                  <a:pt x="842" y="110"/>
                  <a:pt x="840" y="110"/>
                </a:cubicBezTo>
                <a:cubicBezTo>
                  <a:pt x="838" y="111"/>
                  <a:pt x="836" y="110"/>
                  <a:pt x="834" y="109"/>
                </a:cubicBezTo>
                <a:cubicBezTo>
                  <a:pt x="834" y="109"/>
                  <a:pt x="833" y="109"/>
                  <a:pt x="832" y="109"/>
                </a:cubicBezTo>
                <a:cubicBezTo>
                  <a:pt x="831" y="109"/>
                  <a:pt x="830" y="109"/>
                  <a:pt x="829" y="110"/>
                </a:cubicBezTo>
                <a:cubicBezTo>
                  <a:pt x="829" y="110"/>
                  <a:pt x="828" y="111"/>
                  <a:pt x="828" y="110"/>
                </a:cubicBezTo>
                <a:cubicBezTo>
                  <a:pt x="828" y="109"/>
                  <a:pt x="829" y="109"/>
                  <a:pt x="829" y="108"/>
                </a:cubicBezTo>
                <a:cubicBezTo>
                  <a:pt x="828" y="108"/>
                  <a:pt x="828" y="108"/>
                  <a:pt x="828" y="108"/>
                </a:cubicBezTo>
                <a:cubicBezTo>
                  <a:pt x="827" y="108"/>
                  <a:pt x="826" y="107"/>
                  <a:pt x="826" y="107"/>
                </a:cubicBezTo>
                <a:cubicBezTo>
                  <a:pt x="824" y="106"/>
                  <a:pt x="824" y="104"/>
                  <a:pt x="823" y="103"/>
                </a:cubicBezTo>
                <a:cubicBezTo>
                  <a:pt x="822" y="102"/>
                  <a:pt x="821" y="102"/>
                  <a:pt x="820" y="102"/>
                </a:cubicBezTo>
                <a:cubicBezTo>
                  <a:pt x="820" y="102"/>
                  <a:pt x="819" y="101"/>
                  <a:pt x="818" y="101"/>
                </a:cubicBezTo>
                <a:cubicBezTo>
                  <a:pt x="817" y="100"/>
                  <a:pt x="817" y="100"/>
                  <a:pt x="816" y="99"/>
                </a:cubicBezTo>
                <a:cubicBezTo>
                  <a:pt x="814" y="99"/>
                  <a:pt x="813" y="98"/>
                  <a:pt x="811" y="97"/>
                </a:cubicBezTo>
                <a:cubicBezTo>
                  <a:pt x="810" y="97"/>
                  <a:pt x="809" y="96"/>
                  <a:pt x="808" y="95"/>
                </a:cubicBezTo>
                <a:cubicBezTo>
                  <a:pt x="807" y="95"/>
                  <a:pt x="807" y="94"/>
                  <a:pt x="806" y="94"/>
                </a:cubicBezTo>
                <a:cubicBezTo>
                  <a:pt x="805" y="93"/>
                  <a:pt x="804" y="93"/>
                  <a:pt x="803" y="93"/>
                </a:cubicBezTo>
                <a:cubicBezTo>
                  <a:pt x="802" y="93"/>
                  <a:pt x="802" y="92"/>
                  <a:pt x="801" y="92"/>
                </a:cubicBezTo>
                <a:cubicBezTo>
                  <a:pt x="799" y="92"/>
                  <a:pt x="797" y="92"/>
                  <a:pt x="795" y="92"/>
                </a:cubicBezTo>
                <a:cubicBezTo>
                  <a:pt x="793" y="92"/>
                  <a:pt x="791" y="93"/>
                  <a:pt x="789" y="93"/>
                </a:cubicBezTo>
                <a:cubicBezTo>
                  <a:pt x="788" y="93"/>
                  <a:pt x="787" y="93"/>
                  <a:pt x="786" y="92"/>
                </a:cubicBezTo>
                <a:cubicBezTo>
                  <a:pt x="785" y="92"/>
                  <a:pt x="784" y="92"/>
                  <a:pt x="783" y="91"/>
                </a:cubicBezTo>
                <a:cubicBezTo>
                  <a:pt x="781" y="91"/>
                  <a:pt x="779" y="91"/>
                  <a:pt x="777" y="91"/>
                </a:cubicBezTo>
                <a:cubicBezTo>
                  <a:pt x="776" y="91"/>
                  <a:pt x="775" y="91"/>
                  <a:pt x="774" y="92"/>
                </a:cubicBezTo>
                <a:cubicBezTo>
                  <a:pt x="774" y="92"/>
                  <a:pt x="773" y="93"/>
                  <a:pt x="773" y="94"/>
                </a:cubicBezTo>
                <a:cubicBezTo>
                  <a:pt x="772" y="95"/>
                  <a:pt x="772" y="97"/>
                  <a:pt x="773" y="98"/>
                </a:cubicBezTo>
                <a:cubicBezTo>
                  <a:pt x="774" y="99"/>
                  <a:pt x="776" y="99"/>
                  <a:pt x="777" y="100"/>
                </a:cubicBezTo>
                <a:cubicBezTo>
                  <a:pt x="779" y="100"/>
                  <a:pt x="781" y="100"/>
                  <a:pt x="783" y="100"/>
                </a:cubicBezTo>
                <a:cubicBezTo>
                  <a:pt x="783" y="100"/>
                  <a:pt x="784" y="101"/>
                  <a:pt x="784" y="101"/>
                </a:cubicBezTo>
                <a:cubicBezTo>
                  <a:pt x="785" y="102"/>
                  <a:pt x="786" y="102"/>
                  <a:pt x="787" y="102"/>
                </a:cubicBezTo>
                <a:cubicBezTo>
                  <a:pt x="787" y="102"/>
                  <a:pt x="787" y="102"/>
                  <a:pt x="787" y="102"/>
                </a:cubicBezTo>
                <a:cubicBezTo>
                  <a:pt x="786" y="102"/>
                  <a:pt x="785" y="102"/>
                  <a:pt x="785" y="102"/>
                </a:cubicBezTo>
                <a:cubicBezTo>
                  <a:pt x="784" y="102"/>
                  <a:pt x="784" y="101"/>
                  <a:pt x="783" y="101"/>
                </a:cubicBezTo>
                <a:cubicBezTo>
                  <a:pt x="782" y="101"/>
                  <a:pt x="782" y="101"/>
                  <a:pt x="781" y="101"/>
                </a:cubicBezTo>
                <a:cubicBezTo>
                  <a:pt x="780" y="101"/>
                  <a:pt x="779" y="101"/>
                  <a:pt x="777" y="101"/>
                </a:cubicBezTo>
                <a:cubicBezTo>
                  <a:pt x="777" y="100"/>
                  <a:pt x="776" y="100"/>
                  <a:pt x="775" y="101"/>
                </a:cubicBezTo>
                <a:cubicBezTo>
                  <a:pt x="775" y="101"/>
                  <a:pt x="774" y="101"/>
                  <a:pt x="774" y="101"/>
                </a:cubicBezTo>
                <a:cubicBezTo>
                  <a:pt x="774" y="102"/>
                  <a:pt x="774" y="102"/>
                  <a:pt x="774" y="102"/>
                </a:cubicBezTo>
                <a:cubicBezTo>
                  <a:pt x="774" y="103"/>
                  <a:pt x="774" y="104"/>
                  <a:pt x="774" y="105"/>
                </a:cubicBezTo>
                <a:cubicBezTo>
                  <a:pt x="774" y="106"/>
                  <a:pt x="775" y="106"/>
                  <a:pt x="775" y="106"/>
                </a:cubicBezTo>
                <a:cubicBezTo>
                  <a:pt x="776" y="107"/>
                  <a:pt x="777" y="107"/>
                  <a:pt x="778" y="107"/>
                </a:cubicBezTo>
                <a:cubicBezTo>
                  <a:pt x="779" y="107"/>
                  <a:pt x="779" y="107"/>
                  <a:pt x="780" y="107"/>
                </a:cubicBezTo>
                <a:cubicBezTo>
                  <a:pt x="781" y="108"/>
                  <a:pt x="782" y="107"/>
                  <a:pt x="782" y="107"/>
                </a:cubicBezTo>
                <a:cubicBezTo>
                  <a:pt x="784" y="107"/>
                  <a:pt x="786" y="108"/>
                  <a:pt x="787" y="108"/>
                </a:cubicBezTo>
                <a:cubicBezTo>
                  <a:pt x="788" y="109"/>
                  <a:pt x="789" y="109"/>
                  <a:pt x="789" y="109"/>
                </a:cubicBezTo>
                <a:cubicBezTo>
                  <a:pt x="790" y="110"/>
                  <a:pt x="791" y="110"/>
                  <a:pt x="791" y="111"/>
                </a:cubicBezTo>
                <a:cubicBezTo>
                  <a:pt x="791" y="111"/>
                  <a:pt x="791" y="112"/>
                  <a:pt x="792" y="113"/>
                </a:cubicBezTo>
                <a:cubicBezTo>
                  <a:pt x="792" y="113"/>
                  <a:pt x="793" y="114"/>
                  <a:pt x="794" y="114"/>
                </a:cubicBezTo>
                <a:cubicBezTo>
                  <a:pt x="795" y="114"/>
                  <a:pt x="795" y="114"/>
                  <a:pt x="796" y="115"/>
                </a:cubicBezTo>
                <a:cubicBezTo>
                  <a:pt x="797" y="115"/>
                  <a:pt x="797" y="116"/>
                  <a:pt x="797" y="116"/>
                </a:cubicBezTo>
                <a:cubicBezTo>
                  <a:pt x="797" y="117"/>
                  <a:pt x="798" y="117"/>
                  <a:pt x="798" y="118"/>
                </a:cubicBezTo>
                <a:cubicBezTo>
                  <a:pt x="798" y="118"/>
                  <a:pt x="798" y="119"/>
                  <a:pt x="799" y="120"/>
                </a:cubicBezTo>
                <a:cubicBezTo>
                  <a:pt x="799" y="121"/>
                  <a:pt x="800" y="121"/>
                  <a:pt x="801" y="121"/>
                </a:cubicBezTo>
                <a:cubicBezTo>
                  <a:pt x="801" y="120"/>
                  <a:pt x="802" y="119"/>
                  <a:pt x="802" y="121"/>
                </a:cubicBezTo>
                <a:cubicBezTo>
                  <a:pt x="802" y="121"/>
                  <a:pt x="802" y="121"/>
                  <a:pt x="802" y="121"/>
                </a:cubicBezTo>
                <a:cubicBezTo>
                  <a:pt x="802" y="121"/>
                  <a:pt x="802" y="121"/>
                  <a:pt x="802" y="122"/>
                </a:cubicBezTo>
                <a:cubicBezTo>
                  <a:pt x="802" y="122"/>
                  <a:pt x="802" y="122"/>
                  <a:pt x="803" y="122"/>
                </a:cubicBezTo>
                <a:cubicBezTo>
                  <a:pt x="804" y="123"/>
                  <a:pt x="804" y="123"/>
                  <a:pt x="805" y="123"/>
                </a:cubicBezTo>
                <a:cubicBezTo>
                  <a:pt x="806" y="123"/>
                  <a:pt x="806" y="124"/>
                  <a:pt x="807" y="124"/>
                </a:cubicBezTo>
                <a:cubicBezTo>
                  <a:pt x="807" y="124"/>
                  <a:pt x="808" y="124"/>
                  <a:pt x="808" y="125"/>
                </a:cubicBezTo>
                <a:cubicBezTo>
                  <a:pt x="808" y="125"/>
                  <a:pt x="806" y="125"/>
                  <a:pt x="806" y="125"/>
                </a:cubicBezTo>
                <a:cubicBezTo>
                  <a:pt x="806" y="125"/>
                  <a:pt x="805" y="125"/>
                  <a:pt x="805" y="125"/>
                </a:cubicBezTo>
                <a:cubicBezTo>
                  <a:pt x="804" y="125"/>
                  <a:pt x="803" y="124"/>
                  <a:pt x="803" y="124"/>
                </a:cubicBezTo>
                <a:cubicBezTo>
                  <a:pt x="802" y="124"/>
                  <a:pt x="802" y="123"/>
                  <a:pt x="801" y="123"/>
                </a:cubicBezTo>
                <a:cubicBezTo>
                  <a:pt x="800" y="122"/>
                  <a:pt x="799" y="122"/>
                  <a:pt x="798" y="122"/>
                </a:cubicBezTo>
                <a:cubicBezTo>
                  <a:pt x="797" y="122"/>
                  <a:pt x="796" y="122"/>
                  <a:pt x="795" y="122"/>
                </a:cubicBezTo>
                <a:cubicBezTo>
                  <a:pt x="795" y="123"/>
                  <a:pt x="793" y="123"/>
                  <a:pt x="793" y="123"/>
                </a:cubicBezTo>
                <a:cubicBezTo>
                  <a:pt x="793" y="124"/>
                  <a:pt x="794" y="124"/>
                  <a:pt x="795" y="125"/>
                </a:cubicBezTo>
                <a:cubicBezTo>
                  <a:pt x="796" y="125"/>
                  <a:pt x="798" y="126"/>
                  <a:pt x="799" y="126"/>
                </a:cubicBezTo>
                <a:cubicBezTo>
                  <a:pt x="801" y="126"/>
                  <a:pt x="803" y="126"/>
                  <a:pt x="805" y="127"/>
                </a:cubicBezTo>
                <a:cubicBezTo>
                  <a:pt x="806" y="127"/>
                  <a:pt x="808" y="127"/>
                  <a:pt x="810" y="127"/>
                </a:cubicBezTo>
                <a:cubicBezTo>
                  <a:pt x="811" y="127"/>
                  <a:pt x="812" y="126"/>
                  <a:pt x="812" y="126"/>
                </a:cubicBezTo>
                <a:cubicBezTo>
                  <a:pt x="813" y="126"/>
                  <a:pt x="814" y="127"/>
                  <a:pt x="815" y="127"/>
                </a:cubicBezTo>
                <a:cubicBezTo>
                  <a:pt x="815" y="127"/>
                  <a:pt x="816" y="127"/>
                  <a:pt x="817" y="128"/>
                </a:cubicBezTo>
                <a:cubicBezTo>
                  <a:pt x="818" y="128"/>
                  <a:pt x="819" y="128"/>
                  <a:pt x="820" y="128"/>
                </a:cubicBezTo>
                <a:cubicBezTo>
                  <a:pt x="820" y="128"/>
                  <a:pt x="821" y="128"/>
                  <a:pt x="822" y="128"/>
                </a:cubicBezTo>
                <a:cubicBezTo>
                  <a:pt x="823" y="128"/>
                  <a:pt x="824" y="127"/>
                  <a:pt x="825" y="126"/>
                </a:cubicBezTo>
                <a:cubicBezTo>
                  <a:pt x="826" y="125"/>
                  <a:pt x="826" y="125"/>
                  <a:pt x="827" y="125"/>
                </a:cubicBezTo>
                <a:cubicBezTo>
                  <a:pt x="828" y="124"/>
                  <a:pt x="828" y="125"/>
                  <a:pt x="829" y="124"/>
                </a:cubicBezTo>
                <a:cubicBezTo>
                  <a:pt x="829" y="124"/>
                  <a:pt x="830" y="124"/>
                  <a:pt x="830" y="124"/>
                </a:cubicBezTo>
                <a:cubicBezTo>
                  <a:pt x="830" y="124"/>
                  <a:pt x="830" y="125"/>
                  <a:pt x="830" y="125"/>
                </a:cubicBezTo>
                <a:cubicBezTo>
                  <a:pt x="829" y="125"/>
                  <a:pt x="829" y="126"/>
                  <a:pt x="828" y="126"/>
                </a:cubicBezTo>
                <a:cubicBezTo>
                  <a:pt x="828" y="127"/>
                  <a:pt x="828" y="128"/>
                  <a:pt x="827" y="128"/>
                </a:cubicBezTo>
                <a:cubicBezTo>
                  <a:pt x="826" y="129"/>
                  <a:pt x="826" y="129"/>
                  <a:pt x="825" y="129"/>
                </a:cubicBezTo>
                <a:cubicBezTo>
                  <a:pt x="824" y="129"/>
                  <a:pt x="823" y="129"/>
                  <a:pt x="823" y="129"/>
                </a:cubicBezTo>
                <a:cubicBezTo>
                  <a:pt x="822" y="129"/>
                  <a:pt x="822" y="129"/>
                  <a:pt x="821" y="129"/>
                </a:cubicBezTo>
                <a:cubicBezTo>
                  <a:pt x="820" y="130"/>
                  <a:pt x="819" y="130"/>
                  <a:pt x="818" y="130"/>
                </a:cubicBezTo>
                <a:cubicBezTo>
                  <a:pt x="818" y="130"/>
                  <a:pt x="818" y="130"/>
                  <a:pt x="817" y="129"/>
                </a:cubicBezTo>
                <a:cubicBezTo>
                  <a:pt x="817" y="129"/>
                  <a:pt x="817" y="129"/>
                  <a:pt x="816" y="129"/>
                </a:cubicBezTo>
                <a:cubicBezTo>
                  <a:pt x="815" y="129"/>
                  <a:pt x="814" y="129"/>
                  <a:pt x="813" y="129"/>
                </a:cubicBezTo>
                <a:cubicBezTo>
                  <a:pt x="813" y="129"/>
                  <a:pt x="811" y="129"/>
                  <a:pt x="811" y="130"/>
                </a:cubicBezTo>
                <a:cubicBezTo>
                  <a:pt x="812" y="131"/>
                  <a:pt x="813" y="131"/>
                  <a:pt x="813" y="131"/>
                </a:cubicBezTo>
                <a:cubicBezTo>
                  <a:pt x="814" y="131"/>
                  <a:pt x="815" y="132"/>
                  <a:pt x="815" y="132"/>
                </a:cubicBezTo>
                <a:cubicBezTo>
                  <a:pt x="816" y="132"/>
                  <a:pt x="817" y="132"/>
                  <a:pt x="818" y="132"/>
                </a:cubicBezTo>
                <a:cubicBezTo>
                  <a:pt x="819" y="132"/>
                  <a:pt x="819" y="133"/>
                  <a:pt x="819" y="134"/>
                </a:cubicBezTo>
                <a:cubicBezTo>
                  <a:pt x="820" y="135"/>
                  <a:pt x="821" y="135"/>
                  <a:pt x="821" y="135"/>
                </a:cubicBezTo>
                <a:cubicBezTo>
                  <a:pt x="822" y="136"/>
                  <a:pt x="820" y="136"/>
                  <a:pt x="820" y="136"/>
                </a:cubicBezTo>
                <a:cubicBezTo>
                  <a:pt x="819" y="135"/>
                  <a:pt x="818" y="135"/>
                  <a:pt x="818" y="134"/>
                </a:cubicBezTo>
                <a:cubicBezTo>
                  <a:pt x="817" y="134"/>
                  <a:pt x="816" y="133"/>
                  <a:pt x="816" y="133"/>
                </a:cubicBezTo>
                <a:cubicBezTo>
                  <a:pt x="815" y="133"/>
                  <a:pt x="814" y="133"/>
                  <a:pt x="813" y="133"/>
                </a:cubicBezTo>
                <a:cubicBezTo>
                  <a:pt x="812" y="132"/>
                  <a:pt x="810" y="131"/>
                  <a:pt x="808" y="131"/>
                </a:cubicBezTo>
                <a:cubicBezTo>
                  <a:pt x="807" y="130"/>
                  <a:pt x="805" y="129"/>
                  <a:pt x="803" y="129"/>
                </a:cubicBezTo>
                <a:cubicBezTo>
                  <a:pt x="801" y="129"/>
                  <a:pt x="799" y="129"/>
                  <a:pt x="797" y="129"/>
                </a:cubicBezTo>
                <a:cubicBezTo>
                  <a:pt x="795" y="129"/>
                  <a:pt x="794" y="128"/>
                  <a:pt x="792" y="128"/>
                </a:cubicBezTo>
                <a:cubicBezTo>
                  <a:pt x="791" y="128"/>
                  <a:pt x="790" y="127"/>
                  <a:pt x="789" y="127"/>
                </a:cubicBezTo>
                <a:cubicBezTo>
                  <a:pt x="789" y="127"/>
                  <a:pt x="788" y="127"/>
                  <a:pt x="787" y="128"/>
                </a:cubicBezTo>
                <a:cubicBezTo>
                  <a:pt x="787" y="128"/>
                  <a:pt x="786" y="128"/>
                  <a:pt x="786" y="128"/>
                </a:cubicBezTo>
                <a:cubicBezTo>
                  <a:pt x="785" y="129"/>
                  <a:pt x="784" y="129"/>
                  <a:pt x="783" y="129"/>
                </a:cubicBezTo>
                <a:cubicBezTo>
                  <a:pt x="781" y="130"/>
                  <a:pt x="779" y="130"/>
                  <a:pt x="777" y="130"/>
                </a:cubicBezTo>
                <a:cubicBezTo>
                  <a:pt x="775" y="130"/>
                  <a:pt x="772" y="130"/>
                  <a:pt x="771" y="131"/>
                </a:cubicBezTo>
                <a:cubicBezTo>
                  <a:pt x="770" y="132"/>
                  <a:pt x="769" y="132"/>
                  <a:pt x="768" y="133"/>
                </a:cubicBezTo>
                <a:cubicBezTo>
                  <a:pt x="768" y="134"/>
                  <a:pt x="768" y="135"/>
                  <a:pt x="767" y="135"/>
                </a:cubicBezTo>
                <a:cubicBezTo>
                  <a:pt x="767" y="136"/>
                  <a:pt x="766" y="136"/>
                  <a:pt x="765" y="137"/>
                </a:cubicBezTo>
                <a:cubicBezTo>
                  <a:pt x="764" y="137"/>
                  <a:pt x="763" y="138"/>
                  <a:pt x="763" y="138"/>
                </a:cubicBezTo>
                <a:cubicBezTo>
                  <a:pt x="762" y="139"/>
                  <a:pt x="761" y="142"/>
                  <a:pt x="762" y="143"/>
                </a:cubicBezTo>
                <a:cubicBezTo>
                  <a:pt x="762" y="144"/>
                  <a:pt x="763" y="144"/>
                  <a:pt x="763" y="145"/>
                </a:cubicBezTo>
                <a:cubicBezTo>
                  <a:pt x="764" y="145"/>
                  <a:pt x="765" y="145"/>
                  <a:pt x="764" y="146"/>
                </a:cubicBezTo>
                <a:cubicBezTo>
                  <a:pt x="763" y="146"/>
                  <a:pt x="762" y="146"/>
                  <a:pt x="762" y="146"/>
                </a:cubicBezTo>
                <a:cubicBezTo>
                  <a:pt x="761" y="147"/>
                  <a:pt x="763" y="147"/>
                  <a:pt x="763" y="147"/>
                </a:cubicBezTo>
                <a:cubicBezTo>
                  <a:pt x="764" y="147"/>
                  <a:pt x="765" y="148"/>
                  <a:pt x="766" y="148"/>
                </a:cubicBezTo>
                <a:cubicBezTo>
                  <a:pt x="766" y="148"/>
                  <a:pt x="767" y="148"/>
                  <a:pt x="768" y="148"/>
                </a:cubicBezTo>
                <a:cubicBezTo>
                  <a:pt x="769" y="147"/>
                  <a:pt x="770" y="148"/>
                  <a:pt x="771" y="147"/>
                </a:cubicBezTo>
                <a:cubicBezTo>
                  <a:pt x="771" y="147"/>
                  <a:pt x="771" y="147"/>
                  <a:pt x="772" y="147"/>
                </a:cubicBezTo>
                <a:cubicBezTo>
                  <a:pt x="772" y="146"/>
                  <a:pt x="773" y="145"/>
                  <a:pt x="774" y="145"/>
                </a:cubicBezTo>
                <a:cubicBezTo>
                  <a:pt x="775" y="146"/>
                  <a:pt x="776" y="146"/>
                  <a:pt x="777" y="145"/>
                </a:cubicBezTo>
                <a:cubicBezTo>
                  <a:pt x="777" y="145"/>
                  <a:pt x="778" y="144"/>
                  <a:pt x="778" y="144"/>
                </a:cubicBezTo>
                <a:cubicBezTo>
                  <a:pt x="779" y="143"/>
                  <a:pt x="779" y="143"/>
                  <a:pt x="779" y="143"/>
                </a:cubicBezTo>
                <a:cubicBezTo>
                  <a:pt x="779" y="143"/>
                  <a:pt x="779" y="142"/>
                  <a:pt x="780" y="142"/>
                </a:cubicBezTo>
                <a:cubicBezTo>
                  <a:pt x="781" y="141"/>
                  <a:pt x="780" y="143"/>
                  <a:pt x="780" y="144"/>
                </a:cubicBezTo>
                <a:cubicBezTo>
                  <a:pt x="780" y="144"/>
                  <a:pt x="779" y="145"/>
                  <a:pt x="779" y="146"/>
                </a:cubicBezTo>
                <a:cubicBezTo>
                  <a:pt x="778" y="146"/>
                  <a:pt x="777" y="146"/>
                  <a:pt x="777" y="146"/>
                </a:cubicBezTo>
                <a:cubicBezTo>
                  <a:pt x="776" y="147"/>
                  <a:pt x="776" y="148"/>
                  <a:pt x="776" y="148"/>
                </a:cubicBezTo>
                <a:cubicBezTo>
                  <a:pt x="777" y="149"/>
                  <a:pt x="778" y="149"/>
                  <a:pt x="779" y="149"/>
                </a:cubicBezTo>
                <a:cubicBezTo>
                  <a:pt x="780" y="148"/>
                  <a:pt x="782" y="148"/>
                  <a:pt x="784" y="148"/>
                </a:cubicBezTo>
                <a:cubicBezTo>
                  <a:pt x="785" y="148"/>
                  <a:pt x="785" y="147"/>
                  <a:pt x="786" y="147"/>
                </a:cubicBezTo>
                <a:cubicBezTo>
                  <a:pt x="787" y="146"/>
                  <a:pt x="789" y="145"/>
                  <a:pt x="790" y="143"/>
                </a:cubicBezTo>
                <a:cubicBezTo>
                  <a:pt x="791" y="142"/>
                  <a:pt x="791" y="141"/>
                  <a:pt x="791" y="140"/>
                </a:cubicBezTo>
                <a:cubicBezTo>
                  <a:pt x="791" y="140"/>
                  <a:pt x="791" y="139"/>
                  <a:pt x="792" y="139"/>
                </a:cubicBezTo>
                <a:cubicBezTo>
                  <a:pt x="792" y="138"/>
                  <a:pt x="792" y="138"/>
                  <a:pt x="793" y="138"/>
                </a:cubicBezTo>
                <a:cubicBezTo>
                  <a:pt x="793" y="138"/>
                  <a:pt x="794" y="137"/>
                  <a:pt x="794" y="137"/>
                </a:cubicBezTo>
                <a:cubicBezTo>
                  <a:pt x="794" y="138"/>
                  <a:pt x="793" y="138"/>
                  <a:pt x="793" y="139"/>
                </a:cubicBezTo>
                <a:cubicBezTo>
                  <a:pt x="792" y="139"/>
                  <a:pt x="792" y="141"/>
                  <a:pt x="792" y="141"/>
                </a:cubicBezTo>
                <a:cubicBezTo>
                  <a:pt x="793" y="142"/>
                  <a:pt x="794" y="141"/>
                  <a:pt x="794" y="142"/>
                </a:cubicBezTo>
                <a:cubicBezTo>
                  <a:pt x="794" y="142"/>
                  <a:pt x="793" y="142"/>
                  <a:pt x="792" y="143"/>
                </a:cubicBezTo>
                <a:cubicBezTo>
                  <a:pt x="792" y="143"/>
                  <a:pt x="792" y="144"/>
                  <a:pt x="791" y="144"/>
                </a:cubicBezTo>
                <a:cubicBezTo>
                  <a:pt x="791" y="145"/>
                  <a:pt x="791" y="145"/>
                  <a:pt x="791" y="145"/>
                </a:cubicBezTo>
                <a:cubicBezTo>
                  <a:pt x="791" y="145"/>
                  <a:pt x="792" y="145"/>
                  <a:pt x="792" y="145"/>
                </a:cubicBezTo>
                <a:cubicBezTo>
                  <a:pt x="793" y="145"/>
                  <a:pt x="794" y="145"/>
                  <a:pt x="795" y="145"/>
                </a:cubicBezTo>
                <a:cubicBezTo>
                  <a:pt x="796" y="145"/>
                  <a:pt x="798" y="145"/>
                  <a:pt x="799" y="146"/>
                </a:cubicBezTo>
                <a:cubicBezTo>
                  <a:pt x="797" y="145"/>
                  <a:pt x="795" y="145"/>
                  <a:pt x="793" y="146"/>
                </a:cubicBezTo>
                <a:cubicBezTo>
                  <a:pt x="792" y="146"/>
                  <a:pt x="791" y="146"/>
                  <a:pt x="791" y="147"/>
                </a:cubicBezTo>
                <a:cubicBezTo>
                  <a:pt x="790" y="147"/>
                  <a:pt x="789" y="148"/>
                  <a:pt x="790" y="148"/>
                </a:cubicBezTo>
                <a:cubicBezTo>
                  <a:pt x="790" y="148"/>
                  <a:pt x="790" y="148"/>
                  <a:pt x="791" y="148"/>
                </a:cubicBezTo>
                <a:cubicBezTo>
                  <a:pt x="791" y="149"/>
                  <a:pt x="791" y="149"/>
                  <a:pt x="792" y="149"/>
                </a:cubicBezTo>
                <a:cubicBezTo>
                  <a:pt x="792" y="149"/>
                  <a:pt x="793" y="149"/>
                  <a:pt x="794" y="149"/>
                </a:cubicBezTo>
                <a:cubicBezTo>
                  <a:pt x="794" y="149"/>
                  <a:pt x="794" y="149"/>
                  <a:pt x="794" y="149"/>
                </a:cubicBezTo>
                <a:cubicBezTo>
                  <a:pt x="794" y="150"/>
                  <a:pt x="793" y="149"/>
                  <a:pt x="792" y="149"/>
                </a:cubicBezTo>
                <a:cubicBezTo>
                  <a:pt x="792" y="149"/>
                  <a:pt x="791" y="149"/>
                  <a:pt x="791" y="149"/>
                </a:cubicBezTo>
                <a:cubicBezTo>
                  <a:pt x="789" y="149"/>
                  <a:pt x="787" y="149"/>
                  <a:pt x="786" y="150"/>
                </a:cubicBezTo>
                <a:cubicBezTo>
                  <a:pt x="785" y="150"/>
                  <a:pt x="785" y="151"/>
                  <a:pt x="784" y="151"/>
                </a:cubicBezTo>
                <a:cubicBezTo>
                  <a:pt x="784" y="151"/>
                  <a:pt x="783" y="151"/>
                  <a:pt x="783" y="152"/>
                </a:cubicBezTo>
                <a:cubicBezTo>
                  <a:pt x="782" y="152"/>
                  <a:pt x="785" y="153"/>
                  <a:pt x="786" y="153"/>
                </a:cubicBezTo>
                <a:cubicBezTo>
                  <a:pt x="787" y="153"/>
                  <a:pt x="789" y="152"/>
                  <a:pt x="791" y="153"/>
                </a:cubicBezTo>
                <a:cubicBezTo>
                  <a:pt x="791" y="153"/>
                  <a:pt x="792" y="154"/>
                  <a:pt x="793" y="153"/>
                </a:cubicBezTo>
                <a:cubicBezTo>
                  <a:pt x="793" y="153"/>
                  <a:pt x="794" y="152"/>
                  <a:pt x="795" y="153"/>
                </a:cubicBezTo>
                <a:cubicBezTo>
                  <a:pt x="794" y="153"/>
                  <a:pt x="794" y="153"/>
                  <a:pt x="794" y="153"/>
                </a:cubicBezTo>
                <a:cubicBezTo>
                  <a:pt x="793" y="153"/>
                  <a:pt x="793" y="155"/>
                  <a:pt x="792" y="154"/>
                </a:cubicBezTo>
                <a:cubicBezTo>
                  <a:pt x="792" y="154"/>
                  <a:pt x="791" y="153"/>
                  <a:pt x="791" y="153"/>
                </a:cubicBezTo>
                <a:cubicBezTo>
                  <a:pt x="791" y="153"/>
                  <a:pt x="790" y="153"/>
                  <a:pt x="790" y="153"/>
                </a:cubicBezTo>
                <a:cubicBezTo>
                  <a:pt x="789" y="153"/>
                  <a:pt x="789" y="153"/>
                  <a:pt x="788" y="153"/>
                </a:cubicBezTo>
                <a:cubicBezTo>
                  <a:pt x="787" y="153"/>
                  <a:pt x="786" y="153"/>
                  <a:pt x="786" y="154"/>
                </a:cubicBezTo>
                <a:cubicBezTo>
                  <a:pt x="786" y="155"/>
                  <a:pt x="786" y="155"/>
                  <a:pt x="787" y="155"/>
                </a:cubicBezTo>
                <a:cubicBezTo>
                  <a:pt x="787" y="155"/>
                  <a:pt x="788" y="155"/>
                  <a:pt x="789" y="155"/>
                </a:cubicBezTo>
                <a:cubicBezTo>
                  <a:pt x="788" y="156"/>
                  <a:pt x="785" y="156"/>
                  <a:pt x="787" y="158"/>
                </a:cubicBezTo>
                <a:cubicBezTo>
                  <a:pt x="787" y="159"/>
                  <a:pt x="788" y="159"/>
                  <a:pt x="789" y="159"/>
                </a:cubicBezTo>
                <a:cubicBezTo>
                  <a:pt x="789" y="159"/>
                  <a:pt x="790" y="159"/>
                  <a:pt x="790" y="159"/>
                </a:cubicBezTo>
                <a:cubicBezTo>
                  <a:pt x="790" y="159"/>
                  <a:pt x="790" y="160"/>
                  <a:pt x="791" y="160"/>
                </a:cubicBezTo>
                <a:cubicBezTo>
                  <a:pt x="791" y="160"/>
                  <a:pt x="792" y="160"/>
                  <a:pt x="793" y="160"/>
                </a:cubicBezTo>
                <a:cubicBezTo>
                  <a:pt x="794" y="160"/>
                  <a:pt x="794" y="159"/>
                  <a:pt x="795" y="159"/>
                </a:cubicBezTo>
                <a:cubicBezTo>
                  <a:pt x="795" y="160"/>
                  <a:pt x="792" y="160"/>
                  <a:pt x="792" y="161"/>
                </a:cubicBezTo>
                <a:cubicBezTo>
                  <a:pt x="792" y="162"/>
                  <a:pt x="795" y="161"/>
                  <a:pt x="796" y="162"/>
                </a:cubicBezTo>
                <a:cubicBezTo>
                  <a:pt x="797" y="162"/>
                  <a:pt x="797" y="162"/>
                  <a:pt x="798" y="162"/>
                </a:cubicBezTo>
                <a:cubicBezTo>
                  <a:pt x="799" y="162"/>
                  <a:pt x="800" y="162"/>
                  <a:pt x="801" y="162"/>
                </a:cubicBezTo>
                <a:cubicBezTo>
                  <a:pt x="802" y="162"/>
                  <a:pt x="802" y="162"/>
                  <a:pt x="803" y="162"/>
                </a:cubicBezTo>
                <a:cubicBezTo>
                  <a:pt x="805" y="162"/>
                  <a:pt x="807" y="162"/>
                  <a:pt x="808" y="161"/>
                </a:cubicBezTo>
                <a:cubicBezTo>
                  <a:pt x="809" y="160"/>
                  <a:pt x="810" y="159"/>
                  <a:pt x="811" y="157"/>
                </a:cubicBezTo>
                <a:cubicBezTo>
                  <a:pt x="811" y="157"/>
                  <a:pt x="811" y="157"/>
                  <a:pt x="811" y="156"/>
                </a:cubicBezTo>
                <a:cubicBezTo>
                  <a:pt x="812" y="156"/>
                  <a:pt x="812" y="155"/>
                  <a:pt x="813" y="155"/>
                </a:cubicBezTo>
                <a:cubicBezTo>
                  <a:pt x="814" y="154"/>
                  <a:pt x="814" y="154"/>
                  <a:pt x="815" y="154"/>
                </a:cubicBezTo>
                <a:cubicBezTo>
                  <a:pt x="815" y="153"/>
                  <a:pt x="816" y="153"/>
                  <a:pt x="816" y="153"/>
                </a:cubicBezTo>
                <a:cubicBezTo>
                  <a:pt x="816" y="152"/>
                  <a:pt x="816" y="152"/>
                  <a:pt x="816" y="152"/>
                </a:cubicBezTo>
                <a:cubicBezTo>
                  <a:pt x="816" y="151"/>
                  <a:pt x="816" y="151"/>
                  <a:pt x="816" y="151"/>
                </a:cubicBezTo>
                <a:cubicBezTo>
                  <a:pt x="816" y="150"/>
                  <a:pt x="817" y="149"/>
                  <a:pt x="817" y="149"/>
                </a:cubicBezTo>
                <a:cubicBezTo>
                  <a:pt x="818" y="149"/>
                  <a:pt x="818" y="149"/>
                  <a:pt x="818" y="149"/>
                </a:cubicBezTo>
                <a:cubicBezTo>
                  <a:pt x="819" y="149"/>
                  <a:pt x="819" y="149"/>
                  <a:pt x="820" y="149"/>
                </a:cubicBezTo>
                <a:cubicBezTo>
                  <a:pt x="820" y="149"/>
                  <a:pt x="819" y="149"/>
                  <a:pt x="819" y="149"/>
                </a:cubicBezTo>
                <a:cubicBezTo>
                  <a:pt x="818" y="150"/>
                  <a:pt x="818" y="150"/>
                  <a:pt x="817" y="151"/>
                </a:cubicBezTo>
                <a:cubicBezTo>
                  <a:pt x="817" y="151"/>
                  <a:pt x="817" y="152"/>
                  <a:pt x="817" y="153"/>
                </a:cubicBezTo>
                <a:cubicBezTo>
                  <a:pt x="817" y="154"/>
                  <a:pt x="816" y="154"/>
                  <a:pt x="816" y="155"/>
                </a:cubicBezTo>
                <a:cubicBezTo>
                  <a:pt x="815" y="155"/>
                  <a:pt x="815" y="156"/>
                  <a:pt x="815" y="156"/>
                </a:cubicBezTo>
                <a:cubicBezTo>
                  <a:pt x="814" y="157"/>
                  <a:pt x="814" y="157"/>
                  <a:pt x="814" y="158"/>
                </a:cubicBezTo>
                <a:cubicBezTo>
                  <a:pt x="813" y="158"/>
                  <a:pt x="813" y="158"/>
                  <a:pt x="813" y="159"/>
                </a:cubicBezTo>
                <a:cubicBezTo>
                  <a:pt x="812" y="159"/>
                  <a:pt x="811" y="160"/>
                  <a:pt x="811" y="161"/>
                </a:cubicBezTo>
                <a:cubicBezTo>
                  <a:pt x="810" y="161"/>
                  <a:pt x="809" y="162"/>
                  <a:pt x="809" y="162"/>
                </a:cubicBezTo>
                <a:cubicBezTo>
                  <a:pt x="808" y="162"/>
                  <a:pt x="808" y="163"/>
                  <a:pt x="807" y="163"/>
                </a:cubicBezTo>
                <a:cubicBezTo>
                  <a:pt x="807" y="163"/>
                  <a:pt x="806" y="163"/>
                  <a:pt x="805" y="163"/>
                </a:cubicBezTo>
                <a:cubicBezTo>
                  <a:pt x="804" y="163"/>
                  <a:pt x="804" y="164"/>
                  <a:pt x="805" y="164"/>
                </a:cubicBezTo>
                <a:cubicBezTo>
                  <a:pt x="805" y="164"/>
                  <a:pt x="805" y="164"/>
                  <a:pt x="806" y="164"/>
                </a:cubicBezTo>
                <a:cubicBezTo>
                  <a:pt x="806" y="165"/>
                  <a:pt x="806" y="164"/>
                  <a:pt x="806" y="165"/>
                </a:cubicBezTo>
                <a:cubicBezTo>
                  <a:pt x="807" y="165"/>
                  <a:pt x="807" y="165"/>
                  <a:pt x="807" y="165"/>
                </a:cubicBezTo>
                <a:cubicBezTo>
                  <a:pt x="807" y="166"/>
                  <a:pt x="807" y="165"/>
                  <a:pt x="807" y="166"/>
                </a:cubicBezTo>
                <a:cubicBezTo>
                  <a:pt x="807" y="166"/>
                  <a:pt x="806" y="166"/>
                  <a:pt x="805" y="165"/>
                </a:cubicBezTo>
                <a:cubicBezTo>
                  <a:pt x="804" y="165"/>
                  <a:pt x="804" y="165"/>
                  <a:pt x="803" y="165"/>
                </a:cubicBezTo>
                <a:cubicBezTo>
                  <a:pt x="801" y="165"/>
                  <a:pt x="800" y="165"/>
                  <a:pt x="798" y="165"/>
                </a:cubicBezTo>
                <a:cubicBezTo>
                  <a:pt x="798" y="165"/>
                  <a:pt x="798" y="165"/>
                  <a:pt x="797" y="165"/>
                </a:cubicBezTo>
                <a:cubicBezTo>
                  <a:pt x="797" y="165"/>
                  <a:pt x="797" y="165"/>
                  <a:pt x="796" y="165"/>
                </a:cubicBezTo>
                <a:cubicBezTo>
                  <a:pt x="796" y="165"/>
                  <a:pt x="796" y="165"/>
                  <a:pt x="795" y="166"/>
                </a:cubicBezTo>
                <a:cubicBezTo>
                  <a:pt x="795" y="166"/>
                  <a:pt x="795" y="166"/>
                  <a:pt x="794" y="166"/>
                </a:cubicBezTo>
                <a:cubicBezTo>
                  <a:pt x="794" y="166"/>
                  <a:pt x="794" y="167"/>
                  <a:pt x="794" y="167"/>
                </a:cubicBezTo>
                <a:cubicBezTo>
                  <a:pt x="793" y="167"/>
                  <a:pt x="793" y="167"/>
                  <a:pt x="793" y="166"/>
                </a:cubicBezTo>
                <a:cubicBezTo>
                  <a:pt x="792" y="166"/>
                  <a:pt x="791" y="165"/>
                  <a:pt x="790" y="165"/>
                </a:cubicBezTo>
                <a:cubicBezTo>
                  <a:pt x="789" y="165"/>
                  <a:pt x="788" y="165"/>
                  <a:pt x="787" y="165"/>
                </a:cubicBezTo>
                <a:cubicBezTo>
                  <a:pt x="786" y="165"/>
                  <a:pt x="786" y="165"/>
                  <a:pt x="785" y="164"/>
                </a:cubicBezTo>
                <a:cubicBezTo>
                  <a:pt x="784" y="163"/>
                  <a:pt x="784" y="164"/>
                  <a:pt x="783" y="164"/>
                </a:cubicBezTo>
                <a:cubicBezTo>
                  <a:pt x="781" y="164"/>
                  <a:pt x="782" y="162"/>
                  <a:pt x="781" y="161"/>
                </a:cubicBezTo>
                <a:cubicBezTo>
                  <a:pt x="781" y="160"/>
                  <a:pt x="780" y="159"/>
                  <a:pt x="779" y="157"/>
                </a:cubicBezTo>
                <a:cubicBezTo>
                  <a:pt x="778" y="156"/>
                  <a:pt x="776" y="155"/>
                  <a:pt x="775" y="154"/>
                </a:cubicBezTo>
                <a:cubicBezTo>
                  <a:pt x="774" y="154"/>
                  <a:pt x="773" y="154"/>
                  <a:pt x="773" y="153"/>
                </a:cubicBezTo>
                <a:cubicBezTo>
                  <a:pt x="772" y="153"/>
                  <a:pt x="772" y="153"/>
                  <a:pt x="771" y="153"/>
                </a:cubicBezTo>
                <a:cubicBezTo>
                  <a:pt x="770" y="153"/>
                  <a:pt x="768" y="153"/>
                  <a:pt x="766" y="153"/>
                </a:cubicBezTo>
                <a:cubicBezTo>
                  <a:pt x="765" y="153"/>
                  <a:pt x="764" y="153"/>
                  <a:pt x="763" y="153"/>
                </a:cubicBezTo>
                <a:cubicBezTo>
                  <a:pt x="762" y="153"/>
                  <a:pt x="762" y="154"/>
                  <a:pt x="761" y="154"/>
                </a:cubicBezTo>
                <a:cubicBezTo>
                  <a:pt x="760" y="154"/>
                  <a:pt x="759" y="154"/>
                  <a:pt x="758" y="154"/>
                </a:cubicBezTo>
                <a:cubicBezTo>
                  <a:pt x="758" y="154"/>
                  <a:pt x="757" y="155"/>
                  <a:pt x="757" y="155"/>
                </a:cubicBezTo>
                <a:cubicBezTo>
                  <a:pt x="757" y="155"/>
                  <a:pt x="756" y="155"/>
                  <a:pt x="756" y="155"/>
                </a:cubicBezTo>
                <a:cubicBezTo>
                  <a:pt x="755" y="154"/>
                  <a:pt x="755" y="154"/>
                  <a:pt x="755" y="154"/>
                </a:cubicBezTo>
                <a:cubicBezTo>
                  <a:pt x="754" y="154"/>
                  <a:pt x="754" y="154"/>
                  <a:pt x="754" y="154"/>
                </a:cubicBezTo>
                <a:cubicBezTo>
                  <a:pt x="754" y="155"/>
                  <a:pt x="754" y="156"/>
                  <a:pt x="754" y="157"/>
                </a:cubicBezTo>
                <a:cubicBezTo>
                  <a:pt x="754" y="157"/>
                  <a:pt x="754" y="158"/>
                  <a:pt x="754" y="159"/>
                </a:cubicBezTo>
                <a:cubicBezTo>
                  <a:pt x="755" y="160"/>
                  <a:pt x="755" y="160"/>
                  <a:pt x="756" y="160"/>
                </a:cubicBezTo>
                <a:cubicBezTo>
                  <a:pt x="757" y="161"/>
                  <a:pt x="757" y="162"/>
                  <a:pt x="758" y="162"/>
                </a:cubicBezTo>
                <a:cubicBezTo>
                  <a:pt x="758" y="163"/>
                  <a:pt x="758" y="163"/>
                  <a:pt x="759" y="164"/>
                </a:cubicBezTo>
                <a:cubicBezTo>
                  <a:pt x="759" y="164"/>
                  <a:pt x="759" y="165"/>
                  <a:pt x="759" y="165"/>
                </a:cubicBezTo>
                <a:cubicBezTo>
                  <a:pt x="759" y="165"/>
                  <a:pt x="759" y="166"/>
                  <a:pt x="760" y="166"/>
                </a:cubicBezTo>
                <a:cubicBezTo>
                  <a:pt x="761" y="167"/>
                  <a:pt x="761" y="166"/>
                  <a:pt x="762" y="166"/>
                </a:cubicBezTo>
                <a:cubicBezTo>
                  <a:pt x="762" y="166"/>
                  <a:pt x="762" y="166"/>
                  <a:pt x="763" y="166"/>
                </a:cubicBezTo>
                <a:cubicBezTo>
                  <a:pt x="763" y="166"/>
                  <a:pt x="764" y="166"/>
                  <a:pt x="764" y="166"/>
                </a:cubicBezTo>
                <a:cubicBezTo>
                  <a:pt x="765" y="166"/>
                  <a:pt x="766" y="166"/>
                  <a:pt x="767" y="166"/>
                </a:cubicBezTo>
                <a:cubicBezTo>
                  <a:pt x="767" y="166"/>
                  <a:pt x="768" y="166"/>
                  <a:pt x="768" y="166"/>
                </a:cubicBezTo>
                <a:cubicBezTo>
                  <a:pt x="768" y="166"/>
                  <a:pt x="767" y="166"/>
                  <a:pt x="767" y="166"/>
                </a:cubicBezTo>
                <a:cubicBezTo>
                  <a:pt x="767" y="167"/>
                  <a:pt x="766" y="166"/>
                  <a:pt x="766" y="167"/>
                </a:cubicBezTo>
                <a:cubicBezTo>
                  <a:pt x="766" y="167"/>
                  <a:pt x="766" y="167"/>
                  <a:pt x="766" y="167"/>
                </a:cubicBezTo>
                <a:cubicBezTo>
                  <a:pt x="765" y="167"/>
                  <a:pt x="765" y="167"/>
                  <a:pt x="765" y="168"/>
                </a:cubicBezTo>
                <a:cubicBezTo>
                  <a:pt x="765" y="168"/>
                  <a:pt x="765" y="168"/>
                  <a:pt x="766" y="168"/>
                </a:cubicBezTo>
                <a:cubicBezTo>
                  <a:pt x="766" y="168"/>
                  <a:pt x="766" y="169"/>
                  <a:pt x="766" y="169"/>
                </a:cubicBezTo>
                <a:cubicBezTo>
                  <a:pt x="766" y="170"/>
                  <a:pt x="765" y="170"/>
                  <a:pt x="764" y="170"/>
                </a:cubicBezTo>
                <a:cubicBezTo>
                  <a:pt x="764" y="170"/>
                  <a:pt x="763" y="170"/>
                  <a:pt x="763" y="171"/>
                </a:cubicBezTo>
                <a:cubicBezTo>
                  <a:pt x="763" y="171"/>
                  <a:pt x="763" y="172"/>
                  <a:pt x="763" y="172"/>
                </a:cubicBezTo>
                <a:cubicBezTo>
                  <a:pt x="762" y="172"/>
                  <a:pt x="761" y="172"/>
                  <a:pt x="760" y="172"/>
                </a:cubicBezTo>
                <a:cubicBezTo>
                  <a:pt x="759" y="172"/>
                  <a:pt x="758" y="172"/>
                  <a:pt x="758" y="172"/>
                </a:cubicBezTo>
                <a:cubicBezTo>
                  <a:pt x="757" y="172"/>
                  <a:pt x="756" y="172"/>
                  <a:pt x="755" y="172"/>
                </a:cubicBezTo>
                <a:cubicBezTo>
                  <a:pt x="754" y="172"/>
                  <a:pt x="754" y="171"/>
                  <a:pt x="753" y="171"/>
                </a:cubicBezTo>
                <a:cubicBezTo>
                  <a:pt x="752" y="172"/>
                  <a:pt x="751" y="172"/>
                  <a:pt x="750" y="173"/>
                </a:cubicBezTo>
                <a:cubicBezTo>
                  <a:pt x="750" y="174"/>
                  <a:pt x="749" y="174"/>
                  <a:pt x="748" y="175"/>
                </a:cubicBezTo>
                <a:cubicBezTo>
                  <a:pt x="747" y="175"/>
                  <a:pt x="746" y="175"/>
                  <a:pt x="746" y="175"/>
                </a:cubicBezTo>
                <a:cubicBezTo>
                  <a:pt x="745" y="175"/>
                  <a:pt x="744" y="176"/>
                  <a:pt x="743" y="176"/>
                </a:cubicBezTo>
                <a:cubicBezTo>
                  <a:pt x="742" y="177"/>
                  <a:pt x="742" y="177"/>
                  <a:pt x="741" y="177"/>
                </a:cubicBezTo>
                <a:cubicBezTo>
                  <a:pt x="740" y="177"/>
                  <a:pt x="739" y="178"/>
                  <a:pt x="739" y="179"/>
                </a:cubicBezTo>
                <a:cubicBezTo>
                  <a:pt x="739" y="180"/>
                  <a:pt x="740" y="180"/>
                  <a:pt x="740" y="181"/>
                </a:cubicBezTo>
                <a:cubicBezTo>
                  <a:pt x="740" y="182"/>
                  <a:pt x="740" y="182"/>
                  <a:pt x="739" y="183"/>
                </a:cubicBezTo>
                <a:cubicBezTo>
                  <a:pt x="739" y="183"/>
                  <a:pt x="739" y="183"/>
                  <a:pt x="738" y="184"/>
                </a:cubicBezTo>
                <a:cubicBezTo>
                  <a:pt x="738" y="184"/>
                  <a:pt x="738" y="184"/>
                  <a:pt x="737" y="184"/>
                </a:cubicBezTo>
                <a:cubicBezTo>
                  <a:pt x="737" y="185"/>
                  <a:pt x="740" y="187"/>
                  <a:pt x="740" y="187"/>
                </a:cubicBezTo>
                <a:cubicBezTo>
                  <a:pt x="741" y="187"/>
                  <a:pt x="741" y="187"/>
                  <a:pt x="742" y="187"/>
                </a:cubicBezTo>
                <a:cubicBezTo>
                  <a:pt x="742" y="188"/>
                  <a:pt x="742" y="188"/>
                  <a:pt x="742" y="188"/>
                </a:cubicBezTo>
                <a:cubicBezTo>
                  <a:pt x="743" y="189"/>
                  <a:pt x="744" y="189"/>
                  <a:pt x="745" y="189"/>
                </a:cubicBezTo>
                <a:cubicBezTo>
                  <a:pt x="745" y="188"/>
                  <a:pt x="746" y="188"/>
                  <a:pt x="747" y="187"/>
                </a:cubicBezTo>
                <a:cubicBezTo>
                  <a:pt x="747" y="187"/>
                  <a:pt x="747" y="187"/>
                  <a:pt x="747" y="186"/>
                </a:cubicBezTo>
                <a:cubicBezTo>
                  <a:pt x="747" y="186"/>
                  <a:pt x="747" y="185"/>
                  <a:pt x="748" y="185"/>
                </a:cubicBezTo>
                <a:cubicBezTo>
                  <a:pt x="748" y="185"/>
                  <a:pt x="748" y="185"/>
                  <a:pt x="748" y="185"/>
                </a:cubicBezTo>
                <a:cubicBezTo>
                  <a:pt x="749" y="186"/>
                  <a:pt x="749" y="186"/>
                  <a:pt x="749" y="186"/>
                </a:cubicBezTo>
                <a:cubicBezTo>
                  <a:pt x="749" y="186"/>
                  <a:pt x="749" y="186"/>
                  <a:pt x="749" y="187"/>
                </a:cubicBezTo>
                <a:cubicBezTo>
                  <a:pt x="749" y="187"/>
                  <a:pt x="749" y="187"/>
                  <a:pt x="749" y="187"/>
                </a:cubicBezTo>
                <a:cubicBezTo>
                  <a:pt x="749" y="187"/>
                  <a:pt x="749" y="187"/>
                  <a:pt x="749" y="188"/>
                </a:cubicBezTo>
                <a:cubicBezTo>
                  <a:pt x="749" y="188"/>
                  <a:pt x="748" y="188"/>
                  <a:pt x="748" y="189"/>
                </a:cubicBezTo>
                <a:cubicBezTo>
                  <a:pt x="748" y="189"/>
                  <a:pt x="749" y="189"/>
                  <a:pt x="749" y="189"/>
                </a:cubicBezTo>
                <a:cubicBezTo>
                  <a:pt x="749" y="188"/>
                  <a:pt x="749" y="188"/>
                  <a:pt x="750" y="188"/>
                </a:cubicBezTo>
                <a:cubicBezTo>
                  <a:pt x="750" y="188"/>
                  <a:pt x="750" y="187"/>
                  <a:pt x="751" y="187"/>
                </a:cubicBezTo>
                <a:cubicBezTo>
                  <a:pt x="751" y="186"/>
                  <a:pt x="751" y="185"/>
                  <a:pt x="750" y="185"/>
                </a:cubicBezTo>
                <a:cubicBezTo>
                  <a:pt x="750" y="185"/>
                  <a:pt x="750" y="185"/>
                  <a:pt x="750" y="184"/>
                </a:cubicBezTo>
                <a:cubicBezTo>
                  <a:pt x="750" y="184"/>
                  <a:pt x="750" y="183"/>
                  <a:pt x="750" y="183"/>
                </a:cubicBezTo>
                <a:cubicBezTo>
                  <a:pt x="749" y="183"/>
                  <a:pt x="749" y="183"/>
                  <a:pt x="749" y="182"/>
                </a:cubicBezTo>
                <a:cubicBezTo>
                  <a:pt x="749" y="182"/>
                  <a:pt x="749" y="181"/>
                  <a:pt x="749" y="181"/>
                </a:cubicBezTo>
                <a:cubicBezTo>
                  <a:pt x="749" y="181"/>
                  <a:pt x="750" y="181"/>
                  <a:pt x="750" y="180"/>
                </a:cubicBezTo>
                <a:cubicBezTo>
                  <a:pt x="750" y="180"/>
                  <a:pt x="750" y="179"/>
                  <a:pt x="750" y="179"/>
                </a:cubicBezTo>
                <a:cubicBezTo>
                  <a:pt x="751" y="179"/>
                  <a:pt x="751" y="181"/>
                  <a:pt x="751" y="182"/>
                </a:cubicBezTo>
                <a:cubicBezTo>
                  <a:pt x="751" y="182"/>
                  <a:pt x="751" y="183"/>
                  <a:pt x="751" y="184"/>
                </a:cubicBezTo>
                <a:cubicBezTo>
                  <a:pt x="751" y="185"/>
                  <a:pt x="752" y="185"/>
                  <a:pt x="752" y="186"/>
                </a:cubicBezTo>
                <a:cubicBezTo>
                  <a:pt x="752" y="187"/>
                  <a:pt x="751" y="187"/>
                  <a:pt x="752" y="188"/>
                </a:cubicBezTo>
                <a:cubicBezTo>
                  <a:pt x="752" y="189"/>
                  <a:pt x="753" y="189"/>
                  <a:pt x="753" y="189"/>
                </a:cubicBezTo>
                <a:cubicBezTo>
                  <a:pt x="754" y="189"/>
                  <a:pt x="755" y="189"/>
                  <a:pt x="756" y="189"/>
                </a:cubicBezTo>
                <a:cubicBezTo>
                  <a:pt x="757" y="190"/>
                  <a:pt x="757" y="190"/>
                  <a:pt x="757" y="190"/>
                </a:cubicBezTo>
                <a:cubicBezTo>
                  <a:pt x="758" y="190"/>
                  <a:pt x="758" y="190"/>
                  <a:pt x="759" y="190"/>
                </a:cubicBezTo>
                <a:cubicBezTo>
                  <a:pt x="759" y="190"/>
                  <a:pt x="760" y="190"/>
                  <a:pt x="761" y="190"/>
                </a:cubicBezTo>
                <a:cubicBezTo>
                  <a:pt x="761" y="189"/>
                  <a:pt x="761" y="189"/>
                  <a:pt x="761" y="188"/>
                </a:cubicBezTo>
                <a:cubicBezTo>
                  <a:pt x="761" y="188"/>
                  <a:pt x="762" y="188"/>
                  <a:pt x="762" y="188"/>
                </a:cubicBezTo>
                <a:cubicBezTo>
                  <a:pt x="762" y="187"/>
                  <a:pt x="762" y="187"/>
                  <a:pt x="762" y="186"/>
                </a:cubicBezTo>
                <a:cubicBezTo>
                  <a:pt x="762" y="186"/>
                  <a:pt x="762" y="186"/>
                  <a:pt x="761" y="186"/>
                </a:cubicBezTo>
                <a:cubicBezTo>
                  <a:pt x="761" y="185"/>
                  <a:pt x="761" y="184"/>
                  <a:pt x="762" y="184"/>
                </a:cubicBezTo>
                <a:cubicBezTo>
                  <a:pt x="762" y="184"/>
                  <a:pt x="762" y="185"/>
                  <a:pt x="762" y="185"/>
                </a:cubicBezTo>
                <a:cubicBezTo>
                  <a:pt x="763" y="185"/>
                  <a:pt x="763" y="185"/>
                  <a:pt x="763" y="186"/>
                </a:cubicBezTo>
                <a:cubicBezTo>
                  <a:pt x="763" y="186"/>
                  <a:pt x="763" y="186"/>
                  <a:pt x="763" y="186"/>
                </a:cubicBezTo>
                <a:cubicBezTo>
                  <a:pt x="763" y="187"/>
                  <a:pt x="762" y="187"/>
                  <a:pt x="763" y="188"/>
                </a:cubicBezTo>
                <a:cubicBezTo>
                  <a:pt x="764" y="188"/>
                  <a:pt x="765" y="187"/>
                  <a:pt x="766" y="188"/>
                </a:cubicBezTo>
                <a:cubicBezTo>
                  <a:pt x="766" y="189"/>
                  <a:pt x="766" y="189"/>
                  <a:pt x="767" y="189"/>
                </a:cubicBezTo>
                <a:cubicBezTo>
                  <a:pt x="768" y="190"/>
                  <a:pt x="770" y="190"/>
                  <a:pt x="771" y="189"/>
                </a:cubicBezTo>
                <a:cubicBezTo>
                  <a:pt x="772" y="189"/>
                  <a:pt x="772" y="188"/>
                  <a:pt x="772" y="187"/>
                </a:cubicBezTo>
                <a:cubicBezTo>
                  <a:pt x="772" y="187"/>
                  <a:pt x="773" y="187"/>
                  <a:pt x="773" y="187"/>
                </a:cubicBezTo>
                <a:cubicBezTo>
                  <a:pt x="774" y="187"/>
                  <a:pt x="776" y="186"/>
                  <a:pt x="775" y="185"/>
                </a:cubicBezTo>
                <a:cubicBezTo>
                  <a:pt x="775" y="185"/>
                  <a:pt x="774" y="185"/>
                  <a:pt x="775" y="185"/>
                </a:cubicBezTo>
                <a:cubicBezTo>
                  <a:pt x="775" y="185"/>
                  <a:pt x="776" y="185"/>
                  <a:pt x="776" y="185"/>
                </a:cubicBezTo>
                <a:cubicBezTo>
                  <a:pt x="777" y="186"/>
                  <a:pt x="776" y="187"/>
                  <a:pt x="775" y="187"/>
                </a:cubicBezTo>
                <a:cubicBezTo>
                  <a:pt x="774" y="187"/>
                  <a:pt x="774" y="188"/>
                  <a:pt x="774" y="188"/>
                </a:cubicBezTo>
                <a:cubicBezTo>
                  <a:pt x="775" y="189"/>
                  <a:pt x="776" y="189"/>
                  <a:pt x="777" y="190"/>
                </a:cubicBezTo>
                <a:cubicBezTo>
                  <a:pt x="777" y="190"/>
                  <a:pt x="778" y="190"/>
                  <a:pt x="779" y="190"/>
                </a:cubicBezTo>
                <a:cubicBezTo>
                  <a:pt x="780" y="190"/>
                  <a:pt x="781" y="190"/>
                  <a:pt x="782" y="190"/>
                </a:cubicBezTo>
                <a:cubicBezTo>
                  <a:pt x="783" y="190"/>
                  <a:pt x="784" y="191"/>
                  <a:pt x="785" y="191"/>
                </a:cubicBezTo>
                <a:cubicBezTo>
                  <a:pt x="786" y="191"/>
                  <a:pt x="787" y="191"/>
                  <a:pt x="788" y="191"/>
                </a:cubicBezTo>
                <a:cubicBezTo>
                  <a:pt x="789" y="192"/>
                  <a:pt x="790" y="192"/>
                  <a:pt x="791" y="191"/>
                </a:cubicBezTo>
                <a:cubicBezTo>
                  <a:pt x="791" y="191"/>
                  <a:pt x="792" y="191"/>
                  <a:pt x="793" y="191"/>
                </a:cubicBezTo>
                <a:cubicBezTo>
                  <a:pt x="794" y="191"/>
                  <a:pt x="795" y="192"/>
                  <a:pt x="795" y="191"/>
                </a:cubicBezTo>
                <a:cubicBezTo>
                  <a:pt x="796" y="191"/>
                  <a:pt x="796" y="190"/>
                  <a:pt x="795" y="190"/>
                </a:cubicBezTo>
                <a:cubicBezTo>
                  <a:pt x="794" y="189"/>
                  <a:pt x="792" y="189"/>
                  <a:pt x="791" y="188"/>
                </a:cubicBezTo>
                <a:cubicBezTo>
                  <a:pt x="790" y="188"/>
                  <a:pt x="790" y="187"/>
                  <a:pt x="790" y="186"/>
                </a:cubicBezTo>
                <a:cubicBezTo>
                  <a:pt x="790" y="185"/>
                  <a:pt x="792" y="186"/>
                  <a:pt x="792" y="187"/>
                </a:cubicBezTo>
                <a:cubicBezTo>
                  <a:pt x="793" y="187"/>
                  <a:pt x="794" y="187"/>
                  <a:pt x="794" y="188"/>
                </a:cubicBezTo>
                <a:cubicBezTo>
                  <a:pt x="795" y="188"/>
                  <a:pt x="795" y="188"/>
                  <a:pt x="795" y="188"/>
                </a:cubicBezTo>
                <a:cubicBezTo>
                  <a:pt x="796" y="188"/>
                  <a:pt x="796" y="188"/>
                  <a:pt x="797" y="187"/>
                </a:cubicBezTo>
                <a:cubicBezTo>
                  <a:pt x="797" y="187"/>
                  <a:pt x="798" y="187"/>
                  <a:pt x="798" y="186"/>
                </a:cubicBezTo>
                <a:cubicBezTo>
                  <a:pt x="799" y="186"/>
                  <a:pt x="799" y="185"/>
                  <a:pt x="799" y="185"/>
                </a:cubicBezTo>
                <a:cubicBezTo>
                  <a:pt x="801" y="184"/>
                  <a:pt x="801" y="185"/>
                  <a:pt x="802" y="186"/>
                </a:cubicBezTo>
                <a:cubicBezTo>
                  <a:pt x="802" y="186"/>
                  <a:pt x="803" y="186"/>
                  <a:pt x="803" y="187"/>
                </a:cubicBezTo>
                <a:cubicBezTo>
                  <a:pt x="804" y="187"/>
                  <a:pt x="804" y="187"/>
                  <a:pt x="805" y="187"/>
                </a:cubicBezTo>
                <a:cubicBezTo>
                  <a:pt x="805" y="188"/>
                  <a:pt x="805" y="188"/>
                  <a:pt x="806" y="188"/>
                </a:cubicBezTo>
                <a:cubicBezTo>
                  <a:pt x="807" y="189"/>
                  <a:pt x="808" y="189"/>
                  <a:pt x="808" y="189"/>
                </a:cubicBezTo>
                <a:cubicBezTo>
                  <a:pt x="809" y="189"/>
                  <a:pt x="809" y="189"/>
                  <a:pt x="810" y="189"/>
                </a:cubicBezTo>
                <a:cubicBezTo>
                  <a:pt x="810" y="189"/>
                  <a:pt x="810" y="188"/>
                  <a:pt x="810" y="188"/>
                </a:cubicBezTo>
                <a:cubicBezTo>
                  <a:pt x="810" y="187"/>
                  <a:pt x="810" y="186"/>
                  <a:pt x="810" y="185"/>
                </a:cubicBezTo>
                <a:cubicBezTo>
                  <a:pt x="809" y="184"/>
                  <a:pt x="809" y="184"/>
                  <a:pt x="809" y="183"/>
                </a:cubicBezTo>
                <a:cubicBezTo>
                  <a:pt x="809" y="183"/>
                  <a:pt x="810" y="184"/>
                  <a:pt x="811" y="184"/>
                </a:cubicBezTo>
                <a:cubicBezTo>
                  <a:pt x="812" y="184"/>
                  <a:pt x="812" y="185"/>
                  <a:pt x="812" y="186"/>
                </a:cubicBezTo>
                <a:cubicBezTo>
                  <a:pt x="812" y="187"/>
                  <a:pt x="812" y="187"/>
                  <a:pt x="813" y="188"/>
                </a:cubicBezTo>
                <a:cubicBezTo>
                  <a:pt x="813" y="188"/>
                  <a:pt x="814" y="188"/>
                  <a:pt x="814" y="188"/>
                </a:cubicBezTo>
                <a:cubicBezTo>
                  <a:pt x="815" y="188"/>
                  <a:pt x="815" y="189"/>
                  <a:pt x="815" y="189"/>
                </a:cubicBezTo>
                <a:cubicBezTo>
                  <a:pt x="816" y="189"/>
                  <a:pt x="817" y="189"/>
                  <a:pt x="818" y="189"/>
                </a:cubicBezTo>
                <a:cubicBezTo>
                  <a:pt x="819" y="189"/>
                  <a:pt x="820" y="189"/>
                  <a:pt x="820" y="189"/>
                </a:cubicBezTo>
                <a:cubicBezTo>
                  <a:pt x="821" y="189"/>
                  <a:pt x="821" y="189"/>
                  <a:pt x="822" y="189"/>
                </a:cubicBezTo>
                <a:cubicBezTo>
                  <a:pt x="822" y="189"/>
                  <a:pt x="822" y="189"/>
                  <a:pt x="823" y="189"/>
                </a:cubicBezTo>
                <a:cubicBezTo>
                  <a:pt x="823" y="188"/>
                  <a:pt x="823" y="188"/>
                  <a:pt x="823" y="188"/>
                </a:cubicBezTo>
                <a:cubicBezTo>
                  <a:pt x="823" y="187"/>
                  <a:pt x="823" y="187"/>
                  <a:pt x="824" y="187"/>
                </a:cubicBezTo>
                <a:cubicBezTo>
                  <a:pt x="824" y="185"/>
                  <a:pt x="822" y="184"/>
                  <a:pt x="821" y="183"/>
                </a:cubicBezTo>
                <a:cubicBezTo>
                  <a:pt x="820" y="182"/>
                  <a:pt x="820" y="182"/>
                  <a:pt x="819" y="181"/>
                </a:cubicBezTo>
                <a:cubicBezTo>
                  <a:pt x="819" y="181"/>
                  <a:pt x="818" y="180"/>
                  <a:pt x="818" y="180"/>
                </a:cubicBezTo>
                <a:cubicBezTo>
                  <a:pt x="818" y="180"/>
                  <a:pt x="817" y="180"/>
                  <a:pt x="817" y="180"/>
                </a:cubicBezTo>
                <a:cubicBezTo>
                  <a:pt x="817" y="180"/>
                  <a:pt x="817" y="180"/>
                  <a:pt x="817" y="180"/>
                </a:cubicBezTo>
                <a:cubicBezTo>
                  <a:pt x="819" y="180"/>
                  <a:pt x="820" y="181"/>
                  <a:pt x="822" y="182"/>
                </a:cubicBezTo>
                <a:cubicBezTo>
                  <a:pt x="822" y="182"/>
                  <a:pt x="823" y="183"/>
                  <a:pt x="824" y="183"/>
                </a:cubicBezTo>
                <a:cubicBezTo>
                  <a:pt x="824" y="183"/>
                  <a:pt x="825" y="182"/>
                  <a:pt x="825" y="183"/>
                </a:cubicBezTo>
                <a:cubicBezTo>
                  <a:pt x="826" y="183"/>
                  <a:pt x="825" y="183"/>
                  <a:pt x="825" y="183"/>
                </a:cubicBezTo>
                <a:cubicBezTo>
                  <a:pt x="824" y="184"/>
                  <a:pt x="824" y="185"/>
                  <a:pt x="824" y="185"/>
                </a:cubicBezTo>
                <a:cubicBezTo>
                  <a:pt x="824" y="186"/>
                  <a:pt x="825" y="186"/>
                  <a:pt x="826" y="187"/>
                </a:cubicBezTo>
                <a:cubicBezTo>
                  <a:pt x="827" y="187"/>
                  <a:pt x="827" y="187"/>
                  <a:pt x="828" y="187"/>
                </a:cubicBezTo>
                <a:cubicBezTo>
                  <a:pt x="829" y="187"/>
                  <a:pt x="831" y="188"/>
                  <a:pt x="832" y="187"/>
                </a:cubicBezTo>
                <a:cubicBezTo>
                  <a:pt x="832" y="187"/>
                  <a:pt x="832" y="187"/>
                  <a:pt x="832" y="186"/>
                </a:cubicBezTo>
                <a:cubicBezTo>
                  <a:pt x="833" y="186"/>
                  <a:pt x="833" y="186"/>
                  <a:pt x="834" y="185"/>
                </a:cubicBezTo>
                <a:cubicBezTo>
                  <a:pt x="835" y="185"/>
                  <a:pt x="835" y="187"/>
                  <a:pt x="836" y="187"/>
                </a:cubicBezTo>
                <a:cubicBezTo>
                  <a:pt x="837" y="188"/>
                  <a:pt x="838" y="188"/>
                  <a:pt x="838" y="189"/>
                </a:cubicBezTo>
                <a:cubicBezTo>
                  <a:pt x="838" y="189"/>
                  <a:pt x="838" y="190"/>
                  <a:pt x="838" y="191"/>
                </a:cubicBezTo>
                <a:cubicBezTo>
                  <a:pt x="837" y="192"/>
                  <a:pt x="837" y="193"/>
                  <a:pt x="836" y="193"/>
                </a:cubicBezTo>
                <a:cubicBezTo>
                  <a:pt x="836" y="194"/>
                  <a:pt x="835" y="195"/>
                  <a:pt x="835" y="195"/>
                </a:cubicBezTo>
                <a:cubicBezTo>
                  <a:pt x="836" y="196"/>
                  <a:pt x="836" y="195"/>
                  <a:pt x="836" y="195"/>
                </a:cubicBezTo>
                <a:cubicBezTo>
                  <a:pt x="837" y="195"/>
                  <a:pt x="837" y="195"/>
                  <a:pt x="838" y="195"/>
                </a:cubicBezTo>
                <a:cubicBezTo>
                  <a:pt x="839" y="194"/>
                  <a:pt x="840" y="194"/>
                  <a:pt x="840" y="194"/>
                </a:cubicBezTo>
                <a:cubicBezTo>
                  <a:pt x="843" y="194"/>
                  <a:pt x="845" y="193"/>
                  <a:pt x="847" y="193"/>
                </a:cubicBezTo>
                <a:cubicBezTo>
                  <a:pt x="849" y="192"/>
                  <a:pt x="851" y="192"/>
                  <a:pt x="853" y="192"/>
                </a:cubicBezTo>
                <a:cubicBezTo>
                  <a:pt x="854" y="192"/>
                  <a:pt x="855" y="192"/>
                  <a:pt x="856" y="191"/>
                </a:cubicBezTo>
                <a:cubicBezTo>
                  <a:pt x="857" y="191"/>
                  <a:pt x="857" y="190"/>
                  <a:pt x="858" y="189"/>
                </a:cubicBezTo>
                <a:cubicBezTo>
                  <a:pt x="858" y="189"/>
                  <a:pt x="859" y="188"/>
                  <a:pt x="859" y="187"/>
                </a:cubicBezTo>
                <a:cubicBezTo>
                  <a:pt x="860" y="187"/>
                  <a:pt x="860" y="186"/>
                  <a:pt x="861" y="186"/>
                </a:cubicBezTo>
                <a:cubicBezTo>
                  <a:pt x="862" y="186"/>
                  <a:pt x="863" y="186"/>
                  <a:pt x="864" y="187"/>
                </a:cubicBezTo>
                <a:cubicBezTo>
                  <a:pt x="864" y="188"/>
                  <a:pt x="864" y="188"/>
                  <a:pt x="865" y="188"/>
                </a:cubicBezTo>
                <a:cubicBezTo>
                  <a:pt x="866" y="187"/>
                  <a:pt x="867" y="187"/>
                  <a:pt x="867" y="186"/>
                </a:cubicBezTo>
                <a:cubicBezTo>
                  <a:pt x="868" y="186"/>
                  <a:pt x="869" y="186"/>
                  <a:pt x="870" y="185"/>
                </a:cubicBezTo>
                <a:cubicBezTo>
                  <a:pt x="871" y="185"/>
                  <a:pt x="872" y="184"/>
                  <a:pt x="872" y="184"/>
                </a:cubicBezTo>
                <a:cubicBezTo>
                  <a:pt x="872" y="183"/>
                  <a:pt x="872" y="183"/>
                  <a:pt x="872" y="182"/>
                </a:cubicBezTo>
                <a:cubicBezTo>
                  <a:pt x="873" y="181"/>
                  <a:pt x="874" y="179"/>
                  <a:pt x="873" y="178"/>
                </a:cubicBezTo>
                <a:cubicBezTo>
                  <a:pt x="872" y="178"/>
                  <a:pt x="872" y="178"/>
                  <a:pt x="872" y="177"/>
                </a:cubicBezTo>
                <a:cubicBezTo>
                  <a:pt x="872" y="177"/>
                  <a:pt x="872" y="177"/>
                  <a:pt x="871" y="176"/>
                </a:cubicBezTo>
                <a:cubicBezTo>
                  <a:pt x="870" y="175"/>
                  <a:pt x="869" y="173"/>
                  <a:pt x="867" y="174"/>
                </a:cubicBezTo>
                <a:cubicBezTo>
                  <a:pt x="866" y="175"/>
                  <a:pt x="866" y="175"/>
                  <a:pt x="865" y="176"/>
                </a:cubicBezTo>
                <a:cubicBezTo>
                  <a:pt x="865" y="176"/>
                  <a:pt x="864" y="176"/>
                  <a:pt x="864" y="176"/>
                </a:cubicBezTo>
                <a:cubicBezTo>
                  <a:pt x="863" y="177"/>
                  <a:pt x="863" y="177"/>
                  <a:pt x="862" y="178"/>
                </a:cubicBezTo>
                <a:cubicBezTo>
                  <a:pt x="862" y="178"/>
                  <a:pt x="861" y="179"/>
                  <a:pt x="860" y="179"/>
                </a:cubicBezTo>
                <a:cubicBezTo>
                  <a:pt x="860" y="178"/>
                  <a:pt x="860" y="178"/>
                  <a:pt x="860" y="178"/>
                </a:cubicBezTo>
                <a:cubicBezTo>
                  <a:pt x="860" y="178"/>
                  <a:pt x="860" y="178"/>
                  <a:pt x="860" y="178"/>
                </a:cubicBezTo>
                <a:cubicBezTo>
                  <a:pt x="860" y="177"/>
                  <a:pt x="860" y="177"/>
                  <a:pt x="860" y="177"/>
                </a:cubicBezTo>
                <a:cubicBezTo>
                  <a:pt x="860" y="176"/>
                  <a:pt x="859" y="176"/>
                  <a:pt x="858" y="176"/>
                </a:cubicBezTo>
                <a:cubicBezTo>
                  <a:pt x="857" y="176"/>
                  <a:pt x="856" y="176"/>
                  <a:pt x="856" y="176"/>
                </a:cubicBezTo>
                <a:cubicBezTo>
                  <a:pt x="854" y="176"/>
                  <a:pt x="856" y="173"/>
                  <a:pt x="856" y="173"/>
                </a:cubicBezTo>
                <a:cubicBezTo>
                  <a:pt x="857" y="172"/>
                  <a:pt x="858" y="172"/>
                  <a:pt x="858" y="171"/>
                </a:cubicBezTo>
                <a:cubicBezTo>
                  <a:pt x="858" y="170"/>
                  <a:pt x="857" y="170"/>
                  <a:pt x="857" y="170"/>
                </a:cubicBezTo>
                <a:cubicBezTo>
                  <a:pt x="856" y="169"/>
                  <a:pt x="855" y="169"/>
                  <a:pt x="855" y="169"/>
                </a:cubicBezTo>
                <a:cubicBezTo>
                  <a:pt x="854" y="169"/>
                  <a:pt x="853" y="169"/>
                  <a:pt x="852" y="169"/>
                </a:cubicBezTo>
                <a:cubicBezTo>
                  <a:pt x="851" y="169"/>
                  <a:pt x="851" y="169"/>
                  <a:pt x="850" y="169"/>
                </a:cubicBezTo>
                <a:cubicBezTo>
                  <a:pt x="849" y="169"/>
                  <a:pt x="849" y="169"/>
                  <a:pt x="849" y="170"/>
                </a:cubicBezTo>
                <a:cubicBezTo>
                  <a:pt x="848" y="170"/>
                  <a:pt x="847" y="171"/>
                  <a:pt x="846" y="171"/>
                </a:cubicBezTo>
                <a:cubicBezTo>
                  <a:pt x="846" y="171"/>
                  <a:pt x="843" y="173"/>
                  <a:pt x="843" y="172"/>
                </a:cubicBezTo>
                <a:cubicBezTo>
                  <a:pt x="844" y="171"/>
                  <a:pt x="845" y="171"/>
                  <a:pt x="845" y="170"/>
                </a:cubicBezTo>
                <a:cubicBezTo>
                  <a:pt x="845" y="169"/>
                  <a:pt x="844" y="169"/>
                  <a:pt x="843" y="169"/>
                </a:cubicBezTo>
                <a:cubicBezTo>
                  <a:pt x="842" y="169"/>
                  <a:pt x="842" y="169"/>
                  <a:pt x="841" y="169"/>
                </a:cubicBezTo>
                <a:cubicBezTo>
                  <a:pt x="839" y="168"/>
                  <a:pt x="837" y="168"/>
                  <a:pt x="836" y="168"/>
                </a:cubicBezTo>
                <a:cubicBezTo>
                  <a:pt x="834" y="168"/>
                  <a:pt x="832" y="169"/>
                  <a:pt x="830" y="170"/>
                </a:cubicBezTo>
                <a:cubicBezTo>
                  <a:pt x="829" y="170"/>
                  <a:pt x="828" y="171"/>
                  <a:pt x="827" y="170"/>
                </a:cubicBezTo>
                <a:cubicBezTo>
                  <a:pt x="826" y="170"/>
                  <a:pt x="827" y="169"/>
                  <a:pt x="826" y="168"/>
                </a:cubicBezTo>
                <a:cubicBezTo>
                  <a:pt x="826" y="168"/>
                  <a:pt x="824" y="168"/>
                  <a:pt x="825" y="167"/>
                </a:cubicBezTo>
                <a:cubicBezTo>
                  <a:pt x="825" y="167"/>
                  <a:pt x="827" y="167"/>
                  <a:pt x="828" y="167"/>
                </a:cubicBezTo>
                <a:cubicBezTo>
                  <a:pt x="829" y="167"/>
                  <a:pt x="830" y="167"/>
                  <a:pt x="831" y="167"/>
                </a:cubicBezTo>
                <a:cubicBezTo>
                  <a:pt x="832" y="167"/>
                  <a:pt x="833" y="167"/>
                  <a:pt x="834" y="167"/>
                </a:cubicBezTo>
                <a:cubicBezTo>
                  <a:pt x="834" y="167"/>
                  <a:pt x="833" y="166"/>
                  <a:pt x="833" y="166"/>
                </a:cubicBezTo>
                <a:cubicBezTo>
                  <a:pt x="833" y="166"/>
                  <a:pt x="832" y="165"/>
                  <a:pt x="832" y="165"/>
                </a:cubicBezTo>
                <a:cubicBezTo>
                  <a:pt x="831" y="165"/>
                  <a:pt x="829" y="165"/>
                  <a:pt x="828" y="164"/>
                </a:cubicBezTo>
                <a:cubicBezTo>
                  <a:pt x="828" y="164"/>
                  <a:pt x="829" y="163"/>
                  <a:pt x="828" y="162"/>
                </a:cubicBezTo>
                <a:cubicBezTo>
                  <a:pt x="828" y="161"/>
                  <a:pt x="828" y="161"/>
                  <a:pt x="827" y="160"/>
                </a:cubicBezTo>
                <a:cubicBezTo>
                  <a:pt x="826" y="160"/>
                  <a:pt x="826" y="159"/>
                  <a:pt x="825" y="159"/>
                </a:cubicBezTo>
                <a:cubicBezTo>
                  <a:pt x="826" y="159"/>
                  <a:pt x="827" y="159"/>
                  <a:pt x="828" y="159"/>
                </a:cubicBezTo>
                <a:cubicBezTo>
                  <a:pt x="828" y="160"/>
                  <a:pt x="829" y="160"/>
                  <a:pt x="829" y="161"/>
                </a:cubicBezTo>
                <a:cubicBezTo>
                  <a:pt x="829" y="162"/>
                  <a:pt x="830" y="162"/>
                  <a:pt x="831" y="163"/>
                </a:cubicBezTo>
                <a:cubicBezTo>
                  <a:pt x="831" y="163"/>
                  <a:pt x="832" y="163"/>
                  <a:pt x="832" y="164"/>
                </a:cubicBezTo>
                <a:cubicBezTo>
                  <a:pt x="833" y="164"/>
                  <a:pt x="833" y="164"/>
                  <a:pt x="833" y="164"/>
                </a:cubicBezTo>
                <a:cubicBezTo>
                  <a:pt x="834" y="165"/>
                  <a:pt x="834" y="165"/>
                  <a:pt x="835" y="165"/>
                </a:cubicBezTo>
                <a:cubicBezTo>
                  <a:pt x="836" y="165"/>
                  <a:pt x="836" y="166"/>
                  <a:pt x="837" y="166"/>
                </a:cubicBezTo>
                <a:cubicBezTo>
                  <a:pt x="838" y="167"/>
                  <a:pt x="839" y="167"/>
                  <a:pt x="839" y="167"/>
                </a:cubicBezTo>
                <a:cubicBezTo>
                  <a:pt x="840" y="167"/>
                  <a:pt x="841" y="167"/>
                  <a:pt x="842" y="167"/>
                </a:cubicBezTo>
                <a:cubicBezTo>
                  <a:pt x="844" y="167"/>
                  <a:pt x="846" y="168"/>
                  <a:pt x="847" y="168"/>
                </a:cubicBezTo>
                <a:cubicBezTo>
                  <a:pt x="849" y="168"/>
                  <a:pt x="851" y="167"/>
                  <a:pt x="853" y="167"/>
                </a:cubicBezTo>
                <a:cubicBezTo>
                  <a:pt x="853" y="167"/>
                  <a:pt x="853" y="167"/>
                  <a:pt x="854" y="168"/>
                </a:cubicBezTo>
                <a:cubicBezTo>
                  <a:pt x="854" y="168"/>
                  <a:pt x="854" y="168"/>
                  <a:pt x="855" y="168"/>
                </a:cubicBezTo>
                <a:cubicBezTo>
                  <a:pt x="856" y="168"/>
                  <a:pt x="857" y="168"/>
                  <a:pt x="858" y="168"/>
                </a:cubicBezTo>
                <a:cubicBezTo>
                  <a:pt x="858" y="167"/>
                  <a:pt x="859" y="167"/>
                  <a:pt x="860" y="167"/>
                </a:cubicBezTo>
                <a:cubicBezTo>
                  <a:pt x="861" y="167"/>
                  <a:pt x="862" y="167"/>
                  <a:pt x="862" y="167"/>
                </a:cubicBezTo>
                <a:cubicBezTo>
                  <a:pt x="863" y="166"/>
                  <a:pt x="864" y="165"/>
                  <a:pt x="865" y="164"/>
                </a:cubicBezTo>
                <a:cubicBezTo>
                  <a:pt x="866" y="164"/>
                  <a:pt x="867" y="163"/>
                  <a:pt x="868" y="162"/>
                </a:cubicBezTo>
                <a:cubicBezTo>
                  <a:pt x="869" y="161"/>
                  <a:pt x="870" y="161"/>
                  <a:pt x="871" y="160"/>
                </a:cubicBezTo>
                <a:cubicBezTo>
                  <a:pt x="871" y="159"/>
                  <a:pt x="871" y="159"/>
                  <a:pt x="871" y="158"/>
                </a:cubicBezTo>
                <a:cubicBezTo>
                  <a:pt x="870" y="158"/>
                  <a:pt x="870" y="157"/>
                  <a:pt x="870" y="156"/>
                </a:cubicBezTo>
                <a:cubicBezTo>
                  <a:pt x="870" y="156"/>
                  <a:pt x="871" y="156"/>
                  <a:pt x="871" y="156"/>
                </a:cubicBezTo>
                <a:cubicBezTo>
                  <a:pt x="871" y="156"/>
                  <a:pt x="871" y="155"/>
                  <a:pt x="871" y="155"/>
                </a:cubicBezTo>
                <a:cubicBezTo>
                  <a:pt x="870" y="154"/>
                  <a:pt x="869" y="154"/>
                  <a:pt x="868" y="154"/>
                </a:cubicBezTo>
                <a:cubicBezTo>
                  <a:pt x="868" y="153"/>
                  <a:pt x="868" y="153"/>
                  <a:pt x="867" y="153"/>
                </a:cubicBezTo>
                <a:cubicBezTo>
                  <a:pt x="867" y="153"/>
                  <a:pt x="866" y="153"/>
                  <a:pt x="866" y="153"/>
                </a:cubicBezTo>
                <a:cubicBezTo>
                  <a:pt x="866" y="152"/>
                  <a:pt x="867" y="151"/>
                  <a:pt x="868" y="151"/>
                </a:cubicBezTo>
                <a:cubicBezTo>
                  <a:pt x="868" y="151"/>
                  <a:pt x="869" y="151"/>
                  <a:pt x="870" y="152"/>
                </a:cubicBezTo>
                <a:cubicBezTo>
                  <a:pt x="871" y="152"/>
                  <a:pt x="871" y="152"/>
                  <a:pt x="872" y="152"/>
                </a:cubicBezTo>
                <a:cubicBezTo>
                  <a:pt x="873" y="152"/>
                  <a:pt x="874" y="152"/>
                  <a:pt x="875" y="152"/>
                </a:cubicBezTo>
                <a:cubicBezTo>
                  <a:pt x="876" y="152"/>
                  <a:pt x="877" y="152"/>
                  <a:pt x="878" y="152"/>
                </a:cubicBezTo>
                <a:cubicBezTo>
                  <a:pt x="879" y="152"/>
                  <a:pt x="880" y="152"/>
                  <a:pt x="881" y="153"/>
                </a:cubicBezTo>
                <a:cubicBezTo>
                  <a:pt x="881" y="153"/>
                  <a:pt x="882" y="153"/>
                  <a:pt x="882" y="153"/>
                </a:cubicBezTo>
                <a:cubicBezTo>
                  <a:pt x="883" y="153"/>
                  <a:pt x="883" y="153"/>
                  <a:pt x="884" y="153"/>
                </a:cubicBezTo>
                <a:cubicBezTo>
                  <a:pt x="885" y="153"/>
                  <a:pt x="885" y="152"/>
                  <a:pt x="886" y="152"/>
                </a:cubicBezTo>
                <a:cubicBezTo>
                  <a:pt x="887" y="152"/>
                  <a:pt x="888" y="152"/>
                  <a:pt x="889" y="151"/>
                </a:cubicBezTo>
                <a:cubicBezTo>
                  <a:pt x="890" y="151"/>
                  <a:pt x="891" y="151"/>
                  <a:pt x="892" y="151"/>
                </a:cubicBezTo>
                <a:cubicBezTo>
                  <a:pt x="892" y="150"/>
                  <a:pt x="893" y="151"/>
                  <a:pt x="893" y="151"/>
                </a:cubicBezTo>
                <a:cubicBezTo>
                  <a:pt x="893" y="152"/>
                  <a:pt x="894" y="152"/>
                  <a:pt x="894" y="151"/>
                </a:cubicBezTo>
                <a:cubicBezTo>
                  <a:pt x="894" y="150"/>
                  <a:pt x="895" y="149"/>
                  <a:pt x="894" y="148"/>
                </a:cubicBezTo>
                <a:cubicBezTo>
                  <a:pt x="894" y="147"/>
                  <a:pt x="893" y="147"/>
                  <a:pt x="892" y="147"/>
                </a:cubicBezTo>
                <a:cubicBezTo>
                  <a:pt x="891" y="147"/>
                  <a:pt x="891" y="146"/>
                  <a:pt x="890" y="146"/>
                </a:cubicBezTo>
                <a:cubicBezTo>
                  <a:pt x="889" y="146"/>
                  <a:pt x="888" y="146"/>
                  <a:pt x="888" y="146"/>
                </a:cubicBezTo>
                <a:cubicBezTo>
                  <a:pt x="887" y="146"/>
                  <a:pt x="886" y="146"/>
                  <a:pt x="886" y="146"/>
                </a:cubicBezTo>
                <a:cubicBezTo>
                  <a:pt x="885" y="146"/>
                  <a:pt x="885" y="146"/>
                  <a:pt x="885" y="145"/>
                </a:cubicBezTo>
                <a:cubicBezTo>
                  <a:pt x="885" y="145"/>
                  <a:pt x="884" y="145"/>
                  <a:pt x="884" y="145"/>
                </a:cubicBezTo>
                <a:cubicBezTo>
                  <a:pt x="884" y="145"/>
                  <a:pt x="886" y="145"/>
                  <a:pt x="886" y="145"/>
                </a:cubicBezTo>
                <a:cubicBezTo>
                  <a:pt x="887" y="145"/>
                  <a:pt x="888" y="145"/>
                  <a:pt x="889" y="144"/>
                </a:cubicBezTo>
                <a:cubicBezTo>
                  <a:pt x="890" y="144"/>
                  <a:pt x="891" y="144"/>
                  <a:pt x="892" y="144"/>
                </a:cubicBezTo>
                <a:cubicBezTo>
                  <a:pt x="893" y="144"/>
                  <a:pt x="894" y="144"/>
                  <a:pt x="894" y="145"/>
                </a:cubicBezTo>
                <a:cubicBezTo>
                  <a:pt x="895" y="146"/>
                  <a:pt x="896" y="146"/>
                  <a:pt x="897" y="146"/>
                </a:cubicBezTo>
                <a:cubicBezTo>
                  <a:pt x="898" y="145"/>
                  <a:pt x="898" y="144"/>
                  <a:pt x="899" y="144"/>
                </a:cubicBezTo>
                <a:cubicBezTo>
                  <a:pt x="899" y="143"/>
                  <a:pt x="901" y="140"/>
                  <a:pt x="899" y="139"/>
                </a:cubicBezTo>
                <a:cubicBezTo>
                  <a:pt x="899" y="139"/>
                  <a:pt x="898" y="139"/>
                  <a:pt x="898" y="139"/>
                </a:cubicBezTo>
                <a:cubicBezTo>
                  <a:pt x="897" y="139"/>
                  <a:pt x="897" y="139"/>
                  <a:pt x="896" y="139"/>
                </a:cubicBezTo>
                <a:cubicBezTo>
                  <a:pt x="895" y="139"/>
                  <a:pt x="894" y="139"/>
                  <a:pt x="893" y="139"/>
                </a:cubicBezTo>
                <a:cubicBezTo>
                  <a:pt x="892" y="138"/>
                  <a:pt x="891" y="138"/>
                  <a:pt x="891" y="138"/>
                </a:cubicBezTo>
                <a:cubicBezTo>
                  <a:pt x="890" y="137"/>
                  <a:pt x="889" y="137"/>
                  <a:pt x="889" y="137"/>
                </a:cubicBezTo>
                <a:cubicBezTo>
                  <a:pt x="888" y="137"/>
                  <a:pt x="887" y="138"/>
                  <a:pt x="887" y="137"/>
                </a:cubicBezTo>
                <a:cubicBezTo>
                  <a:pt x="888" y="137"/>
                  <a:pt x="889" y="137"/>
                  <a:pt x="890" y="137"/>
                </a:cubicBezTo>
                <a:cubicBezTo>
                  <a:pt x="892" y="137"/>
                  <a:pt x="895" y="137"/>
                  <a:pt x="897" y="136"/>
                </a:cubicBezTo>
                <a:cubicBezTo>
                  <a:pt x="899" y="136"/>
                  <a:pt x="901" y="136"/>
                  <a:pt x="903" y="136"/>
                </a:cubicBezTo>
                <a:cubicBezTo>
                  <a:pt x="904" y="136"/>
                  <a:pt x="904" y="136"/>
                  <a:pt x="905" y="136"/>
                </a:cubicBezTo>
                <a:cubicBezTo>
                  <a:pt x="906" y="136"/>
                  <a:pt x="907" y="136"/>
                  <a:pt x="908" y="136"/>
                </a:cubicBezTo>
                <a:cubicBezTo>
                  <a:pt x="908" y="136"/>
                  <a:pt x="909" y="136"/>
                  <a:pt x="909" y="136"/>
                </a:cubicBezTo>
                <a:cubicBezTo>
                  <a:pt x="908" y="135"/>
                  <a:pt x="908" y="135"/>
                  <a:pt x="908" y="135"/>
                </a:cubicBezTo>
                <a:cubicBezTo>
                  <a:pt x="907" y="135"/>
                  <a:pt x="907" y="135"/>
                  <a:pt x="907" y="135"/>
                </a:cubicBezTo>
                <a:cubicBezTo>
                  <a:pt x="906" y="134"/>
                  <a:pt x="906" y="134"/>
                  <a:pt x="907" y="133"/>
                </a:cubicBezTo>
                <a:cubicBezTo>
                  <a:pt x="907" y="133"/>
                  <a:pt x="907" y="133"/>
                  <a:pt x="907" y="132"/>
                </a:cubicBezTo>
                <a:cubicBezTo>
                  <a:pt x="907" y="132"/>
                  <a:pt x="907" y="132"/>
                  <a:pt x="907" y="131"/>
                </a:cubicBezTo>
                <a:cubicBezTo>
                  <a:pt x="907" y="131"/>
                  <a:pt x="907" y="131"/>
                  <a:pt x="906" y="131"/>
                </a:cubicBezTo>
                <a:cubicBezTo>
                  <a:pt x="906" y="130"/>
                  <a:pt x="907" y="130"/>
                  <a:pt x="906" y="130"/>
                </a:cubicBezTo>
                <a:cubicBezTo>
                  <a:pt x="906" y="129"/>
                  <a:pt x="906" y="129"/>
                  <a:pt x="906" y="129"/>
                </a:cubicBezTo>
                <a:cubicBezTo>
                  <a:pt x="905" y="129"/>
                  <a:pt x="904" y="129"/>
                  <a:pt x="904" y="129"/>
                </a:cubicBezTo>
                <a:cubicBezTo>
                  <a:pt x="903" y="128"/>
                  <a:pt x="902" y="128"/>
                  <a:pt x="901" y="128"/>
                </a:cubicBezTo>
                <a:cubicBezTo>
                  <a:pt x="900" y="128"/>
                  <a:pt x="899" y="128"/>
                  <a:pt x="898" y="128"/>
                </a:cubicBezTo>
                <a:cubicBezTo>
                  <a:pt x="897" y="128"/>
                  <a:pt x="896" y="128"/>
                  <a:pt x="896" y="128"/>
                </a:cubicBezTo>
                <a:cubicBezTo>
                  <a:pt x="895" y="128"/>
                  <a:pt x="894" y="128"/>
                  <a:pt x="894" y="128"/>
                </a:cubicBezTo>
                <a:cubicBezTo>
                  <a:pt x="893" y="128"/>
                  <a:pt x="892" y="128"/>
                  <a:pt x="891" y="128"/>
                </a:cubicBezTo>
                <a:cubicBezTo>
                  <a:pt x="891" y="128"/>
                  <a:pt x="890" y="129"/>
                  <a:pt x="890" y="129"/>
                </a:cubicBezTo>
                <a:cubicBezTo>
                  <a:pt x="888" y="129"/>
                  <a:pt x="890" y="128"/>
                  <a:pt x="890" y="127"/>
                </a:cubicBezTo>
                <a:cubicBezTo>
                  <a:pt x="890" y="127"/>
                  <a:pt x="891" y="127"/>
                  <a:pt x="891" y="127"/>
                </a:cubicBezTo>
                <a:cubicBezTo>
                  <a:pt x="892" y="126"/>
                  <a:pt x="892" y="126"/>
                  <a:pt x="892" y="126"/>
                </a:cubicBezTo>
                <a:cubicBezTo>
                  <a:pt x="892" y="125"/>
                  <a:pt x="890" y="125"/>
                  <a:pt x="890" y="125"/>
                </a:cubicBezTo>
                <a:cubicBezTo>
                  <a:pt x="888" y="125"/>
                  <a:pt x="887" y="125"/>
                  <a:pt x="885" y="125"/>
                </a:cubicBezTo>
                <a:cubicBezTo>
                  <a:pt x="884" y="125"/>
                  <a:pt x="883" y="125"/>
                  <a:pt x="882" y="125"/>
                </a:cubicBezTo>
                <a:cubicBezTo>
                  <a:pt x="881" y="125"/>
                  <a:pt x="880" y="125"/>
                  <a:pt x="879" y="125"/>
                </a:cubicBezTo>
                <a:cubicBezTo>
                  <a:pt x="877" y="126"/>
                  <a:pt x="875" y="126"/>
                  <a:pt x="874" y="126"/>
                </a:cubicBezTo>
                <a:cubicBezTo>
                  <a:pt x="872" y="127"/>
                  <a:pt x="871" y="128"/>
                  <a:pt x="869" y="129"/>
                </a:cubicBezTo>
                <a:cubicBezTo>
                  <a:pt x="869" y="128"/>
                  <a:pt x="871" y="127"/>
                  <a:pt x="872" y="126"/>
                </a:cubicBezTo>
                <a:cubicBezTo>
                  <a:pt x="872" y="126"/>
                  <a:pt x="873" y="124"/>
                  <a:pt x="874" y="124"/>
                </a:cubicBezTo>
                <a:cubicBezTo>
                  <a:pt x="874" y="125"/>
                  <a:pt x="874" y="125"/>
                  <a:pt x="875" y="125"/>
                </a:cubicBezTo>
                <a:cubicBezTo>
                  <a:pt x="875" y="125"/>
                  <a:pt x="876" y="125"/>
                  <a:pt x="876" y="125"/>
                </a:cubicBezTo>
                <a:cubicBezTo>
                  <a:pt x="877" y="125"/>
                  <a:pt x="878" y="124"/>
                  <a:pt x="879" y="124"/>
                </a:cubicBezTo>
                <a:cubicBezTo>
                  <a:pt x="880" y="124"/>
                  <a:pt x="881" y="124"/>
                  <a:pt x="882" y="123"/>
                </a:cubicBezTo>
                <a:cubicBezTo>
                  <a:pt x="883" y="123"/>
                  <a:pt x="884" y="123"/>
                  <a:pt x="885" y="123"/>
                </a:cubicBezTo>
                <a:cubicBezTo>
                  <a:pt x="886" y="123"/>
                  <a:pt x="887" y="123"/>
                  <a:pt x="888" y="123"/>
                </a:cubicBezTo>
                <a:cubicBezTo>
                  <a:pt x="889" y="124"/>
                  <a:pt x="889" y="123"/>
                  <a:pt x="890" y="123"/>
                </a:cubicBezTo>
                <a:cubicBezTo>
                  <a:pt x="890" y="123"/>
                  <a:pt x="891" y="124"/>
                  <a:pt x="891" y="123"/>
                </a:cubicBezTo>
                <a:cubicBezTo>
                  <a:pt x="890" y="122"/>
                  <a:pt x="887" y="122"/>
                  <a:pt x="886" y="122"/>
                </a:cubicBezTo>
                <a:cubicBezTo>
                  <a:pt x="885" y="122"/>
                  <a:pt x="883" y="122"/>
                  <a:pt x="882" y="122"/>
                </a:cubicBezTo>
                <a:cubicBezTo>
                  <a:pt x="882" y="122"/>
                  <a:pt x="881" y="121"/>
                  <a:pt x="881" y="121"/>
                </a:cubicBezTo>
                <a:cubicBezTo>
                  <a:pt x="881" y="121"/>
                  <a:pt x="880" y="121"/>
                  <a:pt x="880" y="121"/>
                </a:cubicBezTo>
                <a:cubicBezTo>
                  <a:pt x="879" y="121"/>
                  <a:pt x="878" y="121"/>
                  <a:pt x="877" y="121"/>
                </a:cubicBezTo>
                <a:cubicBezTo>
                  <a:pt x="876" y="121"/>
                  <a:pt x="875" y="121"/>
                  <a:pt x="874" y="121"/>
                </a:cubicBezTo>
                <a:cubicBezTo>
                  <a:pt x="875" y="120"/>
                  <a:pt x="877" y="121"/>
                  <a:pt x="878" y="121"/>
                </a:cubicBezTo>
                <a:cubicBezTo>
                  <a:pt x="879" y="121"/>
                  <a:pt x="880" y="121"/>
                  <a:pt x="881" y="121"/>
                </a:cubicBezTo>
                <a:cubicBezTo>
                  <a:pt x="883" y="120"/>
                  <a:pt x="885" y="120"/>
                  <a:pt x="886" y="120"/>
                </a:cubicBezTo>
                <a:cubicBezTo>
                  <a:pt x="888" y="120"/>
                  <a:pt x="889" y="120"/>
                  <a:pt x="890" y="121"/>
                </a:cubicBezTo>
                <a:cubicBezTo>
                  <a:pt x="891" y="121"/>
                  <a:pt x="892" y="120"/>
                  <a:pt x="893" y="121"/>
                </a:cubicBezTo>
                <a:cubicBezTo>
                  <a:pt x="893" y="121"/>
                  <a:pt x="893" y="121"/>
                  <a:pt x="894" y="121"/>
                </a:cubicBezTo>
                <a:cubicBezTo>
                  <a:pt x="894" y="121"/>
                  <a:pt x="894" y="121"/>
                  <a:pt x="894" y="122"/>
                </a:cubicBezTo>
                <a:cubicBezTo>
                  <a:pt x="894" y="122"/>
                  <a:pt x="894" y="122"/>
                  <a:pt x="894" y="123"/>
                </a:cubicBezTo>
                <a:cubicBezTo>
                  <a:pt x="895" y="123"/>
                  <a:pt x="895" y="123"/>
                  <a:pt x="896" y="123"/>
                </a:cubicBezTo>
                <a:cubicBezTo>
                  <a:pt x="896" y="123"/>
                  <a:pt x="897" y="123"/>
                  <a:pt x="898" y="124"/>
                </a:cubicBezTo>
                <a:cubicBezTo>
                  <a:pt x="899" y="124"/>
                  <a:pt x="900" y="124"/>
                  <a:pt x="900" y="124"/>
                </a:cubicBezTo>
                <a:cubicBezTo>
                  <a:pt x="902" y="124"/>
                  <a:pt x="904" y="124"/>
                  <a:pt x="906" y="124"/>
                </a:cubicBezTo>
                <a:cubicBezTo>
                  <a:pt x="907" y="124"/>
                  <a:pt x="908" y="124"/>
                  <a:pt x="909" y="125"/>
                </a:cubicBezTo>
                <a:cubicBezTo>
                  <a:pt x="909" y="125"/>
                  <a:pt x="910" y="125"/>
                  <a:pt x="910" y="124"/>
                </a:cubicBezTo>
                <a:cubicBezTo>
                  <a:pt x="911" y="124"/>
                  <a:pt x="909" y="123"/>
                  <a:pt x="909" y="123"/>
                </a:cubicBezTo>
                <a:cubicBezTo>
                  <a:pt x="909" y="123"/>
                  <a:pt x="909" y="122"/>
                  <a:pt x="909" y="122"/>
                </a:cubicBezTo>
                <a:cubicBezTo>
                  <a:pt x="909" y="122"/>
                  <a:pt x="909" y="122"/>
                  <a:pt x="908" y="121"/>
                </a:cubicBezTo>
                <a:cubicBezTo>
                  <a:pt x="908" y="121"/>
                  <a:pt x="906" y="121"/>
                  <a:pt x="907" y="120"/>
                </a:cubicBezTo>
                <a:cubicBezTo>
                  <a:pt x="908" y="120"/>
                  <a:pt x="908" y="120"/>
                  <a:pt x="908" y="120"/>
                </a:cubicBezTo>
                <a:cubicBezTo>
                  <a:pt x="908" y="119"/>
                  <a:pt x="907" y="119"/>
                  <a:pt x="907" y="119"/>
                </a:cubicBezTo>
                <a:cubicBezTo>
                  <a:pt x="906" y="119"/>
                  <a:pt x="905" y="119"/>
                  <a:pt x="904" y="119"/>
                </a:cubicBezTo>
                <a:cubicBezTo>
                  <a:pt x="903" y="120"/>
                  <a:pt x="902" y="119"/>
                  <a:pt x="901" y="119"/>
                </a:cubicBezTo>
                <a:cubicBezTo>
                  <a:pt x="899" y="119"/>
                  <a:pt x="897" y="120"/>
                  <a:pt x="894" y="120"/>
                </a:cubicBezTo>
                <a:cubicBezTo>
                  <a:pt x="894" y="119"/>
                  <a:pt x="894" y="119"/>
                  <a:pt x="893" y="119"/>
                </a:cubicBezTo>
                <a:cubicBezTo>
                  <a:pt x="893" y="119"/>
                  <a:pt x="892" y="119"/>
                  <a:pt x="892" y="119"/>
                </a:cubicBezTo>
                <a:cubicBezTo>
                  <a:pt x="891" y="119"/>
                  <a:pt x="890" y="119"/>
                  <a:pt x="889" y="119"/>
                </a:cubicBezTo>
                <a:cubicBezTo>
                  <a:pt x="888" y="119"/>
                  <a:pt x="887" y="119"/>
                  <a:pt x="887" y="118"/>
                </a:cubicBezTo>
                <a:cubicBezTo>
                  <a:pt x="886" y="118"/>
                  <a:pt x="885" y="118"/>
                  <a:pt x="884" y="118"/>
                </a:cubicBezTo>
                <a:cubicBezTo>
                  <a:pt x="883" y="118"/>
                  <a:pt x="882" y="118"/>
                  <a:pt x="881" y="118"/>
                </a:cubicBezTo>
                <a:cubicBezTo>
                  <a:pt x="881" y="118"/>
                  <a:pt x="881" y="119"/>
                  <a:pt x="880" y="119"/>
                </a:cubicBezTo>
                <a:cubicBezTo>
                  <a:pt x="880" y="119"/>
                  <a:pt x="879" y="119"/>
                  <a:pt x="879" y="119"/>
                </a:cubicBezTo>
                <a:cubicBezTo>
                  <a:pt x="878" y="119"/>
                  <a:pt x="877" y="120"/>
                  <a:pt x="877" y="119"/>
                </a:cubicBezTo>
                <a:cubicBezTo>
                  <a:pt x="877" y="119"/>
                  <a:pt x="877" y="118"/>
                  <a:pt x="877" y="118"/>
                </a:cubicBezTo>
                <a:cubicBezTo>
                  <a:pt x="876" y="118"/>
                  <a:pt x="876" y="117"/>
                  <a:pt x="876" y="117"/>
                </a:cubicBezTo>
                <a:cubicBezTo>
                  <a:pt x="875" y="117"/>
                  <a:pt x="874" y="117"/>
                  <a:pt x="873" y="117"/>
                </a:cubicBezTo>
                <a:cubicBezTo>
                  <a:pt x="873" y="117"/>
                  <a:pt x="872" y="117"/>
                  <a:pt x="871" y="116"/>
                </a:cubicBezTo>
                <a:cubicBezTo>
                  <a:pt x="872" y="116"/>
                  <a:pt x="874" y="116"/>
                  <a:pt x="875" y="117"/>
                </a:cubicBezTo>
                <a:cubicBezTo>
                  <a:pt x="876" y="117"/>
                  <a:pt x="876" y="117"/>
                  <a:pt x="877" y="117"/>
                </a:cubicBezTo>
                <a:cubicBezTo>
                  <a:pt x="878" y="117"/>
                  <a:pt x="880" y="117"/>
                  <a:pt x="879" y="116"/>
                </a:cubicBezTo>
                <a:cubicBezTo>
                  <a:pt x="879" y="116"/>
                  <a:pt x="878" y="115"/>
                  <a:pt x="878" y="115"/>
                </a:cubicBezTo>
                <a:cubicBezTo>
                  <a:pt x="879" y="114"/>
                  <a:pt x="880" y="115"/>
                  <a:pt x="881" y="115"/>
                </a:cubicBezTo>
                <a:cubicBezTo>
                  <a:pt x="881" y="116"/>
                  <a:pt x="882" y="116"/>
                  <a:pt x="883" y="116"/>
                </a:cubicBezTo>
                <a:cubicBezTo>
                  <a:pt x="884" y="117"/>
                  <a:pt x="885" y="116"/>
                  <a:pt x="885" y="117"/>
                </a:cubicBezTo>
                <a:cubicBezTo>
                  <a:pt x="887" y="117"/>
                  <a:pt x="889" y="116"/>
                  <a:pt x="891" y="117"/>
                </a:cubicBezTo>
                <a:cubicBezTo>
                  <a:pt x="892" y="117"/>
                  <a:pt x="894" y="117"/>
                  <a:pt x="894" y="116"/>
                </a:cubicBezTo>
                <a:cubicBezTo>
                  <a:pt x="893" y="116"/>
                  <a:pt x="892" y="116"/>
                  <a:pt x="891" y="115"/>
                </a:cubicBezTo>
                <a:cubicBezTo>
                  <a:pt x="891" y="115"/>
                  <a:pt x="891" y="115"/>
                  <a:pt x="891" y="114"/>
                </a:cubicBezTo>
                <a:cubicBezTo>
                  <a:pt x="891" y="114"/>
                  <a:pt x="891" y="114"/>
                  <a:pt x="890" y="114"/>
                </a:cubicBezTo>
                <a:cubicBezTo>
                  <a:pt x="890" y="113"/>
                  <a:pt x="888" y="113"/>
                  <a:pt x="888" y="113"/>
                </a:cubicBezTo>
                <a:cubicBezTo>
                  <a:pt x="887" y="113"/>
                  <a:pt x="886" y="113"/>
                  <a:pt x="885" y="113"/>
                </a:cubicBezTo>
                <a:cubicBezTo>
                  <a:pt x="884" y="113"/>
                  <a:pt x="883" y="113"/>
                  <a:pt x="882" y="113"/>
                </a:cubicBezTo>
                <a:cubicBezTo>
                  <a:pt x="882" y="113"/>
                  <a:pt x="880" y="113"/>
                  <a:pt x="880" y="112"/>
                </a:cubicBezTo>
                <a:cubicBezTo>
                  <a:pt x="880" y="112"/>
                  <a:pt x="882" y="112"/>
                  <a:pt x="882" y="112"/>
                </a:cubicBezTo>
                <a:cubicBezTo>
                  <a:pt x="884" y="112"/>
                  <a:pt x="886" y="112"/>
                  <a:pt x="888" y="112"/>
                </a:cubicBezTo>
                <a:cubicBezTo>
                  <a:pt x="889" y="113"/>
                  <a:pt x="890" y="113"/>
                  <a:pt x="891" y="113"/>
                </a:cubicBezTo>
                <a:cubicBezTo>
                  <a:pt x="891" y="113"/>
                  <a:pt x="892" y="114"/>
                  <a:pt x="893" y="114"/>
                </a:cubicBezTo>
                <a:cubicBezTo>
                  <a:pt x="893" y="115"/>
                  <a:pt x="894" y="115"/>
                  <a:pt x="895" y="115"/>
                </a:cubicBezTo>
                <a:cubicBezTo>
                  <a:pt x="896" y="115"/>
                  <a:pt x="897" y="115"/>
                  <a:pt x="898" y="115"/>
                </a:cubicBezTo>
                <a:cubicBezTo>
                  <a:pt x="899" y="115"/>
                  <a:pt x="900" y="115"/>
                  <a:pt x="901" y="115"/>
                </a:cubicBezTo>
                <a:cubicBezTo>
                  <a:pt x="901" y="115"/>
                  <a:pt x="902" y="116"/>
                  <a:pt x="903" y="116"/>
                </a:cubicBezTo>
                <a:cubicBezTo>
                  <a:pt x="904" y="116"/>
                  <a:pt x="904" y="115"/>
                  <a:pt x="904" y="114"/>
                </a:cubicBezTo>
                <a:cubicBezTo>
                  <a:pt x="904" y="113"/>
                  <a:pt x="904" y="113"/>
                  <a:pt x="905" y="112"/>
                </a:cubicBezTo>
                <a:cubicBezTo>
                  <a:pt x="906" y="112"/>
                  <a:pt x="906" y="113"/>
                  <a:pt x="907" y="114"/>
                </a:cubicBezTo>
                <a:cubicBezTo>
                  <a:pt x="908" y="114"/>
                  <a:pt x="908" y="114"/>
                  <a:pt x="909" y="114"/>
                </a:cubicBezTo>
                <a:cubicBezTo>
                  <a:pt x="911" y="114"/>
                  <a:pt x="913" y="114"/>
                  <a:pt x="915" y="114"/>
                </a:cubicBezTo>
                <a:cubicBezTo>
                  <a:pt x="917" y="114"/>
                  <a:pt x="918" y="113"/>
                  <a:pt x="920" y="113"/>
                </a:cubicBezTo>
                <a:cubicBezTo>
                  <a:pt x="921" y="113"/>
                  <a:pt x="922" y="113"/>
                  <a:pt x="923" y="113"/>
                </a:cubicBezTo>
                <a:cubicBezTo>
                  <a:pt x="925" y="112"/>
                  <a:pt x="925" y="109"/>
                  <a:pt x="924" y="108"/>
                </a:cubicBezTo>
                <a:cubicBezTo>
                  <a:pt x="924" y="108"/>
                  <a:pt x="923" y="107"/>
                  <a:pt x="923" y="107"/>
                </a:cubicBezTo>
                <a:cubicBezTo>
                  <a:pt x="923" y="107"/>
                  <a:pt x="923" y="106"/>
                  <a:pt x="923" y="106"/>
                </a:cubicBezTo>
                <a:cubicBezTo>
                  <a:pt x="922" y="106"/>
                  <a:pt x="922" y="106"/>
                  <a:pt x="921" y="106"/>
                </a:cubicBezTo>
                <a:cubicBezTo>
                  <a:pt x="920" y="106"/>
                  <a:pt x="919" y="106"/>
                  <a:pt x="918" y="106"/>
                </a:cubicBezTo>
                <a:cubicBezTo>
                  <a:pt x="917" y="106"/>
                  <a:pt x="916" y="105"/>
                  <a:pt x="915" y="105"/>
                </a:cubicBezTo>
                <a:cubicBezTo>
                  <a:pt x="914" y="105"/>
                  <a:pt x="913" y="105"/>
                  <a:pt x="912" y="105"/>
                </a:cubicBezTo>
                <a:cubicBezTo>
                  <a:pt x="911" y="105"/>
                  <a:pt x="907" y="106"/>
                  <a:pt x="908" y="104"/>
                </a:cubicBezTo>
                <a:cubicBezTo>
                  <a:pt x="908" y="104"/>
                  <a:pt x="909" y="104"/>
                  <a:pt x="910" y="103"/>
                </a:cubicBezTo>
                <a:cubicBezTo>
                  <a:pt x="910" y="103"/>
                  <a:pt x="910" y="103"/>
                  <a:pt x="911" y="103"/>
                </a:cubicBezTo>
                <a:cubicBezTo>
                  <a:pt x="911" y="103"/>
                  <a:pt x="912" y="103"/>
                  <a:pt x="912" y="103"/>
                </a:cubicBezTo>
                <a:cubicBezTo>
                  <a:pt x="913" y="103"/>
                  <a:pt x="914" y="103"/>
                  <a:pt x="915" y="103"/>
                </a:cubicBezTo>
                <a:cubicBezTo>
                  <a:pt x="915" y="103"/>
                  <a:pt x="917" y="103"/>
                  <a:pt x="917" y="103"/>
                </a:cubicBezTo>
                <a:cubicBezTo>
                  <a:pt x="918" y="103"/>
                  <a:pt x="918" y="104"/>
                  <a:pt x="918" y="104"/>
                </a:cubicBezTo>
                <a:cubicBezTo>
                  <a:pt x="919" y="104"/>
                  <a:pt x="919" y="104"/>
                  <a:pt x="919" y="104"/>
                </a:cubicBezTo>
                <a:cubicBezTo>
                  <a:pt x="920" y="104"/>
                  <a:pt x="922" y="104"/>
                  <a:pt x="923" y="104"/>
                </a:cubicBezTo>
                <a:cubicBezTo>
                  <a:pt x="924" y="104"/>
                  <a:pt x="925" y="104"/>
                  <a:pt x="926" y="104"/>
                </a:cubicBezTo>
                <a:cubicBezTo>
                  <a:pt x="926" y="104"/>
                  <a:pt x="927" y="104"/>
                  <a:pt x="928" y="104"/>
                </a:cubicBezTo>
                <a:cubicBezTo>
                  <a:pt x="928" y="104"/>
                  <a:pt x="928" y="105"/>
                  <a:pt x="928" y="105"/>
                </a:cubicBezTo>
                <a:cubicBezTo>
                  <a:pt x="927" y="105"/>
                  <a:pt x="927" y="105"/>
                  <a:pt x="927" y="106"/>
                </a:cubicBezTo>
                <a:cubicBezTo>
                  <a:pt x="927" y="106"/>
                  <a:pt x="927" y="106"/>
                  <a:pt x="928" y="107"/>
                </a:cubicBezTo>
                <a:cubicBezTo>
                  <a:pt x="928" y="107"/>
                  <a:pt x="929" y="107"/>
                  <a:pt x="930" y="107"/>
                </a:cubicBezTo>
                <a:cubicBezTo>
                  <a:pt x="931" y="107"/>
                  <a:pt x="932" y="107"/>
                  <a:pt x="933" y="108"/>
                </a:cubicBezTo>
                <a:cubicBezTo>
                  <a:pt x="934" y="109"/>
                  <a:pt x="936" y="109"/>
                  <a:pt x="938" y="108"/>
                </a:cubicBezTo>
                <a:cubicBezTo>
                  <a:pt x="939" y="108"/>
                  <a:pt x="940" y="107"/>
                  <a:pt x="941" y="107"/>
                </a:cubicBezTo>
                <a:cubicBezTo>
                  <a:pt x="942" y="107"/>
                  <a:pt x="942" y="107"/>
                  <a:pt x="943" y="107"/>
                </a:cubicBezTo>
                <a:cubicBezTo>
                  <a:pt x="944" y="106"/>
                  <a:pt x="945" y="106"/>
                  <a:pt x="946" y="106"/>
                </a:cubicBezTo>
                <a:cubicBezTo>
                  <a:pt x="948" y="105"/>
                  <a:pt x="948" y="105"/>
                  <a:pt x="948" y="104"/>
                </a:cubicBezTo>
                <a:cubicBezTo>
                  <a:pt x="949" y="103"/>
                  <a:pt x="949" y="103"/>
                  <a:pt x="949" y="103"/>
                </a:cubicBezTo>
                <a:cubicBezTo>
                  <a:pt x="949" y="102"/>
                  <a:pt x="950" y="102"/>
                  <a:pt x="949" y="102"/>
                </a:cubicBezTo>
                <a:cubicBezTo>
                  <a:pt x="949" y="102"/>
                  <a:pt x="948" y="102"/>
                  <a:pt x="948" y="102"/>
                </a:cubicBezTo>
                <a:cubicBezTo>
                  <a:pt x="947" y="102"/>
                  <a:pt x="947" y="102"/>
                  <a:pt x="947" y="102"/>
                </a:cubicBezTo>
                <a:cubicBezTo>
                  <a:pt x="947" y="103"/>
                  <a:pt x="946" y="103"/>
                  <a:pt x="946" y="103"/>
                </a:cubicBezTo>
                <a:cubicBezTo>
                  <a:pt x="945" y="102"/>
                  <a:pt x="947" y="101"/>
                  <a:pt x="947" y="101"/>
                </a:cubicBezTo>
                <a:cubicBezTo>
                  <a:pt x="948" y="101"/>
                  <a:pt x="949" y="101"/>
                  <a:pt x="950" y="101"/>
                </a:cubicBezTo>
                <a:cubicBezTo>
                  <a:pt x="951" y="100"/>
                  <a:pt x="953" y="101"/>
                  <a:pt x="953" y="99"/>
                </a:cubicBezTo>
                <a:cubicBezTo>
                  <a:pt x="954" y="99"/>
                  <a:pt x="954" y="97"/>
                  <a:pt x="954" y="97"/>
                </a:cubicBezTo>
                <a:cubicBezTo>
                  <a:pt x="953" y="96"/>
                  <a:pt x="952" y="96"/>
                  <a:pt x="952" y="96"/>
                </a:cubicBezTo>
                <a:cubicBezTo>
                  <a:pt x="951" y="97"/>
                  <a:pt x="950" y="97"/>
                  <a:pt x="949" y="97"/>
                </a:cubicBezTo>
                <a:cubicBezTo>
                  <a:pt x="948" y="97"/>
                  <a:pt x="947" y="97"/>
                  <a:pt x="946" y="97"/>
                </a:cubicBezTo>
                <a:cubicBezTo>
                  <a:pt x="945" y="97"/>
                  <a:pt x="944" y="97"/>
                  <a:pt x="943" y="98"/>
                </a:cubicBezTo>
                <a:cubicBezTo>
                  <a:pt x="941" y="98"/>
                  <a:pt x="939" y="98"/>
                  <a:pt x="938" y="98"/>
                </a:cubicBezTo>
                <a:cubicBezTo>
                  <a:pt x="937" y="99"/>
                  <a:pt x="936" y="98"/>
                  <a:pt x="936" y="98"/>
                </a:cubicBezTo>
                <a:cubicBezTo>
                  <a:pt x="935" y="98"/>
                  <a:pt x="933" y="98"/>
                  <a:pt x="934" y="97"/>
                </a:cubicBezTo>
                <a:cubicBezTo>
                  <a:pt x="934" y="97"/>
                  <a:pt x="935" y="97"/>
                  <a:pt x="935" y="97"/>
                </a:cubicBezTo>
                <a:cubicBezTo>
                  <a:pt x="935" y="96"/>
                  <a:pt x="936" y="96"/>
                  <a:pt x="936" y="96"/>
                </a:cubicBezTo>
                <a:cubicBezTo>
                  <a:pt x="936" y="95"/>
                  <a:pt x="935" y="95"/>
                  <a:pt x="934" y="95"/>
                </a:cubicBezTo>
                <a:cubicBezTo>
                  <a:pt x="934" y="94"/>
                  <a:pt x="936" y="94"/>
                  <a:pt x="936" y="94"/>
                </a:cubicBezTo>
                <a:cubicBezTo>
                  <a:pt x="937" y="94"/>
                  <a:pt x="937" y="95"/>
                  <a:pt x="938" y="95"/>
                </a:cubicBezTo>
                <a:cubicBezTo>
                  <a:pt x="939" y="96"/>
                  <a:pt x="941" y="97"/>
                  <a:pt x="942" y="97"/>
                </a:cubicBezTo>
                <a:cubicBezTo>
                  <a:pt x="944" y="96"/>
                  <a:pt x="946" y="96"/>
                  <a:pt x="948" y="96"/>
                </a:cubicBezTo>
                <a:cubicBezTo>
                  <a:pt x="949" y="95"/>
                  <a:pt x="950" y="95"/>
                  <a:pt x="951" y="95"/>
                </a:cubicBezTo>
                <a:cubicBezTo>
                  <a:pt x="952" y="94"/>
                  <a:pt x="952" y="94"/>
                  <a:pt x="953" y="95"/>
                </a:cubicBezTo>
                <a:cubicBezTo>
                  <a:pt x="954" y="95"/>
                  <a:pt x="955" y="95"/>
                  <a:pt x="956" y="95"/>
                </a:cubicBezTo>
                <a:cubicBezTo>
                  <a:pt x="957" y="95"/>
                  <a:pt x="959" y="95"/>
                  <a:pt x="960" y="94"/>
                </a:cubicBezTo>
                <a:cubicBezTo>
                  <a:pt x="960" y="94"/>
                  <a:pt x="960" y="93"/>
                  <a:pt x="960" y="93"/>
                </a:cubicBezTo>
                <a:cubicBezTo>
                  <a:pt x="960" y="92"/>
                  <a:pt x="959" y="91"/>
                  <a:pt x="958" y="91"/>
                </a:cubicBezTo>
                <a:cubicBezTo>
                  <a:pt x="957" y="91"/>
                  <a:pt x="956" y="91"/>
                  <a:pt x="956" y="90"/>
                </a:cubicBezTo>
                <a:cubicBezTo>
                  <a:pt x="956" y="89"/>
                  <a:pt x="957" y="89"/>
                  <a:pt x="957" y="88"/>
                </a:cubicBezTo>
                <a:cubicBezTo>
                  <a:pt x="956" y="88"/>
                  <a:pt x="956" y="88"/>
                  <a:pt x="956" y="88"/>
                </a:cubicBezTo>
                <a:cubicBezTo>
                  <a:pt x="955" y="88"/>
                  <a:pt x="955" y="87"/>
                  <a:pt x="955" y="87"/>
                </a:cubicBezTo>
                <a:cubicBezTo>
                  <a:pt x="955" y="86"/>
                  <a:pt x="954" y="86"/>
                  <a:pt x="953" y="86"/>
                </a:cubicBezTo>
                <a:cubicBezTo>
                  <a:pt x="954" y="86"/>
                  <a:pt x="954" y="86"/>
                  <a:pt x="954" y="86"/>
                </a:cubicBezTo>
                <a:cubicBezTo>
                  <a:pt x="955" y="86"/>
                  <a:pt x="955" y="87"/>
                  <a:pt x="956" y="87"/>
                </a:cubicBezTo>
                <a:cubicBezTo>
                  <a:pt x="957" y="87"/>
                  <a:pt x="958" y="87"/>
                  <a:pt x="958" y="88"/>
                </a:cubicBezTo>
                <a:cubicBezTo>
                  <a:pt x="959" y="89"/>
                  <a:pt x="958" y="89"/>
                  <a:pt x="958" y="90"/>
                </a:cubicBezTo>
                <a:cubicBezTo>
                  <a:pt x="958" y="90"/>
                  <a:pt x="959" y="90"/>
                  <a:pt x="959" y="90"/>
                </a:cubicBezTo>
                <a:cubicBezTo>
                  <a:pt x="959" y="91"/>
                  <a:pt x="959" y="91"/>
                  <a:pt x="960" y="91"/>
                </a:cubicBezTo>
                <a:cubicBezTo>
                  <a:pt x="961" y="91"/>
                  <a:pt x="962" y="91"/>
                  <a:pt x="962" y="91"/>
                </a:cubicBezTo>
                <a:cubicBezTo>
                  <a:pt x="963" y="91"/>
                  <a:pt x="964" y="91"/>
                  <a:pt x="965" y="91"/>
                </a:cubicBezTo>
                <a:cubicBezTo>
                  <a:pt x="966" y="90"/>
                  <a:pt x="967" y="90"/>
                  <a:pt x="967" y="90"/>
                </a:cubicBezTo>
                <a:cubicBezTo>
                  <a:pt x="969" y="89"/>
                  <a:pt x="971" y="87"/>
                  <a:pt x="973" y="86"/>
                </a:cubicBezTo>
                <a:cubicBezTo>
                  <a:pt x="974" y="85"/>
                  <a:pt x="975" y="85"/>
                  <a:pt x="975" y="85"/>
                </a:cubicBezTo>
                <a:cubicBezTo>
                  <a:pt x="977" y="83"/>
                  <a:pt x="979" y="83"/>
                  <a:pt x="980" y="81"/>
                </a:cubicBezTo>
                <a:cubicBezTo>
                  <a:pt x="982" y="80"/>
                  <a:pt x="984" y="79"/>
                  <a:pt x="986" y="78"/>
                </a:cubicBezTo>
                <a:cubicBezTo>
                  <a:pt x="987" y="78"/>
                  <a:pt x="987" y="77"/>
                  <a:pt x="987" y="77"/>
                </a:cubicBezTo>
                <a:cubicBezTo>
                  <a:pt x="988" y="77"/>
                  <a:pt x="988" y="76"/>
                  <a:pt x="989" y="76"/>
                </a:cubicBezTo>
                <a:cubicBezTo>
                  <a:pt x="990" y="75"/>
                  <a:pt x="990" y="75"/>
                  <a:pt x="991" y="74"/>
                </a:cubicBezTo>
                <a:cubicBezTo>
                  <a:pt x="992" y="74"/>
                  <a:pt x="993" y="74"/>
                  <a:pt x="994" y="74"/>
                </a:cubicBezTo>
                <a:cubicBezTo>
                  <a:pt x="995" y="73"/>
                  <a:pt x="996" y="73"/>
                  <a:pt x="997" y="72"/>
                </a:cubicBezTo>
                <a:cubicBezTo>
                  <a:pt x="998" y="72"/>
                  <a:pt x="998" y="72"/>
                  <a:pt x="999" y="71"/>
                </a:cubicBezTo>
                <a:cubicBezTo>
                  <a:pt x="1000" y="71"/>
                  <a:pt x="1001" y="71"/>
                  <a:pt x="1002" y="71"/>
                </a:cubicBezTo>
                <a:cubicBezTo>
                  <a:pt x="1003" y="70"/>
                  <a:pt x="1004" y="70"/>
                  <a:pt x="1005" y="70"/>
                </a:cubicBezTo>
                <a:cubicBezTo>
                  <a:pt x="1006" y="69"/>
                  <a:pt x="1007" y="68"/>
                  <a:pt x="1009" y="68"/>
                </a:cubicBezTo>
                <a:cubicBezTo>
                  <a:pt x="1010" y="67"/>
                  <a:pt x="1011" y="67"/>
                  <a:pt x="1012" y="67"/>
                </a:cubicBezTo>
                <a:cubicBezTo>
                  <a:pt x="1014" y="66"/>
                  <a:pt x="1015" y="66"/>
                  <a:pt x="1016" y="66"/>
                </a:cubicBezTo>
                <a:cubicBezTo>
                  <a:pt x="1017" y="65"/>
                  <a:pt x="1019" y="64"/>
                  <a:pt x="1020" y="63"/>
                </a:cubicBezTo>
                <a:cubicBezTo>
                  <a:pt x="1021" y="63"/>
                  <a:pt x="1022" y="62"/>
                  <a:pt x="1023" y="61"/>
                </a:cubicBezTo>
                <a:cubicBezTo>
                  <a:pt x="1023" y="61"/>
                  <a:pt x="1024" y="60"/>
                  <a:pt x="1024" y="59"/>
                </a:cubicBezTo>
                <a:cubicBezTo>
                  <a:pt x="1024" y="58"/>
                  <a:pt x="1022" y="59"/>
                  <a:pt x="1022" y="59"/>
                </a:cubicBezTo>
                <a:cubicBezTo>
                  <a:pt x="1021" y="59"/>
                  <a:pt x="1020" y="59"/>
                  <a:pt x="1019" y="59"/>
                </a:cubicBezTo>
                <a:cubicBezTo>
                  <a:pt x="1018" y="59"/>
                  <a:pt x="1017" y="59"/>
                  <a:pt x="1016" y="59"/>
                </a:cubicBezTo>
                <a:cubicBezTo>
                  <a:pt x="1015" y="60"/>
                  <a:pt x="1014" y="60"/>
                  <a:pt x="1013" y="60"/>
                </a:cubicBezTo>
                <a:cubicBezTo>
                  <a:pt x="1010" y="60"/>
                  <a:pt x="1008" y="61"/>
                  <a:pt x="1006" y="61"/>
                </a:cubicBezTo>
                <a:cubicBezTo>
                  <a:pt x="1005" y="61"/>
                  <a:pt x="1004" y="61"/>
                  <a:pt x="1002" y="62"/>
                </a:cubicBezTo>
                <a:cubicBezTo>
                  <a:pt x="1002" y="62"/>
                  <a:pt x="1001" y="62"/>
                  <a:pt x="1000" y="62"/>
                </a:cubicBezTo>
                <a:cubicBezTo>
                  <a:pt x="1000" y="62"/>
                  <a:pt x="999" y="62"/>
                  <a:pt x="999" y="62"/>
                </a:cubicBezTo>
                <a:cubicBezTo>
                  <a:pt x="998" y="62"/>
                  <a:pt x="997" y="63"/>
                  <a:pt x="997" y="63"/>
                </a:cubicBezTo>
                <a:cubicBezTo>
                  <a:pt x="995" y="63"/>
                  <a:pt x="993" y="63"/>
                  <a:pt x="992" y="63"/>
                </a:cubicBezTo>
                <a:cubicBezTo>
                  <a:pt x="991" y="64"/>
                  <a:pt x="990" y="64"/>
                  <a:pt x="989" y="64"/>
                </a:cubicBezTo>
                <a:cubicBezTo>
                  <a:pt x="988" y="65"/>
                  <a:pt x="987" y="65"/>
                  <a:pt x="986" y="65"/>
                </a:cubicBezTo>
                <a:cubicBezTo>
                  <a:pt x="984" y="65"/>
                  <a:pt x="982" y="65"/>
                  <a:pt x="981" y="66"/>
                </a:cubicBezTo>
                <a:cubicBezTo>
                  <a:pt x="979" y="66"/>
                  <a:pt x="977" y="66"/>
                  <a:pt x="975" y="67"/>
                </a:cubicBezTo>
                <a:cubicBezTo>
                  <a:pt x="974" y="67"/>
                  <a:pt x="972" y="67"/>
                  <a:pt x="970" y="68"/>
                </a:cubicBezTo>
                <a:cubicBezTo>
                  <a:pt x="970" y="68"/>
                  <a:pt x="969" y="68"/>
                  <a:pt x="968" y="68"/>
                </a:cubicBezTo>
                <a:cubicBezTo>
                  <a:pt x="968" y="68"/>
                  <a:pt x="967" y="69"/>
                  <a:pt x="967" y="69"/>
                </a:cubicBezTo>
                <a:cubicBezTo>
                  <a:pt x="966" y="69"/>
                  <a:pt x="966" y="69"/>
                  <a:pt x="965" y="70"/>
                </a:cubicBezTo>
                <a:cubicBezTo>
                  <a:pt x="965" y="70"/>
                  <a:pt x="964" y="70"/>
                  <a:pt x="964" y="70"/>
                </a:cubicBezTo>
                <a:cubicBezTo>
                  <a:pt x="964" y="70"/>
                  <a:pt x="963" y="70"/>
                  <a:pt x="963" y="70"/>
                </a:cubicBezTo>
                <a:cubicBezTo>
                  <a:pt x="962" y="70"/>
                  <a:pt x="962" y="71"/>
                  <a:pt x="961" y="71"/>
                </a:cubicBezTo>
                <a:cubicBezTo>
                  <a:pt x="962" y="70"/>
                  <a:pt x="962" y="70"/>
                  <a:pt x="963" y="70"/>
                </a:cubicBezTo>
                <a:cubicBezTo>
                  <a:pt x="963" y="69"/>
                  <a:pt x="964" y="69"/>
                  <a:pt x="963" y="69"/>
                </a:cubicBezTo>
                <a:cubicBezTo>
                  <a:pt x="963" y="68"/>
                  <a:pt x="962" y="69"/>
                  <a:pt x="961" y="69"/>
                </a:cubicBezTo>
                <a:cubicBezTo>
                  <a:pt x="961" y="69"/>
                  <a:pt x="960" y="69"/>
                  <a:pt x="959" y="69"/>
                </a:cubicBezTo>
                <a:cubicBezTo>
                  <a:pt x="959" y="69"/>
                  <a:pt x="959" y="69"/>
                  <a:pt x="959" y="69"/>
                </a:cubicBezTo>
                <a:cubicBezTo>
                  <a:pt x="960" y="68"/>
                  <a:pt x="961" y="68"/>
                  <a:pt x="962" y="68"/>
                </a:cubicBezTo>
                <a:cubicBezTo>
                  <a:pt x="964" y="68"/>
                  <a:pt x="966" y="67"/>
                  <a:pt x="968" y="67"/>
                </a:cubicBezTo>
                <a:cubicBezTo>
                  <a:pt x="969" y="66"/>
                  <a:pt x="971" y="66"/>
                  <a:pt x="972" y="66"/>
                </a:cubicBezTo>
                <a:cubicBezTo>
                  <a:pt x="974" y="65"/>
                  <a:pt x="975" y="65"/>
                  <a:pt x="977" y="65"/>
                </a:cubicBezTo>
                <a:cubicBezTo>
                  <a:pt x="979" y="64"/>
                  <a:pt x="981" y="64"/>
                  <a:pt x="983" y="63"/>
                </a:cubicBezTo>
                <a:cubicBezTo>
                  <a:pt x="985" y="63"/>
                  <a:pt x="987" y="62"/>
                  <a:pt x="990" y="62"/>
                </a:cubicBezTo>
                <a:cubicBezTo>
                  <a:pt x="991" y="61"/>
                  <a:pt x="993" y="61"/>
                  <a:pt x="995" y="61"/>
                </a:cubicBezTo>
                <a:cubicBezTo>
                  <a:pt x="996" y="61"/>
                  <a:pt x="997" y="60"/>
                  <a:pt x="998" y="60"/>
                </a:cubicBezTo>
                <a:cubicBezTo>
                  <a:pt x="998" y="60"/>
                  <a:pt x="998" y="60"/>
                  <a:pt x="999" y="60"/>
                </a:cubicBezTo>
                <a:cubicBezTo>
                  <a:pt x="998" y="59"/>
                  <a:pt x="997" y="59"/>
                  <a:pt x="996" y="59"/>
                </a:cubicBezTo>
                <a:cubicBezTo>
                  <a:pt x="996" y="59"/>
                  <a:pt x="995" y="58"/>
                  <a:pt x="995" y="58"/>
                </a:cubicBezTo>
                <a:cubicBezTo>
                  <a:pt x="994" y="58"/>
                  <a:pt x="993" y="58"/>
                  <a:pt x="992" y="58"/>
                </a:cubicBezTo>
                <a:cubicBezTo>
                  <a:pt x="991" y="58"/>
                  <a:pt x="989" y="58"/>
                  <a:pt x="988" y="58"/>
                </a:cubicBezTo>
                <a:cubicBezTo>
                  <a:pt x="986" y="58"/>
                  <a:pt x="984" y="59"/>
                  <a:pt x="982" y="59"/>
                </a:cubicBezTo>
                <a:cubicBezTo>
                  <a:pt x="981" y="59"/>
                  <a:pt x="980" y="59"/>
                  <a:pt x="979" y="59"/>
                </a:cubicBezTo>
                <a:cubicBezTo>
                  <a:pt x="978" y="59"/>
                  <a:pt x="977" y="59"/>
                  <a:pt x="977" y="59"/>
                </a:cubicBezTo>
                <a:cubicBezTo>
                  <a:pt x="976" y="59"/>
                  <a:pt x="976" y="59"/>
                  <a:pt x="975" y="59"/>
                </a:cubicBezTo>
                <a:cubicBezTo>
                  <a:pt x="975" y="58"/>
                  <a:pt x="975" y="58"/>
                  <a:pt x="976" y="58"/>
                </a:cubicBezTo>
                <a:cubicBezTo>
                  <a:pt x="976" y="58"/>
                  <a:pt x="976" y="58"/>
                  <a:pt x="976" y="57"/>
                </a:cubicBezTo>
                <a:cubicBezTo>
                  <a:pt x="976" y="57"/>
                  <a:pt x="976" y="56"/>
                  <a:pt x="977" y="56"/>
                </a:cubicBezTo>
                <a:cubicBezTo>
                  <a:pt x="977" y="56"/>
                  <a:pt x="977" y="57"/>
                  <a:pt x="978" y="57"/>
                </a:cubicBezTo>
                <a:cubicBezTo>
                  <a:pt x="978" y="57"/>
                  <a:pt x="978" y="57"/>
                  <a:pt x="979" y="57"/>
                </a:cubicBezTo>
                <a:cubicBezTo>
                  <a:pt x="979" y="58"/>
                  <a:pt x="980" y="58"/>
                  <a:pt x="981" y="58"/>
                </a:cubicBezTo>
                <a:cubicBezTo>
                  <a:pt x="982" y="58"/>
                  <a:pt x="983" y="58"/>
                  <a:pt x="983" y="58"/>
                </a:cubicBezTo>
                <a:cubicBezTo>
                  <a:pt x="984" y="58"/>
                  <a:pt x="985" y="58"/>
                  <a:pt x="986" y="58"/>
                </a:cubicBezTo>
                <a:cubicBezTo>
                  <a:pt x="987" y="57"/>
                  <a:pt x="988" y="57"/>
                  <a:pt x="990" y="57"/>
                </a:cubicBezTo>
                <a:cubicBezTo>
                  <a:pt x="991" y="57"/>
                  <a:pt x="992" y="57"/>
                  <a:pt x="993" y="57"/>
                </a:cubicBezTo>
                <a:cubicBezTo>
                  <a:pt x="995" y="57"/>
                  <a:pt x="996" y="57"/>
                  <a:pt x="998" y="57"/>
                </a:cubicBezTo>
                <a:cubicBezTo>
                  <a:pt x="999" y="56"/>
                  <a:pt x="1001" y="57"/>
                  <a:pt x="1003" y="57"/>
                </a:cubicBezTo>
                <a:cubicBezTo>
                  <a:pt x="1004" y="57"/>
                  <a:pt x="1006" y="56"/>
                  <a:pt x="1007" y="56"/>
                </a:cubicBezTo>
                <a:cubicBezTo>
                  <a:pt x="1009" y="56"/>
                  <a:pt x="1011" y="56"/>
                  <a:pt x="1013" y="55"/>
                </a:cubicBezTo>
                <a:cubicBezTo>
                  <a:pt x="1015" y="55"/>
                  <a:pt x="1018" y="55"/>
                  <a:pt x="1020" y="54"/>
                </a:cubicBezTo>
                <a:cubicBezTo>
                  <a:pt x="1022" y="54"/>
                  <a:pt x="1023" y="54"/>
                  <a:pt x="1024" y="54"/>
                </a:cubicBezTo>
                <a:cubicBezTo>
                  <a:pt x="1025" y="54"/>
                  <a:pt x="1025" y="53"/>
                  <a:pt x="1026" y="53"/>
                </a:cubicBezTo>
                <a:cubicBezTo>
                  <a:pt x="1027" y="53"/>
                  <a:pt x="1028" y="53"/>
                  <a:pt x="1028" y="53"/>
                </a:cubicBezTo>
                <a:cubicBezTo>
                  <a:pt x="1030" y="52"/>
                  <a:pt x="1033" y="51"/>
                  <a:pt x="1035" y="50"/>
                </a:cubicBezTo>
                <a:cubicBezTo>
                  <a:pt x="1037" y="49"/>
                  <a:pt x="1039" y="48"/>
                  <a:pt x="1042" y="47"/>
                </a:cubicBezTo>
                <a:cubicBezTo>
                  <a:pt x="1045" y="46"/>
                  <a:pt x="1047" y="44"/>
                  <a:pt x="1050" y="43"/>
                </a:cubicBezTo>
                <a:cubicBezTo>
                  <a:pt x="1053" y="42"/>
                  <a:pt x="1055" y="41"/>
                  <a:pt x="1057" y="40"/>
                </a:cubicBezTo>
                <a:cubicBezTo>
                  <a:pt x="1058" y="40"/>
                  <a:pt x="1059" y="39"/>
                  <a:pt x="1060" y="39"/>
                </a:cubicBezTo>
                <a:cubicBezTo>
                  <a:pt x="1060" y="39"/>
                  <a:pt x="1061" y="38"/>
                  <a:pt x="1061" y="38"/>
                </a:cubicBezTo>
                <a:cubicBezTo>
                  <a:pt x="1062" y="38"/>
                  <a:pt x="1062" y="38"/>
                  <a:pt x="1063" y="38"/>
                </a:cubicBezTo>
                <a:cubicBezTo>
                  <a:pt x="1063" y="37"/>
                  <a:pt x="1062" y="36"/>
                  <a:pt x="1062" y="36"/>
                </a:cubicBezTo>
                <a:cubicBezTo>
                  <a:pt x="1061" y="35"/>
                  <a:pt x="1060" y="34"/>
                  <a:pt x="1059" y="33"/>
                </a:cubicBezTo>
                <a:cubicBezTo>
                  <a:pt x="1057" y="33"/>
                  <a:pt x="1056" y="33"/>
                  <a:pt x="1055" y="33"/>
                </a:cubicBezTo>
                <a:cubicBezTo>
                  <a:pt x="1053" y="33"/>
                  <a:pt x="1050" y="33"/>
                  <a:pt x="1048" y="33"/>
                </a:cubicBezTo>
                <a:cubicBezTo>
                  <a:pt x="1047" y="33"/>
                  <a:pt x="1047" y="33"/>
                  <a:pt x="1046" y="32"/>
                </a:cubicBezTo>
                <a:cubicBezTo>
                  <a:pt x="1046" y="32"/>
                  <a:pt x="1045" y="33"/>
                  <a:pt x="1044" y="33"/>
                </a:cubicBezTo>
                <a:cubicBezTo>
                  <a:pt x="1044" y="33"/>
                  <a:pt x="1043" y="33"/>
                  <a:pt x="1043" y="33"/>
                </a:cubicBezTo>
                <a:cubicBezTo>
                  <a:pt x="1042" y="33"/>
                  <a:pt x="1041" y="33"/>
                  <a:pt x="1040" y="33"/>
                </a:cubicBezTo>
                <a:cubicBezTo>
                  <a:pt x="1040" y="34"/>
                  <a:pt x="1039" y="34"/>
                  <a:pt x="1039" y="34"/>
                </a:cubicBezTo>
                <a:cubicBezTo>
                  <a:pt x="1038" y="34"/>
                  <a:pt x="1039" y="33"/>
                  <a:pt x="1039" y="33"/>
                </a:cubicBezTo>
                <a:cubicBezTo>
                  <a:pt x="1040" y="32"/>
                  <a:pt x="1040" y="32"/>
                  <a:pt x="1040" y="32"/>
                </a:cubicBezTo>
                <a:cubicBezTo>
                  <a:pt x="1041" y="31"/>
                  <a:pt x="1041" y="31"/>
                  <a:pt x="1042" y="31"/>
                </a:cubicBezTo>
                <a:cubicBezTo>
                  <a:pt x="1042" y="31"/>
                  <a:pt x="1042" y="30"/>
                  <a:pt x="1042" y="30"/>
                </a:cubicBezTo>
                <a:cubicBezTo>
                  <a:pt x="1042" y="30"/>
                  <a:pt x="1042" y="30"/>
                  <a:pt x="1041" y="30"/>
                </a:cubicBezTo>
                <a:cubicBezTo>
                  <a:pt x="1040" y="29"/>
                  <a:pt x="1040" y="29"/>
                  <a:pt x="1039" y="29"/>
                </a:cubicBezTo>
                <a:cubicBezTo>
                  <a:pt x="1038" y="28"/>
                  <a:pt x="1037" y="28"/>
                  <a:pt x="1036" y="27"/>
                </a:cubicBezTo>
                <a:cubicBezTo>
                  <a:pt x="1036" y="27"/>
                  <a:pt x="1034" y="27"/>
                  <a:pt x="1034" y="26"/>
                </a:cubicBezTo>
                <a:cubicBezTo>
                  <a:pt x="1034" y="25"/>
                  <a:pt x="1036" y="25"/>
                  <a:pt x="1036" y="25"/>
                </a:cubicBezTo>
                <a:cubicBezTo>
                  <a:pt x="1037" y="25"/>
                  <a:pt x="1037" y="24"/>
                  <a:pt x="1037" y="23"/>
                </a:cubicBezTo>
                <a:cubicBezTo>
                  <a:pt x="1036" y="22"/>
                  <a:pt x="1034" y="23"/>
                  <a:pt x="1033" y="23"/>
                </a:cubicBezTo>
                <a:cubicBezTo>
                  <a:pt x="1032" y="23"/>
                  <a:pt x="1030" y="23"/>
                  <a:pt x="1029" y="23"/>
                </a:cubicBezTo>
                <a:cubicBezTo>
                  <a:pt x="1028" y="23"/>
                  <a:pt x="1027" y="23"/>
                  <a:pt x="1026" y="24"/>
                </a:cubicBezTo>
                <a:cubicBezTo>
                  <a:pt x="1024" y="24"/>
                  <a:pt x="1023" y="24"/>
                  <a:pt x="1022" y="24"/>
                </a:cubicBezTo>
                <a:cubicBezTo>
                  <a:pt x="1020" y="24"/>
                  <a:pt x="1019" y="24"/>
                  <a:pt x="1018" y="24"/>
                </a:cubicBezTo>
                <a:cubicBezTo>
                  <a:pt x="1017" y="25"/>
                  <a:pt x="1016" y="25"/>
                  <a:pt x="1014" y="25"/>
                </a:cubicBezTo>
                <a:cubicBezTo>
                  <a:pt x="1013" y="25"/>
                  <a:pt x="1012" y="24"/>
                  <a:pt x="1011" y="24"/>
                </a:cubicBezTo>
                <a:cubicBezTo>
                  <a:pt x="1010" y="24"/>
                  <a:pt x="1009" y="24"/>
                  <a:pt x="1008" y="24"/>
                </a:cubicBezTo>
                <a:cubicBezTo>
                  <a:pt x="1007" y="24"/>
                  <a:pt x="1005" y="24"/>
                  <a:pt x="1003" y="24"/>
                </a:cubicBezTo>
                <a:cubicBezTo>
                  <a:pt x="1002" y="24"/>
                  <a:pt x="1001" y="25"/>
                  <a:pt x="1001" y="25"/>
                </a:cubicBezTo>
                <a:cubicBezTo>
                  <a:pt x="1000" y="26"/>
                  <a:pt x="999" y="26"/>
                  <a:pt x="998" y="26"/>
                </a:cubicBezTo>
                <a:cubicBezTo>
                  <a:pt x="997" y="26"/>
                  <a:pt x="996" y="26"/>
                  <a:pt x="995" y="26"/>
                </a:cubicBezTo>
                <a:cubicBezTo>
                  <a:pt x="995" y="26"/>
                  <a:pt x="994" y="26"/>
                  <a:pt x="993" y="27"/>
                </a:cubicBezTo>
                <a:cubicBezTo>
                  <a:pt x="992" y="27"/>
                  <a:pt x="991" y="28"/>
                  <a:pt x="990" y="28"/>
                </a:cubicBezTo>
                <a:cubicBezTo>
                  <a:pt x="990" y="28"/>
                  <a:pt x="989" y="28"/>
                  <a:pt x="988" y="28"/>
                </a:cubicBezTo>
                <a:cubicBezTo>
                  <a:pt x="986" y="28"/>
                  <a:pt x="984" y="27"/>
                  <a:pt x="983" y="28"/>
                </a:cubicBezTo>
                <a:cubicBezTo>
                  <a:pt x="982" y="28"/>
                  <a:pt x="980" y="28"/>
                  <a:pt x="980" y="28"/>
                </a:cubicBezTo>
                <a:cubicBezTo>
                  <a:pt x="980" y="27"/>
                  <a:pt x="982" y="27"/>
                  <a:pt x="982" y="27"/>
                </a:cubicBezTo>
                <a:cubicBezTo>
                  <a:pt x="984" y="26"/>
                  <a:pt x="986" y="26"/>
                  <a:pt x="987" y="25"/>
                </a:cubicBezTo>
                <a:cubicBezTo>
                  <a:pt x="990" y="25"/>
                  <a:pt x="992" y="25"/>
                  <a:pt x="994" y="24"/>
                </a:cubicBezTo>
                <a:cubicBezTo>
                  <a:pt x="995" y="24"/>
                  <a:pt x="996" y="24"/>
                  <a:pt x="997" y="23"/>
                </a:cubicBezTo>
                <a:cubicBezTo>
                  <a:pt x="997" y="23"/>
                  <a:pt x="998" y="23"/>
                  <a:pt x="999" y="22"/>
                </a:cubicBezTo>
                <a:cubicBezTo>
                  <a:pt x="1000" y="22"/>
                  <a:pt x="1001" y="22"/>
                  <a:pt x="1002" y="22"/>
                </a:cubicBezTo>
                <a:cubicBezTo>
                  <a:pt x="1002" y="22"/>
                  <a:pt x="1003" y="22"/>
                  <a:pt x="1003" y="21"/>
                </a:cubicBezTo>
                <a:cubicBezTo>
                  <a:pt x="1003" y="21"/>
                  <a:pt x="1002" y="21"/>
                  <a:pt x="1002" y="21"/>
                </a:cubicBezTo>
                <a:cubicBezTo>
                  <a:pt x="1001" y="21"/>
                  <a:pt x="1000" y="21"/>
                  <a:pt x="999" y="21"/>
                </a:cubicBezTo>
                <a:cubicBezTo>
                  <a:pt x="998" y="20"/>
                  <a:pt x="997" y="20"/>
                  <a:pt x="996" y="20"/>
                </a:cubicBezTo>
                <a:cubicBezTo>
                  <a:pt x="994" y="20"/>
                  <a:pt x="992" y="19"/>
                  <a:pt x="990" y="19"/>
                </a:cubicBezTo>
                <a:cubicBezTo>
                  <a:pt x="989" y="19"/>
                  <a:pt x="988" y="19"/>
                  <a:pt x="986" y="19"/>
                </a:cubicBezTo>
                <a:cubicBezTo>
                  <a:pt x="985" y="19"/>
                  <a:pt x="984" y="19"/>
                  <a:pt x="983" y="19"/>
                </a:cubicBezTo>
                <a:cubicBezTo>
                  <a:pt x="981" y="19"/>
                  <a:pt x="978" y="19"/>
                  <a:pt x="976" y="19"/>
                </a:cubicBezTo>
                <a:cubicBezTo>
                  <a:pt x="975" y="19"/>
                  <a:pt x="974" y="19"/>
                  <a:pt x="972" y="19"/>
                </a:cubicBezTo>
                <a:cubicBezTo>
                  <a:pt x="972" y="19"/>
                  <a:pt x="971" y="18"/>
                  <a:pt x="970" y="18"/>
                </a:cubicBezTo>
                <a:cubicBezTo>
                  <a:pt x="969" y="19"/>
                  <a:pt x="969" y="19"/>
                  <a:pt x="968" y="19"/>
                </a:cubicBezTo>
                <a:cubicBezTo>
                  <a:pt x="968" y="19"/>
                  <a:pt x="967" y="19"/>
                  <a:pt x="967" y="18"/>
                </a:cubicBezTo>
                <a:cubicBezTo>
                  <a:pt x="967" y="18"/>
                  <a:pt x="967" y="17"/>
                  <a:pt x="967" y="17"/>
                </a:cubicBezTo>
                <a:cubicBezTo>
                  <a:pt x="967" y="16"/>
                  <a:pt x="966" y="16"/>
                  <a:pt x="966" y="16"/>
                </a:cubicBezTo>
                <a:cubicBezTo>
                  <a:pt x="965" y="15"/>
                  <a:pt x="964" y="15"/>
                  <a:pt x="964" y="15"/>
                </a:cubicBezTo>
                <a:cubicBezTo>
                  <a:pt x="963" y="16"/>
                  <a:pt x="962" y="16"/>
                  <a:pt x="961" y="16"/>
                </a:cubicBezTo>
                <a:cubicBezTo>
                  <a:pt x="960" y="16"/>
                  <a:pt x="959" y="16"/>
                  <a:pt x="958" y="16"/>
                </a:cubicBezTo>
                <a:cubicBezTo>
                  <a:pt x="958" y="16"/>
                  <a:pt x="958" y="16"/>
                  <a:pt x="957" y="16"/>
                </a:cubicBezTo>
                <a:cubicBezTo>
                  <a:pt x="957" y="16"/>
                  <a:pt x="957" y="17"/>
                  <a:pt x="956" y="17"/>
                </a:cubicBezTo>
                <a:cubicBezTo>
                  <a:pt x="956" y="17"/>
                  <a:pt x="955" y="17"/>
                  <a:pt x="955" y="17"/>
                </a:cubicBezTo>
                <a:cubicBezTo>
                  <a:pt x="954" y="17"/>
                  <a:pt x="954" y="17"/>
                  <a:pt x="953" y="17"/>
                </a:cubicBezTo>
                <a:cubicBezTo>
                  <a:pt x="952" y="17"/>
                  <a:pt x="952" y="17"/>
                  <a:pt x="951" y="18"/>
                </a:cubicBezTo>
                <a:cubicBezTo>
                  <a:pt x="950" y="18"/>
                  <a:pt x="948" y="18"/>
                  <a:pt x="947" y="18"/>
                </a:cubicBezTo>
                <a:cubicBezTo>
                  <a:pt x="947" y="18"/>
                  <a:pt x="945" y="18"/>
                  <a:pt x="946" y="19"/>
                </a:cubicBezTo>
                <a:cubicBezTo>
                  <a:pt x="946" y="19"/>
                  <a:pt x="947" y="19"/>
                  <a:pt x="948" y="19"/>
                </a:cubicBezTo>
                <a:cubicBezTo>
                  <a:pt x="949" y="19"/>
                  <a:pt x="949" y="20"/>
                  <a:pt x="950" y="20"/>
                </a:cubicBezTo>
                <a:cubicBezTo>
                  <a:pt x="950" y="20"/>
                  <a:pt x="951" y="21"/>
                  <a:pt x="951" y="21"/>
                </a:cubicBezTo>
                <a:cubicBezTo>
                  <a:pt x="951" y="22"/>
                  <a:pt x="949" y="21"/>
                  <a:pt x="949" y="21"/>
                </a:cubicBezTo>
                <a:cubicBezTo>
                  <a:pt x="948" y="21"/>
                  <a:pt x="948" y="21"/>
                  <a:pt x="947" y="21"/>
                </a:cubicBezTo>
                <a:cubicBezTo>
                  <a:pt x="946" y="21"/>
                  <a:pt x="945" y="20"/>
                  <a:pt x="944" y="20"/>
                </a:cubicBezTo>
                <a:cubicBezTo>
                  <a:pt x="943" y="19"/>
                  <a:pt x="942" y="19"/>
                  <a:pt x="941" y="19"/>
                </a:cubicBezTo>
                <a:cubicBezTo>
                  <a:pt x="940" y="18"/>
                  <a:pt x="941" y="17"/>
                  <a:pt x="942" y="16"/>
                </a:cubicBezTo>
                <a:cubicBezTo>
                  <a:pt x="944" y="15"/>
                  <a:pt x="940" y="16"/>
                  <a:pt x="940" y="16"/>
                </a:cubicBezTo>
                <a:cubicBezTo>
                  <a:pt x="938" y="17"/>
                  <a:pt x="936" y="17"/>
                  <a:pt x="934" y="18"/>
                </a:cubicBezTo>
                <a:cubicBezTo>
                  <a:pt x="933" y="18"/>
                  <a:pt x="931" y="18"/>
                  <a:pt x="930" y="19"/>
                </a:cubicBezTo>
                <a:cubicBezTo>
                  <a:pt x="929" y="19"/>
                  <a:pt x="928" y="19"/>
                  <a:pt x="927" y="20"/>
                </a:cubicBezTo>
                <a:cubicBezTo>
                  <a:pt x="926" y="20"/>
                  <a:pt x="925" y="20"/>
                  <a:pt x="923" y="21"/>
                </a:cubicBezTo>
                <a:cubicBezTo>
                  <a:pt x="923" y="21"/>
                  <a:pt x="922" y="21"/>
                  <a:pt x="921" y="21"/>
                </a:cubicBezTo>
                <a:cubicBezTo>
                  <a:pt x="921" y="22"/>
                  <a:pt x="921" y="22"/>
                  <a:pt x="922" y="22"/>
                </a:cubicBezTo>
                <a:cubicBezTo>
                  <a:pt x="922" y="22"/>
                  <a:pt x="923" y="22"/>
                  <a:pt x="923" y="22"/>
                </a:cubicBezTo>
                <a:cubicBezTo>
                  <a:pt x="923" y="23"/>
                  <a:pt x="923" y="23"/>
                  <a:pt x="924" y="23"/>
                </a:cubicBezTo>
                <a:cubicBezTo>
                  <a:pt x="924" y="24"/>
                  <a:pt x="925" y="24"/>
                  <a:pt x="926" y="24"/>
                </a:cubicBezTo>
                <a:cubicBezTo>
                  <a:pt x="927" y="24"/>
                  <a:pt x="928" y="25"/>
                  <a:pt x="929" y="25"/>
                </a:cubicBezTo>
                <a:cubicBezTo>
                  <a:pt x="930" y="25"/>
                  <a:pt x="930" y="25"/>
                  <a:pt x="931" y="26"/>
                </a:cubicBezTo>
                <a:cubicBezTo>
                  <a:pt x="932" y="26"/>
                  <a:pt x="932" y="26"/>
                  <a:pt x="932" y="26"/>
                </a:cubicBezTo>
                <a:cubicBezTo>
                  <a:pt x="932" y="27"/>
                  <a:pt x="931" y="26"/>
                  <a:pt x="931" y="26"/>
                </a:cubicBezTo>
                <a:cubicBezTo>
                  <a:pt x="930" y="26"/>
                  <a:pt x="929" y="26"/>
                  <a:pt x="928" y="26"/>
                </a:cubicBezTo>
                <a:cubicBezTo>
                  <a:pt x="926" y="25"/>
                  <a:pt x="925" y="25"/>
                  <a:pt x="923" y="25"/>
                </a:cubicBezTo>
                <a:cubicBezTo>
                  <a:pt x="922" y="24"/>
                  <a:pt x="921" y="24"/>
                  <a:pt x="921" y="23"/>
                </a:cubicBezTo>
                <a:cubicBezTo>
                  <a:pt x="920" y="23"/>
                  <a:pt x="919" y="23"/>
                  <a:pt x="918" y="23"/>
                </a:cubicBezTo>
                <a:cubicBezTo>
                  <a:pt x="918" y="22"/>
                  <a:pt x="917" y="22"/>
                  <a:pt x="916" y="21"/>
                </a:cubicBezTo>
                <a:cubicBezTo>
                  <a:pt x="916" y="20"/>
                  <a:pt x="915" y="20"/>
                  <a:pt x="914" y="19"/>
                </a:cubicBezTo>
                <a:cubicBezTo>
                  <a:pt x="913" y="18"/>
                  <a:pt x="911" y="17"/>
                  <a:pt x="909" y="17"/>
                </a:cubicBezTo>
                <a:cubicBezTo>
                  <a:pt x="907" y="17"/>
                  <a:pt x="904" y="17"/>
                  <a:pt x="902" y="17"/>
                </a:cubicBezTo>
                <a:cubicBezTo>
                  <a:pt x="899" y="17"/>
                  <a:pt x="896" y="17"/>
                  <a:pt x="894" y="17"/>
                </a:cubicBezTo>
                <a:cubicBezTo>
                  <a:pt x="892" y="17"/>
                  <a:pt x="891" y="17"/>
                  <a:pt x="890" y="17"/>
                </a:cubicBezTo>
                <a:cubicBezTo>
                  <a:pt x="889" y="17"/>
                  <a:pt x="888" y="17"/>
                  <a:pt x="887" y="17"/>
                </a:cubicBezTo>
                <a:cubicBezTo>
                  <a:pt x="884" y="17"/>
                  <a:pt x="882" y="17"/>
                  <a:pt x="880" y="17"/>
                </a:cubicBezTo>
                <a:cubicBezTo>
                  <a:pt x="879" y="17"/>
                  <a:pt x="879" y="17"/>
                  <a:pt x="878" y="17"/>
                </a:cubicBezTo>
                <a:cubicBezTo>
                  <a:pt x="877" y="17"/>
                  <a:pt x="877" y="18"/>
                  <a:pt x="878" y="18"/>
                </a:cubicBezTo>
                <a:cubicBezTo>
                  <a:pt x="878" y="19"/>
                  <a:pt x="878" y="20"/>
                  <a:pt x="879" y="20"/>
                </a:cubicBezTo>
                <a:cubicBezTo>
                  <a:pt x="879" y="21"/>
                  <a:pt x="880" y="20"/>
                  <a:pt x="881" y="21"/>
                </a:cubicBezTo>
                <a:cubicBezTo>
                  <a:pt x="882" y="21"/>
                  <a:pt x="882" y="21"/>
                  <a:pt x="883" y="22"/>
                </a:cubicBezTo>
                <a:cubicBezTo>
                  <a:pt x="885" y="23"/>
                  <a:pt x="887" y="24"/>
                  <a:pt x="889" y="24"/>
                </a:cubicBezTo>
                <a:cubicBezTo>
                  <a:pt x="889" y="24"/>
                  <a:pt x="890" y="24"/>
                  <a:pt x="890" y="24"/>
                </a:cubicBezTo>
                <a:cubicBezTo>
                  <a:pt x="891" y="25"/>
                  <a:pt x="890" y="25"/>
                  <a:pt x="889" y="25"/>
                </a:cubicBezTo>
                <a:cubicBezTo>
                  <a:pt x="889" y="25"/>
                  <a:pt x="889" y="26"/>
                  <a:pt x="889" y="26"/>
                </a:cubicBezTo>
                <a:cubicBezTo>
                  <a:pt x="888" y="26"/>
                  <a:pt x="888" y="26"/>
                  <a:pt x="888" y="26"/>
                </a:cubicBezTo>
                <a:cubicBezTo>
                  <a:pt x="888" y="27"/>
                  <a:pt x="889" y="26"/>
                  <a:pt x="890" y="27"/>
                </a:cubicBezTo>
                <a:cubicBezTo>
                  <a:pt x="890" y="27"/>
                  <a:pt x="891" y="27"/>
                  <a:pt x="892" y="27"/>
                </a:cubicBezTo>
                <a:cubicBezTo>
                  <a:pt x="892" y="28"/>
                  <a:pt x="893" y="28"/>
                  <a:pt x="894" y="28"/>
                </a:cubicBezTo>
                <a:cubicBezTo>
                  <a:pt x="894" y="28"/>
                  <a:pt x="895" y="29"/>
                  <a:pt x="896" y="29"/>
                </a:cubicBezTo>
                <a:cubicBezTo>
                  <a:pt x="897" y="29"/>
                  <a:pt x="897" y="29"/>
                  <a:pt x="898" y="29"/>
                </a:cubicBezTo>
                <a:cubicBezTo>
                  <a:pt x="898" y="29"/>
                  <a:pt x="898" y="29"/>
                  <a:pt x="898" y="29"/>
                </a:cubicBezTo>
                <a:cubicBezTo>
                  <a:pt x="898" y="30"/>
                  <a:pt x="897" y="30"/>
                  <a:pt x="896" y="30"/>
                </a:cubicBezTo>
                <a:cubicBezTo>
                  <a:pt x="895" y="30"/>
                  <a:pt x="895" y="31"/>
                  <a:pt x="894" y="31"/>
                </a:cubicBezTo>
                <a:cubicBezTo>
                  <a:pt x="893" y="31"/>
                  <a:pt x="892" y="32"/>
                  <a:pt x="892" y="32"/>
                </a:cubicBezTo>
                <a:cubicBezTo>
                  <a:pt x="891" y="32"/>
                  <a:pt x="890" y="34"/>
                  <a:pt x="889" y="33"/>
                </a:cubicBezTo>
                <a:cubicBezTo>
                  <a:pt x="889" y="33"/>
                  <a:pt x="889" y="32"/>
                  <a:pt x="890" y="31"/>
                </a:cubicBezTo>
                <a:cubicBezTo>
                  <a:pt x="890" y="31"/>
                  <a:pt x="890" y="31"/>
                  <a:pt x="891" y="31"/>
                </a:cubicBezTo>
                <a:cubicBezTo>
                  <a:pt x="891" y="30"/>
                  <a:pt x="891" y="30"/>
                  <a:pt x="892" y="30"/>
                </a:cubicBezTo>
                <a:cubicBezTo>
                  <a:pt x="893" y="29"/>
                  <a:pt x="891" y="29"/>
                  <a:pt x="891" y="29"/>
                </a:cubicBezTo>
                <a:cubicBezTo>
                  <a:pt x="890" y="29"/>
                  <a:pt x="889" y="29"/>
                  <a:pt x="888" y="28"/>
                </a:cubicBezTo>
                <a:cubicBezTo>
                  <a:pt x="887" y="28"/>
                  <a:pt x="886" y="28"/>
                  <a:pt x="885" y="28"/>
                </a:cubicBezTo>
                <a:cubicBezTo>
                  <a:pt x="884" y="28"/>
                  <a:pt x="884" y="27"/>
                  <a:pt x="883" y="26"/>
                </a:cubicBezTo>
                <a:cubicBezTo>
                  <a:pt x="883" y="26"/>
                  <a:pt x="882" y="25"/>
                  <a:pt x="882" y="25"/>
                </a:cubicBezTo>
                <a:cubicBezTo>
                  <a:pt x="881" y="25"/>
                  <a:pt x="881" y="25"/>
                  <a:pt x="880" y="25"/>
                </a:cubicBezTo>
                <a:cubicBezTo>
                  <a:pt x="880" y="25"/>
                  <a:pt x="880" y="24"/>
                  <a:pt x="880" y="24"/>
                </a:cubicBezTo>
                <a:cubicBezTo>
                  <a:pt x="879" y="23"/>
                  <a:pt x="878" y="22"/>
                  <a:pt x="878" y="22"/>
                </a:cubicBezTo>
                <a:cubicBezTo>
                  <a:pt x="877" y="22"/>
                  <a:pt x="876" y="22"/>
                  <a:pt x="875" y="22"/>
                </a:cubicBezTo>
                <a:cubicBezTo>
                  <a:pt x="874" y="21"/>
                  <a:pt x="872" y="21"/>
                  <a:pt x="871" y="21"/>
                </a:cubicBezTo>
                <a:cubicBezTo>
                  <a:pt x="870" y="21"/>
                  <a:pt x="868" y="21"/>
                  <a:pt x="867" y="20"/>
                </a:cubicBezTo>
                <a:cubicBezTo>
                  <a:pt x="866" y="20"/>
                  <a:pt x="864" y="20"/>
                  <a:pt x="863" y="20"/>
                </a:cubicBezTo>
                <a:cubicBezTo>
                  <a:pt x="862" y="19"/>
                  <a:pt x="860" y="20"/>
                  <a:pt x="859" y="19"/>
                </a:cubicBezTo>
                <a:cubicBezTo>
                  <a:pt x="859" y="19"/>
                  <a:pt x="858" y="19"/>
                  <a:pt x="858" y="19"/>
                </a:cubicBezTo>
                <a:cubicBezTo>
                  <a:pt x="857" y="19"/>
                  <a:pt x="856" y="19"/>
                  <a:pt x="855" y="19"/>
                </a:cubicBezTo>
                <a:cubicBezTo>
                  <a:pt x="854" y="19"/>
                  <a:pt x="853" y="20"/>
                  <a:pt x="853" y="21"/>
                </a:cubicBezTo>
                <a:cubicBezTo>
                  <a:pt x="852" y="21"/>
                  <a:pt x="852" y="22"/>
                  <a:pt x="852" y="22"/>
                </a:cubicBezTo>
                <a:cubicBezTo>
                  <a:pt x="851" y="23"/>
                  <a:pt x="851" y="23"/>
                  <a:pt x="851" y="23"/>
                </a:cubicBezTo>
                <a:cubicBezTo>
                  <a:pt x="850" y="24"/>
                  <a:pt x="850" y="24"/>
                  <a:pt x="849" y="24"/>
                </a:cubicBezTo>
                <a:cubicBezTo>
                  <a:pt x="849" y="24"/>
                  <a:pt x="849" y="24"/>
                  <a:pt x="848" y="24"/>
                </a:cubicBezTo>
                <a:cubicBezTo>
                  <a:pt x="848" y="25"/>
                  <a:pt x="849" y="25"/>
                  <a:pt x="850" y="25"/>
                </a:cubicBezTo>
                <a:cubicBezTo>
                  <a:pt x="851" y="25"/>
                  <a:pt x="851" y="26"/>
                  <a:pt x="851" y="26"/>
                </a:cubicBezTo>
                <a:cubicBezTo>
                  <a:pt x="852" y="26"/>
                  <a:pt x="854" y="26"/>
                  <a:pt x="853" y="27"/>
                </a:cubicBezTo>
                <a:cubicBezTo>
                  <a:pt x="853" y="27"/>
                  <a:pt x="852" y="27"/>
                  <a:pt x="852" y="27"/>
                </a:cubicBezTo>
                <a:cubicBezTo>
                  <a:pt x="850" y="27"/>
                  <a:pt x="847" y="27"/>
                  <a:pt x="845" y="26"/>
                </a:cubicBezTo>
                <a:cubicBezTo>
                  <a:pt x="845" y="25"/>
                  <a:pt x="844" y="25"/>
                  <a:pt x="843" y="24"/>
                </a:cubicBezTo>
                <a:cubicBezTo>
                  <a:pt x="843" y="24"/>
                  <a:pt x="842" y="24"/>
                  <a:pt x="841" y="24"/>
                </a:cubicBezTo>
                <a:cubicBezTo>
                  <a:pt x="841" y="24"/>
                  <a:pt x="840" y="24"/>
                  <a:pt x="840" y="24"/>
                </a:cubicBezTo>
                <a:cubicBezTo>
                  <a:pt x="839" y="23"/>
                  <a:pt x="837" y="23"/>
                  <a:pt x="836" y="23"/>
                </a:cubicBezTo>
                <a:cubicBezTo>
                  <a:pt x="835" y="23"/>
                  <a:pt x="834" y="22"/>
                  <a:pt x="833" y="23"/>
                </a:cubicBezTo>
                <a:cubicBezTo>
                  <a:pt x="831" y="24"/>
                  <a:pt x="834" y="26"/>
                  <a:pt x="834" y="27"/>
                </a:cubicBezTo>
                <a:cubicBezTo>
                  <a:pt x="835" y="28"/>
                  <a:pt x="836" y="28"/>
                  <a:pt x="837" y="28"/>
                </a:cubicBezTo>
                <a:cubicBezTo>
                  <a:pt x="837" y="29"/>
                  <a:pt x="838" y="29"/>
                  <a:pt x="839" y="29"/>
                </a:cubicBezTo>
                <a:cubicBezTo>
                  <a:pt x="839" y="29"/>
                  <a:pt x="840" y="30"/>
                  <a:pt x="840" y="30"/>
                </a:cubicBezTo>
                <a:cubicBezTo>
                  <a:pt x="840" y="31"/>
                  <a:pt x="839" y="30"/>
                  <a:pt x="839" y="30"/>
                </a:cubicBezTo>
                <a:cubicBezTo>
                  <a:pt x="838" y="30"/>
                  <a:pt x="837" y="30"/>
                  <a:pt x="836" y="30"/>
                </a:cubicBezTo>
                <a:cubicBezTo>
                  <a:pt x="835" y="30"/>
                  <a:pt x="835" y="29"/>
                  <a:pt x="834" y="29"/>
                </a:cubicBezTo>
                <a:cubicBezTo>
                  <a:pt x="833" y="29"/>
                  <a:pt x="833" y="29"/>
                  <a:pt x="832" y="28"/>
                </a:cubicBezTo>
                <a:cubicBezTo>
                  <a:pt x="831" y="28"/>
                  <a:pt x="830" y="28"/>
                  <a:pt x="830" y="28"/>
                </a:cubicBezTo>
                <a:cubicBezTo>
                  <a:pt x="829" y="28"/>
                  <a:pt x="828" y="28"/>
                  <a:pt x="827" y="28"/>
                </a:cubicBezTo>
                <a:cubicBezTo>
                  <a:pt x="827" y="28"/>
                  <a:pt x="826" y="28"/>
                  <a:pt x="826" y="28"/>
                </a:cubicBezTo>
                <a:cubicBezTo>
                  <a:pt x="825" y="28"/>
                  <a:pt x="825" y="28"/>
                  <a:pt x="824" y="28"/>
                </a:cubicBezTo>
                <a:cubicBezTo>
                  <a:pt x="823" y="28"/>
                  <a:pt x="823" y="28"/>
                  <a:pt x="823" y="29"/>
                </a:cubicBezTo>
                <a:cubicBezTo>
                  <a:pt x="823" y="30"/>
                  <a:pt x="824" y="31"/>
                  <a:pt x="825" y="31"/>
                </a:cubicBezTo>
                <a:cubicBezTo>
                  <a:pt x="825" y="31"/>
                  <a:pt x="826" y="32"/>
                  <a:pt x="826" y="32"/>
                </a:cubicBezTo>
                <a:cubicBezTo>
                  <a:pt x="826" y="32"/>
                  <a:pt x="825" y="32"/>
                  <a:pt x="825" y="32"/>
                </a:cubicBezTo>
                <a:cubicBezTo>
                  <a:pt x="824" y="32"/>
                  <a:pt x="823" y="32"/>
                  <a:pt x="822" y="32"/>
                </a:cubicBezTo>
                <a:cubicBezTo>
                  <a:pt x="821" y="32"/>
                  <a:pt x="820" y="32"/>
                  <a:pt x="819" y="32"/>
                </a:cubicBezTo>
                <a:cubicBezTo>
                  <a:pt x="819" y="32"/>
                  <a:pt x="818" y="33"/>
                  <a:pt x="818" y="33"/>
                </a:cubicBezTo>
                <a:cubicBezTo>
                  <a:pt x="817" y="34"/>
                  <a:pt x="816" y="35"/>
                  <a:pt x="817" y="36"/>
                </a:cubicBezTo>
                <a:cubicBezTo>
                  <a:pt x="817" y="36"/>
                  <a:pt x="817" y="36"/>
                  <a:pt x="818" y="36"/>
                </a:cubicBezTo>
                <a:cubicBezTo>
                  <a:pt x="818" y="37"/>
                  <a:pt x="819" y="37"/>
                  <a:pt x="819" y="37"/>
                </a:cubicBezTo>
                <a:cubicBezTo>
                  <a:pt x="821" y="38"/>
                  <a:pt x="823" y="38"/>
                  <a:pt x="824" y="39"/>
                </a:cubicBezTo>
                <a:cubicBezTo>
                  <a:pt x="825" y="39"/>
                  <a:pt x="826" y="39"/>
                  <a:pt x="826" y="39"/>
                </a:cubicBezTo>
                <a:cubicBezTo>
                  <a:pt x="827" y="40"/>
                  <a:pt x="828" y="40"/>
                  <a:pt x="829" y="41"/>
                </a:cubicBezTo>
                <a:cubicBezTo>
                  <a:pt x="831" y="41"/>
                  <a:pt x="832" y="41"/>
                  <a:pt x="834" y="41"/>
                </a:cubicBezTo>
                <a:cubicBezTo>
                  <a:pt x="835" y="41"/>
                  <a:pt x="836" y="42"/>
                  <a:pt x="836" y="42"/>
                </a:cubicBezTo>
                <a:cubicBezTo>
                  <a:pt x="837" y="43"/>
                  <a:pt x="837" y="43"/>
                  <a:pt x="838" y="44"/>
                </a:cubicBezTo>
                <a:cubicBezTo>
                  <a:pt x="839" y="44"/>
                  <a:pt x="840" y="44"/>
                  <a:pt x="841" y="44"/>
                </a:cubicBezTo>
                <a:cubicBezTo>
                  <a:pt x="842" y="44"/>
                  <a:pt x="842" y="45"/>
                  <a:pt x="843" y="45"/>
                </a:cubicBezTo>
                <a:cubicBezTo>
                  <a:pt x="844" y="45"/>
                  <a:pt x="845" y="45"/>
                  <a:pt x="846" y="45"/>
                </a:cubicBezTo>
                <a:cubicBezTo>
                  <a:pt x="847" y="45"/>
                  <a:pt x="848" y="45"/>
                  <a:pt x="848" y="45"/>
                </a:cubicBezTo>
                <a:cubicBezTo>
                  <a:pt x="849" y="46"/>
                  <a:pt x="848" y="47"/>
                  <a:pt x="849" y="47"/>
                </a:cubicBezTo>
                <a:cubicBezTo>
                  <a:pt x="850" y="47"/>
                  <a:pt x="851" y="47"/>
                  <a:pt x="852" y="48"/>
                </a:cubicBezTo>
                <a:cubicBezTo>
                  <a:pt x="852" y="48"/>
                  <a:pt x="853" y="49"/>
                  <a:pt x="853" y="49"/>
                </a:cubicBezTo>
                <a:cubicBezTo>
                  <a:pt x="854" y="49"/>
                  <a:pt x="855" y="50"/>
                  <a:pt x="855" y="50"/>
                </a:cubicBezTo>
                <a:cubicBezTo>
                  <a:pt x="855" y="51"/>
                  <a:pt x="854" y="50"/>
                  <a:pt x="854" y="50"/>
                </a:cubicBezTo>
                <a:cubicBezTo>
                  <a:pt x="854" y="50"/>
                  <a:pt x="853" y="50"/>
                  <a:pt x="853" y="50"/>
                </a:cubicBezTo>
                <a:cubicBezTo>
                  <a:pt x="852" y="50"/>
                  <a:pt x="851" y="50"/>
                  <a:pt x="850" y="50"/>
                </a:cubicBezTo>
                <a:cubicBezTo>
                  <a:pt x="847" y="49"/>
                  <a:pt x="845" y="49"/>
                  <a:pt x="843" y="48"/>
                </a:cubicBezTo>
                <a:cubicBezTo>
                  <a:pt x="841" y="48"/>
                  <a:pt x="839" y="47"/>
                  <a:pt x="837" y="47"/>
                </a:cubicBezTo>
                <a:cubicBezTo>
                  <a:pt x="835" y="47"/>
                  <a:pt x="833" y="47"/>
                  <a:pt x="831" y="46"/>
                </a:cubicBezTo>
                <a:cubicBezTo>
                  <a:pt x="831" y="46"/>
                  <a:pt x="830" y="45"/>
                  <a:pt x="829" y="45"/>
                </a:cubicBezTo>
                <a:cubicBezTo>
                  <a:pt x="828" y="45"/>
                  <a:pt x="826" y="45"/>
                  <a:pt x="825" y="45"/>
                </a:cubicBezTo>
                <a:cubicBezTo>
                  <a:pt x="824" y="45"/>
                  <a:pt x="823" y="45"/>
                  <a:pt x="822" y="44"/>
                </a:cubicBezTo>
                <a:cubicBezTo>
                  <a:pt x="822" y="44"/>
                  <a:pt x="822" y="44"/>
                  <a:pt x="821" y="44"/>
                </a:cubicBezTo>
                <a:cubicBezTo>
                  <a:pt x="821" y="44"/>
                  <a:pt x="820" y="44"/>
                  <a:pt x="820" y="44"/>
                </a:cubicBezTo>
                <a:cubicBezTo>
                  <a:pt x="819" y="43"/>
                  <a:pt x="818" y="43"/>
                  <a:pt x="818" y="43"/>
                </a:cubicBezTo>
                <a:cubicBezTo>
                  <a:pt x="817" y="43"/>
                  <a:pt x="818" y="44"/>
                  <a:pt x="817" y="44"/>
                </a:cubicBezTo>
                <a:cubicBezTo>
                  <a:pt x="816" y="44"/>
                  <a:pt x="815" y="44"/>
                  <a:pt x="814" y="44"/>
                </a:cubicBezTo>
                <a:cubicBezTo>
                  <a:pt x="813" y="44"/>
                  <a:pt x="813" y="43"/>
                  <a:pt x="814" y="42"/>
                </a:cubicBezTo>
                <a:cubicBezTo>
                  <a:pt x="814" y="41"/>
                  <a:pt x="813" y="41"/>
                  <a:pt x="812" y="41"/>
                </a:cubicBezTo>
                <a:cubicBezTo>
                  <a:pt x="811" y="41"/>
                  <a:pt x="811" y="40"/>
                  <a:pt x="810" y="39"/>
                </a:cubicBezTo>
                <a:cubicBezTo>
                  <a:pt x="810" y="39"/>
                  <a:pt x="809" y="39"/>
                  <a:pt x="809" y="38"/>
                </a:cubicBezTo>
                <a:cubicBezTo>
                  <a:pt x="808" y="38"/>
                  <a:pt x="806" y="37"/>
                  <a:pt x="805" y="36"/>
                </a:cubicBezTo>
                <a:cubicBezTo>
                  <a:pt x="803" y="36"/>
                  <a:pt x="801" y="35"/>
                  <a:pt x="800" y="35"/>
                </a:cubicBezTo>
                <a:cubicBezTo>
                  <a:pt x="799" y="35"/>
                  <a:pt x="797" y="35"/>
                  <a:pt x="796" y="34"/>
                </a:cubicBezTo>
                <a:cubicBezTo>
                  <a:pt x="795" y="34"/>
                  <a:pt x="795" y="34"/>
                  <a:pt x="794" y="33"/>
                </a:cubicBezTo>
                <a:cubicBezTo>
                  <a:pt x="793" y="33"/>
                  <a:pt x="791" y="33"/>
                  <a:pt x="790" y="33"/>
                </a:cubicBezTo>
                <a:cubicBezTo>
                  <a:pt x="789" y="33"/>
                  <a:pt x="788" y="33"/>
                  <a:pt x="786" y="33"/>
                </a:cubicBezTo>
                <a:cubicBezTo>
                  <a:pt x="785" y="33"/>
                  <a:pt x="784" y="33"/>
                  <a:pt x="783" y="33"/>
                </a:cubicBezTo>
                <a:cubicBezTo>
                  <a:pt x="782" y="33"/>
                  <a:pt x="781" y="33"/>
                  <a:pt x="780" y="34"/>
                </a:cubicBezTo>
                <a:cubicBezTo>
                  <a:pt x="780" y="35"/>
                  <a:pt x="783" y="35"/>
                  <a:pt x="784" y="35"/>
                </a:cubicBezTo>
                <a:cubicBezTo>
                  <a:pt x="784" y="35"/>
                  <a:pt x="786" y="37"/>
                  <a:pt x="786" y="38"/>
                </a:cubicBezTo>
                <a:cubicBezTo>
                  <a:pt x="785" y="39"/>
                  <a:pt x="783" y="40"/>
                  <a:pt x="781" y="40"/>
                </a:cubicBezTo>
                <a:cubicBezTo>
                  <a:pt x="779" y="40"/>
                  <a:pt x="777" y="40"/>
                  <a:pt x="775" y="40"/>
                </a:cubicBezTo>
                <a:cubicBezTo>
                  <a:pt x="774" y="40"/>
                  <a:pt x="773" y="40"/>
                  <a:pt x="772" y="40"/>
                </a:cubicBezTo>
                <a:cubicBezTo>
                  <a:pt x="771" y="40"/>
                  <a:pt x="770" y="40"/>
                  <a:pt x="770" y="41"/>
                </a:cubicBezTo>
                <a:cubicBezTo>
                  <a:pt x="770" y="42"/>
                  <a:pt x="771" y="42"/>
                  <a:pt x="772" y="42"/>
                </a:cubicBezTo>
                <a:cubicBezTo>
                  <a:pt x="773" y="43"/>
                  <a:pt x="773" y="43"/>
                  <a:pt x="774" y="43"/>
                </a:cubicBezTo>
                <a:cubicBezTo>
                  <a:pt x="775" y="43"/>
                  <a:pt x="776" y="43"/>
                  <a:pt x="777" y="43"/>
                </a:cubicBezTo>
                <a:cubicBezTo>
                  <a:pt x="778" y="43"/>
                  <a:pt x="778" y="43"/>
                  <a:pt x="779" y="43"/>
                </a:cubicBezTo>
                <a:cubicBezTo>
                  <a:pt x="780" y="43"/>
                  <a:pt x="781" y="44"/>
                  <a:pt x="781" y="44"/>
                </a:cubicBezTo>
                <a:cubicBezTo>
                  <a:pt x="782" y="44"/>
                  <a:pt x="783" y="44"/>
                  <a:pt x="784" y="44"/>
                </a:cubicBezTo>
                <a:cubicBezTo>
                  <a:pt x="785" y="45"/>
                  <a:pt x="786" y="45"/>
                  <a:pt x="787" y="45"/>
                </a:cubicBezTo>
                <a:cubicBezTo>
                  <a:pt x="788" y="45"/>
                  <a:pt x="789" y="45"/>
                  <a:pt x="790" y="45"/>
                </a:cubicBezTo>
                <a:cubicBezTo>
                  <a:pt x="792" y="45"/>
                  <a:pt x="793" y="46"/>
                  <a:pt x="794" y="48"/>
                </a:cubicBezTo>
                <a:cubicBezTo>
                  <a:pt x="794" y="48"/>
                  <a:pt x="795" y="49"/>
                  <a:pt x="794" y="49"/>
                </a:cubicBezTo>
                <a:cubicBezTo>
                  <a:pt x="793" y="49"/>
                  <a:pt x="793" y="48"/>
                  <a:pt x="793" y="48"/>
                </a:cubicBezTo>
                <a:cubicBezTo>
                  <a:pt x="792" y="47"/>
                  <a:pt x="792" y="47"/>
                  <a:pt x="791" y="47"/>
                </a:cubicBezTo>
                <a:cubicBezTo>
                  <a:pt x="791" y="46"/>
                  <a:pt x="789" y="46"/>
                  <a:pt x="790" y="47"/>
                </a:cubicBezTo>
                <a:cubicBezTo>
                  <a:pt x="790" y="48"/>
                  <a:pt x="792" y="48"/>
                  <a:pt x="791" y="49"/>
                </a:cubicBezTo>
                <a:cubicBezTo>
                  <a:pt x="790" y="49"/>
                  <a:pt x="789" y="47"/>
                  <a:pt x="788" y="47"/>
                </a:cubicBezTo>
                <a:cubicBezTo>
                  <a:pt x="787" y="46"/>
                  <a:pt x="786" y="47"/>
                  <a:pt x="785" y="46"/>
                </a:cubicBezTo>
                <a:cubicBezTo>
                  <a:pt x="784" y="46"/>
                  <a:pt x="783" y="46"/>
                  <a:pt x="782" y="46"/>
                </a:cubicBezTo>
                <a:cubicBezTo>
                  <a:pt x="782" y="47"/>
                  <a:pt x="783" y="47"/>
                  <a:pt x="784" y="48"/>
                </a:cubicBezTo>
                <a:cubicBezTo>
                  <a:pt x="784" y="48"/>
                  <a:pt x="785" y="49"/>
                  <a:pt x="785" y="49"/>
                </a:cubicBezTo>
                <a:cubicBezTo>
                  <a:pt x="784" y="50"/>
                  <a:pt x="783" y="48"/>
                  <a:pt x="783" y="48"/>
                </a:cubicBezTo>
                <a:cubicBezTo>
                  <a:pt x="782" y="47"/>
                  <a:pt x="781" y="47"/>
                  <a:pt x="780" y="46"/>
                </a:cubicBezTo>
                <a:cubicBezTo>
                  <a:pt x="779" y="45"/>
                  <a:pt x="777" y="45"/>
                  <a:pt x="776" y="45"/>
                </a:cubicBezTo>
                <a:cubicBezTo>
                  <a:pt x="775" y="45"/>
                  <a:pt x="774" y="45"/>
                  <a:pt x="773" y="45"/>
                </a:cubicBezTo>
                <a:cubicBezTo>
                  <a:pt x="772" y="45"/>
                  <a:pt x="770" y="44"/>
                  <a:pt x="769" y="45"/>
                </a:cubicBezTo>
                <a:cubicBezTo>
                  <a:pt x="768" y="45"/>
                  <a:pt x="769" y="45"/>
                  <a:pt x="769" y="46"/>
                </a:cubicBezTo>
                <a:cubicBezTo>
                  <a:pt x="768" y="47"/>
                  <a:pt x="767" y="46"/>
                  <a:pt x="766" y="47"/>
                </a:cubicBezTo>
                <a:cubicBezTo>
                  <a:pt x="766" y="47"/>
                  <a:pt x="767" y="47"/>
                  <a:pt x="767" y="47"/>
                </a:cubicBezTo>
                <a:cubicBezTo>
                  <a:pt x="768" y="47"/>
                  <a:pt x="768" y="48"/>
                  <a:pt x="768" y="48"/>
                </a:cubicBezTo>
                <a:cubicBezTo>
                  <a:pt x="769" y="48"/>
                  <a:pt x="770" y="48"/>
                  <a:pt x="769" y="49"/>
                </a:cubicBezTo>
                <a:cubicBezTo>
                  <a:pt x="769" y="49"/>
                  <a:pt x="769" y="49"/>
                  <a:pt x="768" y="49"/>
                </a:cubicBezTo>
                <a:cubicBezTo>
                  <a:pt x="768" y="48"/>
                  <a:pt x="768" y="48"/>
                  <a:pt x="767" y="48"/>
                </a:cubicBezTo>
                <a:cubicBezTo>
                  <a:pt x="767" y="48"/>
                  <a:pt x="766" y="47"/>
                  <a:pt x="766" y="47"/>
                </a:cubicBezTo>
                <a:cubicBezTo>
                  <a:pt x="766" y="47"/>
                  <a:pt x="765" y="47"/>
                  <a:pt x="765" y="47"/>
                </a:cubicBezTo>
                <a:cubicBezTo>
                  <a:pt x="764" y="47"/>
                  <a:pt x="765" y="47"/>
                  <a:pt x="765" y="47"/>
                </a:cubicBezTo>
                <a:cubicBezTo>
                  <a:pt x="766" y="46"/>
                  <a:pt x="766" y="46"/>
                  <a:pt x="766" y="46"/>
                </a:cubicBezTo>
                <a:cubicBezTo>
                  <a:pt x="765" y="45"/>
                  <a:pt x="765" y="45"/>
                  <a:pt x="764" y="44"/>
                </a:cubicBezTo>
                <a:cubicBezTo>
                  <a:pt x="763" y="44"/>
                  <a:pt x="762" y="44"/>
                  <a:pt x="761" y="44"/>
                </a:cubicBezTo>
                <a:cubicBezTo>
                  <a:pt x="760" y="44"/>
                  <a:pt x="759" y="44"/>
                  <a:pt x="758" y="44"/>
                </a:cubicBezTo>
                <a:cubicBezTo>
                  <a:pt x="758" y="43"/>
                  <a:pt x="757" y="43"/>
                  <a:pt x="756" y="43"/>
                </a:cubicBezTo>
                <a:cubicBezTo>
                  <a:pt x="755" y="43"/>
                  <a:pt x="753" y="43"/>
                  <a:pt x="752" y="44"/>
                </a:cubicBezTo>
                <a:cubicBezTo>
                  <a:pt x="752" y="44"/>
                  <a:pt x="751" y="44"/>
                  <a:pt x="750" y="44"/>
                </a:cubicBezTo>
                <a:cubicBezTo>
                  <a:pt x="749" y="44"/>
                  <a:pt x="748" y="45"/>
                  <a:pt x="747" y="45"/>
                </a:cubicBezTo>
                <a:cubicBezTo>
                  <a:pt x="746" y="46"/>
                  <a:pt x="745" y="46"/>
                  <a:pt x="745" y="47"/>
                </a:cubicBezTo>
                <a:cubicBezTo>
                  <a:pt x="744" y="48"/>
                  <a:pt x="744" y="48"/>
                  <a:pt x="743" y="48"/>
                </a:cubicBezTo>
                <a:cubicBezTo>
                  <a:pt x="742" y="48"/>
                  <a:pt x="741" y="48"/>
                  <a:pt x="740" y="48"/>
                </a:cubicBezTo>
                <a:cubicBezTo>
                  <a:pt x="740" y="49"/>
                  <a:pt x="743" y="48"/>
                  <a:pt x="742" y="49"/>
                </a:cubicBezTo>
                <a:cubicBezTo>
                  <a:pt x="742" y="51"/>
                  <a:pt x="741" y="51"/>
                  <a:pt x="740" y="51"/>
                </a:cubicBezTo>
                <a:cubicBezTo>
                  <a:pt x="739" y="50"/>
                  <a:pt x="738" y="50"/>
                  <a:pt x="737" y="49"/>
                </a:cubicBezTo>
                <a:cubicBezTo>
                  <a:pt x="737" y="49"/>
                  <a:pt x="736" y="49"/>
                  <a:pt x="735" y="49"/>
                </a:cubicBezTo>
                <a:cubicBezTo>
                  <a:pt x="734" y="49"/>
                  <a:pt x="733" y="49"/>
                  <a:pt x="732" y="49"/>
                </a:cubicBezTo>
                <a:cubicBezTo>
                  <a:pt x="730" y="49"/>
                  <a:pt x="728" y="49"/>
                  <a:pt x="726" y="50"/>
                </a:cubicBezTo>
                <a:cubicBezTo>
                  <a:pt x="726" y="50"/>
                  <a:pt x="725" y="51"/>
                  <a:pt x="724" y="51"/>
                </a:cubicBezTo>
                <a:cubicBezTo>
                  <a:pt x="723" y="50"/>
                  <a:pt x="722" y="50"/>
                  <a:pt x="721" y="51"/>
                </a:cubicBezTo>
                <a:cubicBezTo>
                  <a:pt x="720" y="52"/>
                  <a:pt x="720" y="53"/>
                  <a:pt x="719" y="53"/>
                </a:cubicBezTo>
                <a:cubicBezTo>
                  <a:pt x="718" y="53"/>
                  <a:pt x="718" y="52"/>
                  <a:pt x="717" y="52"/>
                </a:cubicBezTo>
                <a:cubicBezTo>
                  <a:pt x="716" y="52"/>
                  <a:pt x="715" y="53"/>
                  <a:pt x="714" y="54"/>
                </a:cubicBezTo>
                <a:cubicBezTo>
                  <a:pt x="713" y="55"/>
                  <a:pt x="712" y="55"/>
                  <a:pt x="712" y="55"/>
                </a:cubicBezTo>
                <a:cubicBezTo>
                  <a:pt x="711" y="56"/>
                  <a:pt x="712" y="56"/>
                  <a:pt x="712" y="57"/>
                </a:cubicBezTo>
                <a:close/>
                <a:moveTo>
                  <a:pt x="935" y="449"/>
                </a:moveTo>
                <a:cubicBezTo>
                  <a:pt x="935" y="449"/>
                  <a:pt x="935" y="449"/>
                  <a:pt x="935" y="450"/>
                </a:cubicBezTo>
                <a:cubicBezTo>
                  <a:pt x="935" y="450"/>
                  <a:pt x="935" y="450"/>
                  <a:pt x="936" y="450"/>
                </a:cubicBezTo>
                <a:cubicBezTo>
                  <a:pt x="936" y="450"/>
                  <a:pt x="936" y="450"/>
                  <a:pt x="936" y="450"/>
                </a:cubicBezTo>
                <a:cubicBezTo>
                  <a:pt x="936" y="450"/>
                  <a:pt x="936" y="449"/>
                  <a:pt x="936" y="449"/>
                </a:cubicBezTo>
                <a:cubicBezTo>
                  <a:pt x="936" y="449"/>
                  <a:pt x="935" y="449"/>
                  <a:pt x="935" y="449"/>
                </a:cubicBezTo>
                <a:close/>
                <a:moveTo>
                  <a:pt x="957" y="468"/>
                </a:moveTo>
                <a:cubicBezTo>
                  <a:pt x="956" y="467"/>
                  <a:pt x="954" y="466"/>
                  <a:pt x="953" y="466"/>
                </a:cubicBezTo>
                <a:cubicBezTo>
                  <a:pt x="952" y="465"/>
                  <a:pt x="952" y="465"/>
                  <a:pt x="951" y="465"/>
                </a:cubicBezTo>
                <a:cubicBezTo>
                  <a:pt x="950" y="465"/>
                  <a:pt x="950" y="465"/>
                  <a:pt x="949" y="465"/>
                </a:cubicBezTo>
                <a:cubicBezTo>
                  <a:pt x="949" y="465"/>
                  <a:pt x="947" y="464"/>
                  <a:pt x="947" y="465"/>
                </a:cubicBezTo>
                <a:cubicBezTo>
                  <a:pt x="947" y="465"/>
                  <a:pt x="948" y="465"/>
                  <a:pt x="949" y="465"/>
                </a:cubicBezTo>
                <a:cubicBezTo>
                  <a:pt x="949" y="466"/>
                  <a:pt x="949" y="466"/>
                  <a:pt x="950" y="466"/>
                </a:cubicBezTo>
                <a:cubicBezTo>
                  <a:pt x="950" y="466"/>
                  <a:pt x="950" y="466"/>
                  <a:pt x="951" y="467"/>
                </a:cubicBezTo>
                <a:cubicBezTo>
                  <a:pt x="951" y="467"/>
                  <a:pt x="951" y="467"/>
                  <a:pt x="951" y="468"/>
                </a:cubicBezTo>
                <a:cubicBezTo>
                  <a:pt x="952" y="468"/>
                  <a:pt x="952" y="468"/>
                  <a:pt x="952" y="469"/>
                </a:cubicBezTo>
                <a:cubicBezTo>
                  <a:pt x="952" y="469"/>
                  <a:pt x="952" y="470"/>
                  <a:pt x="953" y="470"/>
                </a:cubicBezTo>
                <a:cubicBezTo>
                  <a:pt x="953" y="471"/>
                  <a:pt x="954" y="471"/>
                  <a:pt x="954" y="471"/>
                </a:cubicBezTo>
                <a:cubicBezTo>
                  <a:pt x="954" y="471"/>
                  <a:pt x="955" y="471"/>
                  <a:pt x="955" y="471"/>
                </a:cubicBezTo>
                <a:cubicBezTo>
                  <a:pt x="955" y="471"/>
                  <a:pt x="956" y="471"/>
                  <a:pt x="956" y="471"/>
                </a:cubicBezTo>
                <a:cubicBezTo>
                  <a:pt x="957" y="471"/>
                  <a:pt x="958" y="471"/>
                  <a:pt x="958" y="471"/>
                </a:cubicBezTo>
                <a:cubicBezTo>
                  <a:pt x="959" y="471"/>
                  <a:pt x="959" y="471"/>
                  <a:pt x="959" y="470"/>
                </a:cubicBezTo>
                <a:cubicBezTo>
                  <a:pt x="959" y="470"/>
                  <a:pt x="959" y="469"/>
                  <a:pt x="959" y="469"/>
                </a:cubicBezTo>
                <a:cubicBezTo>
                  <a:pt x="958" y="469"/>
                  <a:pt x="958" y="469"/>
                  <a:pt x="958" y="469"/>
                </a:cubicBezTo>
                <a:cubicBezTo>
                  <a:pt x="957" y="469"/>
                  <a:pt x="957" y="468"/>
                  <a:pt x="957" y="468"/>
                </a:cubicBezTo>
                <a:close/>
                <a:moveTo>
                  <a:pt x="1689" y="545"/>
                </a:moveTo>
                <a:cubicBezTo>
                  <a:pt x="1689" y="545"/>
                  <a:pt x="1689" y="545"/>
                  <a:pt x="1689" y="545"/>
                </a:cubicBezTo>
                <a:cubicBezTo>
                  <a:pt x="1689" y="545"/>
                  <a:pt x="1690" y="545"/>
                  <a:pt x="1690" y="545"/>
                </a:cubicBezTo>
                <a:cubicBezTo>
                  <a:pt x="1690" y="544"/>
                  <a:pt x="1689" y="544"/>
                  <a:pt x="1689" y="544"/>
                </a:cubicBezTo>
                <a:cubicBezTo>
                  <a:pt x="1689" y="544"/>
                  <a:pt x="1688" y="545"/>
                  <a:pt x="1689" y="545"/>
                </a:cubicBezTo>
                <a:close/>
                <a:moveTo>
                  <a:pt x="1680" y="552"/>
                </a:moveTo>
                <a:cubicBezTo>
                  <a:pt x="1680" y="552"/>
                  <a:pt x="1680" y="553"/>
                  <a:pt x="1680" y="553"/>
                </a:cubicBezTo>
                <a:cubicBezTo>
                  <a:pt x="1680" y="553"/>
                  <a:pt x="1681" y="553"/>
                  <a:pt x="1681" y="553"/>
                </a:cubicBezTo>
                <a:cubicBezTo>
                  <a:pt x="1681" y="553"/>
                  <a:pt x="1682" y="553"/>
                  <a:pt x="1682" y="552"/>
                </a:cubicBezTo>
                <a:cubicBezTo>
                  <a:pt x="1682" y="552"/>
                  <a:pt x="1682" y="552"/>
                  <a:pt x="1682" y="551"/>
                </a:cubicBezTo>
                <a:cubicBezTo>
                  <a:pt x="1683" y="551"/>
                  <a:pt x="1684" y="550"/>
                  <a:pt x="1684" y="550"/>
                </a:cubicBezTo>
                <a:cubicBezTo>
                  <a:pt x="1684" y="549"/>
                  <a:pt x="1683" y="549"/>
                  <a:pt x="1683" y="549"/>
                </a:cubicBezTo>
                <a:cubicBezTo>
                  <a:pt x="1683" y="549"/>
                  <a:pt x="1683" y="548"/>
                  <a:pt x="1683" y="548"/>
                </a:cubicBezTo>
                <a:cubicBezTo>
                  <a:pt x="1684" y="548"/>
                  <a:pt x="1684" y="548"/>
                  <a:pt x="1684" y="548"/>
                </a:cubicBezTo>
                <a:cubicBezTo>
                  <a:pt x="1685" y="547"/>
                  <a:pt x="1685" y="548"/>
                  <a:pt x="1685" y="548"/>
                </a:cubicBezTo>
                <a:cubicBezTo>
                  <a:pt x="1684" y="549"/>
                  <a:pt x="1685" y="549"/>
                  <a:pt x="1685" y="549"/>
                </a:cubicBezTo>
                <a:cubicBezTo>
                  <a:pt x="1685" y="549"/>
                  <a:pt x="1685" y="550"/>
                  <a:pt x="1686" y="550"/>
                </a:cubicBezTo>
                <a:cubicBezTo>
                  <a:pt x="1686" y="550"/>
                  <a:pt x="1686" y="550"/>
                  <a:pt x="1686" y="549"/>
                </a:cubicBezTo>
                <a:cubicBezTo>
                  <a:pt x="1686" y="549"/>
                  <a:pt x="1686" y="549"/>
                  <a:pt x="1687" y="549"/>
                </a:cubicBezTo>
                <a:cubicBezTo>
                  <a:pt x="1687" y="549"/>
                  <a:pt x="1687" y="549"/>
                  <a:pt x="1687" y="548"/>
                </a:cubicBezTo>
                <a:cubicBezTo>
                  <a:pt x="1687" y="548"/>
                  <a:pt x="1688" y="547"/>
                  <a:pt x="1687" y="547"/>
                </a:cubicBezTo>
                <a:cubicBezTo>
                  <a:pt x="1687" y="547"/>
                  <a:pt x="1686" y="547"/>
                  <a:pt x="1686" y="547"/>
                </a:cubicBezTo>
                <a:cubicBezTo>
                  <a:pt x="1686" y="547"/>
                  <a:pt x="1685" y="547"/>
                  <a:pt x="1686" y="547"/>
                </a:cubicBezTo>
                <a:cubicBezTo>
                  <a:pt x="1686" y="546"/>
                  <a:pt x="1687" y="547"/>
                  <a:pt x="1688" y="546"/>
                </a:cubicBezTo>
                <a:cubicBezTo>
                  <a:pt x="1688" y="545"/>
                  <a:pt x="1688" y="545"/>
                  <a:pt x="1688" y="544"/>
                </a:cubicBezTo>
                <a:cubicBezTo>
                  <a:pt x="1688" y="544"/>
                  <a:pt x="1688" y="544"/>
                  <a:pt x="1689" y="544"/>
                </a:cubicBezTo>
                <a:cubicBezTo>
                  <a:pt x="1689" y="543"/>
                  <a:pt x="1689" y="543"/>
                  <a:pt x="1689" y="542"/>
                </a:cubicBezTo>
                <a:cubicBezTo>
                  <a:pt x="1689" y="542"/>
                  <a:pt x="1689" y="541"/>
                  <a:pt x="1689" y="541"/>
                </a:cubicBezTo>
                <a:cubicBezTo>
                  <a:pt x="1689" y="540"/>
                  <a:pt x="1688" y="541"/>
                  <a:pt x="1688" y="541"/>
                </a:cubicBezTo>
                <a:cubicBezTo>
                  <a:pt x="1687" y="541"/>
                  <a:pt x="1685" y="542"/>
                  <a:pt x="1684" y="543"/>
                </a:cubicBezTo>
                <a:cubicBezTo>
                  <a:pt x="1684" y="543"/>
                  <a:pt x="1684" y="545"/>
                  <a:pt x="1683" y="545"/>
                </a:cubicBezTo>
                <a:cubicBezTo>
                  <a:pt x="1683" y="545"/>
                  <a:pt x="1683" y="544"/>
                  <a:pt x="1683" y="544"/>
                </a:cubicBezTo>
                <a:cubicBezTo>
                  <a:pt x="1682" y="544"/>
                  <a:pt x="1682" y="545"/>
                  <a:pt x="1682" y="545"/>
                </a:cubicBezTo>
                <a:cubicBezTo>
                  <a:pt x="1681" y="545"/>
                  <a:pt x="1680" y="545"/>
                  <a:pt x="1680" y="544"/>
                </a:cubicBezTo>
                <a:cubicBezTo>
                  <a:pt x="1680" y="544"/>
                  <a:pt x="1679" y="544"/>
                  <a:pt x="1679" y="545"/>
                </a:cubicBezTo>
                <a:cubicBezTo>
                  <a:pt x="1679" y="545"/>
                  <a:pt x="1679" y="546"/>
                  <a:pt x="1679" y="546"/>
                </a:cubicBezTo>
                <a:cubicBezTo>
                  <a:pt x="1679" y="546"/>
                  <a:pt x="1680" y="546"/>
                  <a:pt x="1680" y="547"/>
                </a:cubicBezTo>
                <a:cubicBezTo>
                  <a:pt x="1681" y="548"/>
                  <a:pt x="1679" y="547"/>
                  <a:pt x="1679" y="548"/>
                </a:cubicBezTo>
                <a:cubicBezTo>
                  <a:pt x="1679" y="549"/>
                  <a:pt x="1679" y="549"/>
                  <a:pt x="1680" y="549"/>
                </a:cubicBezTo>
                <a:cubicBezTo>
                  <a:pt x="1680" y="549"/>
                  <a:pt x="1680" y="549"/>
                  <a:pt x="1680" y="549"/>
                </a:cubicBezTo>
                <a:cubicBezTo>
                  <a:pt x="1681" y="549"/>
                  <a:pt x="1681" y="549"/>
                  <a:pt x="1681" y="550"/>
                </a:cubicBezTo>
                <a:cubicBezTo>
                  <a:pt x="1681" y="550"/>
                  <a:pt x="1681" y="550"/>
                  <a:pt x="1680" y="550"/>
                </a:cubicBezTo>
                <a:cubicBezTo>
                  <a:pt x="1680" y="550"/>
                  <a:pt x="1680" y="551"/>
                  <a:pt x="1680" y="551"/>
                </a:cubicBezTo>
                <a:cubicBezTo>
                  <a:pt x="1679" y="551"/>
                  <a:pt x="1679" y="551"/>
                  <a:pt x="1679" y="551"/>
                </a:cubicBezTo>
                <a:cubicBezTo>
                  <a:pt x="1677" y="551"/>
                  <a:pt x="1679" y="552"/>
                  <a:pt x="1680" y="552"/>
                </a:cubicBezTo>
                <a:close/>
                <a:moveTo>
                  <a:pt x="1690" y="556"/>
                </a:moveTo>
                <a:cubicBezTo>
                  <a:pt x="1690" y="556"/>
                  <a:pt x="1690" y="556"/>
                  <a:pt x="1690" y="555"/>
                </a:cubicBezTo>
                <a:cubicBezTo>
                  <a:pt x="1689" y="555"/>
                  <a:pt x="1689" y="555"/>
                  <a:pt x="1689" y="555"/>
                </a:cubicBezTo>
                <a:cubicBezTo>
                  <a:pt x="1689" y="555"/>
                  <a:pt x="1688" y="552"/>
                  <a:pt x="1687" y="554"/>
                </a:cubicBezTo>
                <a:cubicBezTo>
                  <a:pt x="1687" y="554"/>
                  <a:pt x="1687" y="554"/>
                  <a:pt x="1687" y="555"/>
                </a:cubicBezTo>
                <a:cubicBezTo>
                  <a:pt x="1687" y="555"/>
                  <a:pt x="1687" y="555"/>
                  <a:pt x="1687" y="556"/>
                </a:cubicBezTo>
                <a:cubicBezTo>
                  <a:pt x="1687" y="556"/>
                  <a:pt x="1688" y="557"/>
                  <a:pt x="1687" y="557"/>
                </a:cubicBezTo>
                <a:cubicBezTo>
                  <a:pt x="1687" y="557"/>
                  <a:pt x="1686" y="557"/>
                  <a:pt x="1686" y="557"/>
                </a:cubicBezTo>
                <a:cubicBezTo>
                  <a:pt x="1686" y="556"/>
                  <a:pt x="1685" y="556"/>
                  <a:pt x="1685" y="556"/>
                </a:cubicBezTo>
                <a:cubicBezTo>
                  <a:pt x="1685" y="555"/>
                  <a:pt x="1685" y="555"/>
                  <a:pt x="1685" y="555"/>
                </a:cubicBezTo>
                <a:cubicBezTo>
                  <a:pt x="1684" y="555"/>
                  <a:pt x="1684" y="555"/>
                  <a:pt x="1684" y="555"/>
                </a:cubicBezTo>
                <a:cubicBezTo>
                  <a:pt x="1684" y="556"/>
                  <a:pt x="1685" y="557"/>
                  <a:pt x="1684" y="557"/>
                </a:cubicBezTo>
                <a:cubicBezTo>
                  <a:pt x="1683" y="557"/>
                  <a:pt x="1683" y="556"/>
                  <a:pt x="1682" y="557"/>
                </a:cubicBezTo>
                <a:cubicBezTo>
                  <a:pt x="1682" y="558"/>
                  <a:pt x="1683" y="557"/>
                  <a:pt x="1684" y="558"/>
                </a:cubicBezTo>
                <a:cubicBezTo>
                  <a:pt x="1684" y="558"/>
                  <a:pt x="1684" y="559"/>
                  <a:pt x="1684" y="559"/>
                </a:cubicBezTo>
                <a:cubicBezTo>
                  <a:pt x="1685" y="559"/>
                  <a:pt x="1685" y="559"/>
                  <a:pt x="1685" y="558"/>
                </a:cubicBezTo>
                <a:cubicBezTo>
                  <a:pt x="1685" y="558"/>
                  <a:pt x="1686" y="559"/>
                  <a:pt x="1686" y="559"/>
                </a:cubicBezTo>
                <a:cubicBezTo>
                  <a:pt x="1686" y="559"/>
                  <a:pt x="1687" y="559"/>
                  <a:pt x="1687" y="559"/>
                </a:cubicBezTo>
                <a:cubicBezTo>
                  <a:pt x="1687" y="560"/>
                  <a:pt x="1686" y="559"/>
                  <a:pt x="1686" y="560"/>
                </a:cubicBezTo>
                <a:cubicBezTo>
                  <a:pt x="1686" y="561"/>
                  <a:pt x="1687" y="561"/>
                  <a:pt x="1688" y="561"/>
                </a:cubicBezTo>
                <a:cubicBezTo>
                  <a:pt x="1688" y="561"/>
                  <a:pt x="1688" y="562"/>
                  <a:pt x="1688" y="562"/>
                </a:cubicBezTo>
                <a:cubicBezTo>
                  <a:pt x="1688" y="562"/>
                  <a:pt x="1689" y="562"/>
                  <a:pt x="1689" y="562"/>
                </a:cubicBezTo>
                <a:cubicBezTo>
                  <a:pt x="1689" y="562"/>
                  <a:pt x="1689" y="563"/>
                  <a:pt x="1690" y="562"/>
                </a:cubicBezTo>
                <a:cubicBezTo>
                  <a:pt x="1690" y="562"/>
                  <a:pt x="1690" y="562"/>
                  <a:pt x="1691" y="562"/>
                </a:cubicBezTo>
                <a:cubicBezTo>
                  <a:pt x="1691" y="562"/>
                  <a:pt x="1693" y="562"/>
                  <a:pt x="1692" y="563"/>
                </a:cubicBezTo>
                <a:cubicBezTo>
                  <a:pt x="1692" y="564"/>
                  <a:pt x="1691" y="564"/>
                  <a:pt x="1691" y="565"/>
                </a:cubicBezTo>
                <a:cubicBezTo>
                  <a:pt x="1692" y="565"/>
                  <a:pt x="1692" y="564"/>
                  <a:pt x="1692" y="564"/>
                </a:cubicBezTo>
                <a:cubicBezTo>
                  <a:pt x="1692" y="563"/>
                  <a:pt x="1693" y="563"/>
                  <a:pt x="1693" y="563"/>
                </a:cubicBezTo>
                <a:cubicBezTo>
                  <a:pt x="1693" y="563"/>
                  <a:pt x="1693" y="562"/>
                  <a:pt x="1693" y="562"/>
                </a:cubicBezTo>
                <a:cubicBezTo>
                  <a:pt x="1693" y="562"/>
                  <a:pt x="1694" y="562"/>
                  <a:pt x="1694" y="562"/>
                </a:cubicBezTo>
                <a:cubicBezTo>
                  <a:pt x="1694" y="562"/>
                  <a:pt x="1694" y="561"/>
                  <a:pt x="1694" y="561"/>
                </a:cubicBezTo>
                <a:cubicBezTo>
                  <a:pt x="1694" y="561"/>
                  <a:pt x="1693" y="561"/>
                  <a:pt x="1693" y="561"/>
                </a:cubicBezTo>
                <a:cubicBezTo>
                  <a:pt x="1693" y="561"/>
                  <a:pt x="1692" y="561"/>
                  <a:pt x="1692" y="561"/>
                </a:cubicBezTo>
                <a:cubicBezTo>
                  <a:pt x="1692" y="561"/>
                  <a:pt x="1692" y="560"/>
                  <a:pt x="1691" y="560"/>
                </a:cubicBezTo>
                <a:cubicBezTo>
                  <a:pt x="1691" y="560"/>
                  <a:pt x="1690" y="560"/>
                  <a:pt x="1690" y="560"/>
                </a:cubicBezTo>
                <a:cubicBezTo>
                  <a:pt x="1690" y="559"/>
                  <a:pt x="1690" y="559"/>
                  <a:pt x="1690" y="559"/>
                </a:cubicBezTo>
                <a:cubicBezTo>
                  <a:pt x="1690" y="558"/>
                  <a:pt x="1690" y="558"/>
                  <a:pt x="1690" y="558"/>
                </a:cubicBezTo>
                <a:cubicBezTo>
                  <a:pt x="1689" y="557"/>
                  <a:pt x="1690" y="557"/>
                  <a:pt x="1690" y="556"/>
                </a:cubicBezTo>
                <a:close/>
                <a:moveTo>
                  <a:pt x="1682" y="574"/>
                </a:moveTo>
                <a:cubicBezTo>
                  <a:pt x="1682" y="574"/>
                  <a:pt x="1682" y="574"/>
                  <a:pt x="1682" y="573"/>
                </a:cubicBezTo>
                <a:cubicBezTo>
                  <a:pt x="1683" y="573"/>
                  <a:pt x="1683" y="573"/>
                  <a:pt x="1683" y="573"/>
                </a:cubicBezTo>
                <a:cubicBezTo>
                  <a:pt x="1682" y="572"/>
                  <a:pt x="1682" y="573"/>
                  <a:pt x="1682" y="574"/>
                </a:cubicBezTo>
                <a:close/>
                <a:moveTo>
                  <a:pt x="1685" y="571"/>
                </a:moveTo>
                <a:cubicBezTo>
                  <a:pt x="1685" y="571"/>
                  <a:pt x="1684" y="572"/>
                  <a:pt x="1684" y="572"/>
                </a:cubicBezTo>
                <a:cubicBezTo>
                  <a:pt x="1685" y="572"/>
                  <a:pt x="1686" y="572"/>
                  <a:pt x="1686" y="571"/>
                </a:cubicBezTo>
                <a:cubicBezTo>
                  <a:pt x="1686" y="571"/>
                  <a:pt x="1686" y="570"/>
                  <a:pt x="1686" y="570"/>
                </a:cubicBezTo>
                <a:cubicBezTo>
                  <a:pt x="1686" y="570"/>
                  <a:pt x="1685" y="571"/>
                  <a:pt x="1685" y="571"/>
                </a:cubicBezTo>
                <a:close/>
                <a:moveTo>
                  <a:pt x="1675" y="555"/>
                </a:moveTo>
                <a:cubicBezTo>
                  <a:pt x="1675" y="555"/>
                  <a:pt x="1676" y="555"/>
                  <a:pt x="1676" y="556"/>
                </a:cubicBezTo>
                <a:cubicBezTo>
                  <a:pt x="1676" y="556"/>
                  <a:pt x="1676" y="556"/>
                  <a:pt x="1676" y="556"/>
                </a:cubicBezTo>
                <a:cubicBezTo>
                  <a:pt x="1677" y="557"/>
                  <a:pt x="1677" y="556"/>
                  <a:pt x="1677" y="556"/>
                </a:cubicBezTo>
                <a:cubicBezTo>
                  <a:pt x="1678" y="556"/>
                  <a:pt x="1678" y="557"/>
                  <a:pt x="1678" y="557"/>
                </a:cubicBezTo>
                <a:cubicBezTo>
                  <a:pt x="1679" y="556"/>
                  <a:pt x="1678" y="556"/>
                  <a:pt x="1678" y="556"/>
                </a:cubicBezTo>
                <a:cubicBezTo>
                  <a:pt x="1678" y="555"/>
                  <a:pt x="1679" y="555"/>
                  <a:pt x="1679" y="555"/>
                </a:cubicBezTo>
                <a:cubicBezTo>
                  <a:pt x="1679" y="554"/>
                  <a:pt x="1678" y="554"/>
                  <a:pt x="1677" y="554"/>
                </a:cubicBezTo>
                <a:cubicBezTo>
                  <a:pt x="1677" y="554"/>
                  <a:pt x="1676" y="554"/>
                  <a:pt x="1675" y="554"/>
                </a:cubicBezTo>
                <a:cubicBezTo>
                  <a:pt x="1675" y="554"/>
                  <a:pt x="1674" y="554"/>
                  <a:pt x="1674" y="555"/>
                </a:cubicBezTo>
                <a:cubicBezTo>
                  <a:pt x="1674" y="555"/>
                  <a:pt x="1674" y="555"/>
                  <a:pt x="1675" y="555"/>
                </a:cubicBezTo>
                <a:close/>
                <a:moveTo>
                  <a:pt x="1154" y="43"/>
                </a:moveTo>
                <a:cubicBezTo>
                  <a:pt x="1155" y="44"/>
                  <a:pt x="1156" y="44"/>
                  <a:pt x="1157" y="44"/>
                </a:cubicBezTo>
                <a:cubicBezTo>
                  <a:pt x="1158" y="44"/>
                  <a:pt x="1158" y="44"/>
                  <a:pt x="1160" y="45"/>
                </a:cubicBezTo>
                <a:cubicBezTo>
                  <a:pt x="1160" y="45"/>
                  <a:pt x="1161" y="44"/>
                  <a:pt x="1162" y="45"/>
                </a:cubicBezTo>
                <a:cubicBezTo>
                  <a:pt x="1163" y="45"/>
                  <a:pt x="1165" y="45"/>
                  <a:pt x="1166" y="45"/>
                </a:cubicBezTo>
                <a:cubicBezTo>
                  <a:pt x="1167" y="45"/>
                  <a:pt x="1168" y="45"/>
                  <a:pt x="1170" y="45"/>
                </a:cubicBezTo>
                <a:cubicBezTo>
                  <a:pt x="1171" y="45"/>
                  <a:pt x="1172" y="46"/>
                  <a:pt x="1173" y="46"/>
                </a:cubicBezTo>
                <a:cubicBezTo>
                  <a:pt x="1174" y="46"/>
                  <a:pt x="1176" y="47"/>
                  <a:pt x="1176" y="46"/>
                </a:cubicBezTo>
                <a:cubicBezTo>
                  <a:pt x="1176" y="46"/>
                  <a:pt x="1174" y="45"/>
                  <a:pt x="1174" y="45"/>
                </a:cubicBezTo>
                <a:cubicBezTo>
                  <a:pt x="1173" y="44"/>
                  <a:pt x="1172" y="44"/>
                  <a:pt x="1171" y="43"/>
                </a:cubicBezTo>
                <a:cubicBezTo>
                  <a:pt x="1170" y="43"/>
                  <a:pt x="1169" y="42"/>
                  <a:pt x="1168" y="42"/>
                </a:cubicBezTo>
                <a:cubicBezTo>
                  <a:pt x="1166" y="41"/>
                  <a:pt x="1164" y="42"/>
                  <a:pt x="1162" y="41"/>
                </a:cubicBezTo>
                <a:cubicBezTo>
                  <a:pt x="1161" y="40"/>
                  <a:pt x="1159" y="39"/>
                  <a:pt x="1157" y="38"/>
                </a:cubicBezTo>
                <a:cubicBezTo>
                  <a:pt x="1156" y="38"/>
                  <a:pt x="1156" y="37"/>
                  <a:pt x="1155" y="37"/>
                </a:cubicBezTo>
                <a:cubicBezTo>
                  <a:pt x="1153" y="38"/>
                  <a:pt x="1152" y="38"/>
                  <a:pt x="1152" y="39"/>
                </a:cubicBezTo>
                <a:cubicBezTo>
                  <a:pt x="1151" y="40"/>
                  <a:pt x="1151" y="41"/>
                  <a:pt x="1152" y="42"/>
                </a:cubicBezTo>
                <a:cubicBezTo>
                  <a:pt x="1152" y="43"/>
                  <a:pt x="1153" y="43"/>
                  <a:pt x="1154" y="43"/>
                </a:cubicBezTo>
                <a:close/>
                <a:moveTo>
                  <a:pt x="1644" y="641"/>
                </a:moveTo>
                <a:cubicBezTo>
                  <a:pt x="1645" y="641"/>
                  <a:pt x="1645" y="642"/>
                  <a:pt x="1646" y="642"/>
                </a:cubicBezTo>
                <a:cubicBezTo>
                  <a:pt x="1647" y="641"/>
                  <a:pt x="1647" y="641"/>
                  <a:pt x="1647" y="641"/>
                </a:cubicBezTo>
                <a:cubicBezTo>
                  <a:pt x="1648" y="641"/>
                  <a:pt x="1648" y="641"/>
                  <a:pt x="1649" y="641"/>
                </a:cubicBezTo>
                <a:cubicBezTo>
                  <a:pt x="1649" y="641"/>
                  <a:pt x="1648" y="641"/>
                  <a:pt x="1648" y="641"/>
                </a:cubicBezTo>
                <a:cubicBezTo>
                  <a:pt x="1647" y="641"/>
                  <a:pt x="1647" y="642"/>
                  <a:pt x="1647" y="642"/>
                </a:cubicBezTo>
                <a:cubicBezTo>
                  <a:pt x="1646" y="643"/>
                  <a:pt x="1646" y="643"/>
                  <a:pt x="1645" y="643"/>
                </a:cubicBezTo>
                <a:cubicBezTo>
                  <a:pt x="1644" y="643"/>
                  <a:pt x="1643" y="643"/>
                  <a:pt x="1643" y="644"/>
                </a:cubicBezTo>
                <a:cubicBezTo>
                  <a:pt x="1643" y="645"/>
                  <a:pt x="1643" y="645"/>
                  <a:pt x="1642" y="645"/>
                </a:cubicBezTo>
                <a:cubicBezTo>
                  <a:pt x="1642" y="645"/>
                  <a:pt x="1642" y="645"/>
                  <a:pt x="1642" y="646"/>
                </a:cubicBezTo>
                <a:cubicBezTo>
                  <a:pt x="1643" y="647"/>
                  <a:pt x="1644" y="645"/>
                  <a:pt x="1644" y="645"/>
                </a:cubicBezTo>
                <a:cubicBezTo>
                  <a:pt x="1645" y="645"/>
                  <a:pt x="1644" y="646"/>
                  <a:pt x="1645" y="646"/>
                </a:cubicBezTo>
                <a:cubicBezTo>
                  <a:pt x="1645" y="646"/>
                  <a:pt x="1645" y="647"/>
                  <a:pt x="1645" y="647"/>
                </a:cubicBezTo>
                <a:cubicBezTo>
                  <a:pt x="1646" y="647"/>
                  <a:pt x="1646" y="647"/>
                  <a:pt x="1647" y="646"/>
                </a:cubicBezTo>
                <a:cubicBezTo>
                  <a:pt x="1647" y="646"/>
                  <a:pt x="1647" y="646"/>
                  <a:pt x="1648" y="646"/>
                </a:cubicBezTo>
                <a:cubicBezTo>
                  <a:pt x="1649" y="646"/>
                  <a:pt x="1650" y="645"/>
                  <a:pt x="1651" y="646"/>
                </a:cubicBezTo>
                <a:cubicBezTo>
                  <a:pt x="1651" y="646"/>
                  <a:pt x="1650" y="646"/>
                  <a:pt x="1650" y="646"/>
                </a:cubicBezTo>
                <a:cubicBezTo>
                  <a:pt x="1649" y="646"/>
                  <a:pt x="1649" y="646"/>
                  <a:pt x="1649" y="647"/>
                </a:cubicBezTo>
                <a:cubicBezTo>
                  <a:pt x="1649" y="647"/>
                  <a:pt x="1648" y="647"/>
                  <a:pt x="1648" y="647"/>
                </a:cubicBezTo>
                <a:cubicBezTo>
                  <a:pt x="1648" y="647"/>
                  <a:pt x="1647" y="647"/>
                  <a:pt x="1647" y="647"/>
                </a:cubicBezTo>
                <a:cubicBezTo>
                  <a:pt x="1646" y="648"/>
                  <a:pt x="1646" y="649"/>
                  <a:pt x="1645" y="649"/>
                </a:cubicBezTo>
                <a:cubicBezTo>
                  <a:pt x="1645" y="649"/>
                  <a:pt x="1644" y="649"/>
                  <a:pt x="1644" y="649"/>
                </a:cubicBezTo>
                <a:cubicBezTo>
                  <a:pt x="1644" y="650"/>
                  <a:pt x="1644" y="650"/>
                  <a:pt x="1645" y="650"/>
                </a:cubicBezTo>
                <a:cubicBezTo>
                  <a:pt x="1646" y="650"/>
                  <a:pt x="1646" y="649"/>
                  <a:pt x="1647" y="649"/>
                </a:cubicBezTo>
                <a:cubicBezTo>
                  <a:pt x="1648" y="650"/>
                  <a:pt x="1649" y="649"/>
                  <a:pt x="1650" y="649"/>
                </a:cubicBezTo>
                <a:cubicBezTo>
                  <a:pt x="1650" y="649"/>
                  <a:pt x="1650" y="649"/>
                  <a:pt x="1651" y="649"/>
                </a:cubicBezTo>
                <a:cubicBezTo>
                  <a:pt x="1651" y="649"/>
                  <a:pt x="1651" y="648"/>
                  <a:pt x="1651" y="648"/>
                </a:cubicBezTo>
                <a:cubicBezTo>
                  <a:pt x="1651" y="649"/>
                  <a:pt x="1651" y="649"/>
                  <a:pt x="1651" y="649"/>
                </a:cubicBezTo>
                <a:cubicBezTo>
                  <a:pt x="1650" y="649"/>
                  <a:pt x="1650" y="649"/>
                  <a:pt x="1649" y="650"/>
                </a:cubicBezTo>
                <a:cubicBezTo>
                  <a:pt x="1649" y="650"/>
                  <a:pt x="1647" y="651"/>
                  <a:pt x="1648" y="651"/>
                </a:cubicBezTo>
                <a:cubicBezTo>
                  <a:pt x="1649" y="651"/>
                  <a:pt x="1649" y="650"/>
                  <a:pt x="1650" y="650"/>
                </a:cubicBezTo>
                <a:cubicBezTo>
                  <a:pt x="1649" y="651"/>
                  <a:pt x="1649" y="651"/>
                  <a:pt x="1648" y="651"/>
                </a:cubicBezTo>
                <a:cubicBezTo>
                  <a:pt x="1647" y="652"/>
                  <a:pt x="1648" y="652"/>
                  <a:pt x="1649" y="652"/>
                </a:cubicBezTo>
                <a:cubicBezTo>
                  <a:pt x="1650" y="652"/>
                  <a:pt x="1650" y="652"/>
                  <a:pt x="1651" y="652"/>
                </a:cubicBezTo>
                <a:cubicBezTo>
                  <a:pt x="1651" y="651"/>
                  <a:pt x="1652" y="651"/>
                  <a:pt x="1652" y="651"/>
                </a:cubicBezTo>
                <a:cubicBezTo>
                  <a:pt x="1652" y="651"/>
                  <a:pt x="1652" y="652"/>
                  <a:pt x="1653" y="652"/>
                </a:cubicBezTo>
                <a:cubicBezTo>
                  <a:pt x="1653" y="652"/>
                  <a:pt x="1654" y="651"/>
                  <a:pt x="1655" y="651"/>
                </a:cubicBezTo>
                <a:cubicBezTo>
                  <a:pt x="1655" y="651"/>
                  <a:pt x="1656" y="651"/>
                  <a:pt x="1656" y="651"/>
                </a:cubicBezTo>
                <a:cubicBezTo>
                  <a:pt x="1656" y="651"/>
                  <a:pt x="1657" y="651"/>
                  <a:pt x="1657" y="651"/>
                </a:cubicBezTo>
                <a:cubicBezTo>
                  <a:pt x="1659" y="650"/>
                  <a:pt x="1660" y="651"/>
                  <a:pt x="1662" y="650"/>
                </a:cubicBezTo>
                <a:cubicBezTo>
                  <a:pt x="1662" y="649"/>
                  <a:pt x="1663" y="649"/>
                  <a:pt x="1663" y="648"/>
                </a:cubicBezTo>
                <a:cubicBezTo>
                  <a:pt x="1664" y="648"/>
                  <a:pt x="1665" y="647"/>
                  <a:pt x="1664" y="647"/>
                </a:cubicBezTo>
                <a:cubicBezTo>
                  <a:pt x="1664" y="646"/>
                  <a:pt x="1665" y="646"/>
                  <a:pt x="1665" y="646"/>
                </a:cubicBezTo>
                <a:cubicBezTo>
                  <a:pt x="1665" y="647"/>
                  <a:pt x="1665" y="647"/>
                  <a:pt x="1665" y="647"/>
                </a:cubicBezTo>
                <a:cubicBezTo>
                  <a:pt x="1665" y="648"/>
                  <a:pt x="1666" y="648"/>
                  <a:pt x="1666" y="647"/>
                </a:cubicBezTo>
                <a:cubicBezTo>
                  <a:pt x="1667" y="647"/>
                  <a:pt x="1667" y="647"/>
                  <a:pt x="1668" y="646"/>
                </a:cubicBezTo>
                <a:cubicBezTo>
                  <a:pt x="1668" y="646"/>
                  <a:pt x="1668" y="646"/>
                  <a:pt x="1669" y="646"/>
                </a:cubicBezTo>
                <a:cubicBezTo>
                  <a:pt x="1669" y="645"/>
                  <a:pt x="1669" y="645"/>
                  <a:pt x="1669" y="645"/>
                </a:cubicBezTo>
                <a:cubicBezTo>
                  <a:pt x="1670" y="645"/>
                  <a:pt x="1670" y="644"/>
                  <a:pt x="1670" y="644"/>
                </a:cubicBezTo>
                <a:cubicBezTo>
                  <a:pt x="1671" y="644"/>
                  <a:pt x="1671" y="645"/>
                  <a:pt x="1671" y="644"/>
                </a:cubicBezTo>
                <a:cubicBezTo>
                  <a:pt x="1672" y="644"/>
                  <a:pt x="1672" y="643"/>
                  <a:pt x="1672" y="643"/>
                </a:cubicBezTo>
                <a:cubicBezTo>
                  <a:pt x="1673" y="643"/>
                  <a:pt x="1673" y="643"/>
                  <a:pt x="1674" y="643"/>
                </a:cubicBezTo>
                <a:cubicBezTo>
                  <a:pt x="1674" y="642"/>
                  <a:pt x="1675" y="642"/>
                  <a:pt x="1676" y="642"/>
                </a:cubicBezTo>
                <a:cubicBezTo>
                  <a:pt x="1676" y="643"/>
                  <a:pt x="1677" y="642"/>
                  <a:pt x="1678" y="642"/>
                </a:cubicBezTo>
                <a:cubicBezTo>
                  <a:pt x="1678" y="642"/>
                  <a:pt x="1678" y="643"/>
                  <a:pt x="1679" y="642"/>
                </a:cubicBezTo>
                <a:cubicBezTo>
                  <a:pt x="1679" y="642"/>
                  <a:pt x="1679" y="642"/>
                  <a:pt x="1679" y="641"/>
                </a:cubicBezTo>
                <a:cubicBezTo>
                  <a:pt x="1680" y="641"/>
                  <a:pt x="1680" y="641"/>
                  <a:pt x="1681" y="641"/>
                </a:cubicBezTo>
                <a:cubicBezTo>
                  <a:pt x="1682" y="641"/>
                  <a:pt x="1682" y="640"/>
                  <a:pt x="1683" y="640"/>
                </a:cubicBezTo>
                <a:cubicBezTo>
                  <a:pt x="1683" y="640"/>
                  <a:pt x="1683" y="640"/>
                  <a:pt x="1684" y="640"/>
                </a:cubicBezTo>
                <a:cubicBezTo>
                  <a:pt x="1684" y="640"/>
                  <a:pt x="1684" y="640"/>
                  <a:pt x="1684" y="641"/>
                </a:cubicBezTo>
                <a:cubicBezTo>
                  <a:pt x="1685" y="641"/>
                  <a:pt x="1685" y="641"/>
                  <a:pt x="1685" y="641"/>
                </a:cubicBezTo>
                <a:cubicBezTo>
                  <a:pt x="1686" y="641"/>
                  <a:pt x="1686" y="641"/>
                  <a:pt x="1686" y="641"/>
                </a:cubicBezTo>
                <a:cubicBezTo>
                  <a:pt x="1688" y="642"/>
                  <a:pt x="1687" y="641"/>
                  <a:pt x="1687" y="640"/>
                </a:cubicBezTo>
                <a:cubicBezTo>
                  <a:pt x="1686" y="639"/>
                  <a:pt x="1686" y="639"/>
                  <a:pt x="1687" y="638"/>
                </a:cubicBezTo>
                <a:cubicBezTo>
                  <a:pt x="1688" y="638"/>
                  <a:pt x="1688" y="637"/>
                  <a:pt x="1688" y="636"/>
                </a:cubicBezTo>
                <a:cubicBezTo>
                  <a:pt x="1688" y="635"/>
                  <a:pt x="1689" y="635"/>
                  <a:pt x="1689" y="634"/>
                </a:cubicBezTo>
                <a:cubicBezTo>
                  <a:pt x="1689" y="633"/>
                  <a:pt x="1690" y="632"/>
                  <a:pt x="1690" y="632"/>
                </a:cubicBezTo>
                <a:cubicBezTo>
                  <a:pt x="1690" y="631"/>
                  <a:pt x="1691" y="630"/>
                  <a:pt x="1691" y="630"/>
                </a:cubicBezTo>
                <a:cubicBezTo>
                  <a:pt x="1691" y="629"/>
                  <a:pt x="1691" y="628"/>
                  <a:pt x="1691" y="628"/>
                </a:cubicBezTo>
                <a:cubicBezTo>
                  <a:pt x="1691" y="627"/>
                  <a:pt x="1691" y="627"/>
                  <a:pt x="1691" y="627"/>
                </a:cubicBezTo>
                <a:cubicBezTo>
                  <a:pt x="1690" y="626"/>
                  <a:pt x="1690" y="625"/>
                  <a:pt x="1690" y="625"/>
                </a:cubicBezTo>
                <a:cubicBezTo>
                  <a:pt x="1690" y="625"/>
                  <a:pt x="1690" y="624"/>
                  <a:pt x="1690" y="624"/>
                </a:cubicBezTo>
                <a:cubicBezTo>
                  <a:pt x="1690" y="623"/>
                  <a:pt x="1690" y="624"/>
                  <a:pt x="1690" y="623"/>
                </a:cubicBezTo>
                <a:cubicBezTo>
                  <a:pt x="1691" y="623"/>
                  <a:pt x="1691" y="622"/>
                  <a:pt x="1691" y="621"/>
                </a:cubicBezTo>
                <a:cubicBezTo>
                  <a:pt x="1691" y="620"/>
                  <a:pt x="1690" y="620"/>
                  <a:pt x="1690" y="619"/>
                </a:cubicBezTo>
                <a:cubicBezTo>
                  <a:pt x="1690" y="619"/>
                  <a:pt x="1690" y="619"/>
                  <a:pt x="1689" y="618"/>
                </a:cubicBezTo>
                <a:cubicBezTo>
                  <a:pt x="1689" y="618"/>
                  <a:pt x="1688" y="617"/>
                  <a:pt x="1688" y="616"/>
                </a:cubicBezTo>
                <a:cubicBezTo>
                  <a:pt x="1688" y="616"/>
                  <a:pt x="1688" y="616"/>
                  <a:pt x="1688" y="615"/>
                </a:cubicBezTo>
                <a:cubicBezTo>
                  <a:pt x="1688" y="615"/>
                  <a:pt x="1687" y="615"/>
                  <a:pt x="1687" y="615"/>
                </a:cubicBezTo>
                <a:cubicBezTo>
                  <a:pt x="1687" y="614"/>
                  <a:pt x="1688" y="613"/>
                  <a:pt x="1689" y="613"/>
                </a:cubicBezTo>
                <a:cubicBezTo>
                  <a:pt x="1689" y="613"/>
                  <a:pt x="1690" y="613"/>
                  <a:pt x="1690" y="613"/>
                </a:cubicBezTo>
                <a:cubicBezTo>
                  <a:pt x="1691" y="612"/>
                  <a:pt x="1692" y="611"/>
                  <a:pt x="1692" y="611"/>
                </a:cubicBezTo>
                <a:cubicBezTo>
                  <a:pt x="1693" y="610"/>
                  <a:pt x="1694" y="610"/>
                  <a:pt x="1695" y="609"/>
                </a:cubicBezTo>
                <a:cubicBezTo>
                  <a:pt x="1695" y="609"/>
                  <a:pt x="1696" y="609"/>
                  <a:pt x="1696" y="609"/>
                </a:cubicBezTo>
                <a:cubicBezTo>
                  <a:pt x="1696" y="608"/>
                  <a:pt x="1697" y="608"/>
                  <a:pt x="1696" y="608"/>
                </a:cubicBezTo>
                <a:cubicBezTo>
                  <a:pt x="1696" y="607"/>
                  <a:pt x="1696" y="608"/>
                  <a:pt x="1695" y="608"/>
                </a:cubicBezTo>
                <a:cubicBezTo>
                  <a:pt x="1695" y="608"/>
                  <a:pt x="1695" y="607"/>
                  <a:pt x="1695" y="607"/>
                </a:cubicBezTo>
                <a:cubicBezTo>
                  <a:pt x="1695" y="607"/>
                  <a:pt x="1695" y="607"/>
                  <a:pt x="1695" y="606"/>
                </a:cubicBezTo>
                <a:cubicBezTo>
                  <a:pt x="1696" y="606"/>
                  <a:pt x="1695" y="605"/>
                  <a:pt x="1695" y="604"/>
                </a:cubicBezTo>
                <a:cubicBezTo>
                  <a:pt x="1696" y="604"/>
                  <a:pt x="1696" y="605"/>
                  <a:pt x="1696" y="605"/>
                </a:cubicBezTo>
                <a:cubicBezTo>
                  <a:pt x="1696" y="606"/>
                  <a:pt x="1696" y="606"/>
                  <a:pt x="1696" y="606"/>
                </a:cubicBezTo>
                <a:cubicBezTo>
                  <a:pt x="1696" y="606"/>
                  <a:pt x="1696" y="606"/>
                  <a:pt x="1696" y="606"/>
                </a:cubicBezTo>
                <a:cubicBezTo>
                  <a:pt x="1697" y="607"/>
                  <a:pt x="1696" y="607"/>
                  <a:pt x="1697" y="608"/>
                </a:cubicBezTo>
                <a:cubicBezTo>
                  <a:pt x="1697" y="608"/>
                  <a:pt x="1697" y="607"/>
                  <a:pt x="1697" y="607"/>
                </a:cubicBezTo>
                <a:cubicBezTo>
                  <a:pt x="1697" y="607"/>
                  <a:pt x="1697" y="606"/>
                  <a:pt x="1697" y="606"/>
                </a:cubicBezTo>
                <a:cubicBezTo>
                  <a:pt x="1697" y="605"/>
                  <a:pt x="1697" y="605"/>
                  <a:pt x="1697" y="605"/>
                </a:cubicBezTo>
                <a:cubicBezTo>
                  <a:pt x="1697" y="604"/>
                  <a:pt x="1697" y="604"/>
                  <a:pt x="1697" y="604"/>
                </a:cubicBezTo>
                <a:cubicBezTo>
                  <a:pt x="1697" y="603"/>
                  <a:pt x="1697" y="603"/>
                  <a:pt x="1697" y="603"/>
                </a:cubicBezTo>
                <a:cubicBezTo>
                  <a:pt x="1696" y="601"/>
                  <a:pt x="1696" y="602"/>
                  <a:pt x="1695" y="603"/>
                </a:cubicBezTo>
                <a:cubicBezTo>
                  <a:pt x="1695" y="603"/>
                  <a:pt x="1693" y="603"/>
                  <a:pt x="1693" y="603"/>
                </a:cubicBezTo>
                <a:cubicBezTo>
                  <a:pt x="1693" y="603"/>
                  <a:pt x="1693" y="602"/>
                  <a:pt x="1693" y="602"/>
                </a:cubicBezTo>
                <a:cubicBezTo>
                  <a:pt x="1693" y="602"/>
                  <a:pt x="1694" y="602"/>
                  <a:pt x="1694" y="602"/>
                </a:cubicBezTo>
                <a:cubicBezTo>
                  <a:pt x="1694" y="601"/>
                  <a:pt x="1694" y="601"/>
                  <a:pt x="1695" y="601"/>
                </a:cubicBezTo>
                <a:cubicBezTo>
                  <a:pt x="1695" y="601"/>
                  <a:pt x="1695" y="601"/>
                  <a:pt x="1695" y="600"/>
                </a:cubicBezTo>
                <a:cubicBezTo>
                  <a:pt x="1695" y="600"/>
                  <a:pt x="1696" y="600"/>
                  <a:pt x="1695" y="600"/>
                </a:cubicBezTo>
                <a:cubicBezTo>
                  <a:pt x="1695" y="599"/>
                  <a:pt x="1695" y="600"/>
                  <a:pt x="1695" y="600"/>
                </a:cubicBezTo>
                <a:cubicBezTo>
                  <a:pt x="1695" y="600"/>
                  <a:pt x="1694" y="599"/>
                  <a:pt x="1694" y="599"/>
                </a:cubicBezTo>
                <a:cubicBezTo>
                  <a:pt x="1694" y="599"/>
                  <a:pt x="1693" y="599"/>
                  <a:pt x="1693" y="598"/>
                </a:cubicBezTo>
                <a:cubicBezTo>
                  <a:pt x="1693" y="598"/>
                  <a:pt x="1693" y="597"/>
                  <a:pt x="1692" y="597"/>
                </a:cubicBezTo>
                <a:cubicBezTo>
                  <a:pt x="1692" y="596"/>
                  <a:pt x="1691" y="596"/>
                  <a:pt x="1691" y="596"/>
                </a:cubicBezTo>
                <a:cubicBezTo>
                  <a:pt x="1691" y="595"/>
                  <a:pt x="1691" y="595"/>
                  <a:pt x="1691" y="595"/>
                </a:cubicBezTo>
                <a:cubicBezTo>
                  <a:pt x="1691" y="594"/>
                  <a:pt x="1690" y="594"/>
                  <a:pt x="1690" y="594"/>
                </a:cubicBezTo>
                <a:cubicBezTo>
                  <a:pt x="1690" y="594"/>
                  <a:pt x="1689" y="593"/>
                  <a:pt x="1689" y="593"/>
                </a:cubicBezTo>
                <a:cubicBezTo>
                  <a:pt x="1688" y="593"/>
                  <a:pt x="1687" y="593"/>
                  <a:pt x="1687" y="593"/>
                </a:cubicBezTo>
                <a:cubicBezTo>
                  <a:pt x="1686" y="593"/>
                  <a:pt x="1685" y="593"/>
                  <a:pt x="1684" y="593"/>
                </a:cubicBezTo>
                <a:cubicBezTo>
                  <a:pt x="1684" y="594"/>
                  <a:pt x="1684" y="594"/>
                  <a:pt x="1683" y="594"/>
                </a:cubicBezTo>
                <a:cubicBezTo>
                  <a:pt x="1683" y="593"/>
                  <a:pt x="1683" y="593"/>
                  <a:pt x="1682" y="594"/>
                </a:cubicBezTo>
                <a:cubicBezTo>
                  <a:pt x="1682" y="594"/>
                  <a:pt x="1682" y="594"/>
                  <a:pt x="1682" y="594"/>
                </a:cubicBezTo>
                <a:cubicBezTo>
                  <a:pt x="1682" y="595"/>
                  <a:pt x="1681" y="594"/>
                  <a:pt x="1681" y="595"/>
                </a:cubicBezTo>
                <a:cubicBezTo>
                  <a:pt x="1680" y="595"/>
                  <a:pt x="1679" y="596"/>
                  <a:pt x="1679" y="596"/>
                </a:cubicBezTo>
                <a:cubicBezTo>
                  <a:pt x="1678" y="596"/>
                  <a:pt x="1678" y="596"/>
                  <a:pt x="1678" y="596"/>
                </a:cubicBezTo>
                <a:cubicBezTo>
                  <a:pt x="1678" y="595"/>
                  <a:pt x="1679" y="595"/>
                  <a:pt x="1679" y="595"/>
                </a:cubicBezTo>
                <a:cubicBezTo>
                  <a:pt x="1679" y="594"/>
                  <a:pt x="1679" y="594"/>
                  <a:pt x="1680" y="594"/>
                </a:cubicBezTo>
                <a:cubicBezTo>
                  <a:pt x="1680" y="594"/>
                  <a:pt x="1681" y="594"/>
                  <a:pt x="1681" y="594"/>
                </a:cubicBezTo>
                <a:cubicBezTo>
                  <a:pt x="1681" y="593"/>
                  <a:pt x="1680" y="593"/>
                  <a:pt x="1679" y="592"/>
                </a:cubicBezTo>
                <a:cubicBezTo>
                  <a:pt x="1679" y="592"/>
                  <a:pt x="1679" y="592"/>
                  <a:pt x="1678" y="592"/>
                </a:cubicBezTo>
                <a:cubicBezTo>
                  <a:pt x="1678" y="592"/>
                  <a:pt x="1677" y="592"/>
                  <a:pt x="1677" y="591"/>
                </a:cubicBezTo>
                <a:cubicBezTo>
                  <a:pt x="1677" y="591"/>
                  <a:pt x="1677" y="591"/>
                  <a:pt x="1676" y="591"/>
                </a:cubicBezTo>
                <a:cubicBezTo>
                  <a:pt x="1676" y="591"/>
                  <a:pt x="1676" y="591"/>
                  <a:pt x="1676" y="591"/>
                </a:cubicBezTo>
                <a:cubicBezTo>
                  <a:pt x="1676" y="592"/>
                  <a:pt x="1677" y="592"/>
                  <a:pt x="1676" y="592"/>
                </a:cubicBezTo>
                <a:cubicBezTo>
                  <a:pt x="1676" y="593"/>
                  <a:pt x="1674" y="592"/>
                  <a:pt x="1675" y="593"/>
                </a:cubicBezTo>
                <a:cubicBezTo>
                  <a:pt x="1675" y="593"/>
                  <a:pt x="1675" y="593"/>
                  <a:pt x="1675" y="593"/>
                </a:cubicBezTo>
                <a:cubicBezTo>
                  <a:pt x="1675" y="593"/>
                  <a:pt x="1675" y="594"/>
                  <a:pt x="1675" y="594"/>
                </a:cubicBezTo>
                <a:cubicBezTo>
                  <a:pt x="1675" y="594"/>
                  <a:pt x="1675" y="594"/>
                  <a:pt x="1675" y="595"/>
                </a:cubicBezTo>
                <a:cubicBezTo>
                  <a:pt x="1675" y="595"/>
                  <a:pt x="1674" y="597"/>
                  <a:pt x="1674" y="596"/>
                </a:cubicBezTo>
                <a:cubicBezTo>
                  <a:pt x="1673" y="596"/>
                  <a:pt x="1674" y="596"/>
                  <a:pt x="1674" y="595"/>
                </a:cubicBezTo>
                <a:cubicBezTo>
                  <a:pt x="1674" y="595"/>
                  <a:pt x="1674" y="595"/>
                  <a:pt x="1674" y="594"/>
                </a:cubicBezTo>
                <a:cubicBezTo>
                  <a:pt x="1674" y="594"/>
                  <a:pt x="1674" y="593"/>
                  <a:pt x="1674" y="593"/>
                </a:cubicBezTo>
                <a:cubicBezTo>
                  <a:pt x="1673" y="593"/>
                  <a:pt x="1673" y="593"/>
                  <a:pt x="1673" y="593"/>
                </a:cubicBezTo>
                <a:cubicBezTo>
                  <a:pt x="1673" y="593"/>
                  <a:pt x="1672" y="592"/>
                  <a:pt x="1672" y="592"/>
                </a:cubicBezTo>
                <a:cubicBezTo>
                  <a:pt x="1672" y="592"/>
                  <a:pt x="1672" y="593"/>
                  <a:pt x="1672" y="593"/>
                </a:cubicBezTo>
                <a:cubicBezTo>
                  <a:pt x="1672" y="594"/>
                  <a:pt x="1672" y="594"/>
                  <a:pt x="1672" y="594"/>
                </a:cubicBezTo>
                <a:cubicBezTo>
                  <a:pt x="1672" y="595"/>
                  <a:pt x="1672" y="595"/>
                  <a:pt x="1672" y="595"/>
                </a:cubicBezTo>
                <a:cubicBezTo>
                  <a:pt x="1672" y="595"/>
                  <a:pt x="1672" y="594"/>
                  <a:pt x="1671" y="594"/>
                </a:cubicBezTo>
                <a:cubicBezTo>
                  <a:pt x="1671" y="594"/>
                  <a:pt x="1671" y="594"/>
                  <a:pt x="1671" y="594"/>
                </a:cubicBezTo>
                <a:cubicBezTo>
                  <a:pt x="1671" y="594"/>
                  <a:pt x="1671" y="593"/>
                  <a:pt x="1671" y="593"/>
                </a:cubicBezTo>
                <a:cubicBezTo>
                  <a:pt x="1670" y="594"/>
                  <a:pt x="1670" y="594"/>
                  <a:pt x="1669" y="594"/>
                </a:cubicBezTo>
                <a:cubicBezTo>
                  <a:pt x="1669" y="594"/>
                  <a:pt x="1669" y="594"/>
                  <a:pt x="1669" y="594"/>
                </a:cubicBezTo>
                <a:cubicBezTo>
                  <a:pt x="1668" y="594"/>
                  <a:pt x="1668" y="594"/>
                  <a:pt x="1668" y="594"/>
                </a:cubicBezTo>
                <a:cubicBezTo>
                  <a:pt x="1667" y="594"/>
                  <a:pt x="1667" y="595"/>
                  <a:pt x="1666" y="595"/>
                </a:cubicBezTo>
                <a:cubicBezTo>
                  <a:pt x="1665" y="595"/>
                  <a:pt x="1664" y="595"/>
                  <a:pt x="1664" y="596"/>
                </a:cubicBezTo>
                <a:cubicBezTo>
                  <a:pt x="1664" y="596"/>
                  <a:pt x="1664" y="597"/>
                  <a:pt x="1664" y="597"/>
                </a:cubicBezTo>
                <a:cubicBezTo>
                  <a:pt x="1664" y="598"/>
                  <a:pt x="1664" y="598"/>
                  <a:pt x="1663" y="598"/>
                </a:cubicBezTo>
                <a:cubicBezTo>
                  <a:pt x="1662" y="598"/>
                  <a:pt x="1663" y="599"/>
                  <a:pt x="1663" y="599"/>
                </a:cubicBezTo>
                <a:cubicBezTo>
                  <a:pt x="1663" y="600"/>
                  <a:pt x="1664" y="600"/>
                  <a:pt x="1663" y="600"/>
                </a:cubicBezTo>
                <a:cubicBezTo>
                  <a:pt x="1663" y="600"/>
                  <a:pt x="1662" y="600"/>
                  <a:pt x="1662" y="600"/>
                </a:cubicBezTo>
                <a:cubicBezTo>
                  <a:pt x="1662" y="600"/>
                  <a:pt x="1661" y="601"/>
                  <a:pt x="1661" y="601"/>
                </a:cubicBezTo>
                <a:cubicBezTo>
                  <a:pt x="1661" y="601"/>
                  <a:pt x="1660" y="601"/>
                  <a:pt x="1660" y="601"/>
                </a:cubicBezTo>
                <a:cubicBezTo>
                  <a:pt x="1659" y="601"/>
                  <a:pt x="1659" y="602"/>
                  <a:pt x="1660" y="602"/>
                </a:cubicBezTo>
                <a:cubicBezTo>
                  <a:pt x="1660" y="602"/>
                  <a:pt x="1661" y="602"/>
                  <a:pt x="1661" y="602"/>
                </a:cubicBezTo>
                <a:cubicBezTo>
                  <a:pt x="1661" y="602"/>
                  <a:pt x="1662" y="602"/>
                  <a:pt x="1662" y="602"/>
                </a:cubicBezTo>
                <a:cubicBezTo>
                  <a:pt x="1662" y="603"/>
                  <a:pt x="1663" y="603"/>
                  <a:pt x="1663" y="603"/>
                </a:cubicBezTo>
                <a:cubicBezTo>
                  <a:pt x="1664" y="604"/>
                  <a:pt x="1665" y="603"/>
                  <a:pt x="1665" y="603"/>
                </a:cubicBezTo>
                <a:cubicBezTo>
                  <a:pt x="1666" y="603"/>
                  <a:pt x="1666" y="603"/>
                  <a:pt x="1666" y="603"/>
                </a:cubicBezTo>
                <a:cubicBezTo>
                  <a:pt x="1667" y="603"/>
                  <a:pt x="1666" y="604"/>
                  <a:pt x="1666" y="604"/>
                </a:cubicBezTo>
                <a:cubicBezTo>
                  <a:pt x="1665" y="605"/>
                  <a:pt x="1665" y="605"/>
                  <a:pt x="1664" y="606"/>
                </a:cubicBezTo>
                <a:cubicBezTo>
                  <a:pt x="1664" y="606"/>
                  <a:pt x="1664" y="606"/>
                  <a:pt x="1664" y="607"/>
                </a:cubicBezTo>
                <a:cubicBezTo>
                  <a:pt x="1664" y="607"/>
                  <a:pt x="1663" y="607"/>
                  <a:pt x="1663" y="607"/>
                </a:cubicBezTo>
                <a:cubicBezTo>
                  <a:pt x="1662" y="608"/>
                  <a:pt x="1664" y="608"/>
                  <a:pt x="1664" y="609"/>
                </a:cubicBezTo>
                <a:cubicBezTo>
                  <a:pt x="1663" y="609"/>
                  <a:pt x="1663" y="609"/>
                  <a:pt x="1663" y="609"/>
                </a:cubicBezTo>
                <a:cubicBezTo>
                  <a:pt x="1663" y="609"/>
                  <a:pt x="1663" y="610"/>
                  <a:pt x="1663" y="610"/>
                </a:cubicBezTo>
                <a:cubicBezTo>
                  <a:pt x="1662" y="610"/>
                  <a:pt x="1662" y="610"/>
                  <a:pt x="1662" y="609"/>
                </a:cubicBezTo>
                <a:cubicBezTo>
                  <a:pt x="1662" y="609"/>
                  <a:pt x="1661" y="609"/>
                  <a:pt x="1661" y="609"/>
                </a:cubicBezTo>
                <a:cubicBezTo>
                  <a:pt x="1660" y="609"/>
                  <a:pt x="1660" y="608"/>
                  <a:pt x="1659" y="608"/>
                </a:cubicBezTo>
                <a:cubicBezTo>
                  <a:pt x="1659" y="608"/>
                  <a:pt x="1658" y="608"/>
                  <a:pt x="1658" y="608"/>
                </a:cubicBezTo>
                <a:cubicBezTo>
                  <a:pt x="1658" y="608"/>
                  <a:pt x="1657" y="608"/>
                  <a:pt x="1657" y="608"/>
                </a:cubicBezTo>
                <a:cubicBezTo>
                  <a:pt x="1656" y="609"/>
                  <a:pt x="1656" y="609"/>
                  <a:pt x="1656" y="609"/>
                </a:cubicBezTo>
                <a:cubicBezTo>
                  <a:pt x="1656" y="610"/>
                  <a:pt x="1656" y="610"/>
                  <a:pt x="1655" y="610"/>
                </a:cubicBezTo>
                <a:cubicBezTo>
                  <a:pt x="1655" y="610"/>
                  <a:pt x="1655" y="609"/>
                  <a:pt x="1655" y="609"/>
                </a:cubicBezTo>
                <a:cubicBezTo>
                  <a:pt x="1654" y="609"/>
                  <a:pt x="1654" y="609"/>
                  <a:pt x="1654" y="609"/>
                </a:cubicBezTo>
                <a:cubicBezTo>
                  <a:pt x="1653" y="608"/>
                  <a:pt x="1653" y="608"/>
                  <a:pt x="1653" y="608"/>
                </a:cubicBezTo>
                <a:cubicBezTo>
                  <a:pt x="1653" y="607"/>
                  <a:pt x="1652" y="608"/>
                  <a:pt x="1652" y="608"/>
                </a:cubicBezTo>
                <a:cubicBezTo>
                  <a:pt x="1652" y="608"/>
                  <a:pt x="1651" y="608"/>
                  <a:pt x="1651" y="608"/>
                </a:cubicBezTo>
                <a:cubicBezTo>
                  <a:pt x="1651" y="608"/>
                  <a:pt x="1650" y="608"/>
                  <a:pt x="1650" y="608"/>
                </a:cubicBezTo>
                <a:cubicBezTo>
                  <a:pt x="1649" y="608"/>
                  <a:pt x="1649" y="608"/>
                  <a:pt x="1649" y="608"/>
                </a:cubicBezTo>
                <a:cubicBezTo>
                  <a:pt x="1648" y="608"/>
                  <a:pt x="1648" y="607"/>
                  <a:pt x="1648" y="607"/>
                </a:cubicBezTo>
                <a:cubicBezTo>
                  <a:pt x="1647" y="608"/>
                  <a:pt x="1648" y="608"/>
                  <a:pt x="1647" y="609"/>
                </a:cubicBezTo>
                <a:cubicBezTo>
                  <a:pt x="1647" y="609"/>
                  <a:pt x="1647" y="609"/>
                  <a:pt x="1647" y="609"/>
                </a:cubicBezTo>
                <a:cubicBezTo>
                  <a:pt x="1646" y="609"/>
                  <a:pt x="1646" y="608"/>
                  <a:pt x="1646" y="608"/>
                </a:cubicBezTo>
                <a:cubicBezTo>
                  <a:pt x="1645" y="608"/>
                  <a:pt x="1644" y="608"/>
                  <a:pt x="1645" y="609"/>
                </a:cubicBezTo>
                <a:cubicBezTo>
                  <a:pt x="1645" y="609"/>
                  <a:pt x="1645" y="609"/>
                  <a:pt x="1646" y="610"/>
                </a:cubicBezTo>
                <a:cubicBezTo>
                  <a:pt x="1646" y="610"/>
                  <a:pt x="1646" y="610"/>
                  <a:pt x="1646" y="610"/>
                </a:cubicBezTo>
                <a:cubicBezTo>
                  <a:pt x="1647" y="610"/>
                  <a:pt x="1647" y="610"/>
                  <a:pt x="1647" y="611"/>
                </a:cubicBezTo>
                <a:cubicBezTo>
                  <a:pt x="1647" y="611"/>
                  <a:pt x="1648" y="611"/>
                  <a:pt x="1648" y="612"/>
                </a:cubicBezTo>
                <a:cubicBezTo>
                  <a:pt x="1648" y="612"/>
                  <a:pt x="1647" y="612"/>
                  <a:pt x="1647" y="612"/>
                </a:cubicBezTo>
                <a:cubicBezTo>
                  <a:pt x="1646" y="612"/>
                  <a:pt x="1647" y="613"/>
                  <a:pt x="1647" y="613"/>
                </a:cubicBezTo>
                <a:cubicBezTo>
                  <a:pt x="1647" y="613"/>
                  <a:pt x="1647" y="614"/>
                  <a:pt x="1646" y="614"/>
                </a:cubicBezTo>
                <a:cubicBezTo>
                  <a:pt x="1646" y="613"/>
                  <a:pt x="1646" y="613"/>
                  <a:pt x="1646" y="613"/>
                </a:cubicBezTo>
                <a:cubicBezTo>
                  <a:pt x="1645" y="612"/>
                  <a:pt x="1645" y="612"/>
                  <a:pt x="1644" y="612"/>
                </a:cubicBezTo>
                <a:cubicBezTo>
                  <a:pt x="1643" y="612"/>
                  <a:pt x="1643" y="612"/>
                  <a:pt x="1643" y="613"/>
                </a:cubicBezTo>
                <a:cubicBezTo>
                  <a:pt x="1642" y="613"/>
                  <a:pt x="1643" y="613"/>
                  <a:pt x="1643" y="614"/>
                </a:cubicBezTo>
                <a:cubicBezTo>
                  <a:pt x="1643" y="614"/>
                  <a:pt x="1644" y="614"/>
                  <a:pt x="1644" y="614"/>
                </a:cubicBezTo>
                <a:cubicBezTo>
                  <a:pt x="1645" y="614"/>
                  <a:pt x="1645" y="614"/>
                  <a:pt x="1645" y="614"/>
                </a:cubicBezTo>
                <a:cubicBezTo>
                  <a:pt x="1645" y="614"/>
                  <a:pt x="1646" y="614"/>
                  <a:pt x="1646" y="614"/>
                </a:cubicBezTo>
                <a:cubicBezTo>
                  <a:pt x="1647" y="614"/>
                  <a:pt x="1647" y="615"/>
                  <a:pt x="1647" y="615"/>
                </a:cubicBezTo>
                <a:cubicBezTo>
                  <a:pt x="1648" y="615"/>
                  <a:pt x="1649" y="614"/>
                  <a:pt x="1650" y="615"/>
                </a:cubicBezTo>
                <a:cubicBezTo>
                  <a:pt x="1650" y="615"/>
                  <a:pt x="1650" y="616"/>
                  <a:pt x="1649" y="616"/>
                </a:cubicBezTo>
                <a:cubicBezTo>
                  <a:pt x="1649" y="616"/>
                  <a:pt x="1649" y="616"/>
                  <a:pt x="1648" y="616"/>
                </a:cubicBezTo>
                <a:cubicBezTo>
                  <a:pt x="1648" y="616"/>
                  <a:pt x="1648" y="616"/>
                  <a:pt x="1647" y="617"/>
                </a:cubicBezTo>
                <a:cubicBezTo>
                  <a:pt x="1647" y="617"/>
                  <a:pt x="1647" y="617"/>
                  <a:pt x="1647" y="618"/>
                </a:cubicBezTo>
                <a:cubicBezTo>
                  <a:pt x="1648" y="618"/>
                  <a:pt x="1648" y="618"/>
                  <a:pt x="1648" y="618"/>
                </a:cubicBezTo>
                <a:cubicBezTo>
                  <a:pt x="1649" y="619"/>
                  <a:pt x="1647" y="619"/>
                  <a:pt x="1647" y="619"/>
                </a:cubicBezTo>
                <a:cubicBezTo>
                  <a:pt x="1646" y="619"/>
                  <a:pt x="1646" y="620"/>
                  <a:pt x="1646" y="620"/>
                </a:cubicBezTo>
                <a:cubicBezTo>
                  <a:pt x="1645" y="620"/>
                  <a:pt x="1645" y="619"/>
                  <a:pt x="1645" y="620"/>
                </a:cubicBezTo>
                <a:cubicBezTo>
                  <a:pt x="1645" y="620"/>
                  <a:pt x="1645" y="620"/>
                  <a:pt x="1644" y="620"/>
                </a:cubicBezTo>
                <a:cubicBezTo>
                  <a:pt x="1644" y="620"/>
                  <a:pt x="1643" y="619"/>
                  <a:pt x="1643" y="620"/>
                </a:cubicBezTo>
                <a:cubicBezTo>
                  <a:pt x="1643" y="620"/>
                  <a:pt x="1643" y="620"/>
                  <a:pt x="1644" y="620"/>
                </a:cubicBezTo>
                <a:cubicBezTo>
                  <a:pt x="1644" y="621"/>
                  <a:pt x="1644" y="621"/>
                  <a:pt x="1645" y="621"/>
                </a:cubicBezTo>
                <a:cubicBezTo>
                  <a:pt x="1645" y="622"/>
                  <a:pt x="1644" y="621"/>
                  <a:pt x="1644" y="622"/>
                </a:cubicBezTo>
                <a:cubicBezTo>
                  <a:pt x="1643" y="622"/>
                  <a:pt x="1644" y="622"/>
                  <a:pt x="1644" y="622"/>
                </a:cubicBezTo>
                <a:cubicBezTo>
                  <a:pt x="1645" y="623"/>
                  <a:pt x="1646" y="622"/>
                  <a:pt x="1647" y="622"/>
                </a:cubicBezTo>
                <a:cubicBezTo>
                  <a:pt x="1647" y="622"/>
                  <a:pt x="1648" y="622"/>
                  <a:pt x="1648" y="623"/>
                </a:cubicBezTo>
                <a:cubicBezTo>
                  <a:pt x="1648" y="623"/>
                  <a:pt x="1649" y="623"/>
                  <a:pt x="1649" y="622"/>
                </a:cubicBezTo>
                <a:cubicBezTo>
                  <a:pt x="1649" y="622"/>
                  <a:pt x="1650" y="622"/>
                  <a:pt x="1650" y="622"/>
                </a:cubicBezTo>
                <a:cubicBezTo>
                  <a:pt x="1650" y="623"/>
                  <a:pt x="1650" y="623"/>
                  <a:pt x="1650" y="624"/>
                </a:cubicBezTo>
                <a:cubicBezTo>
                  <a:pt x="1650" y="624"/>
                  <a:pt x="1650" y="624"/>
                  <a:pt x="1650" y="624"/>
                </a:cubicBezTo>
                <a:cubicBezTo>
                  <a:pt x="1650" y="625"/>
                  <a:pt x="1651" y="625"/>
                  <a:pt x="1651" y="625"/>
                </a:cubicBezTo>
                <a:cubicBezTo>
                  <a:pt x="1652" y="624"/>
                  <a:pt x="1652" y="624"/>
                  <a:pt x="1653" y="624"/>
                </a:cubicBezTo>
                <a:cubicBezTo>
                  <a:pt x="1654" y="624"/>
                  <a:pt x="1655" y="624"/>
                  <a:pt x="1656" y="624"/>
                </a:cubicBezTo>
                <a:cubicBezTo>
                  <a:pt x="1656" y="624"/>
                  <a:pt x="1658" y="624"/>
                  <a:pt x="1658" y="624"/>
                </a:cubicBezTo>
                <a:cubicBezTo>
                  <a:pt x="1658" y="625"/>
                  <a:pt x="1657" y="625"/>
                  <a:pt x="1657" y="625"/>
                </a:cubicBezTo>
                <a:cubicBezTo>
                  <a:pt x="1657" y="625"/>
                  <a:pt x="1656" y="626"/>
                  <a:pt x="1656" y="626"/>
                </a:cubicBezTo>
                <a:cubicBezTo>
                  <a:pt x="1655" y="626"/>
                  <a:pt x="1655" y="626"/>
                  <a:pt x="1654" y="626"/>
                </a:cubicBezTo>
                <a:cubicBezTo>
                  <a:pt x="1654" y="626"/>
                  <a:pt x="1654" y="627"/>
                  <a:pt x="1653" y="627"/>
                </a:cubicBezTo>
                <a:cubicBezTo>
                  <a:pt x="1653" y="628"/>
                  <a:pt x="1652" y="628"/>
                  <a:pt x="1652" y="628"/>
                </a:cubicBezTo>
                <a:cubicBezTo>
                  <a:pt x="1652" y="629"/>
                  <a:pt x="1653" y="628"/>
                  <a:pt x="1653" y="629"/>
                </a:cubicBezTo>
                <a:cubicBezTo>
                  <a:pt x="1653" y="629"/>
                  <a:pt x="1652" y="630"/>
                  <a:pt x="1652" y="630"/>
                </a:cubicBezTo>
                <a:cubicBezTo>
                  <a:pt x="1652" y="631"/>
                  <a:pt x="1652" y="632"/>
                  <a:pt x="1651" y="632"/>
                </a:cubicBezTo>
                <a:cubicBezTo>
                  <a:pt x="1651" y="632"/>
                  <a:pt x="1650" y="633"/>
                  <a:pt x="1649" y="633"/>
                </a:cubicBezTo>
                <a:cubicBezTo>
                  <a:pt x="1649" y="634"/>
                  <a:pt x="1648" y="634"/>
                  <a:pt x="1648" y="635"/>
                </a:cubicBezTo>
                <a:cubicBezTo>
                  <a:pt x="1648" y="635"/>
                  <a:pt x="1648" y="634"/>
                  <a:pt x="1649" y="634"/>
                </a:cubicBezTo>
                <a:cubicBezTo>
                  <a:pt x="1650" y="634"/>
                  <a:pt x="1650" y="634"/>
                  <a:pt x="1651" y="634"/>
                </a:cubicBezTo>
                <a:cubicBezTo>
                  <a:pt x="1652" y="633"/>
                  <a:pt x="1653" y="634"/>
                  <a:pt x="1653" y="633"/>
                </a:cubicBezTo>
                <a:cubicBezTo>
                  <a:pt x="1654" y="633"/>
                  <a:pt x="1655" y="633"/>
                  <a:pt x="1656" y="633"/>
                </a:cubicBezTo>
                <a:cubicBezTo>
                  <a:pt x="1656" y="633"/>
                  <a:pt x="1656" y="633"/>
                  <a:pt x="1657" y="633"/>
                </a:cubicBezTo>
                <a:cubicBezTo>
                  <a:pt x="1657" y="632"/>
                  <a:pt x="1657" y="632"/>
                  <a:pt x="1657" y="632"/>
                </a:cubicBezTo>
                <a:cubicBezTo>
                  <a:pt x="1658" y="632"/>
                  <a:pt x="1658" y="632"/>
                  <a:pt x="1658" y="632"/>
                </a:cubicBezTo>
                <a:cubicBezTo>
                  <a:pt x="1658" y="633"/>
                  <a:pt x="1659" y="633"/>
                  <a:pt x="1659" y="633"/>
                </a:cubicBezTo>
                <a:cubicBezTo>
                  <a:pt x="1659" y="633"/>
                  <a:pt x="1659" y="633"/>
                  <a:pt x="1659" y="634"/>
                </a:cubicBezTo>
                <a:cubicBezTo>
                  <a:pt x="1658" y="634"/>
                  <a:pt x="1658" y="633"/>
                  <a:pt x="1658" y="633"/>
                </a:cubicBezTo>
                <a:cubicBezTo>
                  <a:pt x="1657" y="633"/>
                  <a:pt x="1656" y="634"/>
                  <a:pt x="1655" y="634"/>
                </a:cubicBezTo>
                <a:cubicBezTo>
                  <a:pt x="1655" y="635"/>
                  <a:pt x="1654" y="634"/>
                  <a:pt x="1653" y="634"/>
                </a:cubicBezTo>
                <a:cubicBezTo>
                  <a:pt x="1652" y="634"/>
                  <a:pt x="1652" y="635"/>
                  <a:pt x="1651" y="635"/>
                </a:cubicBezTo>
                <a:cubicBezTo>
                  <a:pt x="1651" y="635"/>
                  <a:pt x="1650" y="635"/>
                  <a:pt x="1649" y="636"/>
                </a:cubicBezTo>
                <a:cubicBezTo>
                  <a:pt x="1649" y="636"/>
                  <a:pt x="1649" y="636"/>
                  <a:pt x="1648" y="637"/>
                </a:cubicBezTo>
                <a:cubicBezTo>
                  <a:pt x="1648" y="637"/>
                  <a:pt x="1648" y="637"/>
                  <a:pt x="1647" y="637"/>
                </a:cubicBezTo>
                <a:cubicBezTo>
                  <a:pt x="1647" y="637"/>
                  <a:pt x="1646" y="637"/>
                  <a:pt x="1647" y="637"/>
                </a:cubicBezTo>
                <a:cubicBezTo>
                  <a:pt x="1647" y="638"/>
                  <a:pt x="1647" y="637"/>
                  <a:pt x="1647" y="638"/>
                </a:cubicBezTo>
                <a:cubicBezTo>
                  <a:pt x="1648" y="638"/>
                  <a:pt x="1647" y="638"/>
                  <a:pt x="1647" y="638"/>
                </a:cubicBezTo>
                <a:cubicBezTo>
                  <a:pt x="1647" y="639"/>
                  <a:pt x="1648" y="639"/>
                  <a:pt x="1648" y="639"/>
                </a:cubicBezTo>
                <a:cubicBezTo>
                  <a:pt x="1648" y="639"/>
                  <a:pt x="1648" y="639"/>
                  <a:pt x="1648" y="640"/>
                </a:cubicBezTo>
                <a:cubicBezTo>
                  <a:pt x="1648" y="640"/>
                  <a:pt x="1647" y="640"/>
                  <a:pt x="1647" y="640"/>
                </a:cubicBezTo>
                <a:cubicBezTo>
                  <a:pt x="1646" y="640"/>
                  <a:pt x="1646" y="640"/>
                  <a:pt x="1646" y="640"/>
                </a:cubicBezTo>
                <a:cubicBezTo>
                  <a:pt x="1645" y="640"/>
                  <a:pt x="1645" y="640"/>
                  <a:pt x="1645" y="640"/>
                </a:cubicBezTo>
                <a:cubicBezTo>
                  <a:pt x="1645" y="640"/>
                  <a:pt x="1645" y="640"/>
                  <a:pt x="1645" y="640"/>
                </a:cubicBezTo>
                <a:cubicBezTo>
                  <a:pt x="1645" y="639"/>
                  <a:pt x="1645" y="639"/>
                  <a:pt x="1644" y="639"/>
                </a:cubicBezTo>
                <a:cubicBezTo>
                  <a:pt x="1644" y="639"/>
                  <a:pt x="1643" y="640"/>
                  <a:pt x="1643" y="640"/>
                </a:cubicBezTo>
                <a:cubicBezTo>
                  <a:pt x="1642" y="640"/>
                  <a:pt x="1641" y="641"/>
                  <a:pt x="1641" y="641"/>
                </a:cubicBezTo>
                <a:cubicBezTo>
                  <a:pt x="1642" y="642"/>
                  <a:pt x="1643" y="641"/>
                  <a:pt x="1644" y="641"/>
                </a:cubicBezTo>
                <a:close/>
                <a:moveTo>
                  <a:pt x="1677" y="557"/>
                </a:moveTo>
                <a:cubicBezTo>
                  <a:pt x="1677" y="557"/>
                  <a:pt x="1676" y="557"/>
                  <a:pt x="1676" y="557"/>
                </a:cubicBezTo>
                <a:cubicBezTo>
                  <a:pt x="1676" y="557"/>
                  <a:pt x="1675" y="557"/>
                  <a:pt x="1676" y="558"/>
                </a:cubicBezTo>
                <a:cubicBezTo>
                  <a:pt x="1676" y="558"/>
                  <a:pt x="1676" y="558"/>
                  <a:pt x="1676" y="558"/>
                </a:cubicBezTo>
                <a:cubicBezTo>
                  <a:pt x="1677" y="558"/>
                  <a:pt x="1677" y="559"/>
                  <a:pt x="1677" y="559"/>
                </a:cubicBezTo>
                <a:cubicBezTo>
                  <a:pt x="1678" y="558"/>
                  <a:pt x="1677" y="558"/>
                  <a:pt x="1677" y="558"/>
                </a:cubicBezTo>
                <a:cubicBezTo>
                  <a:pt x="1677" y="558"/>
                  <a:pt x="1678" y="558"/>
                  <a:pt x="1677" y="557"/>
                </a:cubicBezTo>
                <a:close/>
                <a:moveTo>
                  <a:pt x="1217" y="29"/>
                </a:moveTo>
                <a:cubicBezTo>
                  <a:pt x="1218" y="29"/>
                  <a:pt x="1219" y="30"/>
                  <a:pt x="1219" y="31"/>
                </a:cubicBezTo>
                <a:cubicBezTo>
                  <a:pt x="1220" y="31"/>
                  <a:pt x="1221" y="32"/>
                  <a:pt x="1221" y="32"/>
                </a:cubicBezTo>
                <a:cubicBezTo>
                  <a:pt x="1222" y="33"/>
                  <a:pt x="1223" y="33"/>
                  <a:pt x="1224" y="34"/>
                </a:cubicBezTo>
                <a:cubicBezTo>
                  <a:pt x="1226" y="34"/>
                  <a:pt x="1228" y="35"/>
                  <a:pt x="1230" y="36"/>
                </a:cubicBezTo>
                <a:cubicBezTo>
                  <a:pt x="1231" y="37"/>
                  <a:pt x="1232" y="37"/>
                  <a:pt x="1233" y="38"/>
                </a:cubicBezTo>
                <a:cubicBezTo>
                  <a:pt x="1234" y="38"/>
                  <a:pt x="1235" y="38"/>
                  <a:pt x="1236" y="39"/>
                </a:cubicBezTo>
                <a:cubicBezTo>
                  <a:pt x="1237" y="40"/>
                  <a:pt x="1237" y="40"/>
                  <a:pt x="1238" y="41"/>
                </a:cubicBezTo>
                <a:cubicBezTo>
                  <a:pt x="1239" y="42"/>
                  <a:pt x="1240" y="42"/>
                  <a:pt x="1241" y="42"/>
                </a:cubicBezTo>
                <a:cubicBezTo>
                  <a:pt x="1242" y="42"/>
                  <a:pt x="1243" y="43"/>
                  <a:pt x="1244" y="43"/>
                </a:cubicBezTo>
                <a:cubicBezTo>
                  <a:pt x="1245" y="44"/>
                  <a:pt x="1245" y="44"/>
                  <a:pt x="1246" y="44"/>
                </a:cubicBezTo>
                <a:cubicBezTo>
                  <a:pt x="1247" y="44"/>
                  <a:pt x="1248" y="44"/>
                  <a:pt x="1249" y="44"/>
                </a:cubicBezTo>
                <a:cubicBezTo>
                  <a:pt x="1249" y="44"/>
                  <a:pt x="1250" y="43"/>
                  <a:pt x="1249" y="43"/>
                </a:cubicBezTo>
                <a:cubicBezTo>
                  <a:pt x="1249" y="42"/>
                  <a:pt x="1249" y="42"/>
                  <a:pt x="1248" y="42"/>
                </a:cubicBezTo>
                <a:cubicBezTo>
                  <a:pt x="1248" y="42"/>
                  <a:pt x="1248" y="42"/>
                  <a:pt x="1248" y="42"/>
                </a:cubicBezTo>
                <a:cubicBezTo>
                  <a:pt x="1247" y="42"/>
                  <a:pt x="1247" y="41"/>
                  <a:pt x="1247" y="41"/>
                </a:cubicBezTo>
                <a:cubicBezTo>
                  <a:pt x="1247" y="41"/>
                  <a:pt x="1246" y="41"/>
                  <a:pt x="1246" y="40"/>
                </a:cubicBezTo>
                <a:cubicBezTo>
                  <a:pt x="1246" y="40"/>
                  <a:pt x="1247" y="39"/>
                  <a:pt x="1247" y="39"/>
                </a:cubicBezTo>
                <a:cubicBezTo>
                  <a:pt x="1248" y="39"/>
                  <a:pt x="1248" y="38"/>
                  <a:pt x="1249" y="38"/>
                </a:cubicBezTo>
                <a:cubicBezTo>
                  <a:pt x="1250" y="37"/>
                  <a:pt x="1250" y="37"/>
                  <a:pt x="1251" y="37"/>
                </a:cubicBezTo>
                <a:cubicBezTo>
                  <a:pt x="1252" y="37"/>
                  <a:pt x="1252" y="36"/>
                  <a:pt x="1252" y="36"/>
                </a:cubicBezTo>
                <a:cubicBezTo>
                  <a:pt x="1252" y="36"/>
                  <a:pt x="1253" y="36"/>
                  <a:pt x="1253" y="36"/>
                </a:cubicBezTo>
                <a:cubicBezTo>
                  <a:pt x="1254" y="35"/>
                  <a:pt x="1252" y="35"/>
                  <a:pt x="1252" y="35"/>
                </a:cubicBezTo>
                <a:cubicBezTo>
                  <a:pt x="1250" y="34"/>
                  <a:pt x="1249" y="33"/>
                  <a:pt x="1247" y="32"/>
                </a:cubicBezTo>
                <a:cubicBezTo>
                  <a:pt x="1245" y="31"/>
                  <a:pt x="1243" y="31"/>
                  <a:pt x="1241" y="30"/>
                </a:cubicBezTo>
                <a:cubicBezTo>
                  <a:pt x="1240" y="30"/>
                  <a:pt x="1238" y="29"/>
                  <a:pt x="1236" y="28"/>
                </a:cubicBezTo>
                <a:cubicBezTo>
                  <a:pt x="1235" y="28"/>
                  <a:pt x="1233" y="27"/>
                  <a:pt x="1231" y="27"/>
                </a:cubicBezTo>
                <a:cubicBezTo>
                  <a:pt x="1229" y="27"/>
                  <a:pt x="1228" y="27"/>
                  <a:pt x="1226" y="28"/>
                </a:cubicBezTo>
                <a:cubicBezTo>
                  <a:pt x="1226" y="28"/>
                  <a:pt x="1226" y="28"/>
                  <a:pt x="1225" y="28"/>
                </a:cubicBezTo>
                <a:cubicBezTo>
                  <a:pt x="1225" y="28"/>
                  <a:pt x="1224" y="28"/>
                  <a:pt x="1224" y="28"/>
                </a:cubicBezTo>
                <a:cubicBezTo>
                  <a:pt x="1223" y="28"/>
                  <a:pt x="1222" y="28"/>
                  <a:pt x="1222" y="28"/>
                </a:cubicBezTo>
                <a:cubicBezTo>
                  <a:pt x="1221" y="28"/>
                  <a:pt x="1220" y="28"/>
                  <a:pt x="1219" y="28"/>
                </a:cubicBezTo>
                <a:cubicBezTo>
                  <a:pt x="1218" y="28"/>
                  <a:pt x="1217" y="28"/>
                  <a:pt x="1217" y="28"/>
                </a:cubicBezTo>
                <a:cubicBezTo>
                  <a:pt x="1216" y="28"/>
                  <a:pt x="1217" y="29"/>
                  <a:pt x="1217" y="29"/>
                </a:cubicBezTo>
                <a:close/>
                <a:moveTo>
                  <a:pt x="1674" y="567"/>
                </a:moveTo>
                <a:cubicBezTo>
                  <a:pt x="1675" y="567"/>
                  <a:pt x="1675" y="567"/>
                  <a:pt x="1675" y="566"/>
                </a:cubicBezTo>
                <a:cubicBezTo>
                  <a:pt x="1675" y="566"/>
                  <a:pt x="1675" y="566"/>
                  <a:pt x="1675" y="565"/>
                </a:cubicBezTo>
                <a:cubicBezTo>
                  <a:pt x="1675" y="565"/>
                  <a:pt x="1675" y="565"/>
                  <a:pt x="1676" y="565"/>
                </a:cubicBezTo>
                <a:cubicBezTo>
                  <a:pt x="1676" y="565"/>
                  <a:pt x="1675" y="564"/>
                  <a:pt x="1675" y="564"/>
                </a:cubicBezTo>
                <a:cubicBezTo>
                  <a:pt x="1674" y="564"/>
                  <a:pt x="1674" y="565"/>
                  <a:pt x="1674" y="565"/>
                </a:cubicBezTo>
                <a:cubicBezTo>
                  <a:pt x="1674" y="566"/>
                  <a:pt x="1674" y="566"/>
                  <a:pt x="1674" y="566"/>
                </a:cubicBezTo>
                <a:cubicBezTo>
                  <a:pt x="1674" y="566"/>
                  <a:pt x="1674" y="567"/>
                  <a:pt x="1674" y="567"/>
                </a:cubicBezTo>
                <a:close/>
                <a:moveTo>
                  <a:pt x="1677" y="560"/>
                </a:moveTo>
                <a:cubicBezTo>
                  <a:pt x="1677" y="559"/>
                  <a:pt x="1674" y="558"/>
                  <a:pt x="1675" y="559"/>
                </a:cubicBezTo>
                <a:cubicBezTo>
                  <a:pt x="1675" y="560"/>
                  <a:pt x="1675" y="560"/>
                  <a:pt x="1675" y="560"/>
                </a:cubicBezTo>
                <a:cubicBezTo>
                  <a:pt x="1675" y="561"/>
                  <a:pt x="1675" y="561"/>
                  <a:pt x="1675" y="561"/>
                </a:cubicBezTo>
                <a:cubicBezTo>
                  <a:pt x="1674" y="562"/>
                  <a:pt x="1676" y="562"/>
                  <a:pt x="1676" y="563"/>
                </a:cubicBezTo>
                <a:cubicBezTo>
                  <a:pt x="1676" y="563"/>
                  <a:pt x="1676" y="564"/>
                  <a:pt x="1677" y="563"/>
                </a:cubicBezTo>
                <a:cubicBezTo>
                  <a:pt x="1677" y="563"/>
                  <a:pt x="1676" y="563"/>
                  <a:pt x="1676" y="562"/>
                </a:cubicBezTo>
                <a:cubicBezTo>
                  <a:pt x="1676" y="562"/>
                  <a:pt x="1676" y="562"/>
                  <a:pt x="1676" y="561"/>
                </a:cubicBezTo>
                <a:cubicBezTo>
                  <a:pt x="1676" y="561"/>
                  <a:pt x="1677" y="561"/>
                  <a:pt x="1677" y="561"/>
                </a:cubicBezTo>
                <a:cubicBezTo>
                  <a:pt x="1677" y="560"/>
                  <a:pt x="1677" y="560"/>
                  <a:pt x="1677" y="560"/>
                </a:cubicBezTo>
                <a:close/>
                <a:moveTo>
                  <a:pt x="2431" y="99"/>
                </a:moveTo>
                <a:cubicBezTo>
                  <a:pt x="2431" y="99"/>
                  <a:pt x="2431" y="100"/>
                  <a:pt x="2431" y="100"/>
                </a:cubicBezTo>
                <a:cubicBezTo>
                  <a:pt x="2432" y="100"/>
                  <a:pt x="2432" y="100"/>
                  <a:pt x="2432" y="100"/>
                </a:cubicBezTo>
                <a:cubicBezTo>
                  <a:pt x="2433" y="100"/>
                  <a:pt x="2434" y="100"/>
                  <a:pt x="2434" y="101"/>
                </a:cubicBezTo>
                <a:cubicBezTo>
                  <a:pt x="2435" y="101"/>
                  <a:pt x="2436" y="102"/>
                  <a:pt x="2437" y="102"/>
                </a:cubicBezTo>
                <a:cubicBezTo>
                  <a:pt x="2437" y="102"/>
                  <a:pt x="2438" y="101"/>
                  <a:pt x="2439" y="101"/>
                </a:cubicBezTo>
                <a:cubicBezTo>
                  <a:pt x="2440" y="100"/>
                  <a:pt x="2441" y="101"/>
                  <a:pt x="2442" y="100"/>
                </a:cubicBezTo>
                <a:cubicBezTo>
                  <a:pt x="2442" y="100"/>
                  <a:pt x="2443" y="100"/>
                  <a:pt x="2442" y="99"/>
                </a:cubicBezTo>
                <a:cubicBezTo>
                  <a:pt x="2442" y="99"/>
                  <a:pt x="2442" y="98"/>
                  <a:pt x="2442" y="98"/>
                </a:cubicBezTo>
                <a:cubicBezTo>
                  <a:pt x="2442" y="97"/>
                  <a:pt x="2441" y="97"/>
                  <a:pt x="2440" y="97"/>
                </a:cubicBezTo>
                <a:cubicBezTo>
                  <a:pt x="2439" y="97"/>
                  <a:pt x="2439" y="97"/>
                  <a:pt x="2438" y="97"/>
                </a:cubicBezTo>
                <a:cubicBezTo>
                  <a:pt x="2437" y="97"/>
                  <a:pt x="2436" y="97"/>
                  <a:pt x="2435" y="97"/>
                </a:cubicBezTo>
                <a:cubicBezTo>
                  <a:pt x="2434" y="97"/>
                  <a:pt x="2433" y="97"/>
                  <a:pt x="2433" y="98"/>
                </a:cubicBezTo>
                <a:cubicBezTo>
                  <a:pt x="2432" y="98"/>
                  <a:pt x="2430" y="98"/>
                  <a:pt x="2430" y="99"/>
                </a:cubicBezTo>
                <a:cubicBezTo>
                  <a:pt x="2430" y="99"/>
                  <a:pt x="2431" y="99"/>
                  <a:pt x="2431" y="99"/>
                </a:cubicBezTo>
                <a:close/>
                <a:moveTo>
                  <a:pt x="2482" y="74"/>
                </a:moveTo>
                <a:cubicBezTo>
                  <a:pt x="2481" y="74"/>
                  <a:pt x="2480" y="75"/>
                  <a:pt x="2479" y="75"/>
                </a:cubicBezTo>
                <a:cubicBezTo>
                  <a:pt x="2478" y="76"/>
                  <a:pt x="2478" y="76"/>
                  <a:pt x="2477" y="76"/>
                </a:cubicBezTo>
                <a:cubicBezTo>
                  <a:pt x="2476" y="76"/>
                  <a:pt x="2475" y="77"/>
                  <a:pt x="2474" y="77"/>
                </a:cubicBezTo>
                <a:cubicBezTo>
                  <a:pt x="2474" y="77"/>
                  <a:pt x="2473" y="77"/>
                  <a:pt x="2473" y="78"/>
                </a:cubicBezTo>
                <a:cubicBezTo>
                  <a:pt x="2474" y="78"/>
                  <a:pt x="2474" y="79"/>
                  <a:pt x="2475" y="79"/>
                </a:cubicBezTo>
                <a:cubicBezTo>
                  <a:pt x="2475" y="79"/>
                  <a:pt x="2476" y="80"/>
                  <a:pt x="2476" y="80"/>
                </a:cubicBezTo>
                <a:cubicBezTo>
                  <a:pt x="2477" y="80"/>
                  <a:pt x="2478" y="80"/>
                  <a:pt x="2479" y="81"/>
                </a:cubicBezTo>
                <a:cubicBezTo>
                  <a:pt x="2479" y="82"/>
                  <a:pt x="2479" y="82"/>
                  <a:pt x="2480" y="82"/>
                </a:cubicBezTo>
                <a:cubicBezTo>
                  <a:pt x="2480" y="82"/>
                  <a:pt x="2481" y="82"/>
                  <a:pt x="2481" y="82"/>
                </a:cubicBezTo>
                <a:cubicBezTo>
                  <a:pt x="2482" y="82"/>
                  <a:pt x="2483" y="81"/>
                  <a:pt x="2483" y="81"/>
                </a:cubicBezTo>
                <a:cubicBezTo>
                  <a:pt x="2484" y="81"/>
                  <a:pt x="2486" y="80"/>
                  <a:pt x="2487" y="80"/>
                </a:cubicBezTo>
                <a:cubicBezTo>
                  <a:pt x="2488" y="80"/>
                  <a:pt x="2489" y="80"/>
                  <a:pt x="2491" y="79"/>
                </a:cubicBezTo>
                <a:cubicBezTo>
                  <a:pt x="2492" y="79"/>
                  <a:pt x="2493" y="78"/>
                  <a:pt x="2494" y="78"/>
                </a:cubicBezTo>
                <a:cubicBezTo>
                  <a:pt x="2495" y="77"/>
                  <a:pt x="2497" y="78"/>
                  <a:pt x="2498" y="77"/>
                </a:cubicBezTo>
                <a:cubicBezTo>
                  <a:pt x="2499" y="77"/>
                  <a:pt x="2501" y="77"/>
                  <a:pt x="2502" y="76"/>
                </a:cubicBezTo>
                <a:cubicBezTo>
                  <a:pt x="2503" y="76"/>
                  <a:pt x="2504" y="76"/>
                  <a:pt x="2505" y="76"/>
                </a:cubicBezTo>
                <a:cubicBezTo>
                  <a:pt x="2506" y="75"/>
                  <a:pt x="2507" y="75"/>
                  <a:pt x="2506" y="74"/>
                </a:cubicBezTo>
                <a:cubicBezTo>
                  <a:pt x="2505" y="74"/>
                  <a:pt x="2505" y="74"/>
                  <a:pt x="2505" y="73"/>
                </a:cubicBezTo>
                <a:cubicBezTo>
                  <a:pt x="2505" y="72"/>
                  <a:pt x="2505" y="71"/>
                  <a:pt x="2504" y="70"/>
                </a:cubicBezTo>
                <a:cubicBezTo>
                  <a:pt x="2504" y="70"/>
                  <a:pt x="2503" y="70"/>
                  <a:pt x="2503" y="70"/>
                </a:cubicBezTo>
                <a:cubicBezTo>
                  <a:pt x="2502" y="69"/>
                  <a:pt x="2502" y="69"/>
                  <a:pt x="2502" y="69"/>
                </a:cubicBezTo>
                <a:cubicBezTo>
                  <a:pt x="2501" y="68"/>
                  <a:pt x="2500" y="69"/>
                  <a:pt x="2499" y="69"/>
                </a:cubicBezTo>
                <a:cubicBezTo>
                  <a:pt x="2499" y="68"/>
                  <a:pt x="2498" y="68"/>
                  <a:pt x="2497" y="68"/>
                </a:cubicBezTo>
                <a:cubicBezTo>
                  <a:pt x="2496" y="68"/>
                  <a:pt x="2495" y="68"/>
                  <a:pt x="2495" y="68"/>
                </a:cubicBezTo>
                <a:cubicBezTo>
                  <a:pt x="2494" y="69"/>
                  <a:pt x="2493" y="69"/>
                  <a:pt x="2492" y="70"/>
                </a:cubicBezTo>
                <a:cubicBezTo>
                  <a:pt x="2491" y="70"/>
                  <a:pt x="2491" y="71"/>
                  <a:pt x="2491" y="72"/>
                </a:cubicBezTo>
                <a:cubicBezTo>
                  <a:pt x="2491" y="73"/>
                  <a:pt x="2491" y="74"/>
                  <a:pt x="2490" y="74"/>
                </a:cubicBezTo>
                <a:cubicBezTo>
                  <a:pt x="2489" y="74"/>
                  <a:pt x="2488" y="74"/>
                  <a:pt x="2487" y="74"/>
                </a:cubicBezTo>
                <a:cubicBezTo>
                  <a:pt x="2487" y="74"/>
                  <a:pt x="2486" y="74"/>
                  <a:pt x="2485" y="74"/>
                </a:cubicBezTo>
                <a:cubicBezTo>
                  <a:pt x="2484" y="74"/>
                  <a:pt x="2483" y="74"/>
                  <a:pt x="2482" y="74"/>
                </a:cubicBezTo>
                <a:close/>
                <a:moveTo>
                  <a:pt x="2557" y="265"/>
                </a:moveTo>
                <a:cubicBezTo>
                  <a:pt x="2557" y="265"/>
                  <a:pt x="2558" y="266"/>
                  <a:pt x="2559" y="265"/>
                </a:cubicBezTo>
                <a:cubicBezTo>
                  <a:pt x="2559" y="265"/>
                  <a:pt x="2560" y="265"/>
                  <a:pt x="2561" y="265"/>
                </a:cubicBezTo>
                <a:cubicBezTo>
                  <a:pt x="2561" y="265"/>
                  <a:pt x="2562" y="265"/>
                  <a:pt x="2563" y="265"/>
                </a:cubicBezTo>
                <a:cubicBezTo>
                  <a:pt x="2564" y="265"/>
                  <a:pt x="2566" y="264"/>
                  <a:pt x="2567" y="263"/>
                </a:cubicBezTo>
                <a:cubicBezTo>
                  <a:pt x="2568" y="263"/>
                  <a:pt x="2569" y="263"/>
                  <a:pt x="2570" y="263"/>
                </a:cubicBezTo>
                <a:cubicBezTo>
                  <a:pt x="2570" y="263"/>
                  <a:pt x="2571" y="264"/>
                  <a:pt x="2571" y="264"/>
                </a:cubicBezTo>
                <a:cubicBezTo>
                  <a:pt x="2572" y="263"/>
                  <a:pt x="2572" y="263"/>
                  <a:pt x="2572" y="263"/>
                </a:cubicBezTo>
                <a:cubicBezTo>
                  <a:pt x="2573" y="263"/>
                  <a:pt x="2573" y="262"/>
                  <a:pt x="2574" y="262"/>
                </a:cubicBezTo>
                <a:cubicBezTo>
                  <a:pt x="2575" y="262"/>
                  <a:pt x="2575" y="262"/>
                  <a:pt x="2575" y="262"/>
                </a:cubicBezTo>
                <a:cubicBezTo>
                  <a:pt x="2576" y="263"/>
                  <a:pt x="2576" y="263"/>
                  <a:pt x="2576" y="263"/>
                </a:cubicBezTo>
                <a:cubicBezTo>
                  <a:pt x="2576" y="263"/>
                  <a:pt x="2577" y="262"/>
                  <a:pt x="2577" y="262"/>
                </a:cubicBezTo>
                <a:cubicBezTo>
                  <a:pt x="2577" y="262"/>
                  <a:pt x="2577" y="261"/>
                  <a:pt x="2577" y="261"/>
                </a:cubicBezTo>
                <a:cubicBezTo>
                  <a:pt x="2577" y="260"/>
                  <a:pt x="2576" y="260"/>
                  <a:pt x="2575" y="259"/>
                </a:cubicBezTo>
                <a:cubicBezTo>
                  <a:pt x="2575" y="259"/>
                  <a:pt x="2574" y="259"/>
                  <a:pt x="2573" y="259"/>
                </a:cubicBezTo>
                <a:cubicBezTo>
                  <a:pt x="2573" y="259"/>
                  <a:pt x="2572" y="259"/>
                  <a:pt x="2572" y="259"/>
                </a:cubicBezTo>
                <a:cubicBezTo>
                  <a:pt x="2572" y="259"/>
                  <a:pt x="2572" y="258"/>
                  <a:pt x="2572" y="258"/>
                </a:cubicBezTo>
                <a:cubicBezTo>
                  <a:pt x="2571" y="258"/>
                  <a:pt x="2571" y="258"/>
                  <a:pt x="2571" y="257"/>
                </a:cubicBezTo>
                <a:cubicBezTo>
                  <a:pt x="2571" y="257"/>
                  <a:pt x="2571" y="256"/>
                  <a:pt x="2571" y="256"/>
                </a:cubicBezTo>
                <a:cubicBezTo>
                  <a:pt x="2572" y="256"/>
                  <a:pt x="2572" y="257"/>
                  <a:pt x="2572" y="256"/>
                </a:cubicBezTo>
                <a:cubicBezTo>
                  <a:pt x="2572" y="256"/>
                  <a:pt x="2571" y="256"/>
                  <a:pt x="2571" y="256"/>
                </a:cubicBezTo>
                <a:cubicBezTo>
                  <a:pt x="2571" y="255"/>
                  <a:pt x="2571" y="255"/>
                  <a:pt x="2570" y="255"/>
                </a:cubicBezTo>
                <a:cubicBezTo>
                  <a:pt x="2570" y="255"/>
                  <a:pt x="2570" y="255"/>
                  <a:pt x="2569" y="255"/>
                </a:cubicBezTo>
                <a:cubicBezTo>
                  <a:pt x="2568" y="255"/>
                  <a:pt x="2568" y="255"/>
                  <a:pt x="2567" y="255"/>
                </a:cubicBezTo>
                <a:cubicBezTo>
                  <a:pt x="2566" y="255"/>
                  <a:pt x="2565" y="256"/>
                  <a:pt x="2564" y="256"/>
                </a:cubicBezTo>
                <a:cubicBezTo>
                  <a:pt x="2563" y="256"/>
                  <a:pt x="2563" y="256"/>
                  <a:pt x="2562" y="256"/>
                </a:cubicBezTo>
                <a:cubicBezTo>
                  <a:pt x="2561" y="256"/>
                  <a:pt x="2560" y="256"/>
                  <a:pt x="2559" y="256"/>
                </a:cubicBezTo>
                <a:cubicBezTo>
                  <a:pt x="2558" y="257"/>
                  <a:pt x="2558" y="258"/>
                  <a:pt x="2558" y="259"/>
                </a:cubicBezTo>
                <a:cubicBezTo>
                  <a:pt x="2558" y="260"/>
                  <a:pt x="2559" y="261"/>
                  <a:pt x="2558" y="262"/>
                </a:cubicBezTo>
                <a:cubicBezTo>
                  <a:pt x="2558" y="263"/>
                  <a:pt x="2557" y="263"/>
                  <a:pt x="2557" y="264"/>
                </a:cubicBezTo>
                <a:cubicBezTo>
                  <a:pt x="2556" y="264"/>
                  <a:pt x="2556" y="265"/>
                  <a:pt x="2557" y="265"/>
                </a:cubicBezTo>
                <a:close/>
                <a:moveTo>
                  <a:pt x="2733" y="228"/>
                </a:moveTo>
                <a:cubicBezTo>
                  <a:pt x="2733" y="227"/>
                  <a:pt x="2734" y="228"/>
                  <a:pt x="2735" y="228"/>
                </a:cubicBezTo>
                <a:cubicBezTo>
                  <a:pt x="2736" y="228"/>
                  <a:pt x="2737" y="228"/>
                  <a:pt x="2737" y="227"/>
                </a:cubicBezTo>
                <a:cubicBezTo>
                  <a:pt x="2736" y="226"/>
                  <a:pt x="2736" y="226"/>
                  <a:pt x="2736" y="226"/>
                </a:cubicBezTo>
                <a:cubicBezTo>
                  <a:pt x="2735" y="226"/>
                  <a:pt x="2735" y="226"/>
                  <a:pt x="2735" y="226"/>
                </a:cubicBezTo>
                <a:cubicBezTo>
                  <a:pt x="2734" y="226"/>
                  <a:pt x="2733" y="226"/>
                  <a:pt x="2732" y="227"/>
                </a:cubicBezTo>
                <a:cubicBezTo>
                  <a:pt x="2731" y="227"/>
                  <a:pt x="2731" y="226"/>
                  <a:pt x="2731" y="227"/>
                </a:cubicBezTo>
                <a:cubicBezTo>
                  <a:pt x="2731" y="227"/>
                  <a:pt x="2730" y="228"/>
                  <a:pt x="2731" y="228"/>
                </a:cubicBezTo>
                <a:cubicBezTo>
                  <a:pt x="2731" y="228"/>
                  <a:pt x="2732" y="228"/>
                  <a:pt x="2733" y="228"/>
                </a:cubicBezTo>
                <a:close/>
                <a:moveTo>
                  <a:pt x="2665" y="78"/>
                </a:moveTo>
                <a:cubicBezTo>
                  <a:pt x="2666" y="78"/>
                  <a:pt x="2667" y="78"/>
                  <a:pt x="2668" y="78"/>
                </a:cubicBezTo>
                <a:cubicBezTo>
                  <a:pt x="2669" y="78"/>
                  <a:pt x="2671" y="78"/>
                  <a:pt x="2672" y="78"/>
                </a:cubicBezTo>
                <a:cubicBezTo>
                  <a:pt x="2673" y="78"/>
                  <a:pt x="2673" y="77"/>
                  <a:pt x="2674" y="77"/>
                </a:cubicBezTo>
                <a:cubicBezTo>
                  <a:pt x="2675" y="77"/>
                  <a:pt x="2677" y="76"/>
                  <a:pt x="2676" y="75"/>
                </a:cubicBezTo>
                <a:cubicBezTo>
                  <a:pt x="2676" y="75"/>
                  <a:pt x="2674" y="75"/>
                  <a:pt x="2674" y="75"/>
                </a:cubicBezTo>
                <a:cubicBezTo>
                  <a:pt x="2673" y="75"/>
                  <a:pt x="2671" y="75"/>
                  <a:pt x="2671" y="75"/>
                </a:cubicBezTo>
                <a:cubicBezTo>
                  <a:pt x="2670" y="74"/>
                  <a:pt x="2670" y="74"/>
                  <a:pt x="2669" y="74"/>
                </a:cubicBezTo>
                <a:cubicBezTo>
                  <a:pt x="2669" y="74"/>
                  <a:pt x="2668" y="74"/>
                  <a:pt x="2668" y="74"/>
                </a:cubicBezTo>
                <a:cubicBezTo>
                  <a:pt x="2667" y="74"/>
                  <a:pt x="2667" y="75"/>
                  <a:pt x="2666" y="75"/>
                </a:cubicBezTo>
                <a:cubicBezTo>
                  <a:pt x="2665" y="75"/>
                  <a:pt x="2665" y="75"/>
                  <a:pt x="2664" y="75"/>
                </a:cubicBezTo>
                <a:cubicBezTo>
                  <a:pt x="2664" y="75"/>
                  <a:pt x="2664" y="75"/>
                  <a:pt x="2663" y="75"/>
                </a:cubicBezTo>
                <a:cubicBezTo>
                  <a:pt x="2663" y="75"/>
                  <a:pt x="2662" y="75"/>
                  <a:pt x="2662" y="76"/>
                </a:cubicBezTo>
                <a:cubicBezTo>
                  <a:pt x="2662" y="76"/>
                  <a:pt x="2661" y="76"/>
                  <a:pt x="2661" y="76"/>
                </a:cubicBezTo>
                <a:cubicBezTo>
                  <a:pt x="2660" y="77"/>
                  <a:pt x="2660" y="78"/>
                  <a:pt x="2661" y="78"/>
                </a:cubicBezTo>
                <a:cubicBezTo>
                  <a:pt x="2662" y="79"/>
                  <a:pt x="2663" y="79"/>
                  <a:pt x="2665" y="78"/>
                </a:cubicBezTo>
                <a:close/>
                <a:moveTo>
                  <a:pt x="2786" y="70"/>
                </a:moveTo>
                <a:cubicBezTo>
                  <a:pt x="2786" y="71"/>
                  <a:pt x="2786" y="71"/>
                  <a:pt x="2787" y="71"/>
                </a:cubicBezTo>
                <a:cubicBezTo>
                  <a:pt x="2787" y="71"/>
                  <a:pt x="2788" y="70"/>
                  <a:pt x="2788" y="70"/>
                </a:cubicBezTo>
                <a:cubicBezTo>
                  <a:pt x="2789" y="70"/>
                  <a:pt x="2789" y="70"/>
                  <a:pt x="2790" y="70"/>
                </a:cubicBezTo>
                <a:cubicBezTo>
                  <a:pt x="2791" y="70"/>
                  <a:pt x="2792" y="70"/>
                  <a:pt x="2793" y="70"/>
                </a:cubicBezTo>
                <a:cubicBezTo>
                  <a:pt x="2795" y="71"/>
                  <a:pt x="2797" y="70"/>
                  <a:pt x="2798" y="70"/>
                </a:cubicBezTo>
                <a:cubicBezTo>
                  <a:pt x="2799" y="70"/>
                  <a:pt x="2800" y="70"/>
                  <a:pt x="2801" y="70"/>
                </a:cubicBezTo>
                <a:cubicBezTo>
                  <a:pt x="2802" y="70"/>
                  <a:pt x="2802" y="70"/>
                  <a:pt x="2803" y="70"/>
                </a:cubicBezTo>
                <a:cubicBezTo>
                  <a:pt x="2804" y="70"/>
                  <a:pt x="2803" y="69"/>
                  <a:pt x="2803" y="69"/>
                </a:cubicBezTo>
                <a:cubicBezTo>
                  <a:pt x="2803" y="69"/>
                  <a:pt x="2802" y="68"/>
                  <a:pt x="2802" y="68"/>
                </a:cubicBezTo>
                <a:cubicBezTo>
                  <a:pt x="2801" y="68"/>
                  <a:pt x="2800" y="67"/>
                  <a:pt x="2799" y="67"/>
                </a:cubicBezTo>
                <a:cubicBezTo>
                  <a:pt x="2798" y="67"/>
                  <a:pt x="2797" y="67"/>
                  <a:pt x="2796" y="67"/>
                </a:cubicBezTo>
                <a:cubicBezTo>
                  <a:pt x="2796" y="67"/>
                  <a:pt x="2795" y="67"/>
                  <a:pt x="2794" y="67"/>
                </a:cubicBezTo>
                <a:cubicBezTo>
                  <a:pt x="2793" y="67"/>
                  <a:pt x="2793" y="67"/>
                  <a:pt x="2793" y="67"/>
                </a:cubicBezTo>
                <a:cubicBezTo>
                  <a:pt x="2792" y="67"/>
                  <a:pt x="2792" y="67"/>
                  <a:pt x="2791" y="67"/>
                </a:cubicBezTo>
                <a:cubicBezTo>
                  <a:pt x="2791" y="67"/>
                  <a:pt x="2790" y="67"/>
                  <a:pt x="2789" y="67"/>
                </a:cubicBezTo>
                <a:cubicBezTo>
                  <a:pt x="2788" y="68"/>
                  <a:pt x="2788" y="68"/>
                  <a:pt x="2787" y="68"/>
                </a:cubicBezTo>
                <a:cubicBezTo>
                  <a:pt x="2786" y="68"/>
                  <a:pt x="2786" y="68"/>
                  <a:pt x="2786" y="68"/>
                </a:cubicBezTo>
                <a:cubicBezTo>
                  <a:pt x="2786" y="69"/>
                  <a:pt x="2786" y="69"/>
                  <a:pt x="2786" y="69"/>
                </a:cubicBezTo>
                <a:cubicBezTo>
                  <a:pt x="2786" y="69"/>
                  <a:pt x="2785" y="69"/>
                  <a:pt x="2785" y="69"/>
                </a:cubicBezTo>
                <a:cubicBezTo>
                  <a:pt x="2785" y="70"/>
                  <a:pt x="2785" y="70"/>
                  <a:pt x="2786" y="70"/>
                </a:cubicBezTo>
                <a:cubicBezTo>
                  <a:pt x="2786" y="70"/>
                  <a:pt x="2786" y="70"/>
                  <a:pt x="2786" y="70"/>
                </a:cubicBezTo>
                <a:close/>
                <a:moveTo>
                  <a:pt x="2802" y="92"/>
                </a:moveTo>
                <a:cubicBezTo>
                  <a:pt x="2802" y="93"/>
                  <a:pt x="2803" y="92"/>
                  <a:pt x="2803" y="92"/>
                </a:cubicBezTo>
                <a:cubicBezTo>
                  <a:pt x="2804" y="92"/>
                  <a:pt x="2804" y="92"/>
                  <a:pt x="2805" y="92"/>
                </a:cubicBezTo>
                <a:cubicBezTo>
                  <a:pt x="2809" y="91"/>
                  <a:pt x="2812" y="92"/>
                  <a:pt x="2816" y="92"/>
                </a:cubicBezTo>
                <a:cubicBezTo>
                  <a:pt x="2816" y="92"/>
                  <a:pt x="2817" y="92"/>
                  <a:pt x="2818" y="91"/>
                </a:cubicBezTo>
                <a:cubicBezTo>
                  <a:pt x="2819" y="91"/>
                  <a:pt x="2820" y="92"/>
                  <a:pt x="2821" y="92"/>
                </a:cubicBezTo>
                <a:cubicBezTo>
                  <a:pt x="2821" y="92"/>
                  <a:pt x="2823" y="91"/>
                  <a:pt x="2823" y="92"/>
                </a:cubicBezTo>
                <a:cubicBezTo>
                  <a:pt x="2824" y="93"/>
                  <a:pt x="2822" y="93"/>
                  <a:pt x="2821" y="93"/>
                </a:cubicBezTo>
                <a:cubicBezTo>
                  <a:pt x="2820" y="93"/>
                  <a:pt x="2820" y="93"/>
                  <a:pt x="2819" y="93"/>
                </a:cubicBezTo>
                <a:cubicBezTo>
                  <a:pt x="2818" y="93"/>
                  <a:pt x="2817" y="93"/>
                  <a:pt x="2816" y="93"/>
                </a:cubicBezTo>
                <a:cubicBezTo>
                  <a:pt x="2815" y="93"/>
                  <a:pt x="2813" y="92"/>
                  <a:pt x="2811" y="93"/>
                </a:cubicBezTo>
                <a:cubicBezTo>
                  <a:pt x="2811" y="93"/>
                  <a:pt x="2812" y="93"/>
                  <a:pt x="2813" y="93"/>
                </a:cubicBezTo>
                <a:cubicBezTo>
                  <a:pt x="2813" y="94"/>
                  <a:pt x="2813" y="94"/>
                  <a:pt x="2813" y="94"/>
                </a:cubicBezTo>
                <a:cubicBezTo>
                  <a:pt x="2813" y="94"/>
                  <a:pt x="2814" y="94"/>
                  <a:pt x="2814" y="94"/>
                </a:cubicBezTo>
                <a:cubicBezTo>
                  <a:pt x="2815" y="94"/>
                  <a:pt x="2815" y="94"/>
                  <a:pt x="2816" y="94"/>
                </a:cubicBezTo>
                <a:cubicBezTo>
                  <a:pt x="2816" y="95"/>
                  <a:pt x="2817" y="95"/>
                  <a:pt x="2817" y="95"/>
                </a:cubicBezTo>
                <a:cubicBezTo>
                  <a:pt x="2818" y="95"/>
                  <a:pt x="2818" y="95"/>
                  <a:pt x="2817" y="95"/>
                </a:cubicBezTo>
                <a:cubicBezTo>
                  <a:pt x="2817" y="95"/>
                  <a:pt x="2816" y="95"/>
                  <a:pt x="2816" y="95"/>
                </a:cubicBezTo>
                <a:cubicBezTo>
                  <a:pt x="2815" y="95"/>
                  <a:pt x="2815" y="95"/>
                  <a:pt x="2814" y="95"/>
                </a:cubicBezTo>
                <a:cubicBezTo>
                  <a:pt x="2814" y="95"/>
                  <a:pt x="2813" y="95"/>
                  <a:pt x="2813" y="95"/>
                </a:cubicBezTo>
                <a:cubicBezTo>
                  <a:pt x="2813" y="96"/>
                  <a:pt x="2814" y="96"/>
                  <a:pt x="2814" y="96"/>
                </a:cubicBezTo>
                <a:cubicBezTo>
                  <a:pt x="2815" y="96"/>
                  <a:pt x="2816" y="96"/>
                  <a:pt x="2817" y="96"/>
                </a:cubicBezTo>
                <a:cubicBezTo>
                  <a:pt x="2818" y="97"/>
                  <a:pt x="2820" y="96"/>
                  <a:pt x="2821" y="97"/>
                </a:cubicBezTo>
                <a:cubicBezTo>
                  <a:pt x="2822" y="98"/>
                  <a:pt x="2822" y="98"/>
                  <a:pt x="2822" y="98"/>
                </a:cubicBezTo>
                <a:cubicBezTo>
                  <a:pt x="2822" y="99"/>
                  <a:pt x="2823" y="99"/>
                  <a:pt x="2823" y="99"/>
                </a:cubicBezTo>
                <a:cubicBezTo>
                  <a:pt x="2824" y="99"/>
                  <a:pt x="2825" y="99"/>
                  <a:pt x="2826" y="99"/>
                </a:cubicBezTo>
                <a:cubicBezTo>
                  <a:pt x="2827" y="100"/>
                  <a:pt x="2829" y="100"/>
                  <a:pt x="2831" y="100"/>
                </a:cubicBezTo>
                <a:cubicBezTo>
                  <a:pt x="2833" y="99"/>
                  <a:pt x="2834" y="98"/>
                  <a:pt x="2836" y="98"/>
                </a:cubicBezTo>
                <a:cubicBezTo>
                  <a:pt x="2836" y="98"/>
                  <a:pt x="2837" y="98"/>
                  <a:pt x="2837" y="98"/>
                </a:cubicBezTo>
                <a:cubicBezTo>
                  <a:pt x="2838" y="98"/>
                  <a:pt x="2839" y="97"/>
                  <a:pt x="2840" y="97"/>
                </a:cubicBezTo>
                <a:cubicBezTo>
                  <a:pt x="2841" y="97"/>
                  <a:pt x="2842" y="97"/>
                  <a:pt x="2843" y="97"/>
                </a:cubicBezTo>
                <a:cubicBezTo>
                  <a:pt x="2844" y="96"/>
                  <a:pt x="2846" y="95"/>
                  <a:pt x="2848" y="95"/>
                </a:cubicBezTo>
                <a:cubicBezTo>
                  <a:pt x="2849" y="95"/>
                  <a:pt x="2850" y="95"/>
                  <a:pt x="2851" y="95"/>
                </a:cubicBezTo>
                <a:cubicBezTo>
                  <a:pt x="2852" y="95"/>
                  <a:pt x="2853" y="94"/>
                  <a:pt x="2854" y="94"/>
                </a:cubicBezTo>
                <a:cubicBezTo>
                  <a:pt x="2856" y="94"/>
                  <a:pt x="2859" y="94"/>
                  <a:pt x="2861" y="94"/>
                </a:cubicBezTo>
                <a:cubicBezTo>
                  <a:pt x="2862" y="94"/>
                  <a:pt x="2862" y="94"/>
                  <a:pt x="2863" y="94"/>
                </a:cubicBezTo>
                <a:cubicBezTo>
                  <a:pt x="2864" y="94"/>
                  <a:pt x="2865" y="94"/>
                  <a:pt x="2866" y="94"/>
                </a:cubicBezTo>
                <a:cubicBezTo>
                  <a:pt x="2867" y="93"/>
                  <a:pt x="2868" y="93"/>
                  <a:pt x="2868" y="92"/>
                </a:cubicBezTo>
                <a:cubicBezTo>
                  <a:pt x="2868" y="91"/>
                  <a:pt x="2868" y="90"/>
                  <a:pt x="2868" y="89"/>
                </a:cubicBezTo>
                <a:cubicBezTo>
                  <a:pt x="2868" y="89"/>
                  <a:pt x="2868" y="88"/>
                  <a:pt x="2868" y="88"/>
                </a:cubicBezTo>
                <a:cubicBezTo>
                  <a:pt x="2868" y="88"/>
                  <a:pt x="2867" y="87"/>
                  <a:pt x="2867" y="87"/>
                </a:cubicBezTo>
                <a:cubicBezTo>
                  <a:pt x="2867" y="86"/>
                  <a:pt x="2866" y="86"/>
                  <a:pt x="2866" y="85"/>
                </a:cubicBezTo>
                <a:cubicBezTo>
                  <a:pt x="2866" y="84"/>
                  <a:pt x="2867" y="83"/>
                  <a:pt x="2867" y="83"/>
                </a:cubicBezTo>
                <a:cubicBezTo>
                  <a:pt x="2868" y="82"/>
                  <a:pt x="2869" y="82"/>
                  <a:pt x="2870" y="82"/>
                </a:cubicBezTo>
                <a:cubicBezTo>
                  <a:pt x="2871" y="82"/>
                  <a:pt x="2871" y="82"/>
                  <a:pt x="2872" y="81"/>
                </a:cubicBezTo>
                <a:cubicBezTo>
                  <a:pt x="2873" y="81"/>
                  <a:pt x="2874" y="81"/>
                  <a:pt x="2875" y="81"/>
                </a:cubicBezTo>
                <a:cubicBezTo>
                  <a:pt x="2875" y="81"/>
                  <a:pt x="2877" y="82"/>
                  <a:pt x="2877" y="81"/>
                </a:cubicBezTo>
                <a:cubicBezTo>
                  <a:pt x="2877" y="80"/>
                  <a:pt x="2875" y="80"/>
                  <a:pt x="2875" y="80"/>
                </a:cubicBezTo>
                <a:cubicBezTo>
                  <a:pt x="2874" y="79"/>
                  <a:pt x="2873" y="79"/>
                  <a:pt x="2872" y="78"/>
                </a:cubicBezTo>
                <a:cubicBezTo>
                  <a:pt x="2871" y="77"/>
                  <a:pt x="2869" y="77"/>
                  <a:pt x="2867" y="76"/>
                </a:cubicBezTo>
                <a:cubicBezTo>
                  <a:pt x="2867" y="75"/>
                  <a:pt x="2866" y="74"/>
                  <a:pt x="2865" y="74"/>
                </a:cubicBezTo>
                <a:cubicBezTo>
                  <a:pt x="2864" y="73"/>
                  <a:pt x="2863" y="73"/>
                  <a:pt x="2862" y="72"/>
                </a:cubicBezTo>
                <a:cubicBezTo>
                  <a:pt x="2861" y="72"/>
                  <a:pt x="2860" y="71"/>
                  <a:pt x="2859" y="70"/>
                </a:cubicBezTo>
                <a:cubicBezTo>
                  <a:pt x="2858" y="70"/>
                  <a:pt x="2857" y="69"/>
                  <a:pt x="2856" y="68"/>
                </a:cubicBezTo>
                <a:cubicBezTo>
                  <a:pt x="2856" y="68"/>
                  <a:pt x="2855" y="67"/>
                  <a:pt x="2854" y="66"/>
                </a:cubicBezTo>
                <a:cubicBezTo>
                  <a:pt x="2853" y="66"/>
                  <a:pt x="2852" y="66"/>
                  <a:pt x="2851" y="66"/>
                </a:cubicBezTo>
                <a:cubicBezTo>
                  <a:pt x="2850" y="65"/>
                  <a:pt x="2848" y="65"/>
                  <a:pt x="2847" y="65"/>
                </a:cubicBezTo>
                <a:cubicBezTo>
                  <a:pt x="2846" y="65"/>
                  <a:pt x="2846" y="66"/>
                  <a:pt x="2845" y="66"/>
                </a:cubicBezTo>
                <a:cubicBezTo>
                  <a:pt x="2844" y="66"/>
                  <a:pt x="2844" y="67"/>
                  <a:pt x="2844" y="68"/>
                </a:cubicBezTo>
                <a:cubicBezTo>
                  <a:pt x="2844" y="68"/>
                  <a:pt x="2844" y="68"/>
                  <a:pt x="2844" y="69"/>
                </a:cubicBezTo>
                <a:cubicBezTo>
                  <a:pt x="2843" y="69"/>
                  <a:pt x="2843" y="69"/>
                  <a:pt x="2842" y="69"/>
                </a:cubicBezTo>
                <a:cubicBezTo>
                  <a:pt x="2842" y="69"/>
                  <a:pt x="2841" y="70"/>
                  <a:pt x="2840" y="70"/>
                </a:cubicBezTo>
                <a:cubicBezTo>
                  <a:pt x="2839" y="70"/>
                  <a:pt x="2838" y="70"/>
                  <a:pt x="2837" y="71"/>
                </a:cubicBezTo>
                <a:cubicBezTo>
                  <a:pt x="2836" y="71"/>
                  <a:pt x="2835" y="71"/>
                  <a:pt x="2834" y="71"/>
                </a:cubicBezTo>
                <a:cubicBezTo>
                  <a:pt x="2833" y="71"/>
                  <a:pt x="2832" y="72"/>
                  <a:pt x="2831" y="72"/>
                </a:cubicBezTo>
                <a:cubicBezTo>
                  <a:pt x="2830" y="72"/>
                  <a:pt x="2829" y="72"/>
                  <a:pt x="2828" y="72"/>
                </a:cubicBezTo>
                <a:cubicBezTo>
                  <a:pt x="2828" y="72"/>
                  <a:pt x="2827" y="72"/>
                  <a:pt x="2827" y="72"/>
                </a:cubicBezTo>
                <a:cubicBezTo>
                  <a:pt x="2826" y="72"/>
                  <a:pt x="2826" y="72"/>
                  <a:pt x="2825" y="72"/>
                </a:cubicBezTo>
                <a:cubicBezTo>
                  <a:pt x="2825" y="73"/>
                  <a:pt x="2824" y="73"/>
                  <a:pt x="2823" y="73"/>
                </a:cubicBezTo>
                <a:cubicBezTo>
                  <a:pt x="2823" y="73"/>
                  <a:pt x="2822" y="73"/>
                  <a:pt x="2822" y="73"/>
                </a:cubicBezTo>
                <a:cubicBezTo>
                  <a:pt x="2821" y="73"/>
                  <a:pt x="2821" y="74"/>
                  <a:pt x="2821" y="74"/>
                </a:cubicBezTo>
                <a:cubicBezTo>
                  <a:pt x="2821" y="75"/>
                  <a:pt x="2822" y="74"/>
                  <a:pt x="2822" y="75"/>
                </a:cubicBezTo>
                <a:cubicBezTo>
                  <a:pt x="2823" y="75"/>
                  <a:pt x="2822" y="75"/>
                  <a:pt x="2822" y="75"/>
                </a:cubicBezTo>
                <a:cubicBezTo>
                  <a:pt x="2822" y="75"/>
                  <a:pt x="2822" y="75"/>
                  <a:pt x="2822" y="75"/>
                </a:cubicBezTo>
                <a:cubicBezTo>
                  <a:pt x="2822" y="76"/>
                  <a:pt x="2820" y="76"/>
                  <a:pt x="2820" y="76"/>
                </a:cubicBezTo>
                <a:cubicBezTo>
                  <a:pt x="2819" y="76"/>
                  <a:pt x="2818" y="76"/>
                  <a:pt x="2818" y="76"/>
                </a:cubicBezTo>
                <a:cubicBezTo>
                  <a:pt x="2817" y="76"/>
                  <a:pt x="2817" y="77"/>
                  <a:pt x="2817" y="78"/>
                </a:cubicBezTo>
                <a:cubicBezTo>
                  <a:pt x="2816" y="78"/>
                  <a:pt x="2816" y="79"/>
                  <a:pt x="2816" y="79"/>
                </a:cubicBezTo>
                <a:cubicBezTo>
                  <a:pt x="2815" y="79"/>
                  <a:pt x="2815" y="79"/>
                  <a:pt x="2815" y="79"/>
                </a:cubicBezTo>
                <a:cubicBezTo>
                  <a:pt x="2814" y="79"/>
                  <a:pt x="2814" y="80"/>
                  <a:pt x="2815" y="80"/>
                </a:cubicBezTo>
                <a:cubicBezTo>
                  <a:pt x="2815" y="80"/>
                  <a:pt x="2815" y="80"/>
                  <a:pt x="2816" y="80"/>
                </a:cubicBezTo>
                <a:cubicBezTo>
                  <a:pt x="2816" y="81"/>
                  <a:pt x="2816" y="81"/>
                  <a:pt x="2816" y="81"/>
                </a:cubicBezTo>
                <a:cubicBezTo>
                  <a:pt x="2817" y="82"/>
                  <a:pt x="2818" y="81"/>
                  <a:pt x="2818" y="82"/>
                </a:cubicBezTo>
                <a:cubicBezTo>
                  <a:pt x="2818" y="83"/>
                  <a:pt x="2818" y="83"/>
                  <a:pt x="2818" y="84"/>
                </a:cubicBezTo>
                <a:cubicBezTo>
                  <a:pt x="2818" y="84"/>
                  <a:pt x="2818" y="84"/>
                  <a:pt x="2818" y="85"/>
                </a:cubicBezTo>
                <a:cubicBezTo>
                  <a:pt x="2818" y="86"/>
                  <a:pt x="2817" y="86"/>
                  <a:pt x="2816" y="86"/>
                </a:cubicBezTo>
                <a:cubicBezTo>
                  <a:pt x="2816" y="86"/>
                  <a:pt x="2815" y="86"/>
                  <a:pt x="2814" y="86"/>
                </a:cubicBezTo>
                <a:cubicBezTo>
                  <a:pt x="2813" y="86"/>
                  <a:pt x="2812" y="87"/>
                  <a:pt x="2812" y="87"/>
                </a:cubicBezTo>
                <a:cubicBezTo>
                  <a:pt x="2811" y="87"/>
                  <a:pt x="2811" y="87"/>
                  <a:pt x="2810" y="87"/>
                </a:cubicBezTo>
                <a:cubicBezTo>
                  <a:pt x="2810" y="87"/>
                  <a:pt x="2810" y="87"/>
                  <a:pt x="2809" y="87"/>
                </a:cubicBezTo>
                <a:cubicBezTo>
                  <a:pt x="2809" y="88"/>
                  <a:pt x="2809" y="87"/>
                  <a:pt x="2808" y="87"/>
                </a:cubicBezTo>
                <a:cubicBezTo>
                  <a:pt x="2807" y="87"/>
                  <a:pt x="2808" y="88"/>
                  <a:pt x="2808" y="88"/>
                </a:cubicBezTo>
                <a:cubicBezTo>
                  <a:pt x="2808" y="88"/>
                  <a:pt x="2808" y="88"/>
                  <a:pt x="2808" y="88"/>
                </a:cubicBezTo>
                <a:cubicBezTo>
                  <a:pt x="2809" y="89"/>
                  <a:pt x="2809" y="89"/>
                  <a:pt x="2809" y="89"/>
                </a:cubicBezTo>
                <a:cubicBezTo>
                  <a:pt x="2809" y="89"/>
                  <a:pt x="2809" y="89"/>
                  <a:pt x="2809" y="89"/>
                </a:cubicBezTo>
                <a:cubicBezTo>
                  <a:pt x="2808" y="89"/>
                  <a:pt x="2808" y="89"/>
                  <a:pt x="2807" y="89"/>
                </a:cubicBezTo>
                <a:cubicBezTo>
                  <a:pt x="2807" y="89"/>
                  <a:pt x="2807" y="90"/>
                  <a:pt x="2806" y="90"/>
                </a:cubicBezTo>
                <a:cubicBezTo>
                  <a:pt x="2806" y="90"/>
                  <a:pt x="2805" y="90"/>
                  <a:pt x="2804" y="90"/>
                </a:cubicBezTo>
                <a:cubicBezTo>
                  <a:pt x="2804" y="91"/>
                  <a:pt x="2803" y="91"/>
                  <a:pt x="2803" y="91"/>
                </a:cubicBezTo>
                <a:cubicBezTo>
                  <a:pt x="2803" y="91"/>
                  <a:pt x="2802" y="91"/>
                  <a:pt x="2802" y="92"/>
                </a:cubicBezTo>
                <a:close/>
                <a:moveTo>
                  <a:pt x="2427" y="91"/>
                </a:moveTo>
                <a:cubicBezTo>
                  <a:pt x="2427" y="91"/>
                  <a:pt x="2428" y="91"/>
                  <a:pt x="2428" y="91"/>
                </a:cubicBezTo>
                <a:cubicBezTo>
                  <a:pt x="2430" y="91"/>
                  <a:pt x="2431" y="90"/>
                  <a:pt x="2433" y="91"/>
                </a:cubicBezTo>
                <a:cubicBezTo>
                  <a:pt x="2433" y="91"/>
                  <a:pt x="2435" y="92"/>
                  <a:pt x="2435" y="91"/>
                </a:cubicBezTo>
                <a:cubicBezTo>
                  <a:pt x="2435" y="90"/>
                  <a:pt x="2434" y="90"/>
                  <a:pt x="2433" y="89"/>
                </a:cubicBezTo>
                <a:cubicBezTo>
                  <a:pt x="2432" y="89"/>
                  <a:pt x="2432" y="89"/>
                  <a:pt x="2431" y="88"/>
                </a:cubicBezTo>
                <a:cubicBezTo>
                  <a:pt x="2430" y="88"/>
                  <a:pt x="2429" y="88"/>
                  <a:pt x="2428" y="88"/>
                </a:cubicBezTo>
                <a:cubicBezTo>
                  <a:pt x="2427" y="88"/>
                  <a:pt x="2425" y="88"/>
                  <a:pt x="2424" y="87"/>
                </a:cubicBezTo>
                <a:cubicBezTo>
                  <a:pt x="2423" y="87"/>
                  <a:pt x="2422" y="87"/>
                  <a:pt x="2421" y="87"/>
                </a:cubicBezTo>
                <a:cubicBezTo>
                  <a:pt x="2419" y="87"/>
                  <a:pt x="2417" y="87"/>
                  <a:pt x="2416" y="87"/>
                </a:cubicBezTo>
                <a:cubicBezTo>
                  <a:pt x="2414" y="87"/>
                  <a:pt x="2413" y="86"/>
                  <a:pt x="2412" y="87"/>
                </a:cubicBezTo>
                <a:cubicBezTo>
                  <a:pt x="2411" y="87"/>
                  <a:pt x="2411" y="87"/>
                  <a:pt x="2411" y="87"/>
                </a:cubicBezTo>
                <a:cubicBezTo>
                  <a:pt x="2410" y="87"/>
                  <a:pt x="2410" y="87"/>
                  <a:pt x="2410" y="87"/>
                </a:cubicBezTo>
                <a:cubicBezTo>
                  <a:pt x="2409" y="87"/>
                  <a:pt x="2410" y="88"/>
                  <a:pt x="2410" y="88"/>
                </a:cubicBezTo>
                <a:cubicBezTo>
                  <a:pt x="2410" y="88"/>
                  <a:pt x="2410" y="88"/>
                  <a:pt x="2410" y="89"/>
                </a:cubicBezTo>
                <a:cubicBezTo>
                  <a:pt x="2410" y="89"/>
                  <a:pt x="2411" y="89"/>
                  <a:pt x="2411" y="90"/>
                </a:cubicBezTo>
                <a:cubicBezTo>
                  <a:pt x="2411" y="90"/>
                  <a:pt x="2410" y="90"/>
                  <a:pt x="2410" y="90"/>
                </a:cubicBezTo>
                <a:cubicBezTo>
                  <a:pt x="2409" y="90"/>
                  <a:pt x="2409" y="90"/>
                  <a:pt x="2408" y="90"/>
                </a:cubicBezTo>
                <a:cubicBezTo>
                  <a:pt x="2407" y="90"/>
                  <a:pt x="2406" y="90"/>
                  <a:pt x="2405" y="90"/>
                </a:cubicBezTo>
                <a:cubicBezTo>
                  <a:pt x="2404" y="90"/>
                  <a:pt x="2404" y="91"/>
                  <a:pt x="2403" y="91"/>
                </a:cubicBezTo>
                <a:cubicBezTo>
                  <a:pt x="2402" y="91"/>
                  <a:pt x="2402" y="91"/>
                  <a:pt x="2402" y="91"/>
                </a:cubicBezTo>
                <a:cubicBezTo>
                  <a:pt x="2401" y="91"/>
                  <a:pt x="2401" y="91"/>
                  <a:pt x="2400" y="91"/>
                </a:cubicBezTo>
                <a:cubicBezTo>
                  <a:pt x="2399" y="92"/>
                  <a:pt x="2399" y="93"/>
                  <a:pt x="2398" y="94"/>
                </a:cubicBezTo>
                <a:cubicBezTo>
                  <a:pt x="2398" y="94"/>
                  <a:pt x="2398" y="95"/>
                  <a:pt x="2397" y="95"/>
                </a:cubicBezTo>
                <a:cubicBezTo>
                  <a:pt x="2397" y="96"/>
                  <a:pt x="2396" y="97"/>
                  <a:pt x="2397" y="97"/>
                </a:cubicBezTo>
                <a:cubicBezTo>
                  <a:pt x="2397" y="97"/>
                  <a:pt x="2397" y="97"/>
                  <a:pt x="2397" y="97"/>
                </a:cubicBezTo>
                <a:cubicBezTo>
                  <a:pt x="2397" y="97"/>
                  <a:pt x="2397" y="97"/>
                  <a:pt x="2398" y="97"/>
                </a:cubicBezTo>
                <a:cubicBezTo>
                  <a:pt x="2398" y="97"/>
                  <a:pt x="2398" y="98"/>
                  <a:pt x="2399" y="98"/>
                </a:cubicBezTo>
                <a:cubicBezTo>
                  <a:pt x="2399" y="98"/>
                  <a:pt x="2400" y="97"/>
                  <a:pt x="2400" y="97"/>
                </a:cubicBezTo>
                <a:cubicBezTo>
                  <a:pt x="2401" y="97"/>
                  <a:pt x="2403" y="97"/>
                  <a:pt x="2405" y="98"/>
                </a:cubicBezTo>
                <a:cubicBezTo>
                  <a:pt x="2405" y="98"/>
                  <a:pt x="2405" y="98"/>
                  <a:pt x="2406" y="98"/>
                </a:cubicBezTo>
                <a:cubicBezTo>
                  <a:pt x="2407" y="98"/>
                  <a:pt x="2407" y="98"/>
                  <a:pt x="2408" y="98"/>
                </a:cubicBezTo>
                <a:cubicBezTo>
                  <a:pt x="2408" y="98"/>
                  <a:pt x="2410" y="98"/>
                  <a:pt x="2410" y="98"/>
                </a:cubicBezTo>
                <a:cubicBezTo>
                  <a:pt x="2411" y="97"/>
                  <a:pt x="2410" y="97"/>
                  <a:pt x="2411" y="97"/>
                </a:cubicBezTo>
                <a:cubicBezTo>
                  <a:pt x="2411" y="97"/>
                  <a:pt x="2411" y="97"/>
                  <a:pt x="2411" y="97"/>
                </a:cubicBezTo>
                <a:cubicBezTo>
                  <a:pt x="2411" y="96"/>
                  <a:pt x="2411" y="96"/>
                  <a:pt x="2411" y="95"/>
                </a:cubicBezTo>
                <a:cubicBezTo>
                  <a:pt x="2411" y="95"/>
                  <a:pt x="2411" y="93"/>
                  <a:pt x="2412" y="93"/>
                </a:cubicBezTo>
                <a:cubicBezTo>
                  <a:pt x="2412" y="94"/>
                  <a:pt x="2413" y="94"/>
                  <a:pt x="2413" y="95"/>
                </a:cubicBezTo>
                <a:cubicBezTo>
                  <a:pt x="2413" y="95"/>
                  <a:pt x="2414" y="95"/>
                  <a:pt x="2414" y="95"/>
                </a:cubicBezTo>
                <a:cubicBezTo>
                  <a:pt x="2415" y="96"/>
                  <a:pt x="2415" y="96"/>
                  <a:pt x="2415" y="96"/>
                </a:cubicBezTo>
                <a:cubicBezTo>
                  <a:pt x="2416" y="96"/>
                  <a:pt x="2417" y="96"/>
                  <a:pt x="2418" y="97"/>
                </a:cubicBezTo>
                <a:cubicBezTo>
                  <a:pt x="2418" y="97"/>
                  <a:pt x="2418" y="98"/>
                  <a:pt x="2419" y="98"/>
                </a:cubicBezTo>
                <a:cubicBezTo>
                  <a:pt x="2419" y="98"/>
                  <a:pt x="2420" y="98"/>
                  <a:pt x="2420" y="97"/>
                </a:cubicBezTo>
                <a:cubicBezTo>
                  <a:pt x="2420" y="97"/>
                  <a:pt x="2420" y="97"/>
                  <a:pt x="2420" y="97"/>
                </a:cubicBezTo>
                <a:cubicBezTo>
                  <a:pt x="2421" y="97"/>
                  <a:pt x="2421" y="97"/>
                  <a:pt x="2421" y="97"/>
                </a:cubicBezTo>
                <a:cubicBezTo>
                  <a:pt x="2421" y="96"/>
                  <a:pt x="2421" y="96"/>
                  <a:pt x="2421" y="96"/>
                </a:cubicBezTo>
                <a:cubicBezTo>
                  <a:pt x="2421" y="95"/>
                  <a:pt x="2421" y="95"/>
                  <a:pt x="2422" y="95"/>
                </a:cubicBezTo>
                <a:cubicBezTo>
                  <a:pt x="2422" y="95"/>
                  <a:pt x="2422" y="95"/>
                  <a:pt x="2422" y="95"/>
                </a:cubicBezTo>
                <a:cubicBezTo>
                  <a:pt x="2423" y="95"/>
                  <a:pt x="2423" y="95"/>
                  <a:pt x="2423" y="95"/>
                </a:cubicBezTo>
                <a:cubicBezTo>
                  <a:pt x="2424" y="94"/>
                  <a:pt x="2425" y="95"/>
                  <a:pt x="2426" y="95"/>
                </a:cubicBezTo>
                <a:cubicBezTo>
                  <a:pt x="2427" y="95"/>
                  <a:pt x="2426" y="94"/>
                  <a:pt x="2426" y="93"/>
                </a:cubicBezTo>
                <a:cubicBezTo>
                  <a:pt x="2425" y="93"/>
                  <a:pt x="2425" y="93"/>
                  <a:pt x="2425" y="93"/>
                </a:cubicBezTo>
                <a:cubicBezTo>
                  <a:pt x="2424" y="92"/>
                  <a:pt x="2424" y="92"/>
                  <a:pt x="2424" y="92"/>
                </a:cubicBezTo>
                <a:cubicBezTo>
                  <a:pt x="2425" y="92"/>
                  <a:pt x="2426" y="92"/>
                  <a:pt x="2426" y="91"/>
                </a:cubicBezTo>
                <a:cubicBezTo>
                  <a:pt x="2427" y="91"/>
                  <a:pt x="2427" y="91"/>
                  <a:pt x="2427" y="91"/>
                </a:cubicBezTo>
                <a:close/>
                <a:moveTo>
                  <a:pt x="2436" y="83"/>
                </a:moveTo>
                <a:cubicBezTo>
                  <a:pt x="2436" y="84"/>
                  <a:pt x="2436" y="85"/>
                  <a:pt x="2436" y="86"/>
                </a:cubicBezTo>
                <a:cubicBezTo>
                  <a:pt x="2437" y="87"/>
                  <a:pt x="2438" y="87"/>
                  <a:pt x="2438" y="87"/>
                </a:cubicBezTo>
                <a:cubicBezTo>
                  <a:pt x="2439" y="87"/>
                  <a:pt x="2439" y="88"/>
                  <a:pt x="2439" y="88"/>
                </a:cubicBezTo>
                <a:cubicBezTo>
                  <a:pt x="2440" y="89"/>
                  <a:pt x="2441" y="88"/>
                  <a:pt x="2442" y="88"/>
                </a:cubicBezTo>
                <a:cubicBezTo>
                  <a:pt x="2442" y="88"/>
                  <a:pt x="2443" y="89"/>
                  <a:pt x="2444" y="88"/>
                </a:cubicBezTo>
                <a:cubicBezTo>
                  <a:pt x="2445" y="88"/>
                  <a:pt x="2446" y="87"/>
                  <a:pt x="2447" y="87"/>
                </a:cubicBezTo>
                <a:cubicBezTo>
                  <a:pt x="2448" y="87"/>
                  <a:pt x="2448" y="88"/>
                  <a:pt x="2449" y="88"/>
                </a:cubicBezTo>
                <a:cubicBezTo>
                  <a:pt x="2450" y="88"/>
                  <a:pt x="2451" y="88"/>
                  <a:pt x="2452" y="88"/>
                </a:cubicBezTo>
                <a:cubicBezTo>
                  <a:pt x="2453" y="89"/>
                  <a:pt x="2454" y="89"/>
                  <a:pt x="2455" y="89"/>
                </a:cubicBezTo>
                <a:cubicBezTo>
                  <a:pt x="2457" y="90"/>
                  <a:pt x="2458" y="89"/>
                  <a:pt x="2459" y="87"/>
                </a:cubicBezTo>
                <a:cubicBezTo>
                  <a:pt x="2460" y="87"/>
                  <a:pt x="2460" y="87"/>
                  <a:pt x="2460" y="86"/>
                </a:cubicBezTo>
                <a:cubicBezTo>
                  <a:pt x="2461" y="86"/>
                  <a:pt x="2461" y="86"/>
                  <a:pt x="2462" y="86"/>
                </a:cubicBezTo>
                <a:cubicBezTo>
                  <a:pt x="2462" y="86"/>
                  <a:pt x="2463" y="86"/>
                  <a:pt x="2463" y="86"/>
                </a:cubicBezTo>
                <a:cubicBezTo>
                  <a:pt x="2463" y="85"/>
                  <a:pt x="2463" y="85"/>
                  <a:pt x="2464" y="84"/>
                </a:cubicBezTo>
                <a:cubicBezTo>
                  <a:pt x="2464" y="84"/>
                  <a:pt x="2465" y="84"/>
                  <a:pt x="2466" y="84"/>
                </a:cubicBezTo>
                <a:cubicBezTo>
                  <a:pt x="2467" y="84"/>
                  <a:pt x="2467" y="84"/>
                  <a:pt x="2468" y="84"/>
                </a:cubicBezTo>
                <a:cubicBezTo>
                  <a:pt x="2468" y="84"/>
                  <a:pt x="2468" y="83"/>
                  <a:pt x="2468" y="83"/>
                </a:cubicBezTo>
                <a:cubicBezTo>
                  <a:pt x="2469" y="82"/>
                  <a:pt x="2470" y="82"/>
                  <a:pt x="2470" y="81"/>
                </a:cubicBezTo>
                <a:cubicBezTo>
                  <a:pt x="2470" y="80"/>
                  <a:pt x="2470" y="79"/>
                  <a:pt x="2469" y="78"/>
                </a:cubicBezTo>
                <a:cubicBezTo>
                  <a:pt x="2468" y="77"/>
                  <a:pt x="2466" y="76"/>
                  <a:pt x="2464" y="76"/>
                </a:cubicBezTo>
                <a:cubicBezTo>
                  <a:pt x="2463" y="76"/>
                  <a:pt x="2462" y="76"/>
                  <a:pt x="2461" y="77"/>
                </a:cubicBezTo>
                <a:cubicBezTo>
                  <a:pt x="2460" y="77"/>
                  <a:pt x="2459" y="77"/>
                  <a:pt x="2458" y="77"/>
                </a:cubicBezTo>
                <a:cubicBezTo>
                  <a:pt x="2457" y="78"/>
                  <a:pt x="2455" y="77"/>
                  <a:pt x="2454" y="78"/>
                </a:cubicBezTo>
                <a:cubicBezTo>
                  <a:pt x="2453" y="78"/>
                  <a:pt x="2452" y="79"/>
                  <a:pt x="2451" y="78"/>
                </a:cubicBezTo>
                <a:cubicBezTo>
                  <a:pt x="2450" y="78"/>
                  <a:pt x="2449" y="78"/>
                  <a:pt x="2449" y="78"/>
                </a:cubicBezTo>
                <a:cubicBezTo>
                  <a:pt x="2448" y="78"/>
                  <a:pt x="2447" y="78"/>
                  <a:pt x="2447" y="78"/>
                </a:cubicBezTo>
                <a:cubicBezTo>
                  <a:pt x="2446" y="78"/>
                  <a:pt x="2445" y="79"/>
                  <a:pt x="2445" y="78"/>
                </a:cubicBezTo>
                <a:cubicBezTo>
                  <a:pt x="2445" y="78"/>
                  <a:pt x="2446" y="78"/>
                  <a:pt x="2446" y="78"/>
                </a:cubicBezTo>
                <a:cubicBezTo>
                  <a:pt x="2446" y="77"/>
                  <a:pt x="2444" y="77"/>
                  <a:pt x="2444" y="77"/>
                </a:cubicBezTo>
                <a:cubicBezTo>
                  <a:pt x="2443" y="77"/>
                  <a:pt x="2442" y="78"/>
                  <a:pt x="2441" y="78"/>
                </a:cubicBezTo>
                <a:cubicBezTo>
                  <a:pt x="2440" y="79"/>
                  <a:pt x="2439" y="79"/>
                  <a:pt x="2438" y="80"/>
                </a:cubicBezTo>
                <a:cubicBezTo>
                  <a:pt x="2437" y="80"/>
                  <a:pt x="2436" y="82"/>
                  <a:pt x="2436" y="83"/>
                </a:cubicBezTo>
                <a:close/>
                <a:moveTo>
                  <a:pt x="2808" y="107"/>
                </a:moveTo>
                <a:cubicBezTo>
                  <a:pt x="2809" y="109"/>
                  <a:pt x="2812" y="109"/>
                  <a:pt x="2813" y="109"/>
                </a:cubicBezTo>
                <a:cubicBezTo>
                  <a:pt x="2815" y="108"/>
                  <a:pt x="2816" y="109"/>
                  <a:pt x="2818" y="108"/>
                </a:cubicBezTo>
                <a:cubicBezTo>
                  <a:pt x="2819" y="108"/>
                  <a:pt x="2819" y="108"/>
                  <a:pt x="2819" y="108"/>
                </a:cubicBezTo>
                <a:cubicBezTo>
                  <a:pt x="2820" y="108"/>
                  <a:pt x="2820" y="107"/>
                  <a:pt x="2821" y="107"/>
                </a:cubicBezTo>
                <a:cubicBezTo>
                  <a:pt x="2821" y="107"/>
                  <a:pt x="2821" y="107"/>
                  <a:pt x="2822" y="107"/>
                </a:cubicBezTo>
                <a:cubicBezTo>
                  <a:pt x="2822" y="107"/>
                  <a:pt x="2823" y="106"/>
                  <a:pt x="2823" y="106"/>
                </a:cubicBezTo>
                <a:cubicBezTo>
                  <a:pt x="2824" y="106"/>
                  <a:pt x="2824" y="105"/>
                  <a:pt x="2825" y="105"/>
                </a:cubicBezTo>
                <a:cubicBezTo>
                  <a:pt x="2826" y="105"/>
                  <a:pt x="2827" y="105"/>
                  <a:pt x="2828" y="104"/>
                </a:cubicBezTo>
                <a:cubicBezTo>
                  <a:pt x="2828" y="104"/>
                  <a:pt x="2828" y="104"/>
                  <a:pt x="2828" y="103"/>
                </a:cubicBezTo>
                <a:cubicBezTo>
                  <a:pt x="2829" y="103"/>
                  <a:pt x="2829" y="103"/>
                  <a:pt x="2829" y="103"/>
                </a:cubicBezTo>
                <a:cubicBezTo>
                  <a:pt x="2829" y="103"/>
                  <a:pt x="2829" y="102"/>
                  <a:pt x="2829" y="102"/>
                </a:cubicBezTo>
                <a:cubicBezTo>
                  <a:pt x="2829" y="102"/>
                  <a:pt x="2828" y="102"/>
                  <a:pt x="2828" y="102"/>
                </a:cubicBezTo>
                <a:cubicBezTo>
                  <a:pt x="2826" y="101"/>
                  <a:pt x="2825" y="100"/>
                  <a:pt x="2823" y="100"/>
                </a:cubicBezTo>
                <a:cubicBezTo>
                  <a:pt x="2821" y="100"/>
                  <a:pt x="2818" y="100"/>
                  <a:pt x="2816" y="99"/>
                </a:cubicBezTo>
                <a:cubicBezTo>
                  <a:pt x="2815" y="99"/>
                  <a:pt x="2814" y="99"/>
                  <a:pt x="2813" y="99"/>
                </a:cubicBezTo>
                <a:cubicBezTo>
                  <a:pt x="2811" y="99"/>
                  <a:pt x="2810" y="99"/>
                  <a:pt x="2809" y="99"/>
                </a:cubicBezTo>
                <a:cubicBezTo>
                  <a:pt x="2807" y="99"/>
                  <a:pt x="2805" y="99"/>
                  <a:pt x="2802" y="99"/>
                </a:cubicBezTo>
                <a:cubicBezTo>
                  <a:pt x="2802" y="99"/>
                  <a:pt x="2801" y="99"/>
                  <a:pt x="2800" y="99"/>
                </a:cubicBezTo>
                <a:cubicBezTo>
                  <a:pt x="2799" y="99"/>
                  <a:pt x="2798" y="98"/>
                  <a:pt x="2798" y="98"/>
                </a:cubicBezTo>
                <a:cubicBezTo>
                  <a:pt x="2797" y="98"/>
                  <a:pt x="2797" y="98"/>
                  <a:pt x="2797" y="98"/>
                </a:cubicBezTo>
                <a:cubicBezTo>
                  <a:pt x="2797" y="99"/>
                  <a:pt x="2798" y="99"/>
                  <a:pt x="2798" y="99"/>
                </a:cubicBezTo>
                <a:cubicBezTo>
                  <a:pt x="2798" y="100"/>
                  <a:pt x="2798" y="101"/>
                  <a:pt x="2798" y="102"/>
                </a:cubicBezTo>
                <a:cubicBezTo>
                  <a:pt x="2798" y="103"/>
                  <a:pt x="2798" y="104"/>
                  <a:pt x="2799" y="104"/>
                </a:cubicBezTo>
                <a:cubicBezTo>
                  <a:pt x="2800" y="104"/>
                  <a:pt x="2801" y="104"/>
                  <a:pt x="2802" y="105"/>
                </a:cubicBezTo>
                <a:cubicBezTo>
                  <a:pt x="2803" y="105"/>
                  <a:pt x="2805" y="105"/>
                  <a:pt x="2807" y="105"/>
                </a:cubicBezTo>
                <a:cubicBezTo>
                  <a:pt x="2807" y="105"/>
                  <a:pt x="2807" y="105"/>
                  <a:pt x="2808" y="105"/>
                </a:cubicBezTo>
                <a:cubicBezTo>
                  <a:pt x="2808" y="105"/>
                  <a:pt x="2809" y="105"/>
                  <a:pt x="2809" y="105"/>
                </a:cubicBezTo>
                <a:cubicBezTo>
                  <a:pt x="2809" y="106"/>
                  <a:pt x="2808" y="107"/>
                  <a:pt x="2808" y="107"/>
                </a:cubicBezTo>
                <a:close/>
                <a:moveTo>
                  <a:pt x="2471" y="55"/>
                </a:moveTo>
                <a:cubicBezTo>
                  <a:pt x="2471" y="56"/>
                  <a:pt x="2472" y="56"/>
                  <a:pt x="2472" y="56"/>
                </a:cubicBezTo>
                <a:cubicBezTo>
                  <a:pt x="2473" y="56"/>
                  <a:pt x="2474" y="56"/>
                  <a:pt x="2475" y="57"/>
                </a:cubicBezTo>
                <a:cubicBezTo>
                  <a:pt x="2476" y="57"/>
                  <a:pt x="2476" y="57"/>
                  <a:pt x="2477" y="57"/>
                </a:cubicBezTo>
                <a:cubicBezTo>
                  <a:pt x="2478" y="58"/>
                  <a:pt x="2479" y="58"/>
                  <a:pt x="2480" y="58"/>
                </a:cubicBezTo>
                <a:cubicBezTo>
                  <a:pt x="2481" y="58"/>
                  <a:pt x="2482" y="58"/>
                  <a:pt x="2483" y="58"/>
                </a:cubicBezTo>
                <a:cubicBezTo>
                  <a:pt x="2484" y="58"/>
                  <a:pt x="2485" y="58"/>
                  <a:pt x="2486" y="58"/>
                </a:cubicBezTo>
                <a:cubicBezTo>
                  <a:pt x="2486" y="57"/>
                  <a:pt x="2486" y="57"/>
                  <a:pt x="2486" y="57"/>
                </a:cubicBezTo>
                <a:cubicBezTo>
                  <a:pt x="2487" y="57"/>
                  <a:pt x="2487" y="56"/>
                  <a:pt x="2487" y="56"/>
                </a:cubicBezTo>
                <a:cubicBezTo>
                  <a:pt x="2488" y="55"/>
                  <a:pt x="2486" y="55"/>
                  <a:pt x="2486" y="55"/>
                </a:cubicBezTo>
                <a:cubicBezTo>
                  <a:pt x="2485" y="56"/>
                  <a:pt x="2484" y="55"/>
                  <a:pt x="2483" y="55"/>
                </a:cubicBezTo>
                <a:cubicBezTo>
                  <a:pt x="2482" y="55"/>
                  <a:pt x="2481" y="55"/>
                  <a:pt x="2480" y="55"/>
                </a:cubicBezTo>
                <a:cubicBezTo>
                  <a:pt x="2479" y="55"/>
                  <a:pt x="2478" y="55"/>
                  <a:pt x="2477" y="55"/>
                </a:cubicBezTo>
                <a:cubicBezTo>
                  <a:pt x="2476" y="55"/>
                  <a:pt x="2475" y="55"/>
                  <a:pt x="2474" y="55"/>
                </a:cubicBezTo>
                <a:cubicBezTo>
                  <a:pt x="2473" y="55"/>
                  <a:pt x="2472" y="55"/>
                  <a:pt x="2472" y="55"/>
                </a:cubicBezTo>
                <a:cubicBezTo>
                  <a:pt x="2471" y="55"/>
                  <a:pt x="2470" y="55"/>
                  <a:pt x="2470" y="54"/>
                </a:cubicBezTo>
                <a:cubicBezTo>
                  <a:pt x="2469" y="54"/>
                  <a:pt x="2469" y="55"/>
                  <a:pt x="2469" y="55"/>
                </a:cubicBezTo>
                <a:cubicBezTo>
                  <a:pt x="2470" y="55"/>
                  <a:pt x="2470" y="55"/>
                  <a:pt x="2471" y="55"/>
                </a:cubicBezTo>
                <a:close/>
                <a:moveTo>
                  <a:pt x="2449" y="75"/>
                </a:moveTo>
                <a:cubicBezTo>
                  <a:pt x="2450" y="75"/>
                  <a:pt x="2452" y="75"/>
                  <a:pt x="2453" y="75"/>
                </a:cubicBezTo>
                <a:cubicBezTo>
                  <a:pt x="2454" y="75"/>
                  <a:pt x="2455" y="76"/>
                  <a:pt x="2456" y="75"/>
                </a:cubicBezTo>
                <a:cubicBezTo>
                  <a:pt x="2457" y="75"/>
                  <a:pt x="2458" y="75"/>
                  <a:pt x="2459" y="74"/>
                </a:cubicBezTo>
                <a:cubicBezTo>
                  <a:pt x="2460" y="73"/>
                  <a:pt x="2461" y="73"/>
                  <a:pt x="2462" y="72"/>
                </a:cubicBezTo>
                <a:cubicBezTo>
                  <a:pt x="2463" y="72"/>
                  <a:pt x="2463" y="71"/>
                  <a:pt x="2463" y="71"/>
                </a:cubicBezTo>
                <a:cubicBezTo>
                  <a:pt x="2464" y="70"/>
                  <a:pt x="2463" y="70"/>
                  <a:pt x="2463" y="70"/>
                </a:cubicBezTo>
                <a:cubicBezTo>
                  <a:pt x="2462" y="70"/>
                  <a:pt x="2462" y="71"/>
                  <a:pt x="2461" y="71"/>
                </a:cubicBezTo>
                <a:cubicBezTo>
                  <a:pt x="2461" y="71"/>
                  <a:pt x="2460" y="71"/>
                  <a:pt x="2460" y="71"/>
                </a:cubicBezTo>
                <a:cubicBezTo>
                  <a:pt x="2459" y="71"/>
                  <a:pt x="2458" y="71"/>
                  <a:pt x="2458" y="71"/>
                </a:cubicBezTo>
                <a:cubicBezTo>
                  <a:pt x="2457" y="71"/>
                  <a:pt x="2457" y="72"/>
                  <a:pt x="2456" y="72"/>
                </a:cubicBezTo>
                <a:cubicBezTo>
                  <a:pt x="2455" y="72"/>
                  <a:pt x="2455" y="72"/>
                  <a:pt x="2454" y="72"/>
                </a:cubicBezTo>
                <a:cubicBezTo>
                  <a:pt x="2454" y="72"/>
                  <a:pt x="2453" y="72"/>
                  <a:pt x="2452" y="72"/>
                </a:cubicBezTo>
                <a:cubicBezTo>
                  <a:pt x="2451" y="72"/>
                  <a:pt x="2451" y="72"/>
                  <a:pt x="2450" y="73"/>
                </a:cubicBezTo>
                <a:cubicBezTo>
                  <a:pt x="2449" y="73"/>
                  <a:pt x="2448" y="73"/>
                  <a:pt x="2447" y="73"/>
                </a:cubicBezTo>
                <a:cubicBezTo>
                  <a:pt x="2447" y="73"/>
                  <a:pt x="2446" y="73"/>
                  <a:pt x="2446" y="73"/>
                </a:cubicBezTo>
                <a:cubicBezTo>
                  <a:pt x="2445" y="73"/>
                  <a:pt x="2448" y="75"/>
                  <a:pt x="2449" y="75"/>
                </a:cubicBezTo>
                <a:close/>
                <a:moveTo>
                  <a:pt x="2466" y="58"/>
                </a:moveTo>
                <a:cubicBezTo>
                  <a:pt x="2466" y="58"/>
                  <a:pt x="2467" y="58"/>
                  <a:pt x="2467" y="58"/>
                </a:cubicBezTo>
                <a:cubicBezTo>
                  <a:pt x="2468" y="58"/>
                  <a:pt x="2469" y="59"/>
                  <a:pt x="2469" y="58"/>
                </a:cubicBezTo>
                <a:cubicBezTo>
                  <a:pt x="2469" y="58"/>
                  <a:pt x="2467" y="58"/>
                  <a:pt x="2467" y="58"/>
                </a:cubicBezTo>
                <a:cubicBezTo>
                  <a:pt x="2466" y="57"/>
                  <a:pt x="2466" y="57"/>
                  <a:pt x="2465" y="57"/>
                </a:cubicBezTo>
                <a:cubicBezTo>
                  <a:pt x="2465" y="57"/>
                  <a:pt x="2463" y="57"/>
                  <a:pt x="2464" y="57"/>
                </a:cubicBezTo>
                <a:cubicBezTo>
                  <a:pt x="2464" y="58"/>
                  <a:pt x="2464" y="57"/>
                  <a:pt x="2465" y="58"/>
                </a:cubicBezTo>
                <a:cubicBezTo>
                  <a:pt x="2465" y="58"/>
                  <a:pt x="2465" y="58"/>
                  <a:pt x="2466" y="58"/>
                </a:cubicBezTo>
                <a:close/>
                <a:moveTo>
                  <a:pt x="3324" y="219"/>
                </a:moveTo>
                <a:cubicBezTo>
                  <a:pt x="3325" y="219"/>
                  <a:pt x="3325" y="220"/>
                  <a:pt x="3326" y="220"/>
                </a:cubicBezTo>
                <a:cubicBezTo>
                  <a:pt x="3327" y="220"/>
                  <a:pt x="3327" y="221"/>
                  <a:pt x="3328" y="221"/>
                </a:cubicBezTo>
                <a:cubicBezTo>
                  <a:pt x="3329" y="222"/>
                  <a:pt x="3330" y="222"/>
                  <a:pt x="3330" y="222"/>
                </a:cubicBezTo>
                <a:cubicBezTo>
                  <a:pt x="3331" y="223"/>
                  <a:pt x="3331" y="224"/>
                  <a:pt x="3331" y="224"/>
                </a:cubicBezTo>
                <a:cubicBezTo>
                  <a:pt x="3333" y="226"/>
                  <a:pt x="3335" y="225"/>
                  <a:pt x="3336" y="226"/>
                </a:cubicBezTo>
                <a:cubicBezTo>
                  <a:pt x="3337" y="226"/>
                  <a:pt x="3338" y="227"/>
                  <a:pt x="3339" y="227"/>
                </a:cubicBezTo>
                <a:cubicBezTo>
                  <a:pt x="3339" y="228"/>
                  <a:pt x="3340" y="228"/>
                  <a:pt x="3341" y="228"/>
                </a:cubicBezTo>
                <a:cubicBezTo>
                  <a:pt x="3342" y="228"/>
                  <a:pt x="3343" y="229"/>
                  <a:pt x="3344" y="229"/>
                </a:cubicBezTo>
                <a:cubicBezTo>
                  <a:pt x="3344" y="229"/>
                  <a:pt x="3345" y="229"/>
                  <a:pt x="3345" y="229"/>
                </a:cubicBezTo>
                <a:cubicBezTo>
                  <a:pt x="3346" y="229"/>
                  <a:pt x="3346" y="229"/>
                  <a:pt x="3346" y="230"/>
                </a:cubicBezTo>
                <a:cubicBezTo>
                  <a:pt x="3347" y="230"/>
                  <a:pt x="3347" y="230"/>
                  <a:pt x="3348" y="230"/>
                </a:cubicBezTo>
                <a:cubicBezTo>
                  <a:pt x="3348" y="229"/>
                  <a:pt x="3348" y="229"/>
                  <a:pt x="3348" y="229"/>
                </a:cubicBezTo>
                <a:cubicBezTo>
                  <a:pt x="3349" y="228"/>
                  <a:pt x="3350" y="228"/>
                  <a:pt x="3350" y="227"/>
                </a:cubicBezTo>
                <a:cubicBezTo>
                  <a:pt x="3351" y="227"/>
                  <a:pt x="3351" y="226"/>
                  <a:pt x="3351" y="225"/>
                </a:cubicBezTo>
                <a:cubicBezTo>
                  <a:pt x="3351" y="225"/>
                  <a:pt x="3352" y="225"/>
                  <a:pt x="3352" y="225"/>
                </a:cubicBezTo>
                <a:cubicBezTo>
                  <a:pt x="3352" y="224"/>
                  <a:pt x="3351" y="224"/>
                  <a:pt x="3351" y="224"/>
                </a:cubicBezTo>
                <a:cubicBezTo>
                  <a:pt x="3350" y="224"/>
                  <a:pt x="3351" y="223"/>
                  <a:pt x="3352" y="222"/>
                </a:cubicBezTo>
                <a:cubicBezTo>
                  <a:pt x="3352" y="222"/>
                  <a:pt x="3353" y="222"/>
                  <a:pt x="3354" y="222"/>
                </a:cubicBezTo>
                <a:cubicBezTo>
                  <a:pt x="3354" y="222"/>
                  <a:pt x="3355" y="223"/>
                  <a:pt x="3355" y="223"/>
                </a:cubicBezTo>
                <a:cubicBezTo>
                  <a:pt x="3355" y="223"/>
                  <a:pt x="3356" y="223"/>
                  <a:pt x="3356" y="224"/>
                </a:cubicBezTo>
                <a:cubicBezTo>
                  <a:pt x="3357" y="224"/>
                  <a:pt x="3356" y="225"/>
                  <a:pt x="3357" y="225"/>
                </a:cubicBezTo>
                <a:cubicBezTo>
                  <a:pt x="3358" y="226"/>
                  <a:pt x="3359" y="225"/>
                  <a:pt x="3359" y="225"/>
                </a:cubicBezTo>
                <a:cubicBezTo>
                  <a:pt x="3360" y="225"/>
                  <a:pt x="3361" y="225"/>
                  <a:pt x="3362" y="224"/>
                </a:cubicBezTo>
                <a:cubicBezTo>
                  <a:pt x="3363" y="224"/>
                  <a:pt x="3364" y="224"/>
                  <a:pt x="3364" y="224"/>
                </a:cubicBezTo>
                <a:cubicBezTo>
                  <a:pt x="3366" y="224"/>
                  <a:pt x="3367" y="224"/>
                  <a:pt x="3368" y="224"/>
                </a:cubicBezTo>
                <a:cubicBezTo>
                  <a:pt x="3369" y="223"/>
                  <a:pt x="3370" y="224"/>
                  <a:pt x="3371" y="223"/>
                </a:cubicBezTo>
                <a:cubicBezTo>
                  <a:pt x="3372" y="223"/>
                  <a:pt x="3372" y="223"/>
                  <a:pt x="3373" y="223"/>
                </a:cubicBezTo>
                <a:cubicBezTo>
                  <a:pt x="3373" y="222"/>
                  <a:pt x="3374" y="223"/>
                  <a:pt x="3374" y="223"/>
                </a:cubicBezTo>
                <a:cubicBezTo>
                  <a:pt x="3375" y="223"/>
                  <a:pt x="3375" y="222"/>
                  <a:pt x="3376" y="222"/>
                </a:cubicBezTo>
                <a:cubicBezTo>
                  <a:pt x="3377" y="221"/>
                  <a:pt x="3379" y="221"/>
                  <a:pt x="3380" y="221"/>
                </a:cubicBezTo>
                <a:cubicBezTo>
                  <a:pt x="3381" y="222"/>
                  <a:pt x="3381" y="222"/>
                  <a:pt x="3381" y="222"/>
                </a:cubicBezTo>
                <a:cubicBezTo>
                  <a:pt x="3382" y="222"/>
                  <a:pt x="3382" y="222"/>
                  <a:pt x="3383" y="222"/>
                </a:cubicBezTo>
                <a:cubicBezTo>
                  <a:pt x="3383" y="222"/>
                  <a:pt x="3383" y="222"/>
                  <a:pt x="3383" y="223"/>
                </a:cubicBezTo>
                <a:cubicBezTo>
                  <a:pt x="3383" y="223"/>
                  <a:pt x="3383" y="223"/>
                  <a:pt x="3382" y="223"/>
                </a:cubicBezTo>
                <a:cubicBezTo>
                  <a:pt x="3382" y="223"/>
                  <a:pt x="3382" y="223"/>
                  <a:pt x="3382" y="222"/>
                </a:cubicBezTo>
                <a:cubicBezTo>
                  <a:pt x="3381" y="222"/>
                  <a:pt x="3381" y="222"/>
                  <a:pt x="3380" y="222"/>
                </a:cubicBezTo>
                <a:cubicBezTo>
                  <a:pt x="3380" y="222"/>
                  <a:pt x="3380" y="222"/>
                  <a:pt x="3379" y="222"/>
                </a:cubicBezTo>
                <a:cubicBezTo>
                  <a:pt x="3378" y="222"/>
                  <a:pt x="3380" y="224"/>
                  <a:pt x="3380" y="224"/>
                </a:cubicBezTo>
                <a:cubicBezTo>
                  <a:pt x="3380" y="224"/>
                  <a:pt x="3381" y="225"/>
                  <a:pt x="3382" y="225"/>
                </a:cubicBezTo>
                <a:cubicBezTo>
                  <a:pt x="3382" y="225"/>
                  <a:pt x="3383" y="225"/>
                  <a:pt x="3384" y="225"/>
                </a:cubicBezTo>
                <a:cubicBezTo>
                  <a:pt x="3385" y="225"/>
                  <a:pt x="3385" y="226"/>
                  <a:pt x="3386" y="226"/>
                </a:cubicBezTo>
                <a:cubicBezTo>
                  <a:pt x="3387" y="225"/>
                  <a:pt x="3387" y="225"/>
                  <a:pt x="3388" y="224"/>
                </a:cubicBezTo>
                <a:cubicBezTo>
                  <a:pt x="3389" y="224"/>
                  <a:pt x="3390" y="224"/>
                  <a:pt x="3391" y="224"/>
                </a:cubicBezTo>
                <a:cubicBezTo>
                  <a:pt x="3392" y="224"/>
                  <a:pt x="3393" y="224"/>
                  <a:pt x="3394" y="224"/>
                </a:cubicBezTo>
                <a:cubicBezTo>
                  <a:pt x="3395" y="223"/>
                  <a:pt x="3396" y="224"/>
                  <a:pt x="3397" y="223"/>
                </a:cubicBezTo>
                <a:cubicBezTo>
                  <a:pt x="3398" y="223"/>
                  <a:pt x="3397" y="223"/>
                  <a:pt x="3397" y="222"/>
                </a:cubicBezTo>
                <a:cubicBezTo>
                  <a:pt x="3396" y="222"/>
                  <a:pt x="3395" y="222"/>
                  <a:pt x="3395" y="222"/>
                </a:cubicBezTo>
                <a:cubicBezTo>
                  <a:pt x="3394" y="221"/>
                  <a:pt x="3393" y="221"/>
                  <a:pt x="3392" y="221"/>
                </a:cubicBezTo>
                <a:cubicBezTo>
                  <a:pt x="3391" y="220"/>
                  <a:pt x="3390" y="221"/>
                  <a:pt x="3390" y="220"/>
                </a:cubicBezTo>
                <a:cubicBezTo>
                  <a:pt x="3389" y="220"/>
                  <a:pt x="3389" y="220"/>
                  <a:pt x="3388" y="220"/>
                </a:cubicBezTo>
                <a:cubicBezTo>
                  <a:pt x="3388" y="220"/>
                  <a:pt x="3388" y="220"/>
                  <a:pt x="3387" y="220"/>
                </a:cubicBezTo>
                <a:cubicBezTo>
                  <a:pt x="3385" y="219"/>
                  <a:pt x="3385" y="217"/>
                  <a:pt x="3384" y="215"/>
                </a:cubicBezTo>
                <a:cubicBezTo>
                  <a:pt x="3384" y="215"/>
                  <a:pt x="3383" y="215"/>
                  <a:pt x="3383" y="214"/>
                </a:cubicBezTo>
                <a:cubicBezTo>
                  <a:pt x="3383" y="214"/>
                  <a:pt x="3382" y="214"/>
                  <a:pt x="3382" y="214"/>
                </a:cubicBezTo>
                <a:cubicBezTo>
                  <a:pt x="3381" y="213"/>
                  <a:pt x="3381" y="213"/>
                  <a:pt x="3381" y="212"/>
                </a:cubicBezTo>
                <a:cubicBezTo>
                  <a:pt x="3381" y="211"/>
                  <a:pt x="3381" y="211"/>
                  <a:pt x="3380" y="210"/>
                </a:cubicBezTo>
                <a:cubicBezTo>
                  <a:pt x="3380" y="210"/>
                  <a:pt x="3380" y="208"/>
                  <a:pt x="3380" y="208"/>
                </a:cubicBezTo>
                <a:cubicBezTo>
                  <a:pt x="3381" y="207"/>
                  <a:pt x="3381" y="206"/>
                  <a:pt x="3382" y="206"/>
                </a:cubicBezTo>
                <a:cubicBezTo>
                  <a:pt x="3383" y="206"/>
                  <a:pt x="3383" y="206"/>
                  <a:pt x="3384" y="206"/>
                </a:cubicBezTo>
                <a:cubicBezTo>
                  <a:pt x="3384" y="206"/>
                  <a:pt x="3384" y="206"/>
                  <a:pt x="3384" y="205"/>
                </a:cubicBezTo>
                <a:cubicBezTo>
                  <a:pt x="3385" y="205"/>
                  <a:pt x="3385" y="205"/>
                  <a:pt x="3385" y="205"/>
                </a:cubicBezTo>
                <a:cubicBezTo>
                  <a:pt x="3386" y="205"/>
                  <a:pt x="3386" y="205"/>
                  <a:pt x="3387" y="205"/>
                </a:cubicBezTo>
                <a:cubicBezTo>
                  <a:pt x="3388" y="205"/>
                  <a:pt x="3388" y="205"/>
                  <a:pt x="3389" y="205"/>
                </a:cubicBezTo>
                <a:cubicBezTo>
                  <a:pt x="3390" y="206"/>
                  <a:pt x="3391" y="206"/>
                  <a:pt x="3391" y="207"/>
                </a:cubicBezTo>
                <a:cubicBezTo>
                  <a:pt x="3391" y="208"/>
                  <a:pt x="3389" y="208"/>
                  <a:pt x="3389" y="208"/>
                </a:cubicBezTo>
                <a:cubicBezTo>
                  <a:pt x="3388" y="209"/>
                  <a:pt x="3387" y="209"/>
                  <a:pt x="3386" y="210"/>
                </a:cubicBezTo>
                <a:cubicBezTo>
                  <a:pt x="3386" y="210"/>
                  <a:pt x="3385" y="211"/>
                  <a:pt x="3385" y="211"/>
                </a:cubicBezTo>
                <a:cubicBezTo>
                  <a:pt x="3384" y="212"/>
                  <a:pt x="3385" y="213"/>
                  <a:pt x="3385" y="214"/>
                </a:cubicBezTo>
                <a:cubicBezTo>
                  <a:pt x="3386" y="214"/>
                  <a:pt x="3387" y="215"/>
                  <a:pt x="3387" y="215"/>
                </a:cubicBezTo>
                <a:cubicBezTo>
                  <a:pt x="3387" y="217"/>
                  <a:pt x="3388" y="216"/>
                  <a:pt x="3389" y="217"/>
                </a:cubicBezTo>
                <a:cubicBezTo>
                  <a:pt x="3389" y="217"/>
                  <a:pt x="3389" y="218"/>
                  <a:pt x="3390" y="218"/>
                </a:cubicBezTo>
                <a:cubicBezTo>
                  <a:pt x="3390" y="218"/>
                  <a:pt x="3390" y="218"/>
                  <a:pt x="3391" y="219"/>
                </a:cubicBezTo>
                <a:cubicBezTo>
                  <a:pt x="3391" y="219"/>
                  <a:pt x="3392" y="219"/>
                  <a:pt x="3393" y="219"/>
                </a:cubicBezTo>
                <a:cubicBezTo>
                  <a:pt x="3394" y="220"/>
                  <a:pt x="3395" y="220"/>
                  <a:pt x="3396" y="220"/>
                </a:cubicBezTo>
                <a:cubicBezTo>
                  <a:pt x="3397" y="220"/>
                  <a:pt x="3397" y="219"/>
                  <a:pt x="3398" y="220"/>
                </a:cubicBezTo>
                <a:cubicBezTo>
                  <a:pt x="3399" y="220"/>
                  <a:pt x="3400" y="221"/>
                  <a:pt x="3401" y="221"/>
                </a:cubicBezTo>
                <a:cubicBezTo>
                  <a:pt x="3403" y="221"/>
                  <a:pt x="3405" y="220"/>
                  <a:pt x="3407" y="220"/>
                </a:cubicBezTo>
                <a:cubicBezTo>
                  <a:pt x="3408" y="219"/>
                  <a:pt x="3409" y="219"/>
                  <a:pt x="3409" y="218"/>
                </a:cubicBezTo>
                <a:cubicBezTo>
                  <a:pt x="3409" y="217"/>
                  <a:pt x="3409" y="217"/>
                  <a:pt x="3410" y="216"/>
                </a:cubicBezTo>
                <a:cubicBezTo>
                  <a:pt x="3410" y="216"/>
                  <a:pt x="3411" y="216"/>
                  <a:pt x="3411" y="216"/>
                </a:cubicBezTo>
                <a:cubicBezTo>
                  <a:pt x="3412" y="216"/>
                  <a:pt x="3412" y="215"/>
                  <a:pt x="3412" y="214"/>
                </a:cubicBezTo>
                <a:cubicBezTo>
                  <a:pt x="3411" y="213"/>
                  <a:pt x="3411" y="213"/>
                  <a:pt x="3411" y="212"/>
                </a:cubicBezTo>
                <a:cubicBezTo>
                  <a:pt x="3411" y="211"/>
                  <a:pt x="3412" y="211"/>
                  <a:pt x="3413" y="211"/>
                </a:cubicBezTo>
                <a:cubicBezTo>
                  <a:pt x="3414" y="210"/>
                  <a:pt x="3415" y="210"/>
                  <a:pt x="3415" y="210"/>
                </a:cubicBezTo>
                <a:cubicBezTo>
                  <a:pt x="3416" y="210"/>
                  <a:pt x="3416" y="210"/>
                  <a:pt x="3417" y="210"/>
                </a:cubicBezTo>
                <a:cubicBezTo>
                  <a:pt x="3417" y="210"/>
                  <a:pt x="3418" y="210"/>
                  <a:pt x="3417" y="209"/>
                </a:cubicBezTo>
                <a:cubicBezTo>
                  <a:pt x="3417" y="209"/>
                  <a:pt x="3416" y="209"/>
                  <a:pt x="3416" y="209"/>
                </a:cubicBezTo>
                <a:cubicBezTo>
                  <a:pt x="3416" y="208"/>
                  <a:pt x="3415" y="208"/>
                  <a:pt x="3415" y="208"/>
                </a:cubicBezTo>
                <a:cubicBezTo>
                  <a:pt x="3415" y="207"/>
                  <a:pt x="3414" y="207"/>
                  <a:pt x="3413" y="207"/>
                </a:cubicBezTo>
                <a:cubicBezTo>
                  <a:pt x="3412" y="207"/>
                  <a:pt x="3411" y="206"/>
                  <a:pt x="3410" y="206"/>
                </a:cubicBezTo>
                <a:cubicBezTo>
                  <a:pt x="3409" y="205"/>
                  <a:pt x="3408" y="205"/>
                  <a:pt x="3406" y="205"/>
                </a:cubicBezTo>
                <a:cubicBezTo>
                  <a:pt x="3405" y="204"/>
                  <a:pt x="3404" y="204"/>
                  <a:pt x="3403" y="203"/>
                </a:cubicBezTo>
                <a:cubicBezTo>
                  <a:pt x="3402" y="203"/>
                  <a:pt x="3401" y="202"/>
                  <a:pt x="3400" y="202"/>
                </a:cubicBezTo>
                <a:cubicBezTo>
                  <a:pt x="3399" y="202"/>
                  <a:pt x="3398" y="201"/>
                  <a:pt x="3397" y="201"/>
                </a:cubicBezTo>
                <a:cubicBezTo>
                  <a:pt x="3396" y="201"/>
                  <a:pt x="3395" y="201"/>
                  <a:pt x="3394" y="201"/>
                </a:cubicBezTo>
                <a:cubicBezTo>
                  <a:pt x="3394" y="200"/>
                  <a:pt x="3393" y="200"/>
                  <a:pt x="3392" y="200"/>
                </a:cubicBezTo>
                <a:cubicBezTo>
                  <a:pt x="3391" y="199"/>
                  <a:pt x="3390" y="199"/>
                  <a:pt x="3389" y="199"/>
                </a:cubicBezTo>
                <a:cubicBezTo>
                  <a:pt x="3387" y="199"/>
                  <a:pt x="3385" y="198"/>
                  <a:pt x="3383" y="198"/>
                </a:cubicBezTo>
                <a:cubicBezTo>
                  <a:pt x="3382" y="198"/>
                  <a:pt x="3381" y="198"/>
                  <a:pt x="3380" y="198"/>
                </a:cubicBezTo>
                <a:cubicBezTo>
                  <a:pt x="3380" y="197"/>
                  <a:pt x="3380" y="197"/>
                  <a:pt x="3379" y="197"/>
                </a:cubicBezTo>
                <a:cubicBezTo>
                  <a:pt x="3378" y="197"/>
                  <a:pt x="3377" y="197"/>
                  <a:pt x="3377" y="196"/>
                </a:cubicBezTo>
                <a:cubicBezTo>
                  <a:pt x="3376" y="195"/>
                  <a:pt x="3375" y="195"/>
                  <a:pt x="3374" y="195"/>
                </a:cubicBezTo>
                <a:cubicBezTo>
                  <a:pt x="3373" y="195"/>
                  <a:pt x="3373" y="194"/>
                  <a:pt x="3373" y="194"/>
                </a:cubicBezTo>
                <a:cubicBezTo>
                  <a:pt x="3373" y="193"/>
                  <a:pt x="3372" y="194"/>
                  <a:pt x="3372" y="194"/>
                </a:cubicBezTo>
                <a:cubicBezTo>
                  <a:pt x="3372" y="195"/>
                  <a:pt x="3372" y="196"/>
                  <a:pt x="3373" y="196"/>
                </a:cubicBezTo>
                <a:cubicBezTo>
                  <a:pt x="3373" y="197"/>
                  <a:pt x="3374" y="197"/>
                  <a:pt x="3374" y="198"/>
                </a:cubicBezTo>
                <a:cubicBezTo>
                  <a:pt x="3374" y="199"/>
                  <a:pt x="3373" y="199"/>
                  <a:pt x="3373" y="198"/>
                </a:cubicBezTo>
                <a:cubicBezTo>
                  <a:pt x="3372" y="198"/>
                  <a:pt x="3372" y="198"/>
                  <a:pt x="3371" y="198"/>
                </a:cubicBezTo>
                <a:cubicBezTo>
                  <a:pt x="3371" y="198"/>
                  <a:pt x="3371" y="198"/>
                  <a:pt x="3370" y="198"/>
                </a:cubicBezTo>
                <a:cubicBezTo>
                  <a:pt x="3370" y="198"/>
                  <a:pt x="3369" y="198"/>
                  <a:pt x="3369" y="198"/>
                </a:cubicBezTo>
                <a:cubicBezTo>
                  <a:pt x="3368" y="198"/>
                  <a:pt x="3367" y="198"/>
                  <a:pt x="3366" y="199"/>
                </a:cubicBezTo>
                <a:cubicBezTo>
                  <a:pt x="3366" y="199"/>
                  <a:pt x="3366" y="200"/>
                  <a:pt x="3366" y="201"/>
                </a:cubicBezTo>
                <a:cubicBezTo>
                  <a:pt x="3367" y="202"/>
                  <a:pt x="3366" y="203"/>
                  <a:pt x="3366" y="204"/>
                </a:cubicBezTo>
                <a:cubicBezTo>
                  <a:pt x="3366" y="204"/>
                  <a:pt x="3366" y="205"/>
                  <a:pt x="3367" y="205"/>
                </a:cubicBezTo>
                <a:cubicBezTo>
                  <a:pt x="3367" y="205"/>
                  <a:pt x="3368" y="205"/>
                  <a:pt x="3368" y="206"/>
                </a:cubicBezTo>
                <a:cubicBezTo>
                  <a:pt x="3368" y="206"/>
                  <a:pt x="3368" y="207"/>
                  <a:pt x="3368" y="207"/>
                </a:cubicBezTo>
                <a:cubicBezTo>
                  <a:pt x="3368" y="207"/>
                  <a:pt x="3367" y="207"/>
                  <a:pt x="3367" y="207"/>
                </a:cubicBezTo>
                <a:cubicBezTo>
                  <a:pt x="3366" y="207"/>
                  <a:pt x="3366" y="207"/>
                  <a:pt x="3365" y="207"/>
                </a:cubicBezTo>
                <a:cubicBezTo>
                  <a:pt x="3365" y="207"/>
                  <a:pt x="3365" y="207"/>
                  <a:pt x="3364" y="207"/>
                </a:cubicBezTo>
                <a:cubicBezTo>
                  <a:pt x="3364" y="206"/>
                  <a:pt x="3364" y="206"/>
                  <a:pt x="3363" y="206"/>
                </a:cubicBezTo>
                <a:cubicBezTo>
                  <a:pt x="3363" y="205"/>
                  <a:pt x="3363" y="205"/>
                  <a:pt x="3363" y="204"/>
                </a:cubicBezTo>
                <a:cubicBezTo>
                  <a:pt x="3363" y="203"/>
                  <a:pt x="3362" y="203"/>
                  <a:pt x="3360" y="203"/>
                </a:cubicBezTo>
                <a:cubicBezTo>
                  <a:pt x="3360" y="203"/>
                  <a:pt x="3359" y="203"/>
                  <a:pt x="3359" y="203"/>
                </a:cubicBezTo>
                <a:cubicBezTo>
                  <a:pt x="3358" y="203"/>
                  <a:pt x="3357" y="203"/>
                  <a:pt x="3356" y="203"/>
                </a:cubicBezTo>
                <a:cubicBezTo>
                  <a:pt x="3356" y="202"/>
                  <a:pt x="3356" y="202"/>
                  <a:pt x="3355" y="202"/>
                </a:cubicBezTo>
                <a:cubicBezTo>
                  <a:pt x="3355" y="201"/>
                  <a:pt x="3354" y="200"/>
                  <a:pt x="3353" y="200"/>
                </a:cubicBezTo>
                <a:cubicBezTo>
                  <a:pt x="3352" y="199"/>
                  <a:pt x="3351" y="199"/>
                  <a:pt x="3350" y="198"/>
                </a:cubicBezTo>
                <a:cubicBezTo>
                  <a:pt x="3350" y="198"/>
                  <a:pt x="3350" y="198"/>
                  <a:pt x="3350" y="197"/>
                </a:cubicBezTo>
                <a:cubicBezTo>
                  <a:pt x="3349" y="197"/>
                  <a:pt x="3349" y="196"/>
                  <a:pt x="3349" y="196"/>
                </a:cubicBezTo>
                <a:cubicBezTo>
                  <a:pt x="3348" y="196"/>
                  <a:pt x="3347" y="196"/>
                  <a:pt x="3346" y="195"/>
                </a:cubicBezTo>
                <a:cubicBezTo>
                  <a:pt x="3346" y="194"/>
                  <a:pt x="3345" y="193"/>
                  <a:pt x="3344" y="194"/>
                </a:cubicBezTo>
                <a:cubicBezTo>
                  <a:pt x="3344" y="194"/>
                  <a:pt x="3343" y="194"/>
                  <a:pt x="3343" y="194"/>
                </a:cubicBezTo>
                <a:cubicBezTo>
                  <a:pt x="3343" y="195"/>
                  <a:pt x="3342" y="195"/>
                  <a:pt x="3342" y="195"/>
                </a:cubicBezTo>
                <a:cubicBezTo>
                  <a:pt x="3341" y="195"/>
                  <a:pt x="3341" y="195"/>
                  <a:pt x="3341" y="195"/>
                </a:cubicBezTo>
                <a:cubicBezTo>
                  <a:pt x="3340" y="196"/>
                  <a:pt x="3340" y="197"/>
                  <a:pt x="3339" y="196"/>
                </a:cubicBezTo>
                <a:cubicBezTo>
                  <a:pt x="3339" y="196"/>
                  <a:pt x="3338" y="196"/>
                  <a:pt x="3338" y="196"/>
                </a:cubicBezTo>
                <a:cubicBezTo>
                  <a:pt x="3338" y="195"/>
                  <a:pt x="3338" y="195"/>
                  <a:pt x="3337" y="195"/>
                </a:cubicBezTo>
                <a:cubicBezTo>
                  <a:pt x="3336" y="195"/>
                  <a:pt x="3335" y="195"/>
                  <a:pt x="3335" y="196"/>
                </a:cubicBezTo>
                <a:cubicBezTo>
                  <a:pt x="3334" y="196"/>
                  <a:pt x="3334" y="196"/>
                  <a:pt x="3334" y="197"/>
                </a:cubicBezTo>
                <a:cubicBezTo>
                  <a:pt x="3334" y="197"/>
                  <a:pt x="3334" y="198"/>
                  <a:pt x="3333" y="198"/>
                </a:cubicBezTo>
                <a:cubicBezTo>
                  <a:pt x="3333" y="198"/>
                  <a:pt x="3333" y="198"/>
                  <a:pt x="3332" y="198"/>
                </a:cubicBezTo>
                <a:cubicBezTo>
                  <a:pt x="3331" y="198"/>
                  <a:pt x="3331" y="198"/>
                  <a:pt x="3330" y="198"/>
                </a:cubicBezTo>
                <a:cubicBezTo>
                  <a:pt x="3329" y="198"/>
                  <a:pt x="3329" y="198"/>
                  <a:pt x="3329" y="199"/>
                </a:cubicBezTo>
                <a:cubicBezTo>
                  <a:pt x="3328" y="199"/>
                  <a:pt x="3328" y="199"/>
                  <a:pt x="3328" y="199"/>
                </a:cubicBezTo>
                <a:cubicBezTo>
                  <a:pt x="3327" y="199"/>
                  <a:pt x="3327" y="199"/>
                  <a:pt x="3327" y="199"/>
                </a:cubicBezTo>
                <a:cubicBezTo>
                  <a:pt x="3326" y="200"/>
                  <a:pt x="3326" y="200"/>
                  <a:pt x="3327" y="200"/>
                </a:cubicBezTo>
                <a:cubicBezTo>
                  <a:pt x="3327" y="200"/>
                  <a:pt x="3327" y="200"/>
                  <a:pt x="3327" y="201"/>
                </a:cubicBezTo>
                <a:cubicBezTo>
                  <a:pt x="3327" y="201"/>
                  <a:pt x="3327" y="201"/>
                  <a:pt x="3327" y="202"/>
                </a:cubicBezTo>
                <a:cubicBezTo>
                  <a:pt x="3327" y="202"/>
                  <a:pt x="3328" y="202"/>
                  <a:pt x="3328" y="202"/>
                </a:cubicBezTo>
                <a:cubicBezTo>
                  <a:pt x="3328" y="203"/>
                  <a:pt x="3328" y="203"/>
                  <a:pt x="3327" y="203"/>
                </a:cubicBezTo>
                <a:cubicBezTo>
                  <a:pt x="3327" y="203"/>
                  <a:pt x="3327" y="203"/>
                  <a:pt x="3327" y="203"/>
                </a:cubicBezTo>
                <a:cubicBezTo>
                  <a:pt x="3327" y="203"/>
                  <a:pt x="3326" y="203"/>
                  <a:pt x="3326" y="203"/>
                </a:cubicBezTo>
                <a:cubicBezTo>
                  <a:pt x="3325" y="204"/>
                  <a:pt x="3325" y="203"/>
                  <a:pt x="3324" y="204"/>
                </a:cubicBezTo>
                <a:cubicBezTo>
                  <a:pt x="3324" y="204"/>
                  <a:pt x="3323" y="205"/>
                  <a:pt x="3323" y="205"/>
                </a:cubicBezTo>
                <a:cubicBezTo>
                  <a:pt x="3323" y="206"/>
                  <a:pt x="3322" y="206"/>
                  <a:pt x="3322" y="207"/>
                </a:cubicBezTo>
                <a:cubicBezTo>
                  <a:pt x="3322" y="207"/>
                  <a:pt x="3322" y="207"/>
                  <a:pt x="3322" y="208"/>
                </a:cubicBezTo>
                <a:cubicBezTo>
                  <a:pt x="3322" y="208"/>
                  <a:pt x="3322" y="207"/>
                  <a:pt x="3323" y="207"/>
                </a:cubicBezTo>
                <a:cubicBezTo>
                  <a:pt x="3323" y="207"/>
                  <a:pt x="3323" y="207"/>
                  <a:pt x="3324" y="207"/>
                </a:cubicBezTo>
                <a:cubicBezTo>
                  <a:pt x="3324" y="207"/>
                  <a:pt x="3324" y="208"/>
                  <a:pt x="3324" y="209"/>
                </a:cubicBezTo>
                <a:cubicBezTo>
                  <a:pt x="3324" y="209"/>
                  <a:pt x="3325" y="209"/>
                  <a:pt x="3325" y="209"/>
                </a:cubicBezTo>
                <a:cubicBezTo>
                  <a:pt x="3325" y="210"/>
                  <a:pt x="3325" y="210"/>
                  <a:pt x="3325" y="210"/>
                </a:cubicBezTo>
                <a:cubicBezTo>
                  <a:pt x="3324" y="211"/>
                  <a:pt x="3324" y="211"/>
                  <a:pt x="3324" y="211"/>
                </a:cubicBezTo>
                <a:cubicBezTo>
                  <a:pt x="3324" y="211"/>
                  <a:pt x="3323" y="211"/>
                  <a:pt x="3323" y="211"/>
                </a:cubicBezTo>
                <a:cubicBezTo>
                  <a:pt x="3323" y="211"/>
                  <a:pt x="3324" y="212"/>
                  <a:pt x="3324" y="212"/>
                </a:cubicBezTo>
                <a:cubicBezTo>
                  <a:pt x="3324" y="212"/>
                  <a:pt x="3325" y="212"/>
                  <a:pt x="3325" y="213"/>
                </a:cubicBezTo>
                <a:cubicBezTo>
                  <a:pt x="3326" y="213"/>
                  <a:pt x="3325" y="214"/>
                  <a:pt x="3324" y="214"/>
                </a:cubicBezTo>
                <a:cubicBezTo>
                  <a:pt x="3323" y="213"/>
                  <a:pt x="3323" y="213"/>
                  <a:pt x="3322" y="213"/>
                </a:cubicBezTo>
                <a:cubicBezTo>
                  <a:pt x="3322" y="212"/>
                  <a:pt x="3321" y="212"/>
                  <a:pt x="3321" y="212"/>
                </a:cubicBezTo>
                <a:cubicBezTo>
                  <a:pt x="3320" y="213"/>
                  <a:pt x="3321" y="214"/>
                  <a:pt x="3321" y="215"/>
                </a:cubicBezTo>
                <a:cubicBezTo>
                  <a:pt x="3322" y="216"/>
                  <a:pt x="3323" y="217"/>
                  <a:pt x="3324" y="219"/>
                </a:cubicBezTo>
                <a:close/>
                <a:moveTo>
                  <a:pt x="3674" y="334"/>
                </a:moveTo>
                <a:cubicBezTo>
                  <a:pt x="3675" y="334"/>
                  <a:pt x="3675" y="334"/>
                  <a:pt x="3676" y="334"/>
                </a:cubicBezTo>
                <a:cubicBezTo>
                  <a:pt x="3677" y="335"/>
                  <a:pt x="3677" y="335"/>
                  <a:pt x="3678" y="336"/>
                </a:cubicBezTo>
                <a:cubicBezTo>
                  <a:pt x="3678" y="336"/>
                  <a:pt x="3679" y="336"/>
                  <a:pt x="3679" y="336"/>
                </a:cubicBezTo>
                <a:cubicBezTo>
                  <a:pt x="3679" y="336"/>
                  <a:pt x="3680" y="336"/>
                  <a:pt x="3680" y="337"/>
                </a:cubicBezTo>
                <a:cubicBezTo>
                  <a:pt x="3681" y="337"/>
                  <a:pt x="3681" y="337"/>
                  <a:pt x="3682" y="337"/>
                </a:cubicBezTo>
                <a:cubicBezTo>
                  <a:pt x="3683" y="337"/>
                  <a:pt x="3684" y="337"/>
                  <a:pt x="3685" y="338"/>
                </a:cubicBezTo>
                <a:cubicBezTo>
                  <a:pt x="3685" y="338"/>
                  <a:pt x="3686" y="338"/>
                  <a:pt x="3687" y="338"/>
                </a:cubicBezTo>
                <a:cubicBezTo>
                  <a:pt x="3688" y="338"/>
                  <a:pt x="3689" y="338"/>
                  <a:pt x="3689" y="337"/>
                </a:cubicBezTo>
                <a:cubicBezTo>
                  <a:pt x="3690" y="337"/>
                  <a:pt x="3690" y="336"/>
                  <a:pt x="3691" y="336"/>
                </a:cubicBezTo>
                <a:cubicBezTo>
                  <a:pt x="3691" y="335"/>
                  <a:pt x="3691" y="335"/>
                  <a:pt x="3691" y="334"/>
                </a:cubicBezTo>
                <a:cubicBezTo>
                  <a:pt x="3691" y="334"/>
                  <a:pt x="3691" y="334"/>
                  <a:pt x="3691" y="333"/>
                </a:cubicBezTo>
                <a:cubicBezTo>
                  <a:pt x="3692" y="333"/>
                  <a:pt x="3691" y="332"/>
                  <a:pt x="3691" y="331"/>
                </a:cubicBezTo>
                <a:cubicBezTo>
                  <a:pt x="3690" y="331"/>
                  <a:pt x="3689" y="331"/>
                  <a:pt x="3688" y="331"/>
                </a:cubicBezTo>
                <a:cubicBezTo>
                  <a:pt x="3688" y="331"/>
                  <a:pt x="3688" y="331"/>
                  <a:pt x="3687" y="331"/>
                </a:cubicBezTo>
                <a:cubicBezTo>
                  <a:pt x="3687" y="331"/>
                  <a:pt x="3687" y="330"/>
                  <a:pt x="3686" y="330"/>
                </a:cubicBezTo>
                <a:cubicBezTo>
                  <a:pt x="3685" y="330"/>
                  <a:pt x="3685" y="330"/>
                  <a:pt x="3684" y="330"/>
                </a:cubicBezTo>
                <a:cubicBezTo>
                  <a:pt x="3683" y="330"/>
                  <a:pt x="3683" y="330"/>
                  <a:pt x="3682" y="329"/>
                </a:cubicBezTo>
                <a:cubicBezTo>
                  <a:pt x="3681" y="328"/>
                  <a:pt x="3678" y="328"/>
                  <a:pt x="3677" y="329"/>
                </a:cubicBezTo>
                <a:cubicBezTo>
                  <a:pt x="3677" y="329"/>
                  <a:pt x="3676" y="330"/>
                  <a:pt x="3676" y="330"/>
                </a:cubicBezTo>
                <a:cubicBezTo>
                  <a:pt x="3675" y="330"/>
                  <a:pt x="3675" y="330"/>
                  <a:pt x="3674" y="331"/>
                </a:cubicBezTo>
                <a:cubicBezTo>
                  <a:pt x="3674" y="332"/>
                  <a:pt x="3673" y="332"/>
                  <a:pt x="3673" y="333"/>
                </a:cubicBezTo>
                <a:cubicBezTo>
                  <a:pt x="3672" y="334"/>
                  <a:pt x="3673" y="334"/>
                  <a:pt x="3674" y="334"/>
                </a:cubicBezTo>
                <a:close/>
                <a:moveTo>
                  <a:pt x="2400" y="82"/>
                </a:moveTo>
                <a:cubicBezTo>
                  <a:pt x="2401" y="82"/>
                  <a:pt x="2402" y="82"/>
                  <a:pt x="2403" y="83"/>
                </a:cubicBezTo>
                <a:cubicBezTo>
                  <a:pt x="2404" y="84"/>
                  <a:pt x="2405" y="84"/>
                  <a:pt x="2406" y="83"/>
                </a:cubicBezTo>
                <a:cubicBezTo>
                  <a:pt x="2406" y="83"/>
                  <a:pt x="2407" y="83"/>
                  <a:pt x="2407" y="83"/>
                </a:cubicBezTo>
                <a:cubicBezTo>
                  <a:pt x="2407" y="82"/>
                  <a:pt x="2408" y="82"/>
                  <a:pt x="2408" y="82"/>
                </a:cubicBezTo>
                <a:cubicBezTo>
                  <a:pt x="2409" y="82"/>
                  <a:pt x="2409" y="82"/>
                  <a:pt x="2409" y="82"/>
                </a:cubicBezTo>
                <a:cubicBezTo>
                  <a:pt x="2409" y="81"/>
                  <a:pt x="2408" y="82"/>
                  <a:pt x="2408" y="82"/>
                </a:cubicBezTo>
                <a:cubicBezTo>
                  <a:pt x="2407" y="82"/>
                  <a:pt x="2406" y="81"/>
                  <a:pt x="2405" y="81"/>
                </a:cubicBezTo>
                <a:cubicBezTo>
                  <a:pt x="2404" y="81"/>
                  <a:pt x="2403" y="81"/>
                  <a:pt x="2402" y="81"/>
                </a:cubicBezTo>
                <a:cubicBezTo>
                  <a:pt x="2401" y="81"/>
                  <a:pt x="2400" y="81"/>
                  <a:pt x="2400" y="81"/>
                </a:cubicBezTo>
                <a:cubicBezTo>
                  <a:pt x="2399" y="81"/>
                  <a:pt x="2398" y="81"/>
                  <a:pt x="2397" y="81"/>
                </a:cubicBezTo>
                <a:cubicBezTo>
                  <a:pt x="2396" y="81"/>
                  <a:pt x="2395" y="81"/>
                  <a:pt x="2394" y="81"/>
                </a:cubicBezTo>
                <a:cubicBezTo>
                  <a:pt x="2394" y="81"/>
                  <a:pt x="2393" y="81"/>
                  <a:pt x="2393" y="81"/>
                </a:cubicBezTo>
                <a:cubicBezTo>
                  <a:pt x="2393" y="81"/>
                  <a:pt x="2394" y="81"/>
                  <a:pt x="2394" y="81"/>
                </a:cubicBezTo>
                <a:cubicBezTo>
                  <a:pt x="2395" y="81"/>
                  <a:pt x="2395" y="81"/>
                  <a:pt x="2395" y="82"/>
                </a:cubicBezTo>
                <a:cubicBezTo>
                  <a:pt x="2396" y="82"/>
                  <a:pt x="2396" y="83"/>
                  <a:pt x="2396" y="83"/>
                </a:cubicBezTo>
                <a:cubicBezTo>
                  <a:pt x="2396" y="83"/>
                  <a:pt x="2397" y="83"/>
                  <a:pt x="2397" y="83"/>
                </a:cubicBezTo>
                <a:cubicBezTo>
                  <a:pt x="2398" y="83"/>
                  <a:pt x="2399" y="83"/>
                  <a:pt x="2400" y="82"/>
                </a:cubicBezTo>
                <a:close/>
                <a:moveTo>
                  <a:pt x="2876" y="97"/>
                </a:moveTo>
                <a:cubicBezTo>
                  <a:pt x="2875" y="97"/>
                  <a:pt x="2875" y="96"/>
                  <a:pt x="2874" y="96"/>
                </a:cubicBezTo>
                <a:cubicBezTo>
                  <a:pt x="2873" y="96"/>
                  <a:pt x="2871" y="95"/>
                  <a:pt x="2870" y="95"/>
                </a:cubicBezTo>
                <a:cubicBezTo>
                  <a:pt x="2869" y="95"/>
                  <a:pt x="2868" y="95"/>
                  <a:pt x="2867" y="95"/>
                </a:cubicBezTo>
                <a:cubicBezTo>
                  <a:pt x="2865" y="96"/>
                  <a:pt x="2864" y="96"/>
                  <a:pt x="2863" y="97"/>
                </a:cubicBezTo>
                <a:cubicBezTo>
                  <a:pt x="2862" y="97"/>
                  <a:pt x="2862" y="97"/>
                  <a:pt x="2861" y="97"/>
                </a:cubicBezTo>
                <a:cubicBezTo>
                  <a:pt x="2860" y="97"/>
                  <a:pt x="2859" y="98"/>
                  <a:pt x="2858" y="97"/>
                </a:cubicBezTo>
                <a:cubicBezTo>
                  <a:pt x="2858" y="97"/>
                  <a:pt x="2858" y="97"/>
                  <a:pt x="2857" y="97"/>
                </a:cubicBezTo>
                <a:cubicBezTo>
                  <a:pt x="2857" y="97"/>
                  <a:pt x="2857" y="97"/>
                  <a:pt x="2856" y="97"/>
                </a:cubicBezTo>
                <a:cubicBezTo>
                  <a:pt x="2855" y="98"/>
                  <a:pt x="2855" y="97"/>
                  <a:pt x="2854" y="97"/>
                </a:cubicBezTo>
                <a:cubicBezTo>
                  <a:pt x="2853" y="97"/>
                  <a:pt x="2852" y="97"/>
                  <a:pt x="2851" y="97"/>
                </a:cubicBezTo>
                <a:cubicBezTo>
                  <a:pt x="2851" y="97"/>
                  <a:pt x="2850" y="97"/>
                  <a:pt x="2849" y="97"/>
                </a:cubicBezTo>
                <a:cubicBezTo>
                  <a:pt x="2848" y="97"/>
                  <a:pt x="2847" y="97"/>
                  <a:pt x="2847" y="98"/>
                </a:cubicBezTo>
                <a:cubicBezTo>
                  <a:pt x="2847" y="98"/>
                  <a:pt x="2846" y="100"/>
                  <a:pt x="2845" y="99"/>
                </a:cubicBezTo>
                <a:cubicBezTo>
                  <a:pt x="2845" y="99"/>
                  <a:pt x="2844" y="98"/>
                  <a:pt x="2843" y="98"/>
                </a:cubicBezTo>
                <a:cubicBezTo>
                  <a:pt x="2843" y="97"/>
                  <a:pt x="2842" y="98"/>
                  <a:pt x="2841" y="98"/>
                </a:cubicBezTo>
                <a:cubicBezTo>
                  <a:pt x="2841" y="99"/>
                  <a:pt x="2841" y="99"/>
                  <a:pt x="2840" y="99"/>
                </a:cubicBezTo>
                <a:cubicBezTo>
                  <a:pt x="2840" y="100"/>
                  <a:pt x="2840" y="100"/>
                  <a:pt x="2839" y="100"/>
                </a:cubicBezTo>
                <a:cubicBezTo>
                  <a:pt x="2839" y="100"/>
                  <a:pt x="2838" y="100"/>
                  <a:pt x="2837" y="100"/>
                </a:cubicBezTo>
                <a:cubicBezTo>
                  <a:pt x="2837" y="100"/>
                  <a:pt x="2836" y="100"/>
                  <a:pt x="2836" y="100"/>
                </a:cubicBezTo>
                <a:cubicBezTo>
                  <a:pt x="2836" y="101"/>
                  <a:pt x="2836" y="101"/>
                  <a:pt x="2835" y="101"/>
                </a:cubicBezTo>
                <a:cubicBezTo>
                  <a:pt x="2835" y="101"/>
                  <a:pt x="2835" y="102"/>
                  <a:pt x="2834" y="102"/>
                </a:cubicBezTo>
                <a:cubicBezTo>
                  <a:pt x="2834" y="103"/>
                  <a:pt x="2835" y="103"/>
                  <a:pt x="2835" y="103"/>
                </a:cubicBezTo>
                <a:cubicBezTo>
                  <a:pt x="2836" y="103"/>
                  <a:pt x="2836" y="104"/>
                  <a:pt x="2836" y="104"/>
                </a:cubicBezTo>
                <a:cubicBezTo>
                  <a:pt x="2836" y="104"/>
                  <a:pt x="2837" y="104"/>
                  <a:pt x="2837" y="104"/>
                </a:cubicBezTo>
                <a:cubicBezTo>
                  <a:pt x="2837" y="105"/>
                  <a:pt x="2837" y="105"/>
                  <a:pt x="2836" y="105"/>
                </a:cubicBezTo>
                <a:cubicBezTo>
                  <a:pt x="2836" y="105"/>
                  <a:pt x="2835" y="105"/>
                  <a:pt x="2835" y="105"/>
                </a:cubicBezTo>
                <a:cubicBezTo>
                  <a:pt x="2835" y="105"/>
                  <a:pt x="2834" y="106"/>
                  <a:pt x="2834" y="106"/>
                </a:cubicBezTo>
                <a:cubicBezTo>
                  <a:pt x="2833" y="106"/>
                  <a:pt x="2833" y="106"/>
                  <a:pt x="2832" y="106"/>
                </a:cubicBezTo>
                <a:cubicBezTo>
                  <a:pt x="2832" y="106"/>
                  <a:pt x="2831" y="107"/>
                  <a:pt x="2831" y="107"/>
                </a:cubicBezTo>
                <a:cubicBezTo>
                  <a:pt x="2830" y="107"/>
                  <a:pt x="2829" y="108"/>
                  <a:pt x="2828" y="109"/>
                </a:cubicBezTo>
                <a:cubicBezTo>
                  <a:pt x="2827" y="110"/>
                  <a:pt x="2825" y="111"/>
                  <a:pt x="2824" y="111"/>
                </a:cubicBezTo>
                <a:cubicBezTo>
                  <a:pt x="2823" y="111"/>
                  <a:pt x="2822" y="112"/>
                  <a:pt x="2821" y="111"/>
                </a:cubicBezTo>
                <a:cubicBezTo>
                  <a:pt x="2821" y="111"/>
                  <a:pt x="2819" y="110"/>
                  <a:pt x="2819" y="111"/>
                </a:cubicBezTo>
                <a:cubicBezTo>
                  <a:pt x="2818" y="112"/>
                  <a:pt x="2820" y="112"/>
                  <a:pt x="2821" y="112"/>
                </a:cubicBezTo>
                <a:cubicBezTo>
                  <a:pt x="2821" y="113"/>
                  <a:pt x="2821" y="113"/>
                  <a:pt x="2821" y="113"/>
                </a:cubicBezTo>
                <a:cubicBezTo>
                  <a:pt x="2821" y="114"/>
                  <a:pt x="2822" y="114"/>
                  <a:pt x="2822" y="114"/>
                </a:cubicBezTo>
                <a:cubicBezTo>
                  <a:pt x="2822" y="114"/>
                  <a:pt x="2822" y="115"/>
                  <a:pt x="2823" y="114"/>
                </a:cubicBezTo>
                <a:cubicBezTo>
                  <a:pt x="2823" y="114"/>
                  <a:pt x="2824" y="114"/>
                  <a:pt x="2824" y="113"/>
                </a:cubicBezTo>
                <a:cubicBezTo>
                  <a:pt x="2824" y="113"/>
                  <a:pt x="2825" y="112"/>
                  <a:pt x="2826" y="112"/>
                </a:cubicBezTo>
                <a:cubicBezTo>
                  <a:pt x="2826" y="112"/>
                  <a:pt x="2827" y="112"/>
                  <a:pt x="2827" y="111"/>
                </a:cubicBezTo>
                <a:cubicBezTo>
                  <a:pt x="2827" y="111"/>
                  <a:pt x="2828" y="111"/>
                  <a:pt x="2828" y="111"/>
                </a:cubicBezTo>
                <a:cubicBezTo>
                  <a:pt x="2829" y="110"/>
                  <a:pt x="2829" y="111"/>
                  <a:pt x="2829" y="111"/>
                </a:cubicBezTo>
                <a:cubicBezTo>
                  <a:pt x="2829" y="111"/>
                  <a:pt x="2830" y="111"/>
                  <a:pt x="2830" y="111"/>
                </a:cubicBezTo>
                <a:cubicBezTo>
                  <a:pt x="2830" y="112"/>
                  <a:pt x="2830" y="112"/>
                  <a:pt x="2830" y="112"/>
                </a:cubicBezTo>
                <a:cubicBezTo>
                  <a:pt x="2830" y="112"/>
                  <a:pt x="2831" y="113"/>
                  <a:pt x="2831" y="113"/>
                </a:cubicBezTo>
                <a:cubicBezTo>
                  <a:pt x="2830" y="114"/>
                  <a:pt x="2829" y="113"/>
                  <a:pt x="2829" y="114"/>
                </a:cubicBezTo>
                <a:cubicBezTo>
                  <a:pt x="2829" y="114"/>
                  <a:pt x="2830" y="114"/>
                  <a:pt x="2831" y="114"/>
                </a:cubicBezTo>
                <a:cubicBezTo>
                  <a:pt x="2831" y="115"/>
                  <a:pt x="2831" y="115"/>
                  <a:pt x="2832" y="115"/>
                </a:cubicBezTo>
                <a:cubicBezTo>
                  <a:pt x="2832" y="115"/>
                  <a:pt x="2832" y="115"/>
                  <a:pt x="2833" y="115"/>
                </a:cubicBezTo>
                <a:cubicBezTo>
                  <a:pt x="2833" y="115"/>
                  <a:pt x="2834" y="114"/>
                  <a:pt x="2835" y="114"/>
                </a:cubicBezTo>
                <a:cubicBezTo>
                  <a:pt x="2836" y="115"/>
                  <a:pt x="2836" y="115"/>
                  <a:pt x="2835" y="116"/>
                </a:cubicBezTo>
                <a:cubicBezTo>
                  <a:pt x="2835" y="116"/>
                  <a:pt x="2835" y="116"/>
                  <a:pt x="2835" y="116"/>
                </a:cubicBezTo>
                <a:cubicBezTo>
                  <a:pt x="2835" y="116"/>
                  <a:pt x="2835" y="116"/>
                  <a:pt x="2835" y="117"/>
                </a:cubicBezTo>
                <a:cubicBezTo>
                  <a:pt x="2836" y="117"/>
                  <a:pt x="2835" y="118"/>
                  <a:pt x="2835" y="118"/>
                </a:cubicBezTo>
                <a:cubicBezTo>
                  <a:pt x="2835" y="119"/>
                  <a:pt x="2836" y="119"/>
                  <a:pt x="2836" y="120"/>
                </a:cubicBezTo>
                <a:cubicBezTo>
                  <a:pt x="2836" y="120"/>
                  <a:pt x="2837" y="120"/>
                  <a:pt x="2837" y="120"/>
                </a:cubicBezTo>
                <a:cubicBezTo>
                  <a:pt x="2838" y="120"/>
                  <a:pt x="2838" y="120"/>
                  <a:pt x="2839" y="120"/>
                </a:cubicBezTo>
                <a:cubicBezTo>
                  <a:pt x="2839" y="120"/>
                  <a:pt x="2839" y="121"/>
                  <a:pt x="2839" y="121"/>
                </a:cubicBezTo>
                <a:cubicBezTo>
                  <a:pt x="2839" y="121"/>
                  <a:pt x="2839" y="122"/>
                  <a:pt x="2839" y="122"/>
                </a:cubicBezTo>
                <a:cubicBezTo>
                  <a:pt x="2839" y="123"/>
                  <a:pt x="2840" y="123"/>
                  <a:pt x="2840" y="123"/>
                </a:cubicBezTo>
                <a:cubicBezTo>
                  <a:pt x="2840" y="123"/>
                  <a:pt x="2841" y="123"/>
                  <a:pt x="2841" y="123"/>
                </a:cubicBezTo>
                <a:cubicBezTo>
                  <a:pt x="2842" y="124"/>
                  <a:pt x="2842" y="124"/>
                  <a:pt x="2842" y="124"/>
                </a:cubicBezTo>
                <a:cubicBezTo>
                  <a:pt x="2843" y="124"/>
                  <a:pt x="2843" y="124"/>
                  <a:pt x="2844" y="124"/>
                </a:cubicBezTo>
                <a:cubicBezTo>
                  <a:pt x="2844" y="124"/>
                  <a:pt x="2844" y="124"/>
                  <a:pt x="2845" y="125"/>
                </a:cubicBezTo>
                <a:cubicBezTo>
                  <a:pt x="2846" y="125"/>
                  <a:pt x="2846" y="124"/>
                  <a:pt x="2847" y="124"/>
                </a:cubicBezTo>
                <a:cubicBezTo>
                  <a:pt x="2848" y="124"/>
                  <a:pt x="2849" y="124"/>
                  <a:pt x="2850" y="124"/>
                </a:cubicBezTo>
                <a:cubicBezTo>
                  <a:pt x="2851" y="124"/>
                  <a:pt x="2850" y="125"/>
                  <a:pt x="2851" y="125"/>
                </a:cubicBezTo>
                <a:cubicBezTo>
                  <a:pt x="2851" y="125"/>
                  <a:pt x="2852" y="125"/>
                  <a:pt x="2852" y="125"/>
                </a:cubicBezTo>
                <a:cubicBezTo>
                  <a:pt x="2853" y="126"/>
                  <a:pt x="2853" y="126"/>
                  <a:pt x="2853" y="126"/>
                </a:cubicBezTo>
                <a:cubicBezTo>
                  <a:pt x="2854" y="126"/>
                  <a:pt x="2855" y="126"/>
                  <a:pt x="2856" y="125"/>
                </a:cubicBezTo>
                <a:cubicBezTo>
                  <a:pt x="2857" y="125"/>
                  <a:pt x="2857" y="124"/>
                  <a:pt x="2858" y="125"/>
                </a:cubicBezTo>
                <a:cubicBezTo>
                  <a:pt x="2859" y="126"/>
                  <a:pt x="2860" y="126"/>
                  <a:pt x="2861" y="126"/>
                </a:cubicBezTo>
                <a:cubicBezTo>
                  <a:pt x="2861" y="126"/>
                  <a:pt x="2862" y="125"/>
                  <a:pt x="2863" y="126"/>
                </a:cubicBezTo>
                <a:cubicBezTo>
                  <a:pt x="2864" y="126"/>
                  <a:pt x="2864" y="127"/>
                  <a:pt x="2865" y="127"/>
                </a:cubicBezTo>
                <a:cubicBezTo>
                  <a:pt x="2866" y="128"/>
                  <a:pt x="2866" y="127"/>
                  <a:pt x="2867" y="128"/>
                </a:cubicBezTo>
                <a:cubicBezTo>
                  <a:pt x="2868" y="129"/>
                  <a:pt x="2868" y="129"/>
                  <a:pt x="2869" y="129"/>
                </a:cubicBezTo>
                <a:cubicBezTo>
                  <a:pt x="2870" y="129"/>
                  <a:pt x="2870" y="129"/>
                  <a:pt x="2870" y="129"/>
                </a:cubicBezTo>
                <a:cubicBezTo>
                  <a:pt x="2871" y="129"/>
                  <a:pt x="2871" y="130"/>
                  <a:pt x="2872" y="130"/>
                </a:cubicBezTo>
                <a:cubicBezTo>
                  <a:pt x="2872" y="130"/>
                  <a:pt x="2873" y="130"/>
                  <a:pt x="2874" y="130"/>
                </a:cubicBezTo>
                <a:cubicBezTo>
                  <a:pt x="2875" y="130"/>
                  <a:pt x="2876" y="130"/>
                  <a:pt x="2877" y="130"/>
                </a:cubicBezTo>
                <a:cubicBezTo>
                  <a:pt x="2878" y="130"/>
                  <a:pt x="2879" y="131"/>
                  <a:pt x="2880" y="131"/>
                </a:cubicBezTo>
                <a:cubicBezTo>
                  <a:pt x="2880" y="131"/>
                  <a:pt x="2881" y="131"/>
                  <a:pt x="2882" y="131"/>
                </a:cubicBezTo>
                <a:cubicBezTo>
                  <a:pt x="2883" y="131"/>
                  <a:pt x="2884" y="131"/>
                  <a:pt x="2885" y="131"/>
                </a:cubicBezTo>
                <a:cubicBezTo>
                  <a:pt x="2886" y="131"/>
                  <a:pt x="2887" y="131"/>
                  <a:pt x="2888" y="131"/>
                </a:cubicBezTo>
                <a:cubicBezTo>
                  <a:pt x="2890" y="130"/>
                  <a:pt x="2892" y="130"/>
                  <a:pt x="2893" y="130"/>
                </a:cubicBezTo>
                <a:cubicBezTo>
                  <a:pt x="2895" y="129"/>
                  <a:pt x="2896" y="129"/>
                  <a:pt x="2897" y="128"/>
                </a:cubicBezTo>
                <a:cubicBezTo>
                  <a:pt x="2898" y="128"/>
                  <a:pt x="2900" y="127"/>
                  <a:pt x="2900" y="125"/>
                </a:cubicBezTo>
                <a:cubicBezTo>
                  <a:pt x="2900" y="125"/>
                  <a:pt x="2899" y="125"/>
                  <a:pt x="2899" y="124"/>
                </a:cubicBezTo>
                <a:cubicBezTo>
                  <a:pt x="2898" y="124"/>
                  <a:pt x="2898" y="123"/>
                  <a:pt x="2898" y="123"/>
                </a:cubicBezTo>
                <a:cubicBezTo>
                  <a:pt x="2897" y="122"/>
                  <a:pt x="2896" y="122"/>
                  <a:pt x="2895" y="122"/>
                </a:cubicBezTo>
                <a:cubicBezTo>
                  <a:pt x="2894" y="121"/>
                  <a:pt x="2892" y="121"/>
                  <a:pt x="2891" y="120"/>
                </a:cubicBezTo>
                <a:cubicBezTo>
                  <a:pt x="2891" y="119"/>
                  <a:pt x="2891" y="119"/>
                  <a:pt x="2891" y="118"/>
                </a:cubicBezTo>
                <a:cubicBezTo>
                  <a:pt x="2891" y="118"/>
                  <a:pt x="2891" y="118"/>
                  <a:pt x="2892" y="118"/>
                </a:cubicBezTo>
                <a:cubicBezTo>
                  <a:pt x="2893" y="118"/>
                  <a:pt x="2893" y="119"/>
                  <a:pt x="2894" y="119"/>
                </a:cubicBezTo>
                <a:cubicBezTo>
                  <a:pt x="2895" y="120"/>
                  <a:pt x="2895" y="119"/>
                  <a:pt x="2896" y="118"/>
                </a:cubicBezTo>
                <a:cubicBezTo>
                  <a:pt x="2896" y="117"/>
                  <a:pt x="2897" y="117"/>
                  <a:pt x="2897" y="116"/>
                </a:cubicBezTo>
                <a:cubicBezTo>
                  <a:pt x="2898" y="116"/>
                  <a:pt x="2897" y="115"/>
                  <a:pt x="2897" y="115"/>
                </a:cubicBezTo>
                <a:cubicBezTo>
                  <a:pt x="2897" y="114"/>
                  <a:pt x="2897" y="114"/>
                  <a:pt x="2897" y="113"/>
                </a:cubicBezTo>
                <a:cubicBezTo>
                  <a:pt x="2897" y="113"/>
                  <a:pt x="2897" y="113"/>
                  <a:pt x="2898" y="112"/>
                </a:cubicBezTo>
                <a:cubicBezTo>
                  <a:pt x="2898" y="112"/>
                  <a:pt x="2898" y="112"/>
                  <a:pt x="2898" y="111"/>
                </a:cubicBezTo>
                <a:cubicBezTo>
                  <a:pt x="2898" y="110"/>
                  <a:pt x="2897" y="110"/>
                  <a:pt x="2898" y="109"/>
                </a:cubicBezTo>
                <a:cubicBezTo>
                  <a:pt x="2898" y="108"/>
                  <a:pt x="2899" y="108"/>
                  <a:pt x="2899" y="108"/>
                </a:cubicBezTo>
                <a:cubicBezTo>
                  <a:pt x="2899" y="107"/>
                  <a:pt x="2899" y="107"/>
                  <a:pt x="2899" y="107"/>
                </a:cubicBezTo>
                <a:cubicBezTo>
                  <a:pt x="2900" y="106"/>
                  <a:pt x="2900" y="106"/>
                  <a:pt x="2901" y="105"/>
                </a:cubicBezTo>
                <a:cubicBezTo>
                  <a:pt x="2901" y="105"/>
                  <a:pt x="2900" y="104"/>
                  <a:pt x="2899" y="104"/>
                </a:cubicBezTo>
                <a:cubicBezTo>
                  <a:pt x="2899" y="103"/>
                  <a:pt x="2898" y="103"/>
                  <a:pt x="2897" y="102"/>
                </a:cubicBezTo>
                <a:cubicBezTo>
                  <a:pt x="2897" y="102"/>
                  <a:pt x="2896" y="102"/>
                  <a:pt x="2896" y="102"/>
                </a:cubicBezTo>
                <a:cubicBezTo>
                  <a:pt x="2896" y="101"/>
                  <a:pt x="2896" y="101"/>
                  <a:pt x="2895" y="101"/>
                </a:cubicBezTo>
                <a:cubicBezTo>
                  <a:pt x="2895" y="100"/>
                  <a:pt x="2894" y="100"/>
                  <a:pt x="2894" y="100"/>
                </a:cubicBezTo>
                <a:cubicBezTo>
                  <a:pt x="2894" y="100"/>
                  <a:pt x="2893" y="100"/>
                  <a:pt x="2893" y="100"/>
                </a:cubicBezTo>
                <a:cubicBezTo>
                  <a:pt x="2892" y="98"/>
                  <a:pt x="2890" y="99"/>
                  <a:pt x="2889" y="99"/>
                </a:cubicBezTo>
                <a:cubicBezTo>
                  <a:pt x="2887" y="100"/>
                  <a:pt x="2886" y="100"/>
                  <a:pt x="2885" y="100"/>
                </a:cubicBezTo>
                <a:cubicBezTo>
                  <a:pt x="2884" y="100"/>
                  <a:pt x="2883" y="101"/>
                  <a:pt x="2882" y="101"/>
                </a:cubicBezTo>
                <a:cubicBezTo>
                  <a:pt x="2881" y="101"/>
                  <a:pt x="2879" y="101"/>
                  <a:pt x="2878" y="102"/>
                </a:cubicBezTo>
                <a:cubicBezTo>
                  <a:pt x="2878" y="102"/>
                  <a:pt x="2878" y="102"/>
                  <a:pt x="2878" y="102"/>
                </a:cubicBezTo>
                <a:cubicBezTo>
                  <a:pt x="2877" y="103"/>
                  <a:pt x="2877" y="103"/>
                  <a:pt x="2876" y="103"/>
                </a:cubicBezTo>
                <a:cubicBezTo>
                  <a:pt x="2875" y="104"/>
                  <a:pt x="2874" y="107"/>
                  <a:pt x="2871" y="107"/>
                </a:cubicBezTo>
                <a:cubicBezTo>
                  <a:pt x="2871" y="107"/>
                  <a:pt x="2869" y="107"/>
                  <a:pt x="2869" y="107"/>
                </a:cubicBezTo>
                <a:cubicBezTo>
                  <a:pt x="2869" y="106"/>
                  <a:pt x="2871" y="105"/>
                  <a:pt x="2871" y="105"/>
                </a:cubicBezTo>
                <a:cubicBezTo>
                  <a:pt x="2872" y="104"/>
                  <a:pt x="2872" y="103"/>
                  <a:pt x="2873" y="102"/>
                </a:cubicBezTo>
                <a:cubicBezTo>
                  <a:pt x="2874" y="102"/>
                  <a:pt x="2874" y="102"/>
                  <a:pt x="2875" y="101"/>
                </a:cubicBezTo>
                <a:cubicBezTo>
                  <a:pt x="2875" y="101"/>
                  <a:pt x="2876" y="100"/>
                  <a:pt x="2876" y="100"/>
                </a:cubicBezTo>
                <a:cubicBezTo>
                  <a:pt x="2877" y="99"/>
                  <a:pt x="2879" y="99"/>
                  <a:pt x="2878" y="98"/>
                </a:cubicBezTo>
                <a:cubicBezTo>
                  <a:pt x="2878" y="97"/>
                  <a:pt x="2877" y="97"/>
                  <a:pt x="2877" y="97"/>
                </a:cubicBezTo>
                <a:cubicBezTo>
                  <a:pt x="2876" y="97"/>
                  <a:pt x="2876" y="97"/>
                  <a:pt x="2876" y="97"/>
                </a:cubicBezTo>
                <a:close/>
                <a:moveTo>
                  <a:pt x="3839" y="360"/>
                </a:moveTo>
                <a:cubicBezTo>
                  <a:pt x="3839" y="360"/>
                  <a:pt x="3839" y="360"/>
                  <a:pt x="3839" y="360"/>
                </a:cubicBezTo>
                <a:cubicBezTo>
                  <a:pt x="3838" y="359"/>
                  <a:pt x="3832" y="358"/>
                  <a:pt x="3831" y="358"/>
                </a:cubicBezTo>
                <a:cubicBezTo>
                  <a:pt x="3831" y="359"/>
                  <a:pt x="3839" y="360"/>
                  <a:pt x="3839" y="360"/>
                </a:cubicBezTo>
                <a:close/>
                <a:moveTo>
                  <a:pt x="3798" y="311"/>
                </a:moveTo>
                <a:cubicBezTo>
                  <a:pt x="3798" y="312"/>
                  <a:pt x="3798" y="312"/>
                  <a:pt x="3798" y="313"/>
                </a:cubicBezTo>
                <a:cubicBezTo>
                  <a:pt x="3798" y="313"/>
                  <a:pt x="3798" y="314"/>
                  <a:pt x="3799" y="313"/>
                </a:cubicBezTo>
                <a:cubicBezTo>
                  <a:pt x="3799" y="313"/>
                  <a:pt x="3800" y="313"/>
                  <a:pt x="3800" y="313"/>
                </a:cubicBezTo>
                <a:cubicBezTo>
                  <a:pt x="3800" y="313"/>
                  <a:pt x="3801" y="313"/>
                  <a:pt x="3801" y="313"/>
                </a:cubicBezTo>
                <a:cubicBezTo>
                  <a:pt x="3802" y="313"/>
                  <a:pt x="3802" y="313"/>
                  <a:pt x="3802" y="312"/>
                </a:cubicBezTo>
                <a:cubicBezTo>
                  <a:pt x="3802" y="312"/>
                  <a:pt x="3803" y="312"/>
                  <a:pt x="3803" y="312"/>
                </a:cubicBezTo>
                <a:cubicBezTo>
                  <a:pt x="3803" y="312"/>
                  <a:pt x="3804" y="312"/>
                  <a:pt x="3804" y="311"/>
                </a:cubicBezTo>
                <a:cubicBezTo>
                  <a:pt x="3804" y="311"/>
                  <a:pt x="3805" y="311"/>
                  <a:pt x="3805" y="311"/>
                </a:cubicBezTo>
                <a:cubicBezTo>
                  <a:pt x="3806" y="311"/>
                  <a:pt x="3806" y="311"/>
                  <a:pt x="3807" y="311"/>
                </a:cubicBezTo>
                <a:cubicBezTo>
                  <a:pt x="3807" y="311"/>
                  <a:pt x="3807" y="311"/>
                  <a:pt x="3808" y="311"/>
                </a:cubicBezTo>
                <a:cubicBezTo>
                  <a:pt x="3808" y="311"/>
                  <a:pt x="3808" y="310"/>
                  <a:pt x="3808" y="310"/>
                </a:cubicBezTo>
                <a:cubicBezTo>
                  <a:pt x="3808" y="309"/>
                  <a:pt x="3809" y="309"/>
                  <a:pt x="3809" y="309"/>
                </a:cubicBezTo>
                <a:cubicBezTo>
                  <a:pt x="3810" y="309"/>
                  <a:pt x="3810" y="309"/>
                  <a:pt x="3811" y="309"/>
                </a:cubicBezTo>
                <a:cubicBezTo>
                  <a:pt x="3811" y="309"/>
                  <a:pt x="3812" y="309"/>
                  <a:pt x="3812" y="308"/>
                </a:cubicBezTo>
                <a:cubicBezTo>
                  <a:pt x="3813" y="308"/>
                  <a:pt x="3813" y="308"/>
                  <a:pt x="3813" y="308"/>
                </a:cubicBezTo>
                <a:cubicBezTo>
                  <a:pt x="3814" y="309"/>
                  <a:pt x="3814" y="309"/>
                  <a:pt x="3814" y="309"/>
                </a:cubicBezTo>
                <a:cubicBezTo>
                  <a:pt x="3814" y="310"/>
                  <a:pt x="3816" y="310"/>
                  <a:pt x="3816" y="310"/>
                </a:cubicBezTo>
                <a:cubicBezTo>
                  <a:pt x="3817" y="310"/>
                  <a:pt x="3817" y="311"/>
                  <a:pt x="3818" y="311"/>
                </a:cubicBezTo>
                <a:cubicBezTo>
                  <a:pt x="3818" y="311"/>
                  <a:pt x="3819" y="311"/>
                  <a:pt x="3819" y="311"/>
                </a:cubicBezTo>
                <a:cubicBezTo>
                  <a:pt x="3819" y="311"/>
                  <a:pt x="3819" y="310"/>
                  <a:pt x="3820" y="310"/>
                </a:cubicBezTo>
                <a:cubicBezTo>
                  <a:pt x="3821" y="310"/>
                  <a:pt x="3821" y="310"/>
                  <a:pt x="3822" y="311"/>
                </a:cubicBezTo>
                <a:cubicBezTo>
                  <a:pt x="3823" y="311"/>
                  <a:pt x="3824" y="310"/>
                  <a:pt x="3824" y="310"/>
                </a:cubicBezTo>
                <a:cubicBezTo>
                  <a:pt x="3825" y="310"/>
                  <a:pt x="3827" y="310"/>
                  <a:pt x="3828" y="309"/>
                </a:cubicBezTo>
                <a:cubicBezTo>
                  <a:pt x="3828" y="309"/>
                  <a:pt x="3829" y="309"/>
                  <a:pt x="3829" y="309"/>
                </a:cubicBezTo>
                <a:cubicBezTo>
                  <a:pt x="3830" y="308"/>
                  <a:pt x="3830" y="308"/>
                  <a:pt x="3831" y="308"/>
                </a:cubicBezTo>
                <a:cubicBezTo>
                  <a:pt x="3832" y="308"/>
                  <a:pt x="3833" y="308"/>
                  <a:pt x="3834" y="308"/>
                </a:cubicBezTo>
                <a:cubicBezTo>
                  <a:pt x="3833" y="298"/>
                  <a:pt x="3833" y="298"/>
                  <a:pt x="3833" y="298"/>
                </a:cubicBezTo>
                <a:cubicBezTo>
                  <a:pt x="3833" y="298"/>
                  <a:pt x="3832" y="298"/>
                  <a:pt x="3832" y="298"/>
                </a:cubicBezTo>
                <a:cubicBezTo>
                  <a:pt x="3832" y="297"/>
                  <a:pt x="3832" y="297"/>
                  <a:pt x="3831" y="297"/>
                </a:cubicBezTo>
                <a:cubicBezTo>
                  <a:pt x="3830" y="297"/>
                  <a:pt x="3829" y="297"/>
                  <a:pt x="3828" y="297"/>
                </a:cubicBezTo>
                <a:cubicBezTo>
                  <a:pt x="3828" y="296"/>
                  <a:pt x="3827" y="296"/>
                  <a:pt x="3826" y="296"/>
                </a:cubicBezTo>
                <a:cubicBezTo>
                  <a:pt x="3826" y="296"/>
                  <a:pt x="3825" y="297"/>
                  <a:pt x="3825" y="297"/>
                </a:cubicBezTo>
                <a:cubicBezTo>
                  <a:pt x="3824" y="297"/>
                  <a:pt x="3823" y="297"/>
                  <a:pt x="3822" y="297"/>
                </a:cubicBezTo>
                <a:cubicBezTo>
                  <a:pt x="3821" y="297"/>
                  <a:pt x="3820" y="297"/>
                  <a:pt x="3820" y="297"/>
                </a:cubicBezTo>
                <a:cubicBezTo>
                  <a:pt x="3818" y="297"/>
                  <a:pt x="3817" y="298"/>
                  <a:pt x="3816" y="297"/>
                </a:cubicBezTo>
                <a:cubicBezTo>
                  <a:pt x="3816" y="297"/>
                  <a:pt x="3815" y="297"/>
                  <a:pt x="3814" y="297"/>
                </a:cubicBezTo>
                <a:cubicBezTo>
                  <a:pt x="3812" y="297"/>
                  <a:pt x="3811" y="298"/>
                  <a:pt x="3810" y="299"/>
                </a:cubicBezTo>
                <a:cubicBezTo>
                  <a:pt x="3809" y="299"/>
                  <a:pt x="3808" y="300"/>
                  <a:pt x="3807" y="300"/>
                </a:cubicBezTo>
                <a:cubicBezTo>
                  <a:pt x="3806" y="300"/>
                  <a:pt x="3806" y="301"/>
                  <a:pt x="3805" y="301"/>
                </a:cubicBezTo>
                <a:cubicBezTo>
                  <a:pt x="3804" y="302"/>
                  <a:pt x="3803" y="302"/>
                  <a:pt x="3802" y="303"/>
                </a:cubicBezTo>
                <a:cubicBezTo>
                  <a:pt x="3801" y="303"/>
                  <a:pt x="3801" y="303"/>
                  <a:pt x="3800" y="304"/>
                </a:cubicBezTo>
                <a:cubicBezTo>
                  <a:pt x="3799" y="304"/>
                  <a:pt x="3798" y="305"/>
                  <a:pt x="3798" y="305"/>
                </a:cubicBezTo>
                <a:cubicBezTo>
                  <a:pt x="3797" y="306"/>
                  <a:pt x="3797" y="307"/>
                  <a:pt x="3797" y="308"/>
                </a:cubicBezTo>
                <a:cubicBezTo>
                  <a:pt x="3797" y="309"/>
                  <a:pt x="3797" y="309"/>
                  <a:pt x="3798" y="310"/>
                </a:cubicBezTo>
                <a:cubicBezTo>
                  <a:pt x="3798" y="310"/>
                  <a:pt x="3798" y="311"/>
                  <a:pt x="3798" y="311"/>
                </a:cubicBezTo>
                <a:close/>
                <a:moveTo>
                  <a:pt x="3427" y="217"/>
                </a:moveTo>
                <a:cubicBezTo>
                  <a:pt x="3428" y="217"/>
                  <a:pt x="3429" y="218"/>
                  <a:pt x="3429" y="218"/>
                </a:cubicBezTo>
                <a:cubicBezTo>
                  <a:pt x="3430" y="218"/>
                  <a:pt x="3431" y="218"/>
                  <a:pt x="3431" y="219"/>
                </a:cubicBezTo>
                <a:cubicBezTo>
                  <a:pt x="3432" y="219"/>
                  <a:pt x="3432" y="219"/>
                  <a:pt x="3433" y="219"/>
                </a:cubicBezTo>
                <a:cubicBezTo>
                  <a:pt x="3434" y="220"/>
                  <a:pt x="3435" y="220"/>
                  <a:pt x="3436" y="221"/>
                </a:cubicBezTo>
                <a:cubicBezTo>
                  <a:pt x="3437" y="221"/>
                  <a:pt x="3439" y="221"/>
                  <a:pt x="3440" y="222"/>
                </a:cubicBezTo>
                <a:cubicBezTo>
                  <a:pt x="3441" y="222"/>
                  <a:pt x="3441" y="222"/>
                  <a:pt x="3442" y="223"/>
                </a:cubicBezTo>
                <a:cubicBezTo>
                  <a:pt x="3443" y="223"/>
                  <a:pt x="3444" y="223"/>
                  <a:pt x="3444" y="224"/>
                </a:cubicBezTo>
                <a:cubicBezTo>
                  <a:pt x="3445" y="224"/>
                  <a:pt x="3446" y="225"/>
                  <a:pt x="3447" y="225"/>
                </a:cubicBezTo>
                <a:cubicBezTo>
                  <a:pt x="3448" y="225"/>
                  <a:pt x="3450" y="226"/>
                  <a:pt x="3451" y="226"/>
                </a:cubicBezTo>
                <a:cubicBezTo>
                  <a:pt x="3452" y="226"/>
                  <a:pt x="3453" y="226"/>
                  <a:pt x="3454" y="226"/>
                </a:cubicBezTo>
                <a:cubicBezTo>
                  <a:pt x="3455" y="227"/>
                  <a:pt x="3456" y="226"/>
                  <a:pt x="3457" y="226"/>
                </a:cubicBezTo>
                <a:cubicBezTo>
                  <a:pt x="3458" y="226"/>
                  <a:pt x="3459" y="226"/>
                  <a:pt x="3460" y="226"/>
                </a:cubicBezTo>
                <a:cubicBezTo>
                  <a:pt x="3461" y="226"/>
                  <a:pt x="3462" y="226"/>
                  <a:pt x="3463" y="227"/>
                </a:cubicBezTo>
                <a:cubicBezTo>
                  <a:pt x="3464" y="227"/>
                  <a:pt x="3465" y="227"/>
                  <a:pt x="3466" y="227"/>
                </a:cubicBezTo>
                <a:cubicBezTo>
                  <a:pt x="3467" y="227"/>
                  <a:pt x="3468" y="227"/>
                  <a:pt x="3468" y="226"/>
                </a:cubicBezTo>
                <a:cubicBezTo>
                  <a:pt x="3469" y="225"/>
                  <a:pt x="3470" y="225"/>
                  <a:pt x="3471" y="225"/>
                </a:cubicBezTo>
                <a:cubicBezTo>
                  <a:pt x="3472" y="225"/>
                  <a:pt x="3473" y="225"/>
                  <a:pt x="3474" y="225"/>
                </a:cubicBezTo>
                <a:cubicBezTo>
                  <a:pt x="3475" y="225"/>
                  <a:pt x="3477" y="225"/>
                  <a:pt x="3477" y="224"/>
                </a:cubicBezTo>
                <a:cubicBezTo>
                  <a:pt x="3478" y="223"/>
                  <a:pt x="3478" y="222"/>
                  <a:pt x="3479" y="221"/>
                </a:cubicBezTo>
                <a:cubicBezTo>
                  <a:pt x="3479" y="221"/>
                  <a:pt x="3479" y="220"/>
                  <a:pt x="3479" y="220"/>
                </a:cubicBezTo>
                <a:cubicBezTo>
                  <a:pt x="3479" y="219"/>
                  <a:pt x="3479" y="219"/>
                  <a:pt x="3480" y="219"/>
                </a:cubicBezTo>
                <a:cubicBezTo>
                  <a:pt x="3480" y="219"/>
                  <a:pt x="3481" y="219"/>
                  <a:pt x="3480" y="218"/>
                </a:cubicBezTo>
                <a:cubicBezTo>
                  <a:pt x="3480" y="218"/>
                  <a:pt x="3479" y="218"/>
                  <a:pt x="3479" y="218"/>
                </a:cubicBezTo>
                <a:cubicBezTo>
                  <a:pt x="3478" y="218"/>
                  <a:pt x="3477" y="218"/>
                  <a:pt x="3476" y="218"/>
                </a:cubicBezTo>
                <a:cubicBezTo>
                  <a:pt x="3476" y="218"/>
                  <a:pt x="3475" y="218"/>
                  <a:pt x="3474" y="218"/>
                </a:cubicBezTo>
                <a:cubicBezTo>
                  <a:pt x="3473" y="218"/>
                  <a:pt x="3473" y="217"/>
                  <a:pt x="3472" y="217"/>
                </a:cubicBezTo>
                <a:cubicBezTo>
                  <a:pt x="3471" y="216"/>
                  <a:pt x="3470" y="216"/>
                  <a:pt x="3469" y="216"/>
                </a:cubicBezTo>
                <a:cubicBezTo>
                  <a:pt x="3469" y="216"/>
                  <a:pt x="3468" y="216"/>
                  <a:pt x="3468" y="216"/>
                </a:cubicBezTo>
                <a:cubicBezTo>
                  <a:pt x="3467" y="216"/>
                  <a:pt x="3467" y="216"/>
                  <a:pt x="3466" y="216"/>
                </a:cubicBezTo>
                <a:cubicBezTo>
                  <a:pt x="3465" y="215"/>
                  <a:pt x="3464" y="215"/>
                  <a:pt x="3463" y="215"/>
                </a:cubicBezTo>
                <a:cubicBezTo>
                  <a:pt x="3463" y="215"/>
                  <a:pt x="3462" y="215"/>
                  <a:pt x="3462" y="215"/>
                </a:cubicBezTo>
                <a:cubicBezTo>
                  <a:pt x="3461" y="215"/>
                  <a:pt x="3461" y="215"/>
                  <a:pt x="3460" y="215"/>
                </a:cubicBezTo>
                <a:cubicBezTo>
                  <a:pt x="3460" y="216"/>
                  <a:pt x="3460" y="216"/>
                  <a:pt x="3459" y="216"/>
                </a:cubicBezTo>
                <a:cubicBezTo>
                  <a:pt x="3459" y="216"/>
                  <a:pt x="3458" y="216"/>
                  <a:pt x="3458" y="216"/>
                </a:cubicBezTo>
                <a:cubicBezTo>
                  <a:pt x="3457" y="216"/>
                  <a:pt x="3457" y="216"/>
                  <a:pt x="3456" y="216"/>
                </a:cubicBezTo>
                <a:cubicBezTo>
                  <a:pt x="3456" y="216"/>
                  <a:pt x="3455" y="216"/>
                  <a:pt x="3454" y="216"/>
                </a:cubicBezTo>
                <a:cubicBezTo>
                  <a:pt x="3454" y="216"/>
                  <a:pt x="3454" y="216"/>
                  <a:pt x="3453" y="216"/>
                </a:cubicBezTo>
                <a:cubicBezTo>
                  <a:pt x="3453" y="215"/>
                  <a:pt x="3453" y="215"/>
                  <a:pt x="3453" y="215"/>
                </a:cubicBezTo>
                <a:cubicBezTo>
                  <a:pt x="3453" y="214"/>
                  <a:pt x="3453" y="214"/>
                  <a:pt x="3454" y="214"/>
                </a:cubicBezTo>
                <a:cubicBezTo>
                  <a:pt x="3455" y="212"/>
                  <a:pt x="3451" y="212"/>
                  <a:pt x="3450" y="212"/>
                </a:cubicBezTo>
                <a:cubicBezTo>
                  <a:pt x="3449" y="212"/>
                  <a:pt x="3448" y="212"/>
                  <a:pt x="3447" y="212"/>
                </a:cubicBezTo>
                <a:cubicBezTo>
                  <a:pt x="3446" y="212"/>
                  <a:pt x="3445" y="212"/>
                  <a:pt x="3445" y="212"/>
                </a:cubicBezTo>
                <a:cubicBezTo>
                  <a:pt x="3444" y="212"/>
                  <a:pt x="3444" y="211"/>
                  <a:pt x="3444" y="211"/>
                </a:cubicBezTo>
                <a:cubicBezTo>
                  <a:pt x="3443" y="211"/>
                  <a:pt x="3442" y="211"/>
                  <a:pt x="3441" y="211"/>
                </a:cubicBezTo>
                <a:cubicBezTo>
                  <a:pt x="3440" y="212"/>
                  <a:pt x="3439" y="213"/>
                  <a:pt x="3438" y="213"/>
                </a:cubicBezTo>
                <a:cubicBezTo>
                  <a:pt x="3437" y="214"/>
                  <a:pt x="3436" y="214"/>
                  <a:pt x="3435" y="214"/>
                </a:cubicBezTo>
                <a:cubicBezTo>
                  <a:pt x="3435" y="213"/>
                  <a:pt x="3434" y="213"/>
                  <a:pt x="3433" y="213"/>
                </a:cubicBezTo>
                <a:cubicBezTo>
                  <a:pt x="3433" y="213"/>
                  <a:pt x="3432" y="212"/>
                  <a:pt x="3432" y="212"/>
                </a:cubicBezTo>
                <a:cubicBezTo>
                  <a:pt x="3432" y="211"/>
                  <a:pt x="3433" y="211"/>
                  <a:pt x="3433" y="211"/>
                </a:cubicBezTo>
                <a:cubicBezTo>
                  <a:pt x="3433" y="210"/>
                  <a:pt x="3433" y="210"/>
                  <a:pt x="3432" y="210"/>
                </a:cubicBezTo>
                <a:cubicBezTo>
                  <a:pt x="3432" y="209"/>
                  <a:pt x="3432" y="209"/>
                  <a:pt x="3432" y="208"/>
                </a:cubicBezTo>
                <a:cubicBezTo>
                  <a:pt x="3431" y="208"/>
                  <a:pt x="3430" y="207"/>
                  <a:pt x="3430" y="208"/>
                </a:cubicBezTo>
                <a:cubicBezTo>
                  <a:pt x="3429" y="208"/>
                  <a:pt x="3429" y="209"/>
                  <a:pt x="3429" y="210"/>
                </a:cubicBezTo>
                <a:cubicBezTo>
                  <a:pt x="3429" y="211"/>
                  <a:pt x="3428" y="211"/>
                  <a:pt x="3428" y="211"/>
                </a:cubicBezTo>
                <a:cubicBezTo>
                  <a:pt x="3428" y="211"/>
                  <a:pt x="3427" y="212"/>
                  <a:pt x="3427" y="212"/>
                </a:cubicBezTo>
                <a:cubicBezTo>
                  <a:pt x="3427" y="213"/>
                  <a:pt x="3426" y="214"/>
                  <a:pt x="3426" y="215"/>
                </a:cubicBezTo>
                <a:cubicBezTo>
                  <a:pt x="3426" y="216"/>
                  <a:pt x="3426" y="215"/>
                  <a:pt x="3425" y="216"/>
                </a:cubicBezTo>
                <a:cubicBezTo>
                  <a:pt x="3425" y="216"/>
                  <a:pt x="3426" y="217"/>
                  <a:pt x="3427" y="217"/>
                </a:cubicBezTo>
                <a:close/>
                <a:moveTo>
                  <a:pt x="3305" y="240"/>
                </a:moveTo>
                <a:cubicBezTo>
                  <a:pt x="3306" y="241"/>
                  <a:pt x="3307" y="241"/>
                  <a:pt x="3307" y="241"/>
                </a:cubicBezTo>
                <a:cubicBezTo>
                  <a:pt x="3307" y="242"/>
                  <a:pt x="3308" y="242"/>
                  <a:pt x="3308" y="243"/>
                </a:cubicBezTo>
                <a:cubicBezTo>
                  <a:pt x="3308" y="243"/>
                  <a:pt x="3309" y="244"/>
                  <a:pt x="3310" y="245"/>
                </a:cubicBezTo>
                <a:cubicBezTo>
                  <a:pt x="3311" y="245"/>
                  <a:pt x="3311" y="245"/>
                  <a:pt x="3311" y="246"/>
                </a:cubicBezTo>
                <a:cubicBezTo>
                  <a:pt x="3312" y="247"/>
                  <a:pt x="3314" y="246"/>
                  <a:pt x="3314" y="245"/>
                </a:cubicBezTo>
                <a:cubicBezTo>
                  <a:pt x="3314" y="244"/>
                  <a:pt x="3313" y="243"/>
                  <a:pt x="3312" y="243"/>
                </a:cubicBezTo>
                <a:cubicBezTo>
                  <a:pt x="3311" y="242"/>
                  <a:pt x="3311" y="242"/>
                  <a:pt x="3310" y="241"/>
                </a:cubicBezTo>
                <a:cubicBezTo>
                  <a:pt x="3309" y="241"/>
                  <a:pt x="3309" y="241"/>
                  <a:pt x="3308" y="240"/>
                </a:cubicBezTo>
                <a:cubicBezTo>
                  <a:pt x="3308" y="240"/>
                  <a:pt x="3307" y="239"/>
                  <a:pt x="3306" y="239"/>
                </a:cubicBezTo>
                <a:cubicBezTo>
                  <a:pt x="3306" y="239"/>
                  <a:pt x="3305" y="239"/>
                  <a:pt x="3305" y="239"/>
                </a:cubicBezTo>
                <a:cubicBezTo>
                  <a:pt x="3305" y="239"/>
                  <a:pt x="3305" y="238"/>
                  <a:pt x="3304" y="238"/>
                </a:cubicBezTo>
                <a:cubicBezTo>
                  <a:pt x="3303" y="238"/>
                  <a:pt x="3305" y="240"/>
                  <a:pt x="3305" y="240"/>
                </a:cubicBezTo>
                <a:close/>
                <a:moveTo>
                  <a:pt x="2898" y="144"/>
                </a:moveTo>
                <a:cubicBezTo>
                  <a:pt x="2898" y="144"/>
                  <a:pt x="2897" y="144"/>
                  <a:pt x="2897" y="145"/>
                </a:cubicBezTo>
                <a:cubicBezTo>
                  <a:pt x="2896" y="146"/>
                  <a:pt x="2895" y="146"/>
                  <a:pt x="2895" y="147"/>
                </a:cubicBezTo>
                <a:cubicBezTo>
                  <a:pt x="2894" y="147"/>
                  <a:pt x="2893" y="148"/>
                  <a:pt x="2893" y="149"/>
                </a:cubicBezTo>
                <a:cubicBezTo>
                  <a:pt x="2893" y="150"/>
                  <a:pt x="2894" y="150"/>
                  <a:pt x="2894" y="150"/>
                </a:cubicBezTo>
                <a:cubicBezTo>
                  <a:pt x="2895" y="151"/>
                  <a:pt x="2896" y="152"/>
                  <a:pt x="2896" y="152"/>
                </a:cubicBezTo>
                <a:cubicBezTo>
                  <a:pt x="2897" y="152"/>
                  <a:pt x="2898" y="151"/>
                  <a:pt x="2899" y="151"/>
                </a:cubicBezTo>
                <a:cubicBezTo>
                  <a:pt x="2900" y="151"/>
                  <a:pt x="2900" y="151"/>
                  <a:pt x="2901" y="151"/>
                </a:cubicBezTo>
                <a:cubicBezTo>
                  <a:pt x="2902" y="150"/>
                  <a:pt x="2903" y="150"/>
                  <a:pt x="2904" y="150"/>
                </a:cubicBezTo>
                <a:cubicBezTo>
                  <a:pt x="2905" y="150"/>
                  <a:pt x="2905" y="149"/>
                  <a:pt x="2906" y="149"/>
                </a:cubicBezTo>
                <a:cubicBezTo>
                  <a:pt x="2908" y="148"/>
                  <a:pt x="2909" y="148"/>
                  <a:pt x="2911" y="147"/>
                </a:cubicBezTo>
                <a:cubicBezTo>
                  <a:pt x="2913" y="146"/>
                  <a:pt x="2914" y="145"/>
                  <a:pt x="2916" y="145"/>
                </a:cubicBezTo>
                <a:cubicBezTo>
                  <a:pt x="2917" y="145"/>
                  <a:pt x="2917" y="145"/>
                  <a:pt x="2918" y="145"/>
                </a:cubicBezTo>
                <a:cubicBezTo>
                  <a:pt x="2918" y="145"/>
                  <a:pt x="2918" y="146"/>
                  <a:pt x="2919" y="146"/>
                </a:cubicBezTo>
                <a:cubicBezTo>
                  <a:pt x="2920" y="146"/>
                  <a:pt x="2920" y="145"/>
                  <a:pt x="2921" y="145"/>
                </a:cubicBezTo>
                <a:cubicBezTo>
                  <a:pt x="2922" y="145"/>
                  <a:pt x="2922" y="146"/>
                  <a:pt x="2923" y="146"/>
                </a:cubicBezTo>
                <a:cubicBezTo>
                  <a:pt x="2923" y="146"/>
                  <a:pt x="2924" y="145"/>
                  <a:pt x="2924" y="145"/>
                </a:cubicBezTo>
                <a:cubicBezTo>
                  <a:pt x="2925" y="145"/>
                  <a:pt x="2926" y="145"/>
                  <a:pt x="2927" y="145"/>
                </a:cubicBezTo>
                <a:cubicBezTo>
                  <a:pt x="2928" y="145"/>
                  <a:pt x="2931" y="145"/>
                  <a:pt x="2932" y="146"/>
                </a:cubicBezTo>
                <a:cubicBezTo>
                  <a:pt x="2932" y="146"/>
                  <a:pt x="2932" y="146"/>
                  <a:pt x="2933" y="146"/>
                </a:cubicBezTo>
                <a:cubicBezTo>
                  <a:pt x="2934" y="145"/>
                  <a:pt x="2934" y="144"/>
                  <a:pt x="2935" y="144"/>
                </a:cubicBezTo>
                <a:cubicBezTo>
                  <a:pt x="2936" y="144"/>
                  <a:pt x="2937" y="145"/>
                  <a:pt x="2938" y="144"/>
                </a:cubicBezTo>
                <a:cubicBezTo>
                  <a:pt x="2939" y="144"/>
                  <a:pt x="2939" y="144"/>
                  <a:pt x="2940" y="144"/>
                </a:cubicBezTo>
                <a:cubicBezTo>
                  <a:pt x="2941" y="143"/>
                  <a:pt x="2942" y="143"/>
                  <a:pt x="2943" y="143"/>
                </a:cubicBezTo>
                <a:cubicBezTo>
                  <a:pt x="2944" y="143"/>
                  <a:pt x="2946" y="144"/>
                  <a:pt x="2947" y="143"/>
                </a:cubicBezTo>
                <a:cubicBezTo>
                  <a:pt x="2947" y="143"/>
                  <a:pt x="2948" y="143"/>
                  <a:pt x="2948" y="142"/>
                </a:cubicBezTo>
                <a:cubicBezTo>
                  <a:pt x="2949" y="142"/>
                  <a:pt x="2949" y="142"/>
                  <a:pt x="2950" y="142"/>
                </a:cubicBezTo>
                <a:cubicBezTo>
                  <a:pt x="2951" y="142"/>
                  <a:pt x="2952" y="141"/>
                  <a:pt x="2953" y="141"/>
                </a:cubicBezTo>
                <a:cubicBezTo>
                  <a:pt x="2954" y="142"/>
                  <a:pt x="2954" y="142"/>
                  <a:pt x="2955" y="142"/>
                </a:cubicBezTo>
                <a:cubicBezTo>
                  <a:pt x="2956" y="142"/>
                  <a:pt x="2957" y="142"/>
                  <a:pt x="2958" y="141"/>
                </a:cubicBezTo>
                <a:cubicBezTo>
                  <a:pt x="2959" y="141"/>
                  <a:pt x="2959" y="140"/>
                  <a:pt x="2960" y="139"/>
                </a:cubicBezTo>
                <a:cubicBezTo>
                  <a:pt x="2961" y="138"/>
                  <a:pt x="2962" y="138"/>
                  <a:pt x="2963" y="137"/>
                </a:cubicBezTo>
                <a:cubicBezTo>
                  <a:pt x="2964" y="136"/>
                  <a:pt x="2963" y="136"/>
                  <a:pt x="2963" y="135"/>
                </a:cubicBezTo>
                <a:cubicBezTo>
                  <a:pt x="2963" y="134"/>
                  <a:pt x="2962" y="134"/>
                  <a:pt x="2962" y="134"/>
                </a:cubicBezTo>
                <a:cubicBezTo>
                  <a:pt x="2962" y="133"/>
                  <a:pt x="2962" y="133"/>
                  <a:pt x="2962" y="133"/>
                </a:cubicBezTo>
                <a:cubicBezTo>
                  <a:pt x="2961" y="132"/>
                  <a:pt x="2961" y="131"/>
                  <a:pt x="2961" y="130"/>
                </a:cubicBezTo>
                <a:cubicBezTo>
                  <a:pt x="2960" y="130"/>
                  <a:pt x="2959" y="130"/>
                  <a:pt x="2958" y="130"/>
                </a:cubicBezTo>
                <a:cubicBezTo>
                  <a:pt x="2957" y="130"/>
                  <a:pt x="2955" y="129"/>
                  <a:pt x="2953" y="129"/>
                </a:cubicBezTo>
                <a:cubicBezTo>
                  <a:pt x="2953" y="129"/>
                  <a:pt x="2953" y="129"/>
                  <a:pt x="2953" y="129"/>
                </a:cubicBezTo>
                <a:cubicBezTo>
                  <a:pt x="2953" y="128"/>
                  <a:pt x="2954" y="128"/>
                  <a:pt x="2953" y="127"/>
                </a:cubicBezTo>
                <a:cubicBezTo>
                  <a:pt x="2953" y="126"/>
                  <a:pt x="2953" y="126"/>
                  <a:pt x="2952" y="126"/>
                </a:cubicBezTo>
                <a:cubicBezTo>
                  <a:pt x="2951" y="125"/>
                  <a:pt x="2949" y="126"/>
                  <a:pt x="2948" y="125"/>
                </a:cubicBezTo>
                <a:cubicBezTo>
                  <a:pt x="2948" y="125"/>
                  <a:pt x="2946" y="125"/>
                  <a:pt x="2947" y="124"/>
                </a:cubicBezTo>
                <a:cubicBezTo>
                  <a:pt x="2947" y="123"/>
                  <a:pt x="2947" y="123"/>
                  <a:pt x="2947" y="123"/>
                </a:cubicBezTo>
                <a:cubicBezTo>
                  <a:pt x="2947" y="122"/>
                  <a:pt x="2947" y="122"/>
                  <a:pt x="2946" y="122"/>
                </a:cubicBezTo>
                <a:cubicBezTo>
                  <a:pt x="2945" y="121"/>
                  <a:pt x="2942" y="122"/>
                  <a:pt x="2940" y="121"/>
                </a:cubicBezTo>
                <a:cubicBezTo>
                  <a:pt x="2939" y="121"/>
                  <a:pt x="2938" y="121"/>
                  <a:pt x="2937" y="122"/>
                </a:cubicBezTo>
                <a:cubicBezTo>
                  <a:pt x="2936" y="122"/>
                  <a:pt x="2936" y="122"/>
                  <a:pt x="2935" y="122"/>
                </a:cubicBezTo>
                <a:cubicBezTo>
                  <a:pt x="2934" y="122"/>
                  <a:pt x="2933" y="123"/>
                  <a:pt x="2932" y="123"/>
                </a:cubicBezTo>
                <a:cubicBezTo>
                  <a:pt x="2932" y="122"/>
                  <a:pt x="2932" y="121"/>
                  <a:pt x="2932" y="121"/>
                </a:cubicBezTo>
                <a:cubicBezTo>
                  <a:pt x="2932" y="120"/>
                  <a:pt x="2932" y="120"/>
                  <a:pt x="2933" y="119"/>
                </a:cubicBezTo>
                <a:cubicBezTo>
                  <a:pt x="2933" y="119"/>
                  <a:pt x="2934" y="119"/>
                  <a:pt x="2934" y="119"/>
                </a:cubicBezTo>
                <a:cubicBezTo>
                  <a:pt x="2934" y="119"/>
                  <a:pt x="2934" y="118"/>
                  <a:pt x="2935" y="118"/>
                </a:cubicBezTo>
                <a:cubicBezTo>
                  <a:pt x="2935" y="118"/>
                  <a:pt x="2936" y="118"/>
                  <a:pt x="2936" y="118"/>
                </a:cubicBezTo>
                <a:cubicBezTo>
                  <a:pt x="2937" y="117"/>
                  <a:pt x="2936" y="117"/>
                  <a:pt x="2936" y="117"/>
                </a:cubicBezTo>
                <a:cubicBezTo>
                  <a:pt x="2935" y="117"/>
                  <a:pt x="2934" y="116"/>
                  <a:pt x="2933" y="116"/>
                </a:cubicBezTo>
                <a:cubicBezTo>
                  <a:pt x="2933" y="116"/>
                  <a:pt x="2932" y="115"/>
                  <a:pt x="2931" y="115"/>
                </a:cubicBezTo>
                <a:cubicBezTo>
                  <a:pt x="2930" y="115"/>
                  <a:pt x="2929" y="115"/>
                  <a:pt x="2929" y="115"/>
                </a:cubicBezTo>
                <a:cubicBezTo>
                  <a:pt x="2928" y="115"/>
                  <a:pt x="2928" y="114"/>
                  <a:pt x="2927" y="115"/>
                </a:cubicBezTo>
                <a:cubicBezTo>
                  <a:pt x="2927" y="115"/>
                  <a:pt x="2927" y="115"/>
                  <a:pt x="2927" y="116"/>
                </a:cubicBezTo>
                <a:cubicBezTo>
                  <a:pt x="2927" y="116"/>
                  <a:pt x="2926" y="117"/>
                  <a:pt x="2926" y="117"/>
                </a:cubicBezTo>
                <a:cubicBezTo>
                  <a:pt x="2926" y="117"/>
                  <a:pt x="2926" y="118"/>
                  <a:pt x="2926" y="118"/>
                </a:cubicBezTo>
                <a:cubicBezTo>
                  <a:pt x="2926" y="118"/>
                  <a:pt x="2925" y="119"/>
                  <a:pt x="2925" y="119"/>
                </a:cubicBezTo>
                <a:cubicBezTo>
                  <a:pt x="2925" y="119"/>
                  <a:pt x="2924" y="119"/>
                  <a:pt x="2924" y="119"/>
                </a:cubicBezTo>
                <a:cubicBezTo>
                  <a:pt x="2923" y="119"/>
                  <a:pt x="2923" y="118"/>
                  <a:pt x="2922" y="118"/>
                </a:cubicBezTo>
                <a:cubicBezTo>
                  <a:pt x="2922" y="117"/>
                  <a:pt x="2921" y="116"/>
                  <a:pt x="2920" y="116"/>
                </a:cubicBezTo>
                <a:cubicBezTo>
                  <a:pt x="2920" y="116"/>
                  <a:pt x="2919" y="116"/>
                  <a:pt x="2919" y="116"/>
                </a:cubicBezTo>
                <a:cubicBezTo>
                  <a:pt x="2917" y="117"/>
                  <a:pt x="2916" y="117"/>
                  <a:pt x="2916" y="118"/>
                </a:cubicBezTo>
                <a:cubicBezTo>
                  <a:pt x="2915" y="119"/>
                  <a:pt x="2915" y="119"/>
                  <a:pt x="2915" y="120"/>
                </a:cubicBezTo>
                <a:cubicBezTo>
                  <a:pt x="2914" y="120"/>
                  <a:pt x="2913" y="121"/>
                  <a:pt x="2913" y="122"/>
                </a:cubicBezTo>
                <a:cubicBezTo>
                  <a:pt x="2913" y="122"/>
                  <a:pt x="2914" y="123"/>
                  <a:pt x="2914" y="123"/>
                </a:cubicBezTo>
                <a:cubicBezTo>
                  <a:pt x="2914" y="123"/>
                  <a:pt x="2914" y="123"/>
                  <a:pt x="2914" y="123"/>
                </a:cubicBezTo>
                <a:cubicBezTo>
                  <a:pt x="2914" y="124"/>
                  <a:pt x="2914" y="124"/>
                  <a:pt x="2914" y="124"/>
                </a:cubicBezTo>
                <a:cubicBezTo>
                  <a:pt x="2914" y="125"/>
                  <a:pt x="2913" y="125"/>
                  <a:pt x="2912" y="125"/>
                </a:cubicBezTo>
                <a:cubicBezTo>
                  <a:pt x="2911" y="125"/>
                  <a:pt x="2911" y="126"/>
                  <a:pt x="2911" y="128"/>
                </a:cubicBezTo>
                <a:cubicBezTo>
                  <a:pt x="2911" y="128"/>
                  <a:pt x="2911" y="128"/>
                  <a:pt x="2911" y="128"/>
                </a:cubicBezTo>
                <a:cubicBezTo>
                  <a:pt x="2911" y="128"/>
                  <a:pt x="2910" y="129"/>
                  <a:pt x="2910" y="129"/>
                </a:cubicBezTo>
                <a:cubicBezTo>
                  <a:pt x="2910" y="129"/>
                  <a:pt x="2910" y="130"/>
                  <a:pt x="2910" y="130"/>
                </a:cubicBezTo>
                <a:cubicBezTo>
                  <a:pt x="2911" y="130"/>
                  <a:pt x="2911" y="130"/>
                  <a:pt x="2911" y="131"/>
                </a:cubicBezTo>
                <a:cubicBezTo>
                  <a:pt x="2912" y="131"/>
                  <a:pt x="2912" y="131"/>
                  <a:pt x="2912" y="131"/>
                </a:cubicBezTo>
                <a:cubicBezTo>
                  <a:pt x="2912" y="132"/>
                  <a:pt x="2912" y="132"/>
                  <a:pt x="2912" y="132"/>
                </a:cubicBezTo>
                <a:cubicBezTo>
                  <a:pt x="2912" y="132"/>
                  <a:pt x="2911" y="132"/>
                  <a:pt x="2911" y="131"/>
                </a:cubicBezTo>
                <a:cubicBezTo>
                  <a:pt x="2911" y="131"/>
                  <a:pt x="2911" y="131"/>
                  <a:pt x="2910" y="131"/>
                </a:cubicBezTo>
                <a:cubicBezTo>
                  <a:pt x="2910" y="131"/>
                  <a:pt x="2909" y="131"/>
                  <a:pt x="2909" y="131"/>
                </a:cubicBezTo>
                <a:cubicBezTo>
                  <a:pt x="2909" y="131"/>
                  <a:pt x="2908" y="131"/>
                  <a:pt x="2908" y="131"/>
                </a:cubicBezTo>
                <a:cubicBezTo>
                  <a:pt x="2907" y="131"/>
                  <a:pt x="2906" y="131"/>
                  <a:pt x="2905" y="131"/>
                </a:cubicBezTo>
                <a:cubicBezTo>
                  <a:pt x="2904" y="132"/>
                  <a:pt x="2904" y="133"/>
                  <a:pt x="2904" y="134"/>
                </a:cubicBezTo>
                <a:cubicBezTo>
                  <a:pt x="2903" y="134"/>
                  <a:pt x="2903" y="134"/>
                  <a:pt x="2903" y="135"/>
                </a:cubicBezTo>
                <a:cubicBezTo>
                  <a:pt x="2902" y="135"/>
                  <a:pt x="2902" y="136"/>
                  <a:pt x="2902" y="136"/>
                </a:cubicBezTo>
                <a:cubicBezTo>
                  <a:pt x="2902" y="137"/>
                  <a:pt x="2901" y="138"/>
                  <a:pt x="2901" y="138"/>
                </a:cubicBezTo>
                <a:cubicBezTo>
                  <a:pt x="2901" y="139"/>
                  <a:pt x="2901" y="139"/>
                  <a:pt x="2901" y="140"/>
                </a:cubicBezTo>
                <a:cubicBezTo>
                  <a:pt x="2901" y="141"/>
                  <a:pt x="2900" y="142"/>
                  <a:pt x="2899" y="143"/>
                </a:cubicBezTo>
                <a:cubicBezTo>
                  <a:pt x="2899" y="143"/>
                  <a:pt x="2898" y="143"/>
                  <a:pt x="2898" y="144"/>
                </a:cubicBezTo>
                <a:close/>
                <a:moveTo>
                  <a:pt x="3396" y="256"/>
                </a:moveTo>
                <a:cubicBezTo>
                  <a:pt x="3396" y="255"/>
                  <a:pt x="3395" y="255"/>
                  <a:pt x="3394" y="254"/>
                </a:cubicBezTo>
                <a:cubicBezTo>
                  <a:pt x="3394" y="253"/>
                  <a:pt x="3393" y="253"/>
                  <a:pt x="3392" y="252"/>
                </a:cubicBezTo>
                <a:cubicBezTo>
                  <a:pt x="3392" y="252"/>
                  <a:pt x="3391" y="252"/>
                  <a:pt x="3390" y="251"/>
                </a:cubicBezTo>
                <a:cubicBezTo>
                  <a:pt x="3389" y="251"/>
                  <a:pt x="3389" y="250"/>
                  <a:pt x="3388" y="249"/>
                </a:cubicBezTo>
                <a:cubicBezTo>
                  <a:pt x="3387" y="249"/>
                  <a:pt x="3387" y="248"/>
                  <a:pt x="3386" y="248"/>
                </a:cubicBezTo>
                <a:cubicBezTo>
                  <a:pt x="3385" y="248"/>
                  <a:pt x="3385" y="247"/>
                  <a:pt x="3385" y="247"/>
                </a:cubicBezTo>
                <a:cubicBezTo>
                  <a:pt x="3383" y="247"/>
                  <a:pt x="3382" y="246"/>
                  <a:pt x="3381" y="246"/>
                </a:cubicBezTo>
                <a:cubicBezTo>
                  <a:pt x="3380" y="245"/>
                  <a:pt x="3378" y="246"/>
                  <a:pt x="3377" y="246"/>
                </a:cubicBezTo>
                <a:cubicBezTo>
                  <a:pt x="3375" y="247"/>
                  <a:pt x="3372" y="247"/>
                  <a:pt x="3370" y="247"/>
                </a:cubicBezTo>
                <a:cubicBezTo>
                  <a:pt x="3369" y="247"/>
                  <a:pt x="3368" y="247"/>
                  <a:pt x="3367" y="248"/>
                </a:cubicBezTo>
                <a:cubicBezTo>
                  <a:pt x="3366" y="249"/>
                  <a:pt x="3366" y="250"/>
                  <a:pt x="3365" y="251"/>
                </a:cubicBezTo>
                <a:cubicBezTo>
                  <a:pt x="3364" y="253"/>
                  <a:pt x="3363" y="254"/>
                  <a:pt x="3361" y="255"/>
                </a:cubicBezTo>
                <a:cubicBezTo>
                  <a:pt x="3360" y="256"/>
                  <a:pt x="3359" y="256"/>
                  <a:pt x="3358" y="256"/>
                </a:cubicBezTo>
                <a:cubicBezTo>
                  <a:pt x="3357" y="256"/>
                  <a:pt x="3357" y="256"/>
                  <a:pt x="3356" y="256"/>
                </a:cubicBezTo>
                <a:cubicBezTo>
                  <a:pt x="3356" y="256"/>
                  <a:pt x="3355" y="256"/>
                  <a:pt x="3355" y="256"/>
                </a:cubicBezTo>
                <a:cubicBezTo>
                  <a:pt x="3354" y="256"/>
                  <a:pt x="3353" y="256"/>
                  <a:pt x="3352" y="257"/>
                </a:cubicBezTo>
                <a:cubicBezTo>
                  <a:pt x="3352" y="258"/>
                  <a:pt x="3354" y="258"/>
                  <a:pt x="3354" y="258"/>
                </a:cubicBezTo>
                <a:cubicBezTo>
                  <a:pt x="3355" y="258"/>
                  <a:pt x="3356" y="258"/>
                  <a:pt x="3357" y="258"/>
                </a:cubicBezTo>
                <a:cubicBezTo>
                  <a:pt x="3357" y="258"/>
                  <a:pt x="3358" y="257"/>
                  <a:pt x="3359" y="257"/>
                </a:cubicBezTo>
                <a:cubicBezTo>
                  <a:pt x="3360" y="257"/>
                  <a:pt x="3360" y="256"/>
                  <a:pt x="3361" y="256"/>
                </a:cubicBezTo>
                <a:cubicBezTo>
                  <a:pt x="3362" y="256"/>
                  <a:pt x="3363" y="256"/>
                  <a:pt x="3364" y="256"/>
                </a:cubicBezTo>
                <a:cubicBezTo>
                  <a:pt x="3366" y="256"/>
                  <a:pt x="3368" y="256"/>
                  <a:pt x="3369" y="257"/>
                </a:cubicBezTo>
                <a:cubicBezTo>
                  <a:pt x="3370" y="257"/>
                  <a:pt x="3371" y="258"/>
                  <a:pt x="3372" y="258"/>
                </a:cubicBezTo>
                <a:cubicBezTo>
                  <a:pt x="3373" y="259"/>
                  <a:pt x="3374" y="259"/>
                  <a:pt x="3376" y="259"/>
                </a:cubicBezTo>
                <a:cubicBezTo>
                  <a:pt x="3377" y="259"/>
                  <a:pt x="3378" y="259"/>
                  <a:pt x="3379" y="259"/>
                </a:cubicBezTo>
                <a:cubicBezTo>
                  <a:pt x="3380" y="260"/>
                  <a:pt x="3381" y="260"/>
                  <a:pt x="3382" y="261"/>
                </a:cubicBezTo>
                <a:cubicBezTo>
                  <a:pt x="3384" y="261"/>
                  <a:pt x="3385" y="260"/>
                  <a:pt x="3387" y="260"/>
                </a:cubicBezTo>
                <a:cubicBezTo>
                  <a:pt x="3388" y="260"/>
                  <a:pt x="3389" y="261"/>
                  <a:pt x="3390" y="261"/>
                </a:cubicBezTo>
                <a:cubicBezTo>
                  <a:pt x="3391" y="261"/>
                  <a:pt x="3392" y="262"/>
                  <a:pt x="3393" y="262"/>
                </a:cubicBezTo>
                <a:cubicBezTo>
                  <a:pt x="3394" y="261"/>
                  <a:pt x="3395" y="261"/>
                  <a:pt x="3396" y="261"/>
                </a:cubicBezTo>
                <a:cubicBezTo>
                  <a:pt x="3396" y="260"/>
                  <a:pt x="3396" y="260"/>
                  <a:pt x="3396" y="259"/>
                </a:cubicBezTo>
                <a:cubicBezTo>
                  <a:pt x="3396" y="259"/>
                  <a:pt x="3396" y="259"/>
                  <a:pt x="3396" y="258"/>
                </a:cubicBezTo>
                <a:cubicBezTo>
                  <a:pt x="3396" y="258"/>
                  <a:pt x="3397" y="258"/>
                  <a:pt x="3397" y="257"/>
                </a:cubicBezTo>
                <a:cubicBezTo>
                  <a:pt x="3397" y="257"/>
                  <a:pt x="3397" y="256"/>
                  <a:pt x="3396" y="256"/>
                </a:cubicBezTo>
                <a:close/>
                <a:moveTo>
                  <a:pt x="3360" y="245"/>
                </a:moveTo>
                <a:cubicBezTo>
                  <a:pt x="3360" y="245"/>
                  <a:pt x="3361" y="246"/>
                  <a:pt x="3361" y="246"/>
                </a:cubicBezTo>
                <a:cubicBezTo>
                  <a:pt x="3362" y="246"/>
                  <a:pt x="3362" y="246"/>
                  <a:pt x="3362" y="246"/>
                </a:cubicBezTo>
                <a:cubicBezTo>
                  <a:pt x="3363" y="245"/>
                  <a:pt x="3363" y="245"/>
                  <a:pt x="3363" y="245"/>
                </a:cubicBezTo>
                <a:cubicBezTo>
                  <a:pt x="3365" y="244"/>
                  <a:pt x="3368" y="245"/>
                  <a:pt x="3369" y="243"/>
                </a:cubicBezTo>
                <a:cubicBezTo>
                  <a:pt x="3369" y="242"/>
                  <a:pt x="3369" y="242"/>
                  <a:pt x="3369" y="241"/>
                </a:cubicBezTo>
                <a:cubicBezTo>
                  <a:pt x="3369" y="241"/>
                  <a:pt x="3368" y="240"/>
                  <a:pt x="3368" y="240"/>
                </a:cubicBezTo>
                <a:cubicBezTo>
                  <a:pt x="3368" y="239"/>
                  <a:pt x="3367" y="238"/>
                  <a:pt x="3366" y="238"/>
                </a:cubicBezTo>
                <a:cubicBezTo>
                  <a:pt x="3365" y="238"/>
                  <a:pt x="3364" y="238"/>
                  <a:pt x="3363" y="238"/>
                </a:cubicBezTo>
                <a:cubicBezTo>
                  <a:pt x="3363" y="238"/>
                  <a:pt x="3363" y="238"/>
                  <a:pt x="3362" y="238"/>
                </a:cubicBezTo>
                <a:cubicBezTo>
                  <a:pt x="3362" y="238"/>
                  <a:pt x="3362" y="238"/>
                  <a:pt x="3361" y="238"/>
                </a:cubicBezTo>
                <a:cubicBezTo>
                  <a:pt x="3361" y="238"/>
                  <a:pt x="3361" y="238"/>
                  <a:pt x="3361" y="238"/>
                </a:cubicBezTo>
                <a:cubicBezTo>
                  <a:pt x="3360" y="238"/>
                  <a:pt x="3359" y="238"/>
                  <a:pt x="3359" y="239"/>
                </a:cubicBezTo>
                <a:cubicBezTo>
                  <a:pt x="3358" y="239"/>
                  <a:pt x="3358" y="239"/>
                  <a:pt x="3358" y="240"/>
                </a:cubicBezTo>
                <a:cubicBezTo>
                  <a:pt x="3358" y="240"/>
                  <a:pt x="3358" y="240"/>
                  <a:pt x="3358" y="241"/>
                </a:cubicBezTo>
                <a:cubicBezTo>
                  <a:pt x="3357" y="241"/>
                  <a:pt x="3358" y="242"/>
                  <a:pt x="3358" y="242"/>
                </a:cubicBezTo>
                <a:cubicBezTo>
                  <a:pt x="3358" y="242"/>
                  <a:pt x="3358" y="243"/>
                  <a:pt x="3358" y="243"/>
                </a:cubicBezTo>
                <a:cubicBezTo>
                  <a:pt x="3358" y="244"/>
                  <a:pt x="3359" y="244"/>
                  <a:pt x="3360" y="245"/>
                </a:cubicBezTo>
                <a:close/>
                <a:moveTo>
                  <a:pt x="3305" y="210"/>
                </a:moveTo>
                <a:cubicBezTo>
                  <a:pt x="3305" y="211"/>
                  <a:pt x="3305" y="211"/>
                  <a:pt x="3305" y="212"/>
                </a:cubicBezTo>
                <a:cubicBezTo>
                  <a:pt x="3305" y="212"/>
                  <a:pt x="3304" y="212"/>
                  <a:pt x="3305" y="213"/>
                </a:cubicBezTo>
                <a:cubicBezTo>
                  <a:pt x="3306" y="213"/>
                  <a:pt x="3306" y="213"/>
                  <a:pt x="3307" y="213"/>
                </a:cubicBezTo>
                <a:cubicBezTo>
                  <a:pt x="3308" y="213"/>
                  <a:pt x="3309" y="212"/>
                  <a:pt x="3309" y="212"/>
                </a:cubicBezTo>
                <a:cubicBezTo>
                  <a:pt x="3310" y="212"/>
                  <a:pt x="3310" y="212"/>
                  <a:pt x="3311" y="211"/>
                </a:cubicBezTo>
                <a:cubicBezTo>
                  <a:pt x="3311" y="211"/>
                  <a:pt x="3311" y="211"/>
                  <a:pt x="3311" y="210"/>
                </a:cubicBezTo>
                <a:cubicBezTo>
                  <a:pt x="3312" y="210"/>
                  <a:pt x="3312" y="209"/>
                  <a:pt x="3312" y="208"/>
                </a:cubicBezTo>
                <a:cubicBezTo>
                  <a:pt x="3312" y="207"/>
                  <a:pt x="3312" y="207"/>
                  <a:pt x="3311" y="207"/>
                </a:cubicBezTo>
                <a:cubicBezTo>
                  <a:pt x="3311" y="207"/>
                  <a:pt x="3311" y="206"/>
                  <a:pt x="3310" y="206"/>
                </a:cubicBezTo>
                <a:cubicBezTo>
                  <a:pt x="3309" y="206"/>
                  <a:pt x="3309" y="205"/>
                  <a:pt x="3309" y="205"/>
                </a:cubicBezTo>
                <a:cubicBezTo>
                  <a:pt x="3309" y="204"/>
                  <a:pt x="3309" y="204"/>
                  <a:pt x="3308" y="203"/>
                </a:cubicBezTo>
                <a:cubicBezTo>
                  <a:pt x="3308" y="203"/>
                  <a:pt x="3308" y="203"/>
                  <a:pt x="3308" y="202"/>
                </a:cubicBezTo>
                <a:cubicBezTo>
                  <a:pt x="3307" y="202"/>
                  <a:pt x="3307" y="201"/>
                  <a:pt x="3307" y="201"/>
                </a:cubicBezTo>
                <a:cubicBezTo>
                  <a:pt x="3307" y="201"/>
                  <a:pt x="3307" y="202"/>
                  <a:pt x="3307" y="202"/>
                </a:cubicBezTo>
                <a:cubicBezTo>
                  <a:pt x="3307" y="203"/>
                  <a:pt x="3307" y="204"/>
                  <a:pt x="3306" y="204"/>
                </a:cubicBezTo>
                <a:cubicBezTo>
                  <a:pt x="3306" y="205"/>
                  <a:pt x="3305" y="205"/>
                  <a:pt x="3305" y="206"/>
                </a:cubicBezTo>
                <a:cubicBezTo>
                  <a:pt x="3305" y="207"/>
                  <a:pt x="3305" y="207"/>
                  <a:pt x="3305" y="207"/>
                </a:cubicBezTo>
                <a:cubicBezTo>
                  <a:pt x="3306" y="208"/>
                  <a:pt x="3306" y="208"/>
                  <a:pt x="3306" y="208"/>
                </a:cubicBezTo>
                <a:cubicBezTo>
                  <a:pt x="3306" y="208"/>
                  <a:pt x="3306" y="208"/>
                  <a:pt x="3306" y="208"/>
                </a:cubicBezTo>
                <a:cubicBezTo>
                  <a:pt x="3306" y="209"/>
                  <a:pt x="3305" y="210"/>
                  <a:pt x="3305" y="210"/>
                </a:cubicBezTo>
                <a:close/>
                <a:moveTo>
                  <a:pt x="2396" y="68"/>
                </a:moveTo>
                <a:cubicBezTo>
                  <a:pt x="2396" y="68"/>
                  <a:pt x="2396" y="68"/>
                  <a:pt x="2397" y="68"/>
                </a:cubicBezTo>
                <a:cubicBezTo>
                  <a:pt x="2397" y="69"/>
                  <a:pt x="2397" y="68"/>
                  <a:pt x="2398" y="68"/>
                </a:cubicBezTo>
                <a:cubicBezTo>
                  <a:pt x="2398" y="68"/>
                  <a:pt x="2399" y="68"/>
                  <a:pt x="2399" y="68"/>
                </a:cubicBezTo>
                <a:cubicBezTo>
                  <a:pt x="2400" y="68"/>
                  <a:pt x="2400" y="67"/>
                  <a:pt x="2401" y="67"/>
                </a:cubicBezTo>
                <a:cubicBezTo>
                  <a:pt x="2401" y="67"/>
                  <a:pt x="2402" y="67"/>
                  <a:pt x="2402" y="67"/>
                </a:cubicBezTo>
                <a:cubicBezTo>
                  <a:pt x="2403" y="67"/>
                  <a:pt x="2403" y="68"/>
                  <a:pt x="2403" y="68"/>
                </a:cubicBezTo>
                <a:cubicBezTo>
                  <a:pt x="2403" y="69"/>
                  <a:pt x="2403" y="69"/>
                  <a:pt x="2403" y="69"/>
                </a:cubicBezTo>
                <a:cubicBezTo>
                  <a:pt x="2404" y="69"/>
                  <a:pt x="2404" y="69"/>
                  <a:pt x="2405" y="69"/>
                </a:cubicBezTo>
                <a:cubicBezTo>
                  <a:pt x="2405" y="69"/>
                  <a:pt x="2405" y="69"/>
                  <a:pt x="2405" y="68"/>
                </a:cubicBezTo>
                <a:cubicBezTo>
                  <a:pt x="2406" y="68"/>
                  <a:pt x="2407" y="68"/>
                  <a:pt x="2408" y="68"/>
                </a:cubicBezTo>
                <a:cubicBezTo>
                  <a:pt x="2408" y="68"/>
                  <a:pt x="2408" y="68"/>
                  <a:pt x="2408" y="68"/>
                </a:cubicBezTo>
                <a:cubicBezTo>
                  <a:pt x="2409" y="67"/>
                  <a:pt x="2409" y="67"/>
                  <a:pt x="2409" y="67"/>
                </a:cubicBezTo>
                <a:cubicBezTo>
                  <a:pt x="2410" y="67"/>
                  <a:pt x="2410" y="67"/>
                  <a:pt x="2411" y="67"/>
                </a:cubicBezTo>
                <a:cubicBezTo>
                  <a:pt x="2412" y="67"/>
                  <a:pt x="2412" y="66"/>
                  <a:pt x="2412" y="66"/>
                </a:cubicBezTo>
                <a:cubicBezTo>
                  <a:pt x="2413" y="66"/>
                  <a:pt x="2413" y="66"/>
                  <a:pt x="2414" y="66"/>
                </a:cubicBezTo>
                <a:cubicBezTo>
                  <a:pt x="2415" y="66"/>
                  <a:pt x="2416" y="66"/>
                  <a:pt x="2417" y="66"/>
                </a:cubicBezTo>
                <a:cubicBezTo>
                  <a:pt x="2418" y="66"/>
                  <a:pt x="2419" y="66"/>
                  <a:pt x="2419" y="66"/>
                </a:cubicBezTo>
                <a:cubicBezTo>
                  <a:pt x="2419" y="65"/>
                  <a:pt x="2417" y="65"/>
                  <a:pt x="2416" y="65"/>
                </a:cubicBezTo>
                <a:cubicBezTo>
                  <a:pt x="2416" y="65"/>
                  <a:pt x="2415" y="65"/>
                  <a:pt x="2415" y="65"/>
                </a:cubicBezTo>
                <a:cubicBezTo>
                  <a:pt x="2414" y="64"/>
                  <a:pt x="2414" y="64"/>
                  <a:pt x="2414" y="64"/>
                </a:cubicBezTo>
                <a:cubicBezTo>
                  <a:pt x="2412" y="64"/>
                  <a:pt x="2411" y="64"/>
                  <a:pt x="2410" y="64"/>
                </a:cubicBezTo>
                <a:cubicBezTo>
                  <a:pt x="2409" y="64"/>
                  <a:pt x="2408" y="63"/>
                  <a:pt x="2407" y="63"/>
                </a:cubicBezTo>
                <a:cubicBezTo>
                  <a:pt x="2406" y="63"/>
                  <a:pt x="2406" y="63"/>
                  <a:pt x="2405" y="63"/>
                </a:cubicBezTo>
                <a:cubicBezTo>
                  <a:pt x="2404" y="62"/>
                  <a:pt x="2403" y="63"/>
                  <a:pt x="2403" y="64"/>
                </a:cubicBezTo>
                <a:cubicBezTo>
                  <a:pt x="2403" y="64"/>
                  <a:pt x="2403" y="65"/>
                  <a:pt x="2403" y="65"/>
                </a:cubicBezTo>
                <a:cubicBezTo>
                  <a:pt x="2403" y="65"/>
                  <a:pt x="2404" y="65"/>
                  <a:pt x="2404" y="66"/>
                </a:cubicBezTo>
                <a:cubicBezTo>
                  <a:pt x="2404" y="66"/>
                  <a:pt x="2402" y="66"/>
                  <a:pt x="2402" y="66"/>
                </a:cubicBezTo>
                <a:cubicBezTo>
                  <a:pt x="2401" y="66"/>
                  <a:pt x="2400" y="65"/>
                  <a:pt x="2399" y="65"/>
                </a:cubicBezTo>
                <a:cubicBezTo>
                  <a:pt x="2398" y="65"/>
                  <a:pt x="2397" y="65"/>
                  <a:pt x="2396" y="65"/>
                </a:cubicBezTo>
                <a:cubicBezTo>
                  <a:pt x="2396" y="65"/>
                  <a:pt x="2396" y="65"/>
                  <a:pt x="2396" y="65"/>
                </a:cubicBezTo>
                <a:cubicBezTo>
                  <a:pt x="2395" y="65"/>
                  <a:pt x="2395" y="65"/>
                  <a:pt x="2395" y="65"/>
                </a:cubicBezTo>
                <a:cubicBezTo>
                  <a:pt x="2394" y="66"/>
                  <a:pt x="2393" y="66"/>
                  <a:pt x="2394" y="67"/>
                </a:cubicBezTo>
                <a:cubicBezTo>
                  <a:pt x="2394" y="68"/>
                  <a:pt x="2395" y="68"/>
                  <a:pt x="2396" y="68"/>
                </a:cubicBezTo>
                <a:close/>
                <a:moveTo>
                  <a:pt x="2332" y="348"/>
                </a:moveTo>
                <a:cubicBezTo>
                  <a:pt x="2331" y="348"/>
                  <a:pt x="2331" y="349"/>
                  <a:pt x="2331" y="349"/>
                </a:cubicBezTo>
                <a:cubicBezTo>
                  <a:pt x="2331" y="349"/>
                  <a:pt x="2331" y="350"/>
                  <a:pt x="2331" y="350"/>
                </a:cubicBezTo>
                <a:cubicBezTo>
                  <a:pt x="2331" y="350"/>
                  <a:pt x="2332" y="349"/>
                  <a:pt x="2332" y="349"/>
                </a:cubicBezTo>
                <a:cubicBezTo>
                  <a:pt x="2332" y="349"/>
                  <a:pt x="2333" y="349"/>
                  <a:pt x="2333" y="348"/>
                </a:cubicBezTo>
                <a:cubicBezTo>
                  <a:pt x="2333" y="348"/>
                  <a:pt x="2334" y="347"/>
                  <a:pt x="2333" y="346"/>
                </a:cubicBezTo>
                <a:cubicBezTo>
                  <a:pt x="2333" y="346"/>
                  <a:pt x="2332" y="345"/>
                  <a:pt x="2332" y="345"/>
                </a:cubicBezTo>
                <a:cubicBezTo>
                  <a:pt x="2331" y="344"/>
                  <a:pt x="2330" y="344"/>
                  <a:pt x="2329" y="343"/>
                </a:cubicBezTo>
                <a:cubicBezTo>
                  <a:pt x="2329" y="343"/>
                  <a:pt x="2328" y="342"/>
                  <a:pt x="2327" y="342"/>
                </a:cubicBezTo>
                <a:cubicBezTo>
                  <a:pt x="2326" y="341"/>
                  <a:pt x="2325" y="341"/>
                  <a:pt x="2324" y="340"/>
                </a:cubicBezTo>
                <a:cubicBezTo>
                  <a:pt x="2324" y="340"/>
                  <a:pt x="2323" y="340"/>
                  <a:pt x="2322" y="340"/>
                </a:cubicBezTo>
                <a:cubicBezTo>
                  <a:pt x="2322" y="340"/>
                  <a:pt x="2321" y="339"/>
                  <a:pt x="2321" y="339"/>
                </a:cubicBezTo>
                <a:cubicBezTo>
                  <a:pt x="2320" y="339"/>
                  <a:pt x="2319" y="339"/>
                  <a:pt x="2318" y="339"/>
                </a:cubicBezTo>
                <a:cubicBezTo>
                  <a:pt x="2317" y="339"/>
                  <a:pt x="2316" y="340"/>
                  <a:pt x="2315" y="340"/>
                </a:cubicBezTo>
                <a:cubicBezTo>
                  <a:pt x="2315" y="340"/>
                  <a:pt x="2314" y="341"/>
                  <a:pt x="2313" y="341"/>
                </a:cubicBezTo>
                <a:cubicBezTo>
                  <a:pt x="2312" y="342"/>
                  <a:pt x="2312" y="343"/>
                  <a:pt x="2311" y="344"/>
                </a:cubicBezTo>
                <a:cubicBezTo>
                  <a:pt x="2311" y="344"/>
                  <a:pt x="2311" y="345"/>
                  <a:pt x="2311" y="345"/>
                </a:cubicBezTo>
                <a:cubicBezTo>
                  <a:pt x="2311" y="346"/>
                  <a:pt x="2310" y="346"/>
                  <a:pt x="2310" y="347"/>
                </a:cubicBezTo>
                <a:cubicBezTo>
                  <a:pt x="2309" y="347"/>
                  <a:pt x="2309" y="348"/>
                  <a:pt x="2310" y="349"/>
                </a:cubicBezTo>
                <a:cubicBezTo>
                  <a:pt x="2310" y="350"/>
                  <a:pt x="2310" y="351"/>
                  <a:pt x="2310" y="351"/>
                </a:cubicBezTo>
                <a:cubicBezTo>
                  <a:pt x="2311" y="352"/>
                  <a:pt x="2311" y="352"/>
                  <a:pt x="2312" y="353"/>
                </a:cubicBezTo>
                <a:cubicBezTo>
                  <a:pt x="2312" y="353"/>
                  <a:pt x="2313" y="353"/>
                  <a:pt x="2314" y="354"/>
                </a:cubicBezTo>
                <a:cubicBezTo>
                  <a:pt x="2314" y="354"/>
                  <a:pt x="2315" y="354"/>
                  <a:pt x="2315" y="355"/>
                </a:cubicBezTo>
                <a:cubicBezTo>
                  <a:pt x="2316" y="355"/>
                  <a:pt x="2317" y="355"/>
                  <a:pt x="2318" y="354"/>
                </a:cubicBezTo>
                <a:cubicBezTo>
                  <a:pt x="2319" y="354"/>
                  <a:pt x="2319" y="354"/>
                  <a:pt x="2320" y="354"/>
                </a:cubicBezTo>
                <a:cubicBezTo>
                  <a:pt x="2321" y="354"/>
                  <a:pt x="2322" y="353"/>
                  <a:pt x="2323" y="353"/>
                </a:cubicBezTo>
                <a:cubicBezTo>
                  <a:pt x="2324" y="352"/>
                  <a:pt x="2325" y="352"/>
                  <a:pt x="2326" y="352"/>
                </a:cubicBezTo>
                <a:cubicBezTo>
                  <a:pt x="2327" y="351"/>
                  <a:pt x="2327" y="351"/>
                  <a:pt x="2328" y="351"/>
                </a:cubicBezTo>
                <a:cubicBezTo>
                  <a:pt x="2328" y="350"/>
                  <a:pt x="2329" y="349"/>
                  <a:pt x="2329" y="349"/>
                </a:cubicBezTo>
                <a:cubicBezTo>
                  <a:pt x="2330" y="348"/>
                  <a:pt x="2330" y="348"/>
                  <a:pt x="2331" y="347"/>
                </a:cubicBezTo>
                <a:cubicBezTo>
                  <a:pt x="2331" y="347"/>
                  <a:pt x="2331" y="347"/>
                  <a:pt x="2331" y="346"/>
                </a:cubicBezTo>
                <a:cubicBezTo>
                  <a:pt x="2331" y="346"/>
                  <a:pt x="2332" y="346"/>
                  <a:pt x="2332" y="346"/>
                </a:cubicBezTo>
                <a:cubicBezTo>
                  <a:pt x="2333" y="346"/>
                  <a:pt x="2332" y="347"/>
                  <a:pt x="2332" y="347"/>
                </a:cubicBezTo>
                <a:cubicBezTo>
                  <a:pt x="2332" y="347"/>
                  <a:pt x="2332" y="348"/>
                  <a:pt x="2332" y="348"/>
                </a:cubicBezTo>
                <a:close/>
                <a:moveTo>
                  <a:pt x="2022" y="321"/>
                </a:moveTo>
                <a:cubicBezTo>
                  <a:pt x="2022" y="322"/>
                  <a:pt x="2022" y="322"/>
                  <a:pt x="2023" y="322"/>
                </a:cubicBezTo>
                <a:cubicBezTo>
                  <a:pt x="2023" y="323"/>
                  <a:pt x="2023" y="323"/>
                  <a:pt x="2023" y="323"/>
                </a:cubicBezTo>
                <a:cubicBezTo>
                  <a:pt x="2024" y="323"/>
                  <a:pt x="2025" y="323"/>
                  <a:pt x="2025" y="322"/>
                </a:cubicBezTo>
                <a:cubicBezTo>
                  <a:pt x="2026" y="322"/>
                  <a:pt x="2027" y="321"/>
                  <a:pt x="2027" y="321"/>
                </a:cubicBezTo>
                <a:cubicBezTo>
                  <a:pt x="2028" y="320"/>
                  <a:pt x="2029" y="320"/>
                  <a:pt x="2029" y="319"/>
                </a:cubicBezTo>
                <a:cubicBezTo>
                  <a:pt x="2030" y="319"/>
                  <a:pt x="2030" y="318"/>
                  <a:pt x="2029" y="317"/>
                </a:cubicBezTo>
                <a:cubicBezTo>
                  <a:pt x="2029" y="317"/>
                  <a:pt x="2028" y="317"/>
                  <a:pt x="2028" y="316"/>
                </a:cubicBezTo>
                <a:cubicBezTo>
                  <a:pt x="2028" y="316"/>
                  <a:pt x="2027" y="316"/>
                  <a:pt x="2027" y="316"/>
                </a:cubicBezTo>
                <a:cubicBezTo>
                  <a:pt x="2026" y="317"/>
                  <a:pt x="2028" y="317"/>
                  <a:pt x="2028" y="318"/>
                </a:cubicBezTo>
                <a:cubicBezTo>
                  <a:pt x="2027" y="319"/>
                  <a:pt x="2026" y="319"/>
                  <a:pt x="2026" y="319"/>
                </a:cubicBezTo>
                <a:cubicBezTo>
                  <a:pt x="2025" y="319"/>
                  <a:pt x="2025" y="319"/>
                  <a:pt x="2024" y="319"/>
                </a:cubicBezTo>
                <a:cubicBezTo>
                  <a:pt x="2023" y="319"/>
                  <a:pt x="2023" y="320"/>
                  <a:pt x="2022" y="320"/>
                </a:cubicBezTo>
                <a:cubicBezTo>
                  <a:pt x="2022" y="320"/>
                  <a:pt x="2021" y="320"/>
                  <a:pt x="2021" y="320"/>
                </a:cubicBezTo>
                <a:cubicBezTo>
                  <a:pt x="2020" y="321"/>
                  <a:pt x="2021" y="321"/>
                  <a:pt x="2022" y="321"/>
                </a:cubicBezTo>
                <a:close/>
                <a:moveTo>
                  <a:pt x="2030" y="317"/>
                </a:moveTo>
                <a:cubicBezTo>
                  <a:pt x="2031" y="318"/>
                  <a:pt x="2032" y="318"/>
                  <a:pt x="2032" y="318"/>
                </a:cubicBezTo>
                <a:cubicBezTo>
                  <a:pt x="2033" y="319"/>
                  <a:pt x="2034" y="318"/>
                  <a:pt x="2034" y="317"/>
                </a:cubicBezTo>
                <a:cubicBezTo>
                  <a:pt x="2035" y="317"/>
                  <a:pt x="2035" y="316"/>
                  <a:pt x="2034" y="316"/>
                </a:cubicBezTo>
                <a:cubicBezTo>
                  <a:pt x="2034" y="315"/>
                  <a:pt x="2033" y="315"/>
                  <a:pt x="2032" y="315"/>
                </a:cubicBezTo>
                <a:cubicBezTo>
                  <a:pt x="2032" y="315"/>
                  <a:pt x="2032" y="315"/>
                  <a:pt x="2031" y="314"/>
                </a:cubicBezTo>
                <a:cubicBezTo>
                  <a:pt x="2031" y="314"/>
                  <a:pt x="2031" y="314"/>
                  <a:pt x="2030" y="314"/>
                </a:cubicBezTo>
                <a:cubicBezTo>
                  <a:pt x="2030" y="314"/>
                  <a:pt x="2030" y="315"/>
                  <a:pt x="2030" y="315"/>
                </a:cubicBezTo>
                <a:cubicBezTo>
                  <a:pt x="2030" y="316"/>
                  <a:pt x="2030" y="317"/>
                  <a:pt x="2030" y="317"/>
                </a:cubicBezTo>
                <a:close/>
                <a:moveTo>
                  <a:pt x="2274" y="84"/>
                </a:moveTo>
                <a:cubicBezTo>
                  <a:pt x="2274" y="84"/>
                  <a:pt x="2275" y="84"/>
                  <a:pt x="2276" y="84"/>
                </a:cubicBezTo>
                <a:cubicBezTo>
                  <a:pt x="2277" y="84"/>
                  <a:pt x="2277" y="85"/>
                  <a:pt x="2277" y="85"/>
                </a:cubicBezTo>
                <a:cubicBezTo>
                  <a:pt x="2278" y="85"/>
                  <a:pt x="2278" y="86"/>
                  <a:pt x="2278" y="86"/>
                </a:cubicBezTo>
                <a:cubicBezTo>
                  <a:pt x="2279" y="86"/>
                  <a:pt x="2279" y="86"/>
                  <a:pt x="2280" y="86"/>
                </a:cubicBezTo>
                <a:cubicBezTo>
                  <a:pt x="2280" y="86"/>
                  <a:pt x="2280" y="86"/>
                  <a:pt x="2281" y="86"/>
                </a:cubicBezTo>
                <a:cubicBezTo>
                  <a:pt x="2281" y="86"/>
                  <a:pt x="2282" y="86"/>
                  <a:pt x="2282" y="85"/>
                </a:cubicBezTo>
                <a:cubicBezTo>
                  <a:pt x="2282" y="85"/>
                  <a:pt x="2283" y="85"/>
                  <a:pt x="2283" y="85"/>
                </a:cubicBezTo>
                <a:cubicBezTo>
                  <a:pt x="2284" y="85"/>
                  <a:pt x="2285" y="84"/>
                  <a:pt x="2285" y="85"/>
                </a:cubicBezTo>
                <a:cubicBezTo>
                  <a:pt x="2285" y="86"/>
                  <a:pt x="2285" y="87"/>
                  <a:pt x="2284" y="88"/>
                </a:cubicBezTo>
                <a:cubicBezTo>
                  <a:pt x="2284" y="89"/>
                  <a:pt x="2285" y="88"/>
                  <a:pt x="2286" y="88"/>
                </a:cubicBezTo>
                <a:cubicBezTo>
                  <a:pt x="2287" y="89"/>
                  <a:pt x="2287" y="88"/>
                  <a:pt x="2288" y="88"/>
                </a:cubicBezTo>
                <a:cubicBezTo>
                  <a:pt x="2289" y="88"/>
                  <a:pt x="2290" y="88"/>
                  <a:pt x="2291" y="87"/>
                </a:cubicBezTo>
                <a:cubicBezTo>
                  <a:pt x="2292" y="87"/>
                  <a:pt x="2292" y="86"/>
                  <a:pt x="2293" y="85"/>
                </a:cubicBezTo>
                <a:cubicBezTo>
                  <a:pt x="2293" y="85"/>
                  <a:pt x="2294" y="85"/>
                  <a:pt x="2295" y="85"/>
                </a:cubicBezTo>
                <a:cubicBezTo>
                  <a:pt x="2296" y="85"/>
                  <a:pt x="2296" y="85"/>
                  <a:pt x="2296" y="84"/>
                </a:cubicBezTo>
                <a:cubicBezTo>
                  <a:pt x="2297" y="84"/>
                  <a:pt x="2297" y="84"/>
                  <a:pt x="2297" y="84"/>
                </a:cubicBezTo>
                <a:cubicBezTo>
                  <a:pt x="2298" y="84"/>
                  <a:pt x="2298" y="84"/>
                  <a:pt x="2299" y="84"/>
                </a:cubicBezTo>
                <a:cubicBezTo>
                  <a:pt x="2299" y="84"/>
                  <a:pt x="2299" y="84"/>
                  <a:pt x="2300" y="84"/>
                </a:cubicBezTo>
                <a:cubicBezTo>
                  <a:pt x="2300" y="84"/>
                  <a:pt x="2301" y="84"/>
                  <a:pt x="2301" y="84"/>
                </a:cubicBezTo>
                <a:cubicBezTo>
                  <a:pt x="2301" y="84"/>
                  <a:pt x="2301" y="83"/>
                  <a:pt x="2301" y="83"/>
                </a:cubicBezTo>
                <a:cubicBezTo>
                  <a:pt x="2301" y="83"/>
                  <a:pt x="2301" y="82"/>
                  <a:pt x="2302" y="82"/>
                </a:cubicBezTo>
                <a:cubicBezTo>
                  <a:pt x="2302" y="82"/>
                  <a:pt x="2303" y="82"/>
                  <a:pt x="2303" y="81"/>
                </a:cubicBezTo>
                <a:cubicBezTo>
                  <a:pt x="2303" y="81"/>
                  <a:pt x="2303" y="80"/>
                  <a:pt x="2304" y="80"/>
                </a:cubicBezTo>
                <a:cubicBezTo>
                  <a:pt x="2305" y="80"/>
                  <a:pt x="2305" y="81"/>
                  <a:pt x="2306" y="81"/>
                </a:cubicBezTo>
                <a:cubicBezTo>
                  <a:pt x="2307" y="81"/>
                  <a:pt x="2307" y="81"/>
                  <a:pt x="2308" y="82"/>
                </a:cubicBezTo>
                <a:cubicBezTo>
                  <a:pt x="2308" y="82"/>
                  <a:pt x="2308" y="83"/>
                  <a:pt x="2308" y="83"/>
                </a:cubicBezTo>
                <a:cubicBezTo>
                  <a:pt x="2309" y="83"/>
                  <a:pt x="2309" y="83"/>
                  <a:pt x="2310" y="83"/>
                </a:cubicBezTo>
                <a:cubicBezTo>
                  <a:pt x="2310" y="83"/>
                  <a:pt x="2311" y="83"/>
                  <a:pt x="2311" y="83"/>
                </a:cubicBezTo>
                <a:cubicBezTo>
                  <a:pt x="2312" y="83"/>
                  <a:pt x="2312" y="82"/>
                  <a:pt x="2312" y="83"/>
                </a:cubicBezTo>
                <a:cubicBezTo>
                  <a:pt x="2313" y="83"/>
                  <a:pt x="2313" y="83"/>
                  <a:pt x="2313" y="83"/>
                </a:cubicBezTo>
                <a:cubicBezTo>
                  <a:pt x="2314" y="83"/>
                  <a:pt x="2314" y="83"/>
                  <a:pt x="2315" y="83"/>
                </a:cubicBezTo>
                <a:cubicBezTo>
                  <a:pt x="2315" y="83"/>
                  <a:pt x="2315" y="84"/>
                  <a:pt x="2315" y="84"/>
                </a:cubicBezTo>
                <a:cubicBezTo>
                  <a:pt x="2316" y="84"/>
                  <a:pt x="2316" y="83"/>
                  <a:pt x="2316" y="83"/>
                </a:cubicBezTo>
                <a:cubicBezTo>
                  <a:pt x="2316" y="83"/>
                  <a:pt x="2315" y="82"/>
                  <a:pt x="2315" y="82"/>
                </a:cubicBezTo>
                <a:cubicBezTo>
                  <a:pt x="2315" y="82"/>
                  <a:pt x="2314" y="82"/>
                  <a:pt x="2314" y="81"/>
                </a:cubicBezTo>
                <a:cubicBezTo>
                  <a:pt x="2314" y="81"/>
                  <a:pt x="2314" y="80"/>
                  <a:pt x="2314" y="80"/>
                </a:cubicBezTo>
                <a:cubicBezTo>
                  <a:pt x="2314" y="80"/>
                  <a:pt x="2314" y="79"/>
                  <a:pt x="2314" y="79"/>
                </a:cubicBezTo>
                <a:cubicBezTo>
                  <a:pt x="2313" y="78"/>
                  <a:pt x="2312" y="78"/>
                  <a:pt x="2311" y="78"/>
                </a:cubicBezTo>
                <a:cubicBezTo>
                  <a:pt x="2310" y="78"/>
                  <a:pt x="2310" y="78"/>
                  <a:pt x="2309" y="78"/>
                </a:cubicBezTo>
                <a:cubicBezTo>
                  <a:pt x="2309" y="78"/>
                  <a:pt x="2309" y="78"/>
                  <a:pt x="2308" y="78"/>
                </a:cubicBezTo>
                <a:cubicBezTo>
                  <a:pt x="2307" y="78"/>
                  <a:pt x="2306" y="78"/>
                  <a:pt x="2305" y="78"/>
                </a:cubicBezTo>
                <a:cubicBezTo>
                  <a:pt x="2304" y="78"/>
                  <a:pt x="2303" y="77"/>
                  <a:pt x="2302" y="77"/>
                </a:cubicBezTo>
                <a:cubicBezTo>
                  <a:pt x="2300" y="77"/>
                  <a:pt x="2298" y="78"/>
                  <a:pt x="2296" y="78"/>
                </a:cubicBezTo>
                <a:cubicBezTo>
                  <a:pt x="2295" y="79"/>
                  <a:pt x="2294" y="79"/>
                  <a:pt x="2293" y="79"/>
                </a:cubicBezTo>
                <a:cubicBezTo>
                  <a:pt x="2292" y="79"/>
                  <a:pt x="2291" y="79"/>
                  <a:pt x="2289" y="80"/>
                </a:cubicBezTo>
                <a:cubicBezTo>
                  <a:pt x="2289" y="80"/>
                  <a:pt x="2287" y="80"/>
                  <a:pt x="2287" y="80"/>
                </a:cubicBezTo>
                <a:cubicBezTo>
                  <a:pt x="2285" y="80"/>
                  <a:pt x="2284" y="81"/>
                  <a:pt x="2282" y="81"/>
                </a:cubicBezTo>
                <a:cubicBezTo>
                  <a:pt x="2280" y="81"/>
                  <a:pt x="2279" y="82"/>
                  <a:pt x="2277" y="82"/>
                </a:cubicBezTo>
                <a:cubicBezTo>
                  <a:pt x="2277" y="82"/>
                  <a:pt x="2276" y="83"/>
                  <a:pt x="2275" y="83"/>
                </a:cubicBezTo>
                <a:cubicBezTo>
                  <a:pt x="2275" y="83"/>
                  <a:pt x="2274" y="83"/>
                  <a:pt x="2273" y="83"/>
                </a:cubicBezTo>
                <a:cubicBezTo>
                  <a:pt x="2272" y="83"/>
                  <a:pt x="2273" y="84"/>
                  <a:pt x="2274" y="84"/>
                </a:cubicBezTo>
                <a:close/>
                <a:moveTo>
                  <a:pt x="2023" y="318"/>
                </a:moveTo>
                <a:cubicBezTo>
                  <a:pt x="2024" y="317"/>
                  <a:pt x="2023" y="317"/>
                  <a:pt x="2024" y="316"/>
                </a:cubicBezTo>
                <a:cubicBezTo>
                  <a:pt x="2024" y="315"/>
                  <a:pt x="2025" y="316"/>
                  <a:pt x="2026" y="315"/>
                </a:cubicBezTo>
                <a:cubicBezTo>
                  <a:pt x="2026" y="315"/>
                  <a:pt x="2026" y="315"/>
                  <a:pt x="2026" y="314"/>
                </a:cubicBezTo>
                <a:cubicBezTo>
                  <a:pt x="2026" y="314"/>
                  <a:pt x="2027" y="314"/>
                  <a:pt x="2027" y="314"/>
                </a:cubicBezTo>
                <a:cubicBezTo>
                  <a:pt x="2028" y="313"/>
                  <a:pt x="2028" y="313"/>
                  <a:pt x="2027" y="312"/>
                </a:cubicBezTo>
                <a:cubicBezTo>
                  <a:pt x="2026" y="311"/>
                  <a:pt x="2026" y="312"/>
                  <a:pt x="2026" y="313"/>
                </a:cubicBezTo>
                <a:cubicBezTo>
                  <a:pt x="2025" y="314"/>
                  <a:pt x="2024" y="313"/>
                  <a:pt x="2024" y="314"/>
                </a:cubicBezTo>
                <a:cubicBezTo>
                  <a:pt x="2023" y="314"/>
                  <a:pt x="2023" y="315"/>
                  <a:pt x="2022" y="315"/>
                </a:cubicBezTo>
                <a:cubicBezTo>
                  <a:pt x="2022" y="315"/>
                  <a:pt x="2022" y="315"/>
                  <a:pt x="2021" y="315"/>
                </a:cubicBezTo>
                <a:cubicBezTo>
                  <a:pt x="2020" y="315"/>
                  <a:pt x="2019" y="315"/>
                  <a:pt x="2019" y="315"/>
                </a:cubicBezTo>
                <a:cubicBezTo>
                  <a:pt x="2018" y="315"/>
                  <a:pt x="2018" y="315"/>
                  <a:pt x="2017" y="315"/>
                </a:cubicBezTo>
                <a:cubicBezTo>
                  <a:pt x="2016" y="315"/>
                  <a:pt x="2017" y="315"/>
                  <a:pt x="2016" y="314"/>
                </a:cubicBezTo>
                <a:cubicBezTo>
                  <a:pt x="2016" y="314"/>
                  <a:pt x="2015" y="314"/>
                  <a:pt x="2015" y="315"/>
                </a:cubicBezTo>
                <a:cubicBezTo>
                  <a:pt x="2015" y="315"/>
                  <a:pt x="2015" y="316"/>
                  <a:pt x="2014" y="315"/>
                </a:cubicBezTo>
                <a:cubicBezTo>
                  <a:pt x="2014" y="315"/>
                  <a:pt x="2014" y="315"/>
                  <a:pt x="2014" y="315"/>
                </a:cubicBezTo>
                <a:cubicBezTo>
                  <a:pt x="2014" y="315"/>
                  <a:pt x="2013" y="315"/>
                  <a:pt x="2013" y="315"/>
                </a:cubicBezTo>
                <a:cubicBezTo>
                  <a:pt x="2013" y="316"/>
                  <a:pt x="2013" y="316"/>
                  <a:pt x="2012" y="316"/>
                </a:cubicBezTo>
                <a:cubicBezTo>
                  <a:pt x="2012" y="316"/>
                  <a:pt x="2012" y="315"/>
                  <a:pt x="2011" y="315"/>
                </a:cubicBezTo>
                <a:cubicBezTo>
                  <a:pt x="2011" y="315"/>
                  <a:pt x="2011" y="316"/>
                  <a:pt x="2011" y="316"/>
                </a:cubicBezTo>
                <a:cubicBezTo>
                  <a:pt x="2011" y="317"/>
                  <a:pt x="2011" y="317"/>
                  <a:pt x="2012" y="318"/>
                </a:cubicBezTo>
                <a:cubicBezTo>
                  <a:pt x="2012" y="318"/>
                  <a:pt x="2012" y="319"/>
                  <a:pt x="2013" y="319"/>
                </a:cubicBezTo>
                <a:cubicBezTo>
                  <a:pt x="2014" y="320"/>
                  <a:pt x="2015" y="319"/>
                  <a:pt x="2015" y="319"/>
                </a:cubicBezTo>
                <a:cubicBezTo>
                  <a:pt x="2016" y="319"/>
                  <a:pt x="2016" y="319"/>
                  <a:pt x="2017" y="319"/>
                </a:cubicBezTo>
                <a:cubicBezTo>
                  <a:pt x="2017" y="319"/>
                  <a:pt x="2017" y="319"/>
                  <a:pt x="2018" y="318"/>
                </a:cubicBezTo>
                <a:cubicBezTo>
                  <a:pt x="2019" y="317"/>
                  <a:pt x="2019" y="319"/>
                  <a:pt x="2020" y="319"/>
                </a:cubicBezTo>
                <a:cubicBezTo>
                  <a:pt x="2021" y="319"/>
                  <a:pt x="2021" y="318"/>
                  <a:pt x="2022" y="318"/>
                </a:cubicBezTo>
                <a:cubicBezTo>
                  <a:pt x="2022" y="318"/>
                  <a:pt x="2023" y="318"/>
                  <a:pt x="2023" y="318"/>
                </a:cubicBezTo>
                <a:close/>
                <a:moveTo>
                  <a:pt x="1964" y="97"/>
                </a:moveTo>
                <a:cubicBezTo>
                  <a:pt x="1965" y="97"/>
                  <a:pt x="1965" y="97"/>
                  <a:pt x="1966" y="97"/>
                </a:cubicBezTo>
                <a:cubicBezTo>
                  <a:pt x="1967" y="97"/>
                  <a:pt x="1968" y="98"/>
                  <a:pt x="1969" y="98"/>
                </a:cubicBezTo>
                <a:cubicBezTo>
                  <a:pt x="1970" y="98"/>
                  <a:pt x="1971" y="98"/>
                  <a:pt x="1972" y="98"/>
                </a:cubicBezTo>
                <a:cubicBezTo>
                  <a:pt x="1972" y="98"/>
                  <a:pt x="1972" y="98"/>
                  <a:pt x="1973" y="98"/>
                </a:cubicBezTo>
                <a:cubicBezTo>
                  <a:pt x="1973" y="98"/>
                  <a:pt x="1974" y="98"/>
                  <a:pt x="1974" y="98"/>
                </a:cubicBezTo>
                <a:cubicBezTo>
                  <a:pt x="1975" y="99"/>
                  <a:pt x="1975" y="98"/>
                  <a:pt x="1975" y="99"/>
                </a:cubicBezTo>
                <a:cubicBezTo>
                  <a:pt x="1975" y="99"/>
                  <a:pt x="1974" y="99"/>
                  <a:pt x="1974" y="99"/>
                </a:cubicBezTo>
                <a:cubicBezTo>
                  <a:pt x="1974" y="99"/>
                  <a:pt x="1974" y="100"/>
                  <a:pt x="1974" y="100"/>
                </a:cubicBezTo>
                <a:cubicBezTo>
                  <a:pt x="1973" y="101"/>
                  <a:pt x="1973" y="100"/>
                  <a:pt x="1973" y="100"/>
                </a:cubicBezTo>
                <a:cubicBezTo>
                  <a:pt x="1972" y="100"/>
                  <a:pt x="1972" y="100"/>
                  <a:pt x="1972" y="100"/>
                </a:cubicBezTo>
                <a:cubicBezTo>
                  <a:pt x="1973" y="101"/>
                  <a:pt x="1972" y="101"/>
                  <a:pt x="1972" y="101"/>
                </a:cubicBezTo>
                <a:cubicBezTo>
                  <a:pt x="1971" y="101"/>
                  <a:pt x="1971" y="101"/>
                  <a:pt x="1971" y="101"/>
                </a:cubicBezTo>
                <a:cubicBezTo>
                  <a:pt x="1971" y="102"/>
                  <a:pt x="1971" y="102"/>
                  <a:pt x="1971" y="102"/>
                </a:cubicBezTo>
                <a:cubicBezTo>
                  <a:pt x="1971" y="103"/>
                  <a:pt x="1971" y="103"/>
                  <a:pt x="1971" y="104"/>
                </a:cubicBezTo>
                <a:cubicBezTo>
                  <a:pt x="1972" y="104"/>
                  <a:pt x="1972" y="104"/>
                  <a:pt x="1972" y="104"/>
                </a:cubicBezTo>
                <a:cubicBezTo>
                  <a:pt x="1973" y="105"/>
                  <a:pt x="1972" y="106"/>
                  <a:pt x="1974" y="107"/>
                </a:cubicBezTo>
                <a:cubicBezTo>
                  <a:pt x="1974" y="107"/>
                  <a:pt x="1974" y="107"/>
                  <a:pt x="1975" y="107"/>
                </a:cubicBezTo>
                <a:cubicBezTo>
                  <a:pt x="1976" y="107"/>
                  <a:pt x="1976" y="107"/>
                  <a:pt x="1977" y="107"/>
                </a:cubicBezTo>
                <a:cubicBezTo>
                  <a:pt x="1979" y="107"/>
                  <a:pt x="1979" y="107"/>
                  <a:pt x="1981" y="107"/>
                </a:cubicBezTo>
                <a:cubicBezTo>
                  <a:pt x="1982" y="107"/>
                  <a:pt x="1983" y="107"/>
                  <a:pt x="1984" y="107"/>
                </a:cubicBezTo>
                <a:cubicBezTo>
                  <a:pt x="1985" y="107"/>
                  <a:pt x="1985" y="107"/>
                  <a:pt x="1986" y="106"/>
                </a:cubicBezTo>
                <a:cubicBezTo>
                  <a:pt x="1987" y="106"/>
                  <a:pt x="1988" y="106"/>
                  <a:pt x="1989" y="106"/>
                </a:cubicBezTo>
                <a:cubicBezTo>
                  <a:pt x="1989" y="106"/>
                  <a:pt x="1990" y="106"/>
                  <a:pt x="1990" y="106"/>
                </a:cubicBezTo>
                <a:cubicBezTo>
                  <a:pt x="1991" y="106"/>
                  <a:pt x="1991" y="105"/>
                  <a:pt x="1991" y="105"/>
                </a:cubicBezTo>
                <a:cubicBezTo>
                  <a:pt x="1992" y="105"/>
                  <a:pt x="1993" y="105"/>
                  <a:pt x="1994" y="105"/>
                </a:cubicBezTo>
                <a:cubicBezTo>
                  <a:pt x="1995" y="105"/>
                  <a:pt x="1997" y="105"/>
                  <a:pt x="1999" y="105"/>
                </a:cubicBezTo>
                <a:cubicBezTo>
                  <a:pt x="2000" y="105"/>
                  <a:pt x="2001" y="105"/>
                  <a:pt x="2002" y="105"/>
                </a:cubicBezTo>
                <a:cubicBezTo>
                  <a:pt x="2002" y="105"/>
                  <a:pt x="2003" y="105"/>
                  <a:pt x="2003" y="105"/>
                </a:cubicBezTo>
                <a:cubicBezTo>
                  <a:pt x="2004" y="105"/>
                  <a:pt x="2004" y="105"/>
                  <a:pt x="2005" y="105"/>
                </a:cubicBezTo>
                <a:cubicBezTo>
                  <a:pt x="2006" y="105"/>
                  <a:pt x="2007" y="105"/>
                  <a:pt x="2008" y="105"/>
                </a:cubicBezTo>
                <a:cubicBezTo>
                  <a:pt x="2009" y="105"/>
                  <a:pt x="2010" y="105"/>
                  <a:pt x="2011" y="105"/>
                </a:cubicBezTo>
                <a:cubicBezTo>
                  <a:pt x="2011" y="105"/>
                  <a:pt x="2013" y="105"/>
                  <a:pt x="2013" y="106"/>
                </a:cubicBezTo>
                <a:cubicBezTo>
                  <a:pt x="2013" y="106"/>
                  <a:pt x="2011" y="106"/>
                  <a:pt x="2010" y="106"/>
                </a:cubicBezTo>
                <a:cubicBezTo>
                  <a:pt x="2010" y="106"/>
                  <a:pt x="2010" y="106"/>
                  <a:pt x="2009" y="107"/>
                </a:cubicBezTo>
                <a:cubicBezTo>
                  <a:pt x="2009" y="107"/>
                  <a:pt x="2009" y="107"/>
                  <a:pt x="2008" y="107"/>
                </a:cubicBezTo>
                <a:cubicBezTo>
                  <a:pt x="2007" y="108"/>
                  <a:pt x="2007" y="107"/>
                  <a:pt x="2006" y="107"/>
                </a:cubicBezTo>
                <a:cubicBezTo>
                  <a:pt x="2006" y="107"/>
                  <a:pt x="2005" y="107"/>
                  <a:pt x="2005" y="107"/>
                </a:cubicBezTo>
                <a:cubicBezTo>
                  <a:pt x="2004" y="107"/>
                  <a:pt x="2004" y="107"/>
                  <a:pt x="2003" y="107"/>
                </a:cubicBezTo>
                <a:cubicBezTo>
                  <a:pt x="2002" y="107"/>
                  <a:pt x="2001" y="107"/>
                  <a:pt x="2000" y="107"/>
                </a:cubicBezTo>
                <a:cubicBezTo>
                  <a:pt x="2000" y="107"/>
                  <a:pt x="1999" y="108"/>
                  <a:pt x="1998" y="108"/>
                </a:cubicBezTo>
                <a:cubicBezTo>
                  <a:pt x="1998" y="107"/>
                  <a:pt x="1997" y="107"/>
                  <a:pt x="1997" y="107"/>
                </a:cubicBezTo>
                <a:cubicBezTo>
                  <a:pt x="1996" y="108"/>
                  <a:pt x="1997" y="108"/>
                  <a:pt x="1997" y="108"/>
                </a:cubicBezTo>
                <a:cubicBezTo>
                  <a:pt x="1998" y="109"/>
                  <a:pt x="1999" y="109"/>
                  <a:pt x="1999" y="110"/>
                </a:cubicBezTo>
                <a:cubicBezTo>
                  <a:pt x="1999" y="110"/>
                  <a:pt x="1999" y="110"/>
                  <a:pt x="1999" y="110"/>
                </a:cubicBezTo>
                <a:cubicBezTo>
                  <a:pt x="1999" y="110"/>
                  <a:pt x="1999" y="110"/>
                  <a:pt x="1999" y="110"/>
                </a:cubicBezTo>
                <a:cubicBezTo>
                  <a:pt x="2000" y="111"/>
                  <a:pt x="2000" y="111"/>
                  <a:pt x="2000" y="111"/>
                </a:cubicBezTo>
                <a:cubicBezTo>
                  <a:pt x="2000" y="112"/>
                  <a:pt x="1999" y="111"/>
                  <a:pt x="1998" y="111"/>
                </a:cubicBezTo>
                <a:cubicBezTo>
                  <a:pt x="1998" y="111"/>
                  <a:pt x="1997" y="111"/>
                  <a:pt x="1996" y="111"/>
                </a:cubicBezTo>
                <a:cubicBezTo>
                  <a:pt x="1995" y="111"/>
                  <a:pt x="1995" y="110"/>
                  <a:pt x="1994" y="110"/>
                </a:cubicBezTo>
                <a:cubicBezTo>
                  <a:pt x="1993" y="110"/>
                  <a:pt x="1992" y="110"/>
                  <a:pt x="1991" y="110"/>
                </a:cubicBezTo>
                <a:cubicBezTo>
                  <a:pt x="1991" y="109"/>
                  <a:pt x="1990" y="109"/>
                  <a:pt x="1990" y="109"/>
                </a:cubicBezTo>
                <a:cubicBezTo>
                  <a:pt x="1989" y="109"/>
                  <a:pt x="1989" y="109"/>
                  <a:pt x="1989" y="109"/>
                </a:cubicBezTo>
                <a:cubicBezTo>
                  <a:pt x="1988" y="109"/>
                  <a:pt x="1988" y="108"/>
                  <a:pt x="1988" y="109"/>
                </a:cubicBezTo>
                <a:cubicBezTo>
                  <a:pt x="1988" y="109"/>
                  <a:pt x="1988" y="110"/>
                  <a:pt x="1988" y="110"/>
                </a:cubicBezTo>
                <a:cubicBezTo>
                  <a:pt x="1989" y="111"/>
                  <a:pt x="1990" y="113"/>
                  <a:pt x="1991" y="113"/>
                </a:cubicBezTo>
                <a:cubicBezTo>
                  <a:pt x="1992" y="114"/>
                  <a:pt x="1993" y="114"/>
                  <a:pt x="1993" y="114"/>
                </a:cubicBezTo>
                <a:cubicBezTo>
                  <a:pt x="1994" y="115"/>
                  <a:pt x="1994" y="115"/>
                  <a:pt x="1994" y="115"/>
                </a:cubicBezTo>
                <a:cubicBezTo>
                  <a:pt x="1995" y="115"/>
                  <a:pt x="1995" y="115"/>
                  <a:pt x="1996" y="115"/>
                </a:cubicBezTo>
                <a:cubicBezTo>
                  <a:pt x="1996" y="115"/>
                  <a:pt x="1997" y="116"/>
                  <a:pt x="1998" y="116"/>
                </a:cubicBezTo>
                <a:cubicBezTo>
                  <a:pt x="1999" y="116"/>
                  <a:pt x="2000" y="116"/>
                  <a:pt x="2001" y="116"/>
                </a:cubicBezTo>
                <a:cubicBezTo>
                  <a:pt x="2002" y="116"/>
                  <a:pt x="2002" y="115"/>
                  <a:pt x="2003" y="115"/>
                </a:cubicBezTo>
                <a:cubicBezTo>
                  <a:pt x="2004" y="115"/>
                  <a:pt x="2004" y="115"/>
                  <a:pt x="2004" y="115"/>
                </a:cubicBezTo>
                <a:cubicBezTo>
                  <a:pt x="2005" y="115"/>
                  <a:pt x="2005" y="115"/>
                  <a:pt x="2006" y="116"/>
                </a:cubicBezTo>
                <a:cubicBezTo>
                  <a:pt x="2006" y="116"/>
                  <a:pt x="2006" y="116"/>
                  <a:pt x="2006" y="116"/>
                </a:cubicBezTo>
                <a:cubicBezTo>
                  <a:pt x="2007" y="116"/>
                  <a:pt x="2007" y="116"/>
                  <a:pt x="2008" y="116"/>
                </a:cubicBezTo>
                <a:cubicBezTo>
                  <a:pt x="2008" y="116"/>
                  <a:pt x="2008" y="116"/>
                  <a:pt x="2009" y="116"/>
                </a:cubicBezTo>
                <a:cubicBezTo>
                  <a:pt x="2011" y="115"/>
                  <a:pt x="2014" y="115"/>
                  <a:pt x="2016" y="115"/>
                </a:cubicBezTo>
                <a:cubicBezTo>
                  <a:pt x="2017" y="115"/>
                  <a:pt x="2018" y="115"/>
                  <a:pt x="2019" y="116"/>
                </a:cubicBezTo>
                <a:cubicBezTo>
                  <a:pt x="2019" y="116"/>
                  <a:pt x="2020" y="116"/>
                  <a:pt x="2021" y="116"/>
                </a:cubicBezTo>
                <a:cubicBezTo>
                  <a:pt x="2022" y="116"/>
                  <a:pt x="2023" y="117"/>
                  <a:pt x="2023" y="117"/>
                </a:cubicBezTo>
                <a:cubicBezTo>
                  <a:pt x="2024" y="117"/>
                  <a:pt x="2025" y="118"/>
                  <a:pt x="2025" y="118"/>
                </a:cubicBezTo>
                <a:cubicBezTo>
                  <a:pt x="2027" y="119"/>
                  <a:pt x="2028" y="119"/>
                  <a:pt x="2029" y="120"/>
                </a:cubicBezTo>
                <a:cubicBezTo>
                  <a:pt x="2031" y="121"/>
                  <a:pt x="2033" y="121"/>
                  <a:pt x="2034" y="121"/>
                </a:cubicBezTo>
                <a:cubicBezTo>
                  <a:pt x="2035" y="120"/>
                  <a:pt x="2036" y="119"/>
                  <a:pt x="2036" y="119"/>
                </a:cubicBezTo>
                <a:cubicBezTo>
                  <a:pt x="2037" y="118"/>
                  <a:pt x="2037" y="118"/>
                  <a:pt x="2037" y="118"/>
                </a:cubicBezTo>
                <a:cubicBezTo>
                  <a:pt x="2038" y="118"/>
                  <a:pt x="2038" y="118"/>
                  <a:pt x="2038" y="117"/>
                </a:cubicBezTo>
                <a:cubicBezTo>
                  <a:pt x="2039" y="117"/>
                  <a:pt x="2040" y="117"/>
                  <a:pt x="2041" y="117"/>
                </a:cubicBezTo>
                <a:cubicBezTo>
                  <a:pt x="2041" y="117"/>
                  <a:pt x="2042" y="117"/>
                  <a:pt x="2043" y="117"/>
                </a:cubicBezTo>
                <a:cubicBezTo>
                  <a:pt x="2045" y="117"/>
                  <a:pt x="2047" y="118"/>
                  <a:pt x="2048" y="117"/>
                </a:cubicBezTo>
                <a:cubicBezTo>
                  <a:pt x="2049" y="116"/>
                  <a:pt x="2050" y="116"/>
                  <a:pt x="2051" y="116"/>
                </a:cubicBezTo>
                <a:cubicBezTo>
                  <a:pt x="2051" y="115"/>
                  <a:pt x="2052" y="115"/>
                  <a:pt x="2052" y="115"/>
                </a:cubicBezTo>
                <a:cubicBezTo>
                  <a:pt x="2053" y="115"/>
                  <a:pt x="2054" y="115"/>
                  <a:pt x="2054" y="115"/>
                </a:cubicBezTo>
                <a:cubicBezTo>
                  <a:pt x="2054" y="114"/>
                  <a:pt x="2054" y="114"/>
                  <a:pt x="2054" y="113"/>
                </a:cubicBezTo>
                <a:cubicBezTo>
                  <a:pt x="2055" y="113"/>
                  <a:pt x="2055" y="113"/>
                  <a:pt x="2055" y="113"/>
                </a:cubicBezTo>
                <a:cubicBezTo>
                  <a:pt x="2057" y="113"/>
                  <a:pt x="2055" y="112"/>
                  <a:pt x="2055" y="111"/>
                </a:cubicBezTo>
                <a:cubicBezTo>
                  <a:pt x="2055" y="111"/>
                  <a:pt x="2054" y="110"/>
                  <a:pt x="2055" y="109"/>
                </a:cubicBezTo>
                <a:cubicBezTo>
                  <a:pt x="2056" y="109"/>
                  <a:pt x="2056" y="109"/>
                  <a:pt x="2057" y="109"/>
                </a:cubicBezTo>
                <a:cubicBezTo>
                  <a:pt x="2058" y="109"/>
                  <a:pt x="2059" y="109"/>
                  <a:pt x="2060" y="108"/>
                </a:cubicBezTo>
                <a:cubicBezTo>
                  <a:pt x="2061" y="108"/>
                  <a:pt x="2061" y="107"/>
                  <a:pt x="2062" y="106"/>
                </a:cubicBezTo>
                <a:cubicBezTo>
                  <a:pt x="2063" y="106"/>
                  <a:pt x="2063" y="106"/>
                  <a:pt x="2063" y="106"/>
                </a:cubicBezTo>
                <a:cubicBezTo>
                  <a:pt x="2064" y="106"/>
                  <a:pt x="2064" y="105"/>
                  <a:pt x="2065" y="105"/>
                </a:cubicBezTo>
                <a:cubicBezTo>
                  <a:pt x="2065" y="105"/>
                  <a:pt x="2066" y="104"/>
                  <a:pt x="2066" y="104"/>
                </a:cubicBezTo>
                <a:cubicBezTo>
                  <a:pt x="2067" y="104"/>
                  <a:pt x="2067" y="104"/>
                  <a:pt x="2067" y="104"/>
                </a:cubicBezTo>
                <a:cubicBezTo>
                  <a:pt x="2068" y="104"/>
                  <a:pt x="2068" y="104"/>
                  <a:pt x="2069" y="104"/>
                </a:cubicBezTo>
                <a:cubicBezTo>
                  <a:pt x="2069" y="104"/>
                  <a:pt x="2069" y="104"/>
                  <a:pt x="2069" y="103"/>
                </a:cubicBezTo>
                <a:cubicBezTo>
                  <a:pt x="2069" y="103"/>
                  <a:pt x="2070" y="103"/>
                  <a:pt x="2070" y="102"/>
                </a:cubicBezTo>
                <a:cubicBezTo>
                  <a:pt x="2071" y="102"/>
                  <a:pt x="2070" y="102"/>
                  <a:pt x="2070" y="101"/>
                </a:cubicBezTo>
                <a:cubicBezTo>
                  <a:pt x="2070" y="101"/>
                  <a:pt x="2070" y="101"/>
                  <a:pt x="2069" y="101"/>
                </a:cubicBezTo>
                <a:cubicBezTo>
                  <a:pt x="2069" y="101"/>
                  <a:pt x="2069" y="101"/>
                  <a:pt x="2069" y="101"/>
                </a:cubicBezTo>
                <a:cubicBezTo>
                  <a:pt x="2068" y="100"/>
                  <a:pt x="2069" y="100"/>
                  <a:pt x="2069" y="99"/>
                </a:cubicBezTo>
                <a:cubicBezTo>
                  <a:pt x="2070" y="99"/>
                  <a:pt x="2069" y="98"/>
                  <a:pt x="2070" y="98"/>
                </a:cubicBezTo>
                <a:cubicBezTo>
                  <a:pt x="2070" y="98"/>
                  <a:pt x="2071" y="98"/>
                  <a:pt x="2071" y="97"/>
                </a:cubicBezTo>
                <a:cubicBezTo>
                  <a:pt x="2070" y="97"/>
                  <a:pt x="2070" y="97"/>
                  <a:pt x="2069" y="97"/>
                </a:cubicBezTo>
                <a:cubicBezTo>
                  <a:pt x="2069" y="97"/>
                  <a:pt x="2069" y="97"/>
                  <a:pt x="2069" y="97"/>
                </a:cubicBezTo>
                <a:cubicBezTo>
                  <a:pt x="2069" y="97"/>
                  <a:pt x="2068" y="97"/>
                  <a:pt x="2068" y="97"/>
                </a:cubicBezTo>
                <a:cubicBezTo>
                  <a:pt x="2067" y="97"/>
                  <a:pt x="2067" y="97"/>
                  <a:pt x="2066" y="96"/>
                </a:cubicBezTo>
                <a:cubicBezTo>
                  <a:pt x="2065" y="96"/>
                  <a:pt x="2064" y="95"/>
                  <a:pt x="2062" y="95"/>
                </a:cubicBezTo>
                <a:cubicBezTo>
                  <a:pt x="2061" y="95"/>
                  <a:pt x="2061" y="95"/>
                  <a:pt x="2060" y="95"/>
                </a:cubicBezTo>
                <a:cubicBezTo>
                  <a:pt x="2059" y="95"/>
                  <a:pt x="2059" y="95"/>
                  <a:pt x="2058" y="94"/>
                </a:cubicBezTo>
                <a:cubicBezTo>
                  <a:pt x="2057" y="94"/>
                  <a:pt x="2055" y="95"/>
                  <a:pt x="2054" y="94"/>
                </a:cubicBezTo>
                <a:cubicBezTo>
                  <a:pt x="2053" y="94"/>
                  <a:pt x="2053" y="94"/>
                  <a:pt x="2052" y="94"/>
                </a:cubicBezTo>
                <a:cubicBezTo>
                  <a:pt x="2052" y="93"/>
                  <a:pt x="2051" y="93"/>
                  <a:pt x="2050" y="93"/>
                </a:cubicBezTo>
                <a:cubicBezTo>
                  <a:pt x="2050" y="93"/>
                  <a:pt x="2049" y="93"/>
                  <a:pt x="2048" y="93"/>
                </a:cubicBezTo>
                <a:cubicBezTo>
                  <a:pt x="2048" y="93"/>
                  <a:pt x="2047" y="93"/>
                  <a:pt x="2047" y="92"/>
                </a:cubicBezTo>
                <a:cubicBezTo>
                  <a:pt x="2045" y="92"/>
                  <a:pt x="2044" y="92"/>
                  <a:pt x="2042" y="92"/>
                </a:cubicBezTo>
                <a:cubicBezTo>
                  <a:pt x="2041" y="91"/>
                  <a:pt x="2040" y="91"/>
                  <a:pt x="2040" y="91"/>
                </a:cubicBezTo>
                <a:cubicBezTo>
                  <a:pt x="2039" y="91"/>
                  <a:pt x="2038" y="91"/>
                  <a:pt x="2037" y="90"/>
                </a:cubicBezTo>
                <a:cubicBezTo>
                  <a:pt x="2037" y="90"/>
                  <a:pt x="2037" y="90"/>
                  <a:pt x="2036" y="90"/>
                </a:cubicBezTo>
                <a:cubicBezTo>
                  <a:pt x="2036" y="90"/>
                  <a:pt x="2036" y="90"/>
                  <a:pt x="2036" y="91"/>
                </a:cubicBezTo>
                <a:cubicBezTo>
                  <a:pt x="2036" y="91"/>
                  <a:pt x="2036" y="91"/>
                  <a:pt x="2036" y="92"/>
                </a:cubicBezTo>
                <a:cubicBezTo>
                  <a:pt x="2036" y="92"/>
                  <a:pt x="2035" y="92"/>
                  <a:pt x="2035" y="92"/>
                </a:cubicBezTo>
                <a:cubicBezTo>
                  <a:pt x="2035" y="92"/>
                  <a:pt x="2034" y="91"/>
                  <a:pt x="2033" y="92"/>
                </a:cubicBezTo>
                <a:cubicBezTo>
                  <a:pt x="2033" y="92"/>
                  <a:pt x="2033" y="92"/>
                  <a:pt x="2032" y="92"/>
                </a:cubicBezTo>
                <a:cubicBezTo>
                  <a:pt x="2032" y="92"/>
                  <a:pt x="2031" y="92"/>
                  <a:pt x="2031" y="92"/>
                </a:cubicBezTo>
                <a:cubicBezTo>
                  <a:pt x="2031" y="92"/>
                  <a:pt x="2030" y="92"/>
                  <a:pt x="2030" y="93"/>
                </a:cubicBezTo>
                <a:cubicBezTo>
                  <a:pt x="2030" y="93"/>
                  <a:pt x="2031" y="93"/>
                  <a:pt x="2030" y="94"/>
                </a:cubicBezTo>
                <a:cubicBezTo>
                  <a:pt x="2029" y="94"/>
                  <a:pt x="2029" y="94"/>
                  <a:pt x="2028" y="95"/>
                </a:cubicBezTo>
                <a:cubicBezTo>
                  <a:pt x="2027" y="95"/>
                  <a:pt x="2027" y="96"/>
                  <a:pt x="2026" y="96"/>
                </a:cubicBezTo>
                <a:cubicBezTo>
                  <a:pt x="2026" y="97"/>
                  <a:pt x="2024" y="97"/>
                  <a:pt x="2023" y="97"/>
                </a:cubicBezTo>
                <a:cubicBezTo>
                  <a:pt x="2023" y="96"/>
                  <a:pt x="2023" y="96"/>
                  <a:pt x="2023" y="95"/>
                </a:cubicBezTo>
                <a:cubicBezTo>
                  <a:pt x="2023" y="95"/>
                  <a:pt x="2022" y="95"/>
                  <a:pt x="2022" y="94"/>
                </a:cubicBezTo>
                <a:cubicBezTo>
                  <a:pt x="2022" y="94"/>
                  <a:pt x="2022" y="94"/>
                  <a:pt x="2023" y="93"/>
                </a:cubicBezTo>
                <a:cubicBezTo>
                  <a:pt x="2023" y="93"/>
                  <a:pt x="2023" y="94"/>
                  <a:pt x="2024" y="93"/>
                </a:cubicBezTo>
                <a:cubicBezTo>
                  <a:pt x="2024" y="93"/>
                  <a:pt x="2024" y="93"/>
                  <a:pt x="2025" y="92"/>
                </a:cubicBezTo>
                <a:cubicBezTo>
                  <a:pt x="2025" y="92"/>
                  <a:pt x="2025" y="92"/>
                  <a:pt x="2026" y="92"/>
                </a:cubicBezTo>
                <a:cubicBezTo>
                  <a:pt x="2026" y="91"/>
                  <a:pt x="2025" y="91"/>
                  <a:pt x="2024" y="90"/>
                </a:cubicBezTo>
                <a:cubicBezTo>
                  <a:pt x="2024" y="90"/>
                  <a:pt x="2024" y="90"/>
                  <a:pt x="2023" y="89"/>
                </a:cubicBezTo>
                <a:cubicBezTo>
                  <a:pt x="2023" y="89"/>
                  <a:pt x="2023" y="88"/>
                  <a:pt x="2023" y="88"/>
                </a:cubicBezTo>
                <a:cubicBezTo>
                  <a:pt x="2022" y="88"/>
                  <a:pt x="2021" y="88"/>
                  <a:pt x="2021" y="88"/>
                </a:cubicBezTo>
                <a:cubicBezTo>
                  <a:pt x="2020" y="87"/>
                  <a:pt x="2020" y="86"/>
                  <a:pt x="2019" y="86"/>
                </a:cubicBezTo>
                <a:cubicBezTo>
                  <a:pt x="2019" y="87"/>
                  <a:pt x="2020" y="87"/>
                  <a:pt x="2019" y="88"/>
                </a:cubicBezTo>
                <a:cubicBezTo>
                  <a:pt x="2019" y="88"/>
                  <a:pt x="2018" y="88"/>
                  <a:pt x="2018" y="88"/>
                </a:cubicBezTo>
                <a:cubicBezTo>
                  <a:pt x="2017" y="88"/>
                  <a:pt x="2017" y="88"/>
                  <a:pt x="2017" y="88"/>
                </a:cubicBezTo>
                <a:cubicBezTo>
                  <a:pt x="2016" y="88"/>
                  <a:pt x="2016" y="88"/>
                  <a:pt x="2015" y="88"/>
                </a:cubicBezTo>
                <a:cubicBezTo>
                  <a:pt x="2014" y="88"/>
                  <a:pt x="2014" y="90"/>
                  <a:pt x="2015" y="91"/>
                </a:cubicBezTo>
                <a:cubicBezTo>
                  <a:pt x="2015" y="91"/>
                  <a:pt x="2015" y="91"/>
                  <a:pt x="2015" y="91"/>
                </a:cubicBezTo>
                <a:cubicBezTo>
                  <a:pt x="2016" y="91"/>
                  <a:pt x="2016" y="91"/>
                  <a:pt x="2016" y="91"/>
                </a:cubicBezTo>
                <a:cubicBezTo>
                  <a:pt x="2016" y="91"/>
                  <a:pt x="2016" y="91"/>
                  <a:pt x="2016" y="92"/>
                </a:cubicBezTo>
                <a:cubicBezTo>
                  <a:pt x="2017" y="92"/>
                  <a:pt x="2018" y="92"/>
                  <a:pt x="2017" y="92"/>
                </a:cubicBezTo>
                <a:cubicBezTo>
                  <a:pt x="2017" y="93"/>
                  <a:pt x="2016" y="92"/>
                  <a:pt x="2016" y="92"/>
                </a:cubicBezTo>
                <a:cubicBezTo>
                  <a:pt x="2015" y="93"/>
                  <a:pt x="2016" y="94"/>
                  <a:pt x="2016" y="95"/>
                </a:cubicBezTo>
                <a:cubicBezTo>
                  <a:pt x="2016" y="96"/>
                  <a:pt x="2015" y="97"/>
                  <a:pt x="2015" y="98"/>
                </a:cubicBezTo>
                <a:cubicBezTo>
                  <a:pt x="2014" y="98"/>
                  <a:pt x="2014" y="101"/>
                  <a:pt x="2013" y="100"/>
                </a:cubicBezTo>
                <a:cubicBezTo>
                  <a:pt x="2013" y="99"/>
                  <a:pt x="2013" y="99"/>
                  <a:pt x="2013" y="99"/>
                </a:cubicBezTo>
                <a:cubicBezTo>
                  <a:pt x="2012" y="98"/>
                  <a:pt x="2012" y="98"/>
                  <a:pt x="2012" y="98"/>
                </a:cubicBezTo>
                <a:cubicBezTo>
                  <a:pt x="2011" y="98"/>
                  <a:pt x="2011" y="97"/>
                  <a:pt x="2011" y="97"/>
                </a:cubicBezTo>
                <a:cubicBezTo>
                  <a:pt x="2010" y="97"/>
                  <a:pt x="2010" y="97"/>
                  <a:pt x="2010" y="97"/>
                </a:cubicBezTo>
                <a:cubicBezTo>
                  <a:pt x="2009" y="97"/>
                  <a:pt x="2008" y="97"/>
                  <a:pt x="2007" y="97"/>
                </a:cubicBezTo>
                <a:cubicBezTo>
                  <a:pt x="2007" y="97"/>
                  <a:pt x="2006" y="97"/>
                  <a:pt x="2006" y="96"/>
                </a:cubicBezTo>
                <a:cubicBezTo>
                  <a:pt x="2006" y="96"/>
                  <a:pt x="2007" y="96"/>
                  <a:pt x="2007" y="96"/>
                </a:cubicBezTo>
                <a:cubicBezTo>
                  <a:pt x="2008" y="95"/>
                  <a:pt x="2006" y="95"/>
                  <a:pt x="2006" y="95"/>
                </a:cubicBezTo>
                <a:cubicBezTo>
                  <a:pt x="2005" y="95"/>
                  <a:pt x="2004" y="95"/>
                  <a:pt x="2003" y="95"/>
                </a:cubicBezTo>
                <a:cubicBezTo>
                  <a:pt x="2002" y="95"/>
                  <a:pt x="2001" y="95"/>
                  <a:pt x="2000" y="95"/>
                </a:cubicBezTo>
                <a:cubicBezTo>
                  <a:pt x="1999" y="95"/>
                  <a:pt x="1998" y="95"/>
                  <a:pt x="1997" y="94"/>
                </a:cubicBezTo>
                <a:cubicBezTo>
                  <a:pt x="1996" y="94"/>
                  <a:pt x="1996" y="93"/>
                  <a:pt x="1995" y="92"/>
                </a:cubicBezTo>
                <a:cubicBezTo>
                  <a:pt x="1995" y="92"/>
                  <a:pt x="1994" y="91"/>
                  <a:pt x="1993" y="91"/>
                </a:cubicBezTo>
                <a:cubicBezTo>
                  <a:pt x="1992" y="91"/>
                  <a:pt x="1991" y="90"/>
                  <a:pt x="1990" y="90"/>
                </a:cubicBezTo>
                <a:cubicBezTo>
                  <a:pt x="1989" y="89"/>
                  <a:pt x="1988" y="89"/>
                  <a:pt x="1988" y="88"/>
                </a:cubicBezTo>
                <a:cubicBezTo>
                  <a:pt x="1987" y="88"/>
                  <a:pt x="1986" y="88"/>
                  <a:pt x="1986" y="88"/>
                </a:cubicBezTo>
                <a:cubicBezTo>
                  <a:pt x="1985" y="88"/>
                  <a:pt x="1985" y="87"/>
                  <a:pt x="1985" y="87"/>
                </a:cubicBezTo>
                <a:cubicBezTo>
                  <a:pt x="1984" y="86"/>
                  <a:pt x="1983" y="87"/>
                  <a:pt x="1982" y="88"/>
                </a:cubicBezTo>
                <a:cubicBezTo>
                  <a:pt x="1982" y="88"/>
                  <a:pt x="1982" y="88"/>
                  <a:pt x="1981" y="88"/>
                </a:cubicBezTo>
                <a:cubicBezTo>
                  <a:pt x="1981" y="88"/>
                  <a:pt x="1981" y="89"/>
                  <a:pt x="1981" y="89"/>
                </a:cubicBezTo>
                <a:cubicBezTo>
                  <a:pt x="1982" y="89"/>
                  <a:pt x="1982" y="89"/>
                  <a:pt x="1983" y="89"/>
                </a:cubicBezTo>
                <a:cubicBezTo>
                  <a:pt x="1984" y="89"/>
                  <a:pt x="1984" y="89"/>
                  <a:pt x="1984" y="90"/>
                </a:cubicBezTo>
                <a:cubicBezTo>
                  <a:pt x="1985" y="90"/>
                  <a:pt x="1986" y="89"/>
                  <a:pt x="1986" y="91"/>
                </a:cubicBezTo>
                <a:cubicBezTo>
                  <a:pt x="1986" y="91"/>
                  <a:pt x="1985" y="91"/>
                  <a:pt x="1985" y="91"/>
                </a:cubicBezTo>
                <a:cubicBezTo>
                  <a:pt x="1985" y="92"/>
                  <a:pt x="1985" y="92"/>
                  <a:pt x="1985" y="92"/>
                </a:cubicBezTo>
                <a:cubicBezTo>
                  <a:pt x="1984" y="94"/>
                  <a:pt x="1984" y="94"/>
                  <a:pt x="1983" y="94"/>
                </a:cubicBezTo>
                <a:cubicBezTo>
                  <a:pt x="1982" y="93"/>
                  <a:pt x="1981" y="93"/>
                  <a:pt x="1980" y="92"/>
                </a:cubicBezTo>
                <a:cubicBezTo>
                  <a:pt x="1980" y="92"/>
                  <a:pt x="1980" y="92"/>
                  <a:pt x="1980" y="92"/>
                </a:cubicBezTo>
                <a:cubicBezTo>
                  <a:pt x="1979" y="91"/>
                  <a:pt x="1979" y="91"/>
                  <a:pt x="1978" y="91"/>
                </a:cubicBezTo>
                <a:cubicBezTo>
                  <a:pt x="1977" y="91"/>
                  <a:pt x="1977" y="90"/>
                  <a:pt x="1976" y="91"/>
                </a:cubicBezTo>
                <a:cubicBezTo>
                  <a:pt x="1976" y="91"/>
                  <a:pt x="1977" y="91"/>
                  <a:pt x="1977" y="92"/>
                </a:cubicBezTo>
                <a:cubicBezTo>
                  <a:pt x="1977" y="92"/>
                  <a:pt x="1977" y="93"/>
                  <a:pt x="1977" y="93"/>
                </a:cubicBezTo>
                <a:cubicBezTo>
                  <a:pt x="1977" y="93"/>
                  <a:pt x="1978" y="94"/>
                  <a:pt x="1978" y="94"/>
                </a:cubicBezTo>
                <a:cubicBezTo>
                  <a:pt x="1978" y="94"/>
                  <a:pt x="1977" y="94"/>
                  <a:pt x="1977" y="94"/>
                </a:cubicBezTo>
                <a:cubicBezTo>
                  <a:pt x="1977" y="94"/>
                  <a:pt x="1976" y="94"/>
                  <a:pt x="1976" y="94"/>
                </a:cubicBezTo>
                <a:cubicBezTo>
                  <a:pt x="1974" y="94"/>
                  <a:pt x="1974" y="95"/>
                  <a:pt x="1973" y="95"/>
                </a:cubicBezTo>
                <a:cubicBezTo>
                  <a:pt x="1972" y="95"/>
                  <a:pt x="1971" y="95"/>
                  <a:pt x="1970" y="95"/>
                </a:cubicBezTo>
                <a:cubicBezTo>
                  <a:pt x="1968" y="95"/>
                  <a:pt x="1967" y="96"/>
                  <a:pt x="1965" y="96"/>
                </a:cubicBezTo>
                <a:cubicBezTo>
                  <a:pt x="1965" y="96"/>
                  <a:pt x="1964" y="96"/>
                  <a:pt x="1964" y="96"/>
                </a:cubicBezTo>
                <a:cubicBezTo>
                  <a:pt x="1963" y="96"/>
                  <a:pt x="1962" y="96"/>
                  <a:pt x="1962" y="96"/>
                </a:cubicBezTo>
                <a:cubicBezTo>
                  <a:pt x="1962" y="97"/>
                  <a:pt x="1963" y="97"/>
                  <a:pt x="1964" y="97"/>
                </a:cubicBezTo>
                <a:close/>
                <a:moveTo>
                  <a:pt x="2038" y="159"/>
                </a:moveTo>
                <a:cubicBezTo>
                  <a:pt x="2039" y="159"/>
                  <a:pt x="2039" y="158"/>
                  <a:pt x="2040" y="158"/>
                </a:cubicBezTo>
                <a:cubicBezTo>
                  <a:pt x="2040" y="157"/>
                  <a:pt x="2041" y="157"/>
                  <a:pt x="2042" y="157"/>
                </a:cubicBezTo>
                <a:cubicBezTo>
                  <a:pt x="2043" y="157"/>
                  <a:pt x="2044" y="157"/>
                  <a:pt x="2043" y="156"/>
                </a:cubicBezTo>
                <a:cubicBezTo>
                  <a:pt x="2043" y="156"/>
                  <a:pt x="2043" y="156"/>
                  <a:pt x="2042" y="156"/>
                </a:cubicBezTo>
                <a:cubicBezTo>
                  <a:pt x="2042" y="155"/>
                  <a:pt x="2042" y="155"/>
                  <a:pt x="2041" y="155"/>
                </a:cubicBezTo>
                <a:cubicBezTo>
                  <a:pt x="2041" y="155"/>
                  <a:pt x="2040" y="155"/>
                  <a:pt x="2039" y="154"/>
                </a:cubicBezTo>
                <a:cubicBezTo>
                  <a:pt x="2039" y="154"/>
                  <a:pt x="2038" y="153"/>
                  <a:pt x="2037" y="153"/>
                </a:cubicBezTo>
                <a:cubicBezTo>
                  <a:pt x="2037" y="153"/>
                  <a:pt x="2036" y="153"/>
                  <a:pt x="2035" y="153"/>
                </a:cubicBezTo>
                <a:cubicBezTo>
                  <a:pt x="2034" y="153"/>
                  <a:pt x="2033" y="154"/>
                  <a:pt x="2033" y="154"/>
                </a:cubicBezTo>
                <a:cubicBezTo>
                  <a:pt x="2032" y="154"/>
                  <a:pt x="2031" y="154"/>
                  <a:pt x="2030" y="154"/>
                </a:cubicBezTo>
                <a:cubicBezTo>
                  <a:pt x="2029" y="154"/>
                  <a:pt x="2029" y="153"/>
                  <a:pt x="2028" y="152"/>
                </a:cubicBezTo>
                <a:cubicBezTo>
                  <a:pt x="2027" y="152"/>
                  <a:pt x="2027" y="152"/>
                  <a:pt x="2026" y="152"/>
                </a:cubicBezTo>
                <a:cubicBezTo>
                  <a:pt x="2026" y="152"/>
                  <a:pt x="2025" y="151"/>
                  <a:pt x="2025" y="151"/>
                </a:cubicBezTo>
                <a:cubicBezTo>
                  <a:pt x="2025" y="151"/>
                  <a:pt x="2025" y="150"/>
                  <a:pt x="2025" y="150"/>
                </a:cubicBezTo>
                <a:cubicBezTo>
                  <a:pt x="2025" y="150"/>
                  <a:pt x="2025" y="149"/>
                  <a:pt x="2025" y="149"/>
                </a:cubicBezTo>
                <a:cubicBezTo>
                  <a:pt x="2026" y="148"/>
                  <a:pt x="2027" y="148"/>
                  <a:pt x="2027" y="147"/>
                </a:cubicBezTo>
                <a:cubicBezTo>
                  <a:pt x="2027" y="146"/>
                  <a:pt x="2026" y="145"/>
                  <a:pt x="2025" y="145"/>
                </a:cubicBezTo>
                <a:cubicBezTo>
                  <a:pt x="2024" y="145"/>
                  <a:pt x="2023" y="145"/>
                  <a:pt x="2023" y="145"/>
                </a:cubicBezTo>
                <a:cubicBezTo>
                  <a:pt x="2022" y="144"/>
                  <a:pt x="2021" y="144"/>
                  <a:pt x="2020" y="144"/>
                </a:cubicBezTo>
                <a:cubicBezTo>
                  <a:pt x="2019" y="144"/>
                  <a:pt x="2017" y="144"/>
                  <a:pt x="2016" y="145"/>
                </a:cubicBezTo>
                <a:cubicBezTo>
                  <a:pt x="2016" y="145"/>
                  <a:pt x="2016" y="145"/>
                  <a:pt x="2015" y="146"/>
                </a:cubicBezTo>
                <a:cubicBezTo>
                  <a:pt x="2015" y="146"/>
                  <a:pt x="2014" y="145"/>
                  <a:pt x="2013" y="145"/>
                </a:cubicBezTo>
                <a:cubicBezTo>
                  <a:pt x="2013" y="145"/>
                  <a:pt x="2013" y="145"/>
                  <a:pt x="2012" y="145"/>
                </a:cubicBezTo>
                <a:cubicBezTo>
                  <a:pt x="2011" y="145"/>
                  <a:pt x="2011" y="145"/>
                  <a:pt x="2010" y="145"/>
                </a:cubicBezTo>
                <a:cubicBezTo>
                  <a:pt x="2009" y="145"/>
                  <a:pt x="2009" y="146"/>
                  <a:pt x="2008" y="146"/>
                </a:cubicBezTo>
                <a:cubicBezTo>
                  <a:pt x="2008" y="146"/>
                  <a:pt x="2008" y="145"/>
                  <a:pt x="2007" y="145"/>
                </a:cubicBezTo>
                <a:cubicBezTo>
                  <a:pt x="2006" y="145"/>
                  <a:pt x="2006" y="145"/>
                  <a:pt x="2005" y="146"/>
                </a:cubicBezTo>
                <a:cubicBezTo>
                  <a:pt x="2004" y="146"/>
                  <a:pt x="2003" y="146"/>
                  <a:pt x="2002" y="146"/>
                </a:cubicBezTo>
                <a:cubicBezTo>
                  <a:pt x="2001" y="146"/>
                  <a:pt x="2001" y="147"/>
                  <a:pt x="2000" y="147"/>
                </a:cubicBezTo>
                <a:cubicBezTo>
                  <a:pt x="1999" y="147"/>
                  <a:pt x="1998" y="147"/>
                  <a:pt x="1998" y="148"/>
                </a:cubicBezTo>
                <a:cubicBezTo>
                  <a:pt x="1998" y="149"/>
                  <a:pt x="1999" y="149"/>
                  <a:pt x="2000" y="149"/>
                </a:cubicBezTo>
                <a:cubicBezTo>
                  <a:pt x="2000" y="149"/>
                  <a:pt x="2000" y="149"/>
                  <a:pt x="2001" y="150"/>
                </a:cubicBezTo>
                <a:cubicBezTo>
                  <a:pt x="2001" y="151"/>
                  <a:pt x="2002" y="151"/>
                  <a:pt x="2003" y="151"/>
                </a:cubicBezTo>
                <a:cubicBezTo>
                  <a:pt x="2004" y="152"/>
                  <a:pt x="2004" y="152"/>
                  <a:pt x="2005" y="152"/>
                </a:cubicBezTo>
                <a:cubicBezTo>
                  <a:pt x="2005" y="152"/>
                  <a:pt x="2006" y="152"/>
                  <a:pt x="2006" y="152"/>
                </a:cubicBezTo>
                <a:cubicBezTo>
                  <a:pt x="2006" y="152"/>
                  <a:pt x="2006" y="153"/>
                  <a:pt x="2006" y="153"/>
                </a:cubicBezTo>
                <a:cubicBezTo>
                  <a:pt x="2005" y="153"/>
                  <a:pt x="2005" y="153"/>
                  <a:pt x="2005" y="154"/>
                </a:cubicBezTo>
                <a:cubicBezTo>
                  <a:pt x="2005" y="154"/>
                  <a:pt x="2005" y="154"/>
                  <a:pt x="2004" y="155"/>
                </a:cubicBezTo>
                <a:cubicBezTo>
                  <a:pt x="2004" y="155"/>
                  <a:pt x="2003" y="156"/>
                  <a:pt x="2003" y="156"/>
                </a:cubicBezTo>
                <a:cubicBezTo>
                  <a:pt x="2002" y="157"/>
                  <a:pt x="2002" y="158"/>
                  <a:pt x="2002" y="158"/>
                </a:cubicBezTo>
                <a:cubicBezTo>
                  <a:pt x="2002" y="159"/>
                  <a:pt x="2002" y="160"/>
                  <a:pt x="2001" y="160"/>
                </a:cubicBezTo>
                <a:cubicBezTo>
                  <a:pt x="2001" y="160"/>
                  <a:pt x="2000" y="160"/>
                  <a:pt x="2000" y="160"/>
                </a:cubicBezTo>
                <a:cubicBezTo>
                  <a:pt x="1999" y="160"/>
                  <a:pt x="1998" y="160"/>
                  <a:pt x="1998" y="161"/>
                </a:cubicBezTo>
                <a:cubicBezTo>
                  <a:pt x="1998" y="162"/>
                  <a:pt x="1998" y="162"/>
                  <a:pt x="1998" y="162"/>
                </a:cubicBezTo>
                <a:cubicBezTo>
                  <a:pt x="1997" y="163"/>
                  <a:pt x="1997" y="163"/>
                  <a:pt x="1997" y="163"/>
                </a:cubicBezTo>
                <a:cubicBezTo>
                  <a:pt x="1997" y="164"/>
                  <a:pt x="1999" y="163"/>
                  <a:pt x="1999" y="163"/>
                </a:cubicBezTo>
                <a:cubicBezTo>
                  <a:pt x="2000" y="163"/>
                  <a:pt x="2001" y="163"/>
                  <a:pt x="2002" y="163"/>
                </a:cubicBezTo>
                <a:cubicBezTo>
                  <a:pt x="2003" y="163"/>
                  <a:pt x="2004" y="163"/>
                  <a:pt x="2005" y="163"/>
                </a:cubicBezTo>
                <a:cubicBezTo>
                  <a:pt x="2005" y="163"/>
                  <a:pt x="2006" y="163"/>
                  <a:pt x="2007" y="163"/>
                </a:cubicBezTo>
                <a:cubicBezTo>
                  <a:pt x="2008" y="163"/>
                  <a:pt x="2009" y="162"/>
                  <a:pt x="2010" y="162"/>
                </a:cubicBezTo>
                <a:cubicBezTo>
                  <a:pt x="2011" y="162"/>
                  <a:pt x="2011" y="162"/>
                  <a:pt x="2012" y="162"/>
                </a:cubicBezTo>
                <a:cubicBezTo>
                  <a:pt x="2013" y="162"/>
                  <a:pt x="2014" y="161"/>
                  <a:pt x="2015" y="162"/>
                </a:cubicBezTo>
                <a:cubicBezTo>
                  <a:pt x="2015" y="162"/>
                  <a:pt x="2016" y="162"/>
                  <a:pt x="2017" y="162"/>
                </a:cubicBezTo>
                <a:cubicBezTo>
                  <a:pt x="2018" y="162"/>
                  <a:pt x="2020" y="161"/>
                  <a:pt x="2019" y="162"/>
                </a:cubicBezTo>
                <a:cubicBezTo>
                  <a:pt x="2018" y="162"/>
                  <a:pt x="2018" y="162"/>
                  <a:pt x="2018" y="163"/>
                </a:cubicBezTo>
                <a:cubicBezTo>
                  <a:pt x="2018" y="163"/>
                  <a:pt x="2018" y="163"/>
                  <a:pt x="2018" y="163"/>
                </a:cubicBezTo>
                <a:cubicBezTo>
                  <a:pt x="2017" y="163"/>
                  <a:pt x="2017" y="164"/>
                  <a:pt x="2017" y="164"/>
                </a:cubicBezTo>
                <a:cubicBezTo>
                  <a:pt x="2016" y="164"/>
                  <a:pt x="2016" y="164"/>
                  <a:pt x="2016" y="164"/>
                </a:cubicBezTo>
                <a:cubicBezTo>
                  <a:pt x="2015" y="164"/>
                  <a:pt x="2016" y="165"/>
                  <a:pt x="2016" y="165"/>
                </a:cubicBezTo>
                <a:cubicBezTo>
                  <a:pt x="2016" y="166"/>
                  <a:pt x="2017" y="166"/>
                  <a:pt x="2017" y="166"/>
                </a:cubicBezTo>
                <a:cubicBezTo>
                  <a:pt x="2017" y="166"/>
                  <a:pt x="2017" y="166"/>
                  <a:pt x="2017" y="167"/>
                </a:cubicBezTo>
                <a:cubicBezTo>
                  <a:pt x="2018" y="167"/>
                  <a:pt x="2018" y="167"/>
                  <a:pt x="2018" y="167"/>
                </a:cubicBezTo>
                <a:cubicBezTo>
                  <a:pt x="2019" y="168"/>
                  <a:pt x="2019" y="168"/>
                  <a:pt x="2019" y="168"/>
                </a:cubicBezTo>
                <a:cubicBezTo>
                  <a:pt x="2020" y="169"/>
                  <a:pt x="2020" y="168"/>
                  <a:pt x="2021" y="167"/>
                </a:cubicBezTo>
                <a:cubicBezTo>
                  <a:pt x="2021" y="167"/>
                  <a:pt x="2021" y="167"/>
                  <a:pt x="2021" y="167"/>
                </a:cubicBezTo>
                <a:cubicBezTo>
                  <a:pt x="2022" y="166"/>
                  <a:pt x="2022" y="166"/>
                  <a:pt x="2022" y="166"/>
                </a:cubicBezTo>
                <a:cubicBezTo>
                  <a:pt x="2024" y="166"/>
                  <a:pt x="2026" y="167"/>
                  <a:pt x="2027" y="165"/>
                </a:cubicBezTo>
                <a:cubicBezTo>
                  <a:pt x="2028" y="165"/>
                  <a:pt x="2029" y="164"/>
                  <a:pt x="2029" y="164"/>
                </a:cubicBezTo>
                <a:cubicBezTo>
                  <a:pt x="2030" y="164"/>
                  <a:pt x="2031" y="164"/>
                  <a:pt x="2032" y="163"/>
                </a:cubicBezTo>
                <a:cubicBezTo>
                  <a:pt x="2033" y="163"/>
                  <a:pt x="2033" y="162"/>
                  <a:pt x="2034" y="161"/>
                </a:cubicBezTo>
                <a:cubicBezTo>
                  <a:pt x="2034" y="161"/>
                  <a:pt x="2035" y="160"/>
                  <a:pt x="2035" y="160"/>
                </a:cubicBezTo>
                <a:cubicBezTo>
                  <a:pt x="2036" y="160"/>
                  <a:pt x="2037" y="159"/>
                  <a:pt x="2038" y="159"/>
                </a:cubicBezTo>
                <a:close/>
                <a:moveTo>
                  <a:pt x="1993" y="327"/>
                </a:moveTo>
                <a:cubicBezTo>
                  <a:pt x="1993" y="328"/>
                  <a:pt x="1993" y="328"/>
                  <a:pt x="1994" y="328"/>
                </a:cubicBezTo>
                <a:cubicBezTo>
                  <a:pt x="1994" y="328"/>
                  <a:pt x="1995" y="328"/>
                  <a:pt x="1995" y="328"/>
                </a:cubicBezTo>
                <a:cubicBezTo>
                  <a:pt x="1995" y="328"/>
                  <a:pt x="1995" y="328"/>
                  <a:pt x="1996" y="328"/>
                </a:cubicBezTo>
                <a:cubicBezTo>
                  <a:pt x="1996" y="328"/>
                  <a:pt x="1996" y="328"/>
                  <a:pt x="1997" y="327"/>
                </a:cubicBezTo>
                <a:cubicBezTo>
                  <a:pt x="1997" y="326"/>
                  <a:pt x="1998" y="326"/>
                  <a:pt x="1997" y="325"/>
                </a:cubicBezTo>
                <a:cubicBezTo>
                  <a:pt x="1997" y="325"/>
                  <a:pt x="1997" y="325"/>
                  <a:pt x="1996" y="325"/>
                </a:cubicBezTo>
                <a:cubicBezTo>
                  <a:pt x="1996" y="325"/>
                  <a:pt x="1996" y="325"/>
                  <a:pt x="1995" y="325"/>
                </a:cubicBezTo>
                <a:cubicBezTo>
                  <a:pt x="1995" y="326"/>
                  <a:pt x="1994" y="325"/>
                  <a:pt x="1994" y="326"/>
                </a:cubicBezTo>
                <a:cubicBezTo>
                  <a:pt x="1994" y="326"/>
                  <a:pt x="1994" y="326"/>
                  <a:pt x="1993" y="326"/>
                </a:cubicBezTo>
                <a:cubicBezTo>
                  <a:pt x="1993" y="326"/>
                  <a:pt x="1993" y="326"/>
                  <a:pt x="1993" y="326"/>
                </a:cubicBezTo>
                <a:cubicBezTo>
                  <a:pt x="1992" y="326"/>
                  <a:pt x="1992" y="326"/>
                  <a:pt x="1992" y="326"/>
                </a:cubicBezTo>
                <a:cubicBezTo>
                  <a:pt x="1992" y="327"/>
                  <a:pt x="1993" y="327"/>
                  <a:pt x="1993" y="327"/>
                </a:cubicBezTo>
                <a:cubicBezTo>
                  <a:pt x="1993" y="327"/>
                  <a:pt x="1993" y="327"/>
                  <a:pt x="1993" y="327"/>
                </a:cubicBezTo>
                <a:close/>
                <a:moveTo>
                  <a:pt x="2424" y="75"/>
                </a:moveTo>
                <a:cubicBezTo>
                  <a:pt x="2423" y="75"/>
                  <a:pt x="2422" y="75"/>
                  <a:pt x="2421" y="75"/>
                </a:cubicBezTo>
                <a:cubicBezTo>
                  <a:pt x="2420" y="75"/>
                  <a:pt x="2419" y="75"/>
                  <a:pt x="2418" y="74"/>
                </a:cubicBezTo>
                <a:cubicBezTo>
                  <a:pt x="2417" y="74"/>
                  <a:pt x="2416" y="74"/>
                  <a:pt x="2415" y="74"/>
                </a:cubicBezTo>
                <a:cubicBezTo>
                  <a:pt x="2414" y="73"/>
                  <a:pt x="2413" y="73"/>
                  <a:pt x="2412" y="73"/>
                </a:cubicBezTo>
                <a:cubicBezTo>
                  <a:pt x="2410" y="73"/>
                  <a:pt x="2409" y="72"/>
                  <a:pt x="2408" y="72"/>
                </a:cubicBezTo>
                <a:cubicBezTo>
                  <a:pt x="2407" y="72"/>
                  <a:pt x="2406" y="72"/>
                  <a:pt x="2404" y="72"/>
                </a:cubicBezTo>
                <a:cubicBezTo>
                  <a:pt x="2404" y="71"/>
                  <a:pt x="2403" y="71"/>
                  <a:pt x="2403" y="71"/>
                </a:cubicBezTo>
                <a:cubicBezTo>
                  <a:pt x="2402" y="71"/>
                  <a:pt x="2402" y="71"/>
                  <a:pt x="2401" y="70"/>
                </a:cubicBezTo>
                <a:cubicBezTo>
                  <a:pt x="2401" y="70"/>
                  <a:pt x="2401" y="71"/>
                  <a:pt x="2401" y="71"/>
                </a:cubicBezTo>
                <a:cubicBezTo>
                  <a:pt x="2401" y="71"/>
                  <a:pt x="2402" y="71"/>
                  <a:pt x="2402" y="71"/>
                </a:cubicBezTo>
                <a:cubicBezTo>
                  <a:pt x="2403" y="72"/>
                  <a:pt x="2404" y="72"/>
                  <a:pt x="2404" y="72"/>
                </a:cubicBezTo>
                <a:cubicBezTo>
                  <a:pt x="2406" y="73"/>
                  <a:pt x="2408" y="72"/>
                  <a:pt x="2409" y="74"/>
                </a:cubicBezTo>
                <a:cubicBezTo>
                  <a:pt x="2410" y="75"/>
                  <a:pt x="2412" y="74"/>
                  <a:pt x="2413" y="75"/>
                </a:cubicBezTo>
                <a:cubicBezTo>
                  <a:pt x="2414" y="76"/>
                  <a:pt x="2414" y="76"/>
                  <a:pt x="2414" y="77"/>
                </a:cubicBezTo>
                <a:cubicBezTo>
                  <a:pt x="2415" y="77"/>
                  <a:pt x="2416" y="77"/>
                  <a:pt x="2417" y="77"/>
                </a:cubicBezTo>
                <a:cubicBezTo>
                  <a:pt x="2419" y="77"/>
                  <a:pt x="2420" y="76"/>
                  <a:pt x="2422" y="76"/>
                </a:cubicBezTo>
                <a:cubicBezTo>
                  <a:pt x="2423" y="76"/>
                  <a:pt x="2425" y="76"/>
                  <a:pt x="2424" y="75"/>
                </a:cubicBezTo>
                <a:close/>
                <a:moveTo>
                  <a:pt x="1883" y="115"/>
                </a:moveTo>
                <a:cubicBezTo>
                  <a:pt x="1884" y="116"/>
                  <a:pt x="1884" y="116"/>
                  <a:pt x="1884" y="116"/>
                </a:cubicBezTo>
                <a:cubicBezTo>
                  <a:pt x="1884" y="117"/>
                  <a:pt x="1885" y="117"/>
                  <a:pt x="1885" y="118"/>
                </a:cubicBezTo>
                <a:cubicBezTo>
                  <a:pt x="1885" y="118"/>
                  <a:pt x="1886" y="119"/>
                  <a:pt x="1886" y="119"/>
                </a:cubicBezTo>
                <a:cubicBezTo>
                  <a:pt x="1887" y="120"/>
                  <a:pt x="1887" y="120"/>
                  <a:pt x="1887" y="121"/>
                </a:cubicBezTo>
                <a:cubicBezTo>
                  <a:pt x="1887" y="122"/>
                  <a:pt x="1888" y="123"/>
                  <a:pt x="1889" y="122"/>
                </a:cubicBezTo>
                <a:cubicBezTo>
                  <a:pt x="1890" y="122"/>
                  <a:pt x="1890" y="123"/>
                  <a:pt x="1891" y="122"/>
                </a:cubicBezTo>
                <a:cubicBezTo>
                  <a:pt x="1892" y="122"/>
                  <a:pt x="1892" y="122"/>
                  <a:pt x="1892" y="121"/>
                </a:cubicBezTo>
                <a:cubicBezTo>
                  <a:pt x="1893" y="121"/>
                  <a:pt x="1893" y="120"/>
                  <a:pt x="1893" y="119"/>
                </a:cubicBezTo>
                <a:cubicBezTo>
                  <a:pt x="1893" y="119"/>
                  <a:pt x="1892" y="119"/>
                  <a:pt x="1892" y="119"/>
                </a:cubicBezTo>
                <a:cubicBezTo>
                  <a:pt x="1892" y="118"/>
                  <a:pt x="1892" y="118"/>
                  <a:pt x="1892" y="118"/>
                </a:cubicBezTo>
                <a:cubicBezTo>
                  <a:pt x="1893" y="117"/>
                  <a:pt x="1893" y="118"/>
                  <a:pt x="1894" y="118"/>
                </a:cubicBezTo>
                <a:cubicBezTo>
                  <a:pt x="1894" y="118"/>
                  <a:pt x="1894" y="118"/>
                  <a:pt x="1895" y="118"/>
                </a:cubicBezTo>
                <a:cubicBezTo>
                  <a:pt x="1895" y="119"/>
                  <a:pt x="1895" y="119"/>
                  <a:pt x="1895" y="119"/>
                </a:cubicBezTo>
                <a:cubicBezTo>
                  <a:pt x="1895" y="119"/>
                  <a:pt x="1895" y="120"/>
                  <a:pt x="1896" y="119"/>
                </a:cubicBezTo>
                <a:cubicBezTo>
                  <a:pt x="1896" y="119"/>
                  <a:pt x="1895" y="119"/>
                  <a:pt x="1895" y="119"/>
                </a:cubicBezTo>
                <a:cubicBezTo>
                  <a:pt x="1895" y="118"/>
                  <a:pt x="1896" y="118"/>
                  <a:pt x="1896" y="118"/>
                </a:cubicBezTo>
                <a:cubicBezTo>
                  <a:pt x="1897" y="118"/>
                  <a:pt x="1897" y="118"/>
                  <a:pt x="1897" y="118"/>
                </a:cubicBezTo>
                <a:cubicBezTo>
                  <a:pt x="1898" y="118"/>
                  <a:pt x="1898" y="119"/>
                  <a:pt x="1898" y="119"/>
                </a:cubicBezTo>
                <a:cubicBezTo>
                  <a:pt x="1897" y="120"/>
                  <a:pt x="1897" y="120"/>
                  <a:pt x="1896" y="121"/>
                </a:cubicBezTo>
                <a:cubicBezTo>
                  <a:pt x="1896" y="121"/>
                  <a:pt x="1895" y="121"/>
                  <a:pt x="1895" y="122"/>
                </a:cubicBezTo>
                <a:cubicBezTo>
                  <a:pt x="1895" y="122"/>
                  <a:pt x="1895" y="123"/>
                  <a:pt x="1894" y="123"/>
                </a:cubicBezTo>
                <a:cubicBezTo>
                  <a:pt x="1894" y="123"/>
                  <a:pt x="1894" y="123"/>
                  <a:pt x="1894" y="123"/>
                </a:cubicBezTo>
                <a:cubicBezTo>
                  <a:pt x="1894" y="124"/>
                  <a:pt x="1894" y="124"/>
                  <a:pt x="1894" y="124"/>
                </a:cubicBezTo>
                <a:cubicBezTo>
                  <a:pt x="1895" y="125"/>
                  <a:pt x="1896" y="124"/>
                  <a:pt x="1896" y="125"/>
                </a:cubicBezTo>
                <a:cubicBezTo>
                  <a:pt x="1897" y="125"/>
                  <a:pt x="1898" y="126"/>
                  <a:pt x="1899" y="126"/>
                </a:cubicBezTo>
                <a:cubicBezTo>
                  <a:pt x="1899" y="125"/>
                  <a:pt x="1900" y="125"/>
                  <a:pt x="1900" y="125"/>
                </a:cubicBezTo>
                <a:cubicBezTo>
                  <a:pt x="1900" y="126"/>
                  <a:pt x="1900" y="126"/>
                  <a:pt x="1900" y="126"/>
                </a:cubicBezTo>
                <a:cubicBezTo>
                  <a:pt x="1900" y="127"/>
                  <a:pt x="1900" y="127"/>
                  <a:pt x="1900" y="127"/>
                </a:cubicBezTo>
                <a:cubicBezTo>
                  <a:pt x="1899" y="128"/>
                  <a:pt x="1899" y="128"/>
                  <a:pt x="1899" y="128"/>
                </a:cubicBezTo>
                <a:cubicBezTo>
                  <a:pt x="1898" y="127"/>
                  <a:pt x="1897" y="128"/>
                  <a:pt x="1896" y="128"/>
                </a:cubicBezTo>
                <a:cubicBezTo>
                  <a:pt x="1896" y="127"/>
                  <a:pt x="1896" y="127"/>
                  <a:pt x="1895" y="127"/>
                </a:cubicBezTo>
                <a:cubicBezTo>
                  <a:pt x="1895" y="127"/>
                  <a:pt x="1894" y="127"/>
                  <a:pt x="1894" y="127"/>
                </a:cubicBezTo>
                <a:cubicBezTo>
                  <a:pt x="1893" y="126"/>
                  <a:pt x="1891" y="125"/>
                  <a:pt x="1889" y="126"/>
                </a:cubicBezTo>
                <a:cubicBezTo>
                  <a:pt x="1889" y="126"/>
                  <a:pt x="1888" y="126"/>
                  <a:pt x="1888" y="126"/>
                </a:cubicBezTo>
                <a:cubicBezTo>
                  <a:pt x="1887" y="126"/>
                  <a:pt x="1887" y="125"/>
                  <a:pt x="1887" y="126"/>
                </a:cubicBezTo>
                <a:cubicBezTo>
                  <a:pt x="1886" y="126"/>
                  <a:pt x="1888" y="127"/>
                  <a:pt x="1888" y="128"/>
                </a:cubicBezTo>
                <a:cubicBezTo>
                  <a:pt x="1888" y="128"/>
                  <a:pt x="1888" y="128"/>
                  <a:pt x="1889" y="129"/>
                </a:cubicBezTo>
                <a:cubicBezTo>
                  <a:pt x="1889" y="129"/>
                  <a:pt x="1889" y="129"/>
                  <a:pt x="1890" y="130"/>
                </a:cubicBezTo>
                <a:cubicBezTo>
                  <a:pt x="1890" y="130"/>
                  <a:pt x="1890" y="130"/>
                  <a:pt x="1890" y="130"/>
                </a:cubicBezTo>
                <a:cubicBezTo>
                  <a:pt x="1890" y="131"/>
                  <a:pt x="1889" y="131"/>
                  <a:pt x="1890" y="132"/>
                </a:cubicBezTo>
                <a:cubicBezTo>
                  <a:pt x="1891" y="132"/>
                  <a:pt x="1891" y="132"/>
                  <a:pt x="1892" y="132"/>
                </a:cubicBezTo>
                <a:cubicBezTo>
                  <a:pt x="1892" y="132"/>
                  <a:pt x="1893" y="133"/>
                  <a:pt x="1893" y="133"/>
                </a:cubicBezTo>
                <a:cubicBezTo>
                  <a:pt x="1894" y="134"/>
                  <a:pt x="1895" y="134"/>
                  <a:pt x="1896" y="134"/>
                </a:cubicBezTo>
                <a:cubicBezTo>
                  <a:pt x="1897" y="134"/>
                  <a:pt x="1897" y="135"/>
                  <a:pt x="1898" y="135"/>
                </a:cubicBezTo>
                <a:cubicBezTo>
                  <a:pt x="1899" y="136"/>
                  <a:pt x="1900" y="136"/>
                  <a:pt x="1900" y="136"/>
                </a:cubicBezTo>
                <a:cubicBezTo>
                  <a:pt x="1901" y="136"/>
                  <a:pt x="1902" y="137"/>
                  <a:pt x="1902" y="137"/>
                </a:cubicBezTo>
                <a:cubicBezTo>
                  <a:pt x="1903" y="137"/>
                  <a:pt x="1903" y="137"/>
                  <a:pt x="1904" y="137"/>
                </a:cubicBezTo>
                <a:cubicBezTo>
                  <a:pt x="1904" y="137"/>
                  <a:pt x="1905" y="138"/>
                  <a:pt x="1905" y="137"/>
                </a:cubicBezTo>
                <a:cubicBezTo>
                  <a:pt x="1905" y="137"/>
                  <a:pt x="1906" y="137"/>
                  <a:pt x="1906" y="137"/>
                </a:cubicBezTo>
                <a:cubicBezTo>
                  <a:pt x="1907" y="137"/>
                  <a:pt x="1907" y="138"/>
                  <a:pt x="1907" y="138"/>
                </a:cubicBezTo>
                <a:cubicBezTo>
                  <a:pt x="1907" y="138"/>
                  <a:pt x="1906" y="138"/>
                  <a:pt x="1906" y="138"/>
                </a:cubicBezTo>
                <a:cubicBezTo>
                  <a:pt x="1906" y="138"/>
                  <a:pt x="1906" y="138"/>
                  <a:pt x="1905" y="138"/>
                </a:cubicBezTo>
                <a:cubicBezTo>
                  <a:pt x="1905" y="138"/>
                  <a:pt x="1905" y="138"/>
                  <a:pt x="1904" y="138"/>
                </a:cubicBezTo>
                <a:cubicBezTo>
                  <a:pt x="1904" y="139"/>
                  <a:pt x="1903" y="138"/>
                  <a:pt x="1903" y="138"/>
                </a:cubicBezTo>
                <a:cubicBezTo>
                  <a:pt x="1903" y="138"/>
                  <a:pt x="1902" y="138"/>
                  <a:pt x="1902" y="138"/>
                </a:cubicBezTo>
                <a:cubicBezTo>
                  <a:pt x="1901" y="138"/>
                  <a:pt x="1901" y="138"/>
                  <a:pt x="1900" y="138"/>
                </a:cubicBezTo>
                <a:cubicBezTo>
                  <a:pt x="1900" y="138"/>
                  <a:pt x="1899" y="138"/>
                  <a:pt x="1899" y="138"/>
                </a:cubicBezTo>
                <a:cubicBezTo>
                  <a:pt x="1897" y="138"/>
                  <a:pt x="1899" y="139"/>
                  <a:pt x="1899" y="139"/>
                </a:cubicBezTo>
                <a:cubicBezTo>
                  <a:pt x="1900" y="140"/>
                  <a:pt x="1900" y="141"/>
                  <a:pt x="1901" y="141"/>
                </a:cubicBezTo>
                <a:cubicBezTo>
                  <a:pt x="1901" y="142"/>
                  <a:pt x="1902" y="142"/>
                  <a:pt x="1902" y="143"/>
                </a:cubicBezTo>
                <a:cubicBezTo>
                  <a:pt x="1903" y="143"/>
                  <a:pt x="1904" y="144"/>
                  <a:pt x="1904" y="144"/>
                </a:cubicBezTo>
                <a:cubicBezTo>
                  <a:pt x="1905" y="145"/>
                  <a:pt x="1906" y="146"/>
                  <a:pt x="1907" y="146"/>
                </a:cubicBezTo>
                <a:cubicBezTo>
                  <a:pt x="1908" y="146"/>
                  <a:pt x="1908" y="146"/>
                  <a:pt x="1909" y="146"/>
                </a:cubicBezTo>
                <a:cubicBezTo>
                  <a:pt x="1910" y="146"/>
                  <a:pt x="1911" y="145"/>
                  <a:pt x="1912" y="146"/>
                </a:cubicBezTo>
                <a:cubicBezTo>
                  <a:pt x="1913" y="146"/>
                  <a:pt x="1913" y="146"/>
                  <a:pt x="1914" y="146"/>
                </a:cubicBezTo>
                <a:cubicBezTo>
                  <a:pt x="1914" y="146"/>
                  <a:pt x="1915" y="146"/>
                  <a:pt x="1915" y="145"/>
                </a:cubicBezTo>
                <a:cubicBezTo>
                  <a:pt x="1915" y="145"/>
                  <a:pt x="1915" y="145"/>
                  <a:pt x="1915" y="144"/>
                </a:cubicBezTo>
                <a:cubicBezTo>
                  <a:pt x="1915" y="144"/>
                  <a:pt x="1916" y="144"/>
                  <a:pt x="1916" y="144"/>
                </a:cubicBezTo>
                <a:cubicBezTo>
                  <a:pt x="1916" y="145"/>
                  <a:pt x="1917" y="145"/>
                  <a:pt x="1917" y="144"/>
                </a:cubicBezTo>
                <a:cubicBezTo>
                  <a:pt x="1917" y="144"/>
                  <a:pt x="1917" y="144"/>
                  <a:pt x="1917" y="143"/>
                </a:cubicBezTo>
                <a:cubicBezTo>
                  <a:pt x="1918" y="143"/>
                  <a:pt x="1918" y="143"/>
                  <a:pt x="1919" y="143"/>
                </a:cubicBezTo>
                <a:cubicBezTo>
                  <a:pt x="1919" y="143"/>
                  <a:pt x="1919" y="144"/>
                  <a:pt x="1919" y="144"/>
                </a:cubicBezTo>
                <a:cubicBezTo>
                  <a:pt x="1920" y="144"/>
                  <a:pt x="1920" y="144"/>
                  <a:pt x="1920" y="143"/>
                </a:cubicBezTo>
                <a:cubicBezTo>
                  <a:pt x="1920" y="143"/>
                  <a:pt x="1920" y="143"/>
                  <a:pt x="1921" y="143"/>
                </a:cubicBezTo>
                <a:cubicBezTo>
                  <a:pt x="1921" y="143"/>
                  <a:pt x="1921" y="143"/>
                  <a:pt x="1921" y="143"/>
                </a:cubicBezTo>
                <a:cubicBezTo>
                  <a:pt x="1921" y="142"/>
                  <a:pt x="1921" y="142"/>
                  <a:pt x="1921" y="142"/>
                </a:cubicBezTo>
                <a:cubicBezTo>
                  <a:pt x="1921" y="141"/>
                  <a:pt x="1921" y="141"/>
                  <a:pt x="1921" y="141"/>
                </a:cubicBezTo>
                <a:cubicBezTo>
                  <a:pt x="1922" y="141"/>
                  <a:pt x="1922" y="141"/>
                  <a:pt x="1923" y="141"/>
                </a:cubicBezTo>
                <a:cubicBezTo>
                  <a:pt x="1923" y="141"/>
                  <a:pt x="1924" y="141"/>
                  <a:pt x="1924" y="141"/>
                </a:cubicBezTo>
                <a:cubicBezTo>
                  <a:pt x="1925" y="141"/>
                  <a:pt x="1925" y="141"/>
                  <a:pt x="1926" y="141"/>
                </a:cubicBezTo>
                <a:cubicBezTo>
                  <a:pt x="1926" y="140"/>
                  <a:pt x="1925" y="139"/>
                  <a:pt x="1925" y="139"/>
                </a:cubicBezTo>
                <a:cubicBezTo>
                  <a:pt x="1924" y="139"/>
                  <a:pt x="1924" y="139"/>
                  <a:pt x="1924" y="139"/>
                </a:cubicBezTo>
                <a:cubicBezTo>
                  <a:pt x="1923" y="139"/>
                  <a:pt x="1923" y="139"/>
                  <a:pt x="1922" y="138"/>
                </a:cubicBezTo>
                <a:cubicBezTo>
                  <a:pt x="1922" y="138"/>
                  <a:pt x="1923" y="138"/>
                  <a:pt x="1923" y="138"/>
                </a:cubicBezTo>
                <a:cubicBezTo>
                  <a:pt x="1923" y="138"/>
                  <a:pt x="1924" y="137"/>
                  <a:pt x="1924" y="137"/>
                </a:cubicBezTo>
                <a:cubicBezTo>
                  <a:pt x="1924" y="137"/>
                  <a:pt x="1924" y="137"/>
                  <a:pt x="1924" y="136"/>
                </a:cubicBezTo>
                <a:cubicBezTo>
                  <a:pt x="1924" y="136"/>
                  <a:pt x="1924" y="136"/>
                  <a:pt x="1924" y="136"/>
                </a:cubicBezTo>
                <a:cubicBezTo>
                  <a:pt x="1924" y="136"/>
                  <a:pt x="1924" y="135"/>
                  <a:pt x="1924" y="135"/>
                </a:cubicBezTo>
                <a:cubicBezTo>
                  <a:pt x="1924" y="134"/>
                  <a:pt x="1923" y="134"/>
                  <a:pt x="1924" y="134"/>
                </a:cubicBezTo>
                <a:cubicBezTo>
                  <a:pt x="1924" y="133"/>
                  <a:pt x="1924" y="133"/>
                  <a:pt x="1925" y="133"/>
                </a:cubicBezTo>
                <a:cubicBezTo>
                  <a:pt x="1925" y="133"/>
                  <a:pt x="1925" y="132"/>
                  <a:pt x="1926" y="132"/>
                </a:cubicBezTo>
                <a:cubicBezTo>
                  <a:pt x="1926" y="132"/>
                  <a:pt x="1926" y="132"/>
                  <a:pt x="1927" y="133"/>
                </a:cubicBezTo>
                <a:cubicBezTo>
                  <a:pt x="1927" y="133"/>
                  <a:pt x="1927" y="134"/>
                  <a:pt x="1928" y="135"/>
                </a:cubicBezTo>
                <a:cubicBezTo>
                  <a:pt x="1928" y="135"/>
                  <a:pt x="1928" y="135"/>
                  <a:pt x="1928" y="135"/>
                </a:cubicBezTo>
                <a:cubicBezTo>
                  <a:pt x="1928" y="135"/>
                  <a:pt x="1928" y="135"/>
                  <a:pt x="1928" y="136"/>
                </a:cubicBezTo>
                <a:cubicBezTo>
                  <a:pt x="1929" y="136"/>
                  <a:pt x="1930" y="135"/>
                  <a:pt x="1930" y="135"/>
                </a:cubicBezTo>
                <a:cubicBezTo>
                  <a:pt x="1931" y="134"/>
                  <a:pt x="1931" y="134"/>
                  <a:pt x="1931" y="134"/>
                </a:cubicBezTo>
                <a:cubicBezTo>
                  <a:pt x="1932" y="134"/>
                  <a:pt x="1932" y="134"/>
                  <a:pt x="1932" y="133"/>
                </a:cubicBezTo>
                <a:cubicBezTo>
                  <a:pt x="1932" y="132"/>
                  <a:pt x="1932" y="132"/>
                  <a:pt x="1932" y="132"/>
                </a:cubicBezTo>
                <a:cubicBezTo>
                  <a:pt x="1933" y="131"/>
                  <a:pt x="1933" y="131"/>
                  <a:pt x="1933" y="130"/>
                </a:cubicBezTo>
                <a:cubicBezTo>
                  <a:pt x="1933" y="129"/>
                  <a:pt x="1934" y="130"/>
                  <a:pt x="1934" y="131"/>
                </a:cubicBezTo>
                <a:cubicBezTo>
                  <a:pt x="1935" y="131"/>
                  <a:pt x="1935" y="131"/>
                  <a:pt x="1935" y="132"/>
                </a:cubicBezTo>
                <a:cubicBezTo>
                  <a:pt x="1935" y="132"/>
                  <a:pt x="1935" y="133"/>
                  <a:pt x="1935" y="133"/>
                </a:cubicBezTo>
                <a:cubicBezTo>
                  <a:pt x="1935" y="133"/>
                  <a:pt x="1935" y="134"/>
                  <a:pt x="1934" y="134"/>
                </a:cubicBezTo>
                <a:cubicBezTo>
                  <a:pt x="1934" y="135"/>
                  <a:pt x="1934" y="135"/>
                  <a:pt x="1934" y="135"/>
                </a:cubicBezTo>
                <a:cubicBezTo>
                  <a:pt x="1934" y="136"/>
                  <a:pt x="1933" y="137"/>
                  <a:pt x="1933" y="138"/>
                </a:cubicBezTo>
                <a:cubicBezTo>
                  <a:pt x="1933" y="139"/>
                  <a:pt x="1934" y="139"/>
                  <a:pt x="1935" y="139"/>
                </a:cubicBezTo>
                <a:cubicBezTo>
                  <a:pt x="1936" y="139"/>
                  <a:pt x="1937" y="139"/>
                  <a:pt x="1938" y="138"/>
                </a:cubicBezTo>
                <a:cubicBezTo>
                  <a:pt x="1938" y="138"/>
                  <a:pt x="1939" y="138"/>
                  <a:pt x="1940" y="139"/>
                </a:cubicBezTo>
                <a:cubicBezTo>
                  <a:pt x="1941" y="139"/>
                  <a:pt x="1941" y="139"/>
                  <a:pt x="1941" y="139"/>
                </a:cubicBezTo>
                <a:cubicBezTo>
                  <a:pt x="1942" y="138"/>
                  <a:pt x="1942" y="138"/>
                  <a:pt x="1943" y="137"/>
                </a:cubicBezTo>
                <a:cubicBezTo>
                  <a:pt x="1943" y="137"/>
                  <a:pt x="1944" y="137"/>
                  <a:pt x="1944" y="137"/>
                </a:cubicBezTo>
                <a:cubicBezTo>
                  <a:pt x="1945" y="137"/>
                  <a:pt x="1945" y="137"/>
                  <a:pt x="1945" y="136"/>
                </a:cubicBezTo>
                <a:cubicBezTo>
                  <a:pt x="1945" y="136"/>
                  <a:pt x="1945" y="136"/>
                  <a:pt x="1945" y="135"/>
                </a:cubicBezTo>
                <a:cubicBezTo>
                  <a:pt x="1946" y="135"/>
                  <a:pt x="1946" y="135"/>
                  <a:pt x="1946" y="135"/>
                </a:cubicBezTo>
                <a:cubicBezTo>
                  <a:pt x="1946" y="134"/>
                  <a:pt x="1946" y="134"/>
                  <a:pt x="1946" y="134"/>
                </a:cubicBezTo>
                <a:cubicBezTo>
                  <a:pt x="1947" y="133"/>
                  <a:pt x="1947" y="132"/>
                  <a:pt x="1948" y="133"/>
                </a:cubicBezTo>
                <a:cubicBezTo>
                  <a:pt x="1948" y="133"/>
                  <a:pt x="1948" y="134"/>
                  <a:pt x="1949" y="134"/>
                </a:cubicBezTo>
                <a:cubicBezTo>
                  <a:pt x="1949" y="134"/>
                  <a:pt x="1950" y="133"/>
                  <a:pt x="1950" y="134"/>
                </a:cubicBezTo>
                <a:cubicBezTo>
                  <a:pt x="1951" y="135"/>
                  <a:pt x="1949" y="136"/>
                  <a:pt x="1949" y="136"/>
                </a:cubicBezTo>
                <a:cubicBezTo>
                  <a:pt x="1948" y="136"/>
                  <a:pt x="1948" y="136"/>
                  <a:pt x="1948" y="137"/>
                </a:cubicBezTo>
                <a:cubicBezTo>
                  <a:pt x="1947" y="137"/>
                  <a:pt x="1947" y="138"/>
                  <a:pt x="1947" y="138"/>
                </a:cubicBezTo>
                <a:cubicBezTo>
                  <a:pt x="1947" y="139"/>
                  <a:pt x="1946" y="139"/>
                  <a:pt x="1946" y="139"/>
                </a:cubicBezTo>
                <a:cubicBezTo>
                  <a:pt x="1945" y="140"/>
                  <a:pt x="1946" y="140"/>
                  <a:pt x="1946" y="140"/>
                </a:cubicBezTo>
                <a:cubicBezTo>
                  <a:pt x="1947" y="140"/>
                  <a:pt x="1947" y="140"/>
                  <a:pt x="1947" y="140"/>
                </a:cubicBezTo>
                <a:cubicBezTo>
                  <a:pt x="1948" y="140"/>
                  <a:pt x="1948" y="140"/>
                  <a:pt x="1949" y="140"/>
                </a:cubicBezTo>
                <a:cubicBezTo>
                  <a:pt x="1949" y="141"/>
                  <a:pt x="1949" y="140"/>
                  <a:pt x="1950" y="140"/>
                </a:cubicBezTo>
                <a:cubicBezTo>
                  <a:pt x="1950" y="140"/>
                  <a:pt x="1950" y="140"/>
                  <a:pt x="1950" y="141"/>
                </a:cubicBezTo>
                <a:cubicBezTo>
                  <a:pt x="1950" y="141"/>
                  <a:pt x="1950" y="141"/>
                  <a:pt x="1949" y="141"/>
                </a:cubicBezTo>
                <a:cubicBezTo>
                  <a:pt x="1949" y="141"/>
                  <a:pt x="1948" y="141"/>
                  <a:pt x="1947" y="141"/>
                </a:cubicBezTo>
                <a:cubicBezTo>
                  <a:pt x="1946" y="142"/>
                  <a:pt x="1945" y="142"/>
                  <a:pt x="1944" y="142"/>
                </a:cubicBezTo>
                <a:cubicBezTo>
                  <a:pt x="1943" y="142"/>
                  <a:pt x="1943" y="142"/>
                  <a:pt x="1942" y="142"/>
                </a:cubicBezTo>
                <a:cubicBezTo>
                  <a:pt x="1941" y="142"/>
                  <a:pt x="1940" y="142"/>
                  <a:pt x="1939" y="142"/>
                </a:cubicBezTo>
                <a:cubicBezTo>
                  <a:pt x="1938" y="142"/>
                  <a:pt x="1938" y="143"/>
                  <a:pt x="1938" y="144"/>
                </a:cubicBezTo>
                <a:cubicBezTo>
                  <a:pt x="1937" y="146"/>
                  <a:pt x="1935" y="146"/>
                  <a:pt x="1933" y="146"/>
                </a:cubicBezTo>
                <a:cubicBezTo>
                  <a:pt x="1932" y="146"/>
                  <a:pt x="1932" y="147"/>
                  <a:pt x="1931" y="147"/>
                </a:cubicBezTo>
                <a:cubicBezTo>
                  <a:pt x="1931" y="147"/>
                  <a:pt x="1930" y="147"/>
                  <a:pt x="1929" y="147"/>
                </a:cubicBezTo>
                <a:cubicBezTo>
                  <a:pt x="1928" y="148"/>
                  <a:pt x="1927" y="149"/>
                  <a:pt x="1925" y="149"/>
                </a:cubicBezTo>
                <a:cubicBezTo>
                  <a:pt x="1925" y="150"/>
                  <a:pt x="1924" y="150"/>
                  <a:pt x="1924" y="150"/>
                </a:cubicBezTo>
                <a:cubicBezTo>
                  <a:pt x="1922" y="150"/>
                  <a:pt x="1921" y="150"/>
                  <a:pt x="1920" y="150"/>
                </a:cubicBezTo>
                <a:cubicBezTo>
                  <a:pt x="1919" y="150"/>
                  <a:pt x="1919" y="150"/>
                  <a:pt x="1918" y="150"/>
                </a:cubicBezTo>
                <a:cubicBezTo>
                  <a:pt x="1917" y="149"/>
                  <a:pt x="1917" y="148"/>
                  <a:pt x="1916" y="148"/>
                </a:cubicBezTo>
                <a:cubicBezTo>
                  <a:pt x="1915" y="148"/>
                  <a:pt x="1915" y="149"/>
                  <a:pt x="1914" y="149"/>
                </a:cubicBezTo>
                <a:cubicBezTo>
                  <a:pt x="1914" y="149"/>
                  <a:pt x="1912" y="149"/>
                  <a:pt x="1913" y="150"/>
                </a:cubicBezTo>
                <a:cubicBezTo>
                  <a:pt x="1913" y="151"/>
                  <a:pt x="1914" y="151"/>
                  <a:pt x="1914" y="151"/>
                </a:cubicBezTo>
                <a:cubicBezTo>
                  <a:pt x="1914" y="152"/>
                  <a:pt x="1914" y="152"/>
                  <a:pt x="1914" y="153"/>
                </a:cubicBezTo>
                <a:cubicBezTo>
                  <a:pt x="1913" y="153"/>
                  <a:pt x="1913" y="155"/>
                  <a:pt x="1914" y="156"/>
                </a:cubicBezTo>
                <a:cubicBezTo>
                  <a:pt x="1914" y="156"/>
                  <a:pt x="1914" y="156"/>
                  <a:pt x="1915" y="156"/>
                </a:cubicBezTo>
                <a:cubicBezTo>
                  <a:pt x="1915" y="156"/>
                  <a:pt x="1915" y="156"/>
                  <a:pt x="1916" y="157"/>
                </a:cubicBezTo>
                <a:cubicBezTo>
                  <a:pt x="1916" y="157"/>
                  <a:pt x="1916" y="157"/>
                  <a:pt x="1917" y="157"/>
                </a:cubicBezTo>
                <a:cubicBezTo>
                  <a:pt x="1917" y="157"/>
                  <a:pt x="1918" y="156"/>
                  <a:pt x="1919" y="156"/>
                </a:cubicBezTo>
                <a:cubicBezTo>
                  <a:pt x="1920" y="156"/>
                  <a:pt x="1921" y="156"/>
                  <a:pt x="1922" y="156"/>
                </a:cubicBezTo>
                <a:cubicBezTo>
                  <a:pt x="1923" y="156"/>
                  <a:pt x="1923" y="156"/>
                  <a:pt x="1924" y="156"/>
                </a:cubicBezTo>
                <a:cubicBezTo>
                  <a:pt x="1925" y="156"/>
                  <a:pt x="1927" y="156"/>
                  <a:pt x="1928" y="156"/>
                </a:cubicBezTo>
                <a:cubicBezTo>
                  <a:pt x="1929" y="156"/>
                  <a:pt x="1929" y="156"/>
                  <a:pt x="1930" y="155"/>
                </a:cubicBezTo>
                <a:cubicBezTo>
                  <a:pt x="1931" y="155"/>
                  <a:pt x="1931" y="155"/>
                  <a:pt x="1932" y="154"/>
                </a:cubicBezTo>
                <a:cubicBezTo>
                  <a:pt x="1932" y="154"/>
                  <a:pt x="1933" y="154"/>
                  <a:pt x="1933" y="154"/>
                </a:cubicBezTo>
                <a:cubicBezTo>
                  <a:pt x="1934" y="154"/>
                  <a:pt x="1935" y="153"/>
                  <a:pt x="1936" y="153"/>
                </a:cubicBezTo>
                <a:cubicBezTo>
                  <a:pt x="1936" y="153"/>
                  <a:pt x="1937" y="154"/>
                  <a:pt x="1938" y="154"/>
                </a:cubicBezTo>
                <a:cubicBezTo>
                  <a:pt x="1938" y="154"/>
                  <a:pt x="1939" y="155"/>
                  <a:pt x="1940" y="155"/>
                </a:cubicBezTo>
                <a:cubicBezTo>
                  <a:pt x="1941" y="155"/>
                  <a:pt x="1942" y="155"/>
                  <a:pt x="1943" y="154"/>
                </a:cubicBezTo>
                <a:cubicBezTo>
                  <a:pt x="1944" y="154"/>
                  <a:pt x="1945" y="154"/>
                  <a:pt x="1946" y="154"/>
                </a:cubicBezTo>
                <a:cubicBezTo>
                  <a:pt x="1947" y="154"/>
                  <a:pt x="1948" y="154"/>
                  <a:pt x="1948" y="154"/>
                </a:cubicBezTo>
                <a:cubicBezTo>
                  <a:pt x="1949" y="154"/>
                  <a:pt x="1949" y="153"/>
                  <a:pt x="1950" y="153"/>
                </a:cubicBezTo>
                <a:cubicBezTo>
                  <a:pt x="1950" y="153"/>
                  <a:pt x="1950" y="153"/>
                  <a:pt x="1951" y="153"/>
                </a:cubicBezTo>
                <a:cubicBezTo>
                  <a:pt x="1951" y="153"/>
                  <a:pt x="1951" y="153"/>
                  <a:pt x="1952" y="152"/>
                </a:cubicBezTo>
                <a:cubicBezTo>
                  <a:pt x="1952" y="152"/>
                  <a:pt x="1952" y="152"/>
                  <a:pt x="1952" y="152"/>
                </a:cubicBezTo>
                <a:cubicBezTo>
                  <a:pt x="1952" y="153"/>
                  <a:pt x="1952" y="154"/>
                  <a:pt x="1951" y="153"/>
                </a:cubicBezTo>
                <a:cubicBezTo>
                  <a:pt x="1951" y="153"/>
                  <a:pt x="1950" y="153"/>
                  <a:pt x="1950" y="154"/>
                </a:cubicBezTo>
                <a:cubicBezTo>
                  <a:pt x="1950" y="154"/>
                  <a:pt x="1951" y="154"/>
                  <a:pt x="1951" y="154"/>
                </a:cubicBezTo>
                <a:cubicBezTo>
                  <a:pt x="1951" y="155"/>
                  <a:pt x="1952" y="155"/>
                  <a:pt x="1952" y="155"/>
                </a:cubicBezTo>
                <a:cubicBezTo>
                  <a:pt x="1952" y="156"/>
                  <a:pt x="1952" y="155"/>
                  <a:pt x="1951" y="155"/>
                </a:cubicBezTo>
                <a:cubicBezTo>
                  <a:pt x="1951" y="155"/>
                  <a:pt x="1950" y="155"/>
                  <a:pt x="1949" y="155"/>
                </a:cubicBezTo>
                <a:cubicBezTo>
                  <a:pt x="1948" y="155"/>
                  <a:pt x="1948" y="156"/>
                  <a:pt x="1947" y="156"/>
                </a:cubicBezTo>
                <a:cubicBezTo>
                  <a:pt x="1946" y="156"/>
                  <a:pt x="1946" y="156"/>
                  <a:pt x="1945" y="156"/>
                </a:cubicBezTo>
                <a:cubicBezTo>
                  <a:pt x="1945" y="156"/>
                  <a:pt x="1945" y="156"/>
                  <a:pt x="1944" y="156"/>
                </a:cubicBezTo>
                <a:cubicBezTo>
                  <a:pt x="1943" y="157"/>
                  <a:pt x="1942" y="156"/>
                  <a:pt x="1941" y="156"/>
                </a:cubicBezTo>
                <a:cubicBezTo>
                  <a:pt x="1940" y="156"/>
                  <a:pt x="1939" y="157"/>
                  <a:pt x="1938" y="157"/>
                </a:cubicBezTo>
                <a:cubicBezTo>
                  <a:pt x="1937" y="157"/>
                  <a:pt x="1936" y="157"/>
                  <a:pt x="1935" y="157"/>
                </a:cubicBezTo>
                <a:cubicBezTo>
                  <a:pt x="1935" y="157"/>
                  <a:pt x="1934" y="157"/>
                  <a:pt x="1933" y="157"/>
                </a:cubicBezTo>
                <a:cubicBezTo>
                  <a:pt x="1933" y="157"/>
                  <a:pt x="1932" y="158"/>
                  <a:pt x="1931" y="158"/>
                </a:cubicBezTo>
                <a:cubicBezTo>
                  <a:pt x="1931" y="158"/>
                  <a:pt x="1930" y="158"/>
                  <a:pt x="1929" y="158"/>
                </a:cubicBezTo>
                <a:cubicBezTo>
                  <a:pt x="1928" y="158"/>
                  <a:pt x="1928" y="158"/>
                  <a:pt x="1927" y="158"/>
                </a:cubicBezTo>
                <a:cubicBezTo>
                  <a:pt x="1927" y="158"/>
                  <a:pt x="1927" y="159"/>
                  <a:pt x="1927" y="159"/>
                </a:cubicBezTo>
                <a:cubicBezTo>
                  <a:pt x="1927" y="159"/>
                  <a:pt x="1927" y="159"/>
                  <a:pt x="1927" y="159"/>
                </a:cubicBezTo>
                <a:cubicBezTo>
                  <a:pt x="1927" y="159"/>
                  <a:pt x="1928" y="159"/>
                  <a:pt x="1928" y="159"/>
                </a:cubicBezTo>
                <a:cubicBezTo>
                  <a:pt x="1928" y="160"/>
                  <a:pt x="1929" y="159"/>
                  <a:pt x="1929" y="160"/>
                </a:cubicBezTo>
                <a:cubicBezTo>
                  <a:pt x="1930" y="160"/>
                  <a:pt x="1929" y="160"/>
                  <a:pt x="1930" y="160"/>
                </a:cubicBezTo>
                <a:cubicBezTo>
                  <a:pt x="1930" y="160"/>
                  <a:pt x="1931" y="160"/>
                  <a:pt x="1931" y="160"/>
                </a:cubicBezTo>
                <a:cubicBezTo>
                  <a:pt x="1932" y="160"/>
                  <a:pt x="1932" y="160"/>
                  <a:pt x="1933" y="160"/>
                </a:cubicBezTo>
                <a:cubicBezTo>
                  <a:pt x="1934" y="160"/>
                  <a:pt x="1936" y="160"/>
                  <a:pt x="1937" y="161"/>
                </a:cubicBezTo>
                <a:cubicBezTo>
                  <a:pt x="1938" y="161"/>
                  <a:pt x="1938" y="161"/>
                  <a:pt x="1939" y="161"/>
                </a:cubicBezTo>
                <a:cubicBezTo>
                  <a:pt x="1940" y="161"/>
                  <a:pt x="1941" y="162"/>
                  <a:pt x="1941" y="162"/>
                </a:cubicBezTo>
                <a:cubicBezTo>
                  <a:pt x="1941" y="162"/>
                  <a:pt x="1942" y="163"/>
                  <a:pt x="1942" y="163"/>
                </a:cubicBezTo>
                <a:cubicBezTo>
                  <a:pt x="1942" y="163"/>
                  <a:pt x="1943" y="163"/>
                  <a:pt x="1943" y="163"/>
                </a:cubicBezTo>
                <a:cubicBezTo>
                  <a:pt x="1944" y="163"/>
                  <a:pt x="1944" y="163"/>
                  <a:pt x="1944" y="164"/>
                </a:cubicBezTo>
                <a:cubicBezTo>
                  <a:pt x="1943" y="164"/>
                  <a:pt x="1943" y="164"/>
                  <a:pt x="1943" y="164"/>
                </a:cubicBezTo>
                <a:cubicBezTo>
                  <a:pt x="1942" y="165"/>
                  <a:pt x="1942" y="164"/>
                  <a:pt x="1942" y="163"/>
                </a:cubicBezTo>
                <a:cubicBezTo>
                  <a:pt x="1941" y="163"/>
                  <a:pt x="1941" y="162"/>
                  <a:pt x="1940" y="162"/>
                </a:cubicBezTo>
                <a:cubicBezTo>
                  <a:pt x="1939" y="162"/>
                  <a:pt x="1938" y="162"/>
                  <a:pt x="1938" y="162"/>
                </a:cubicBezTo>
                <a:cubicBezTo>
                  <a:pt x="1937" y="162"/>
                  <a:pt x="1936" y="162"/>
                  <a:pt x="1935" y="162"/>
                </a:cubicBezTo>
                <a:cubicBezTo>
                  <a:pt x="1934" y="162"/>
                  <a:pt x="1933" y="162"/>
                  <a:pt x="1932" y="162"/>
                </a:cubicBezTo>
                <a:cubicBezTo>
                  <a:pt x="1932" y="162"/>
                  <a:pt x="1931" y="161"/>
                  <a:pt x="1931" y="161"/>
                </a:cubicBezTo>
                <a:cubicBezTo>
                  <a:pt x="1930" y="161"/>
                  <a:pt x="1929" y="161"/>
                  <a:pt x="1928" y="161"/>
                </a:cubicBezTo>
                <a:cubicBezTo>
                  <a:pt x="1927" y="161"/>
                  <a:pt x="1927" y="162"/>
                  <a:pt x="1926" y="162"/>
                </a:cubicBezTo>
                <a:cubicBezTo>
                  <a:pt x="1926" y="163"/>
                  <a:pt x="1925" y="163"/>
                  <a:pt x="1924" y="162"/>
                </a:cubicBezTo>
                <a:cubicBezTo>
                  <a:pt x="1924" y="162"/>
                  <a:pt x="1924" y="161"/>
                  <a:pt x="1923" y="161"/>
                </a:cubicBezTo>
                <a:cubicBezTo>
                  <a:pt x="1922" y="160"/>
                  <a:pt x="1920" y="161"/>
                  <a:pt x="1918" y="161"/>
                </a:cubicBezTo>
                <a:cubicBezTo>
                  <a:pt x="1917" y="161"/>
                  <a:pt x="1917" y="162"/>
                  <a:pt x="1917" y="163"/>
                </a:cubicBezTo>
                <a:cubicBezTo>
                  <a:pt x="1917" y="164"/>
                  <a:pt x="1918" y="164"/>
                  <a:pt x="1918" y="165"/>
                </a:cubicBezTo>
                <a:cubicBezTo>
                  <a:pt x="1919" y="166"/>
                  <a:pt x="1919" y="168"/>
                  <a:pt x="1921" y="169"/>
                </a:cubicBezTo>
                <a:cubicBezTo>
                  <a:pt x="1921" y="169"/>
                  <a:pt x="1922" y="170"/>
                  <a:pt x="1923" y="170"/>
                </a:cubicBezTo>
                <a:cubicBezTo>
                  <a:pt x="1923" y="170"/>
                  <a:pt x="1924" y="170"/>
                  <a:pt x="1925" y="170"/>
                </a:cubicBezTo>
                <a:cubicBezTo>
                  <a:pt x="1926" y="171"/>
                  <a:pt x="1927" y="171"/>
                  <a:pt x="1927" y="171"/>
                </a:cubicBezTo>
                <a:cubicBezTo>
                  <a:pt x="1928" y="171"/>
                  <a:pt x="1929" y="172"/>
                  <a:pt x="1930" y="172"/>
                </a:cubicBezTo>
                <a:cubicBezTo>
                  <a:pt x="1931" y="172"/>
                  <a:pt x="1931" y="173"/>
                  <a:pt x="1932" y="173"/>
                </a:cubicBezTo>
                <a:cubicBezTo>
                  <a:pt x="1934" y="174"/>
                  <a:pt x="1935" y="175"/>
                  <a:pt x="1937" y="175"/>
                </a:cubicBezTo>
                <a:cubicBezTo>
                  <a:pt x="1938" y="174"/>
                  <a:pt x="1939" y="175"/>
                  <a:pt x="1939" y="175"/>
                </a:cubicBezTo>
                <a:cubicBezTo>
                  <a:pt x="1940" y="175"/>
                  <a:pt x="1940" y="174"/>
                  <a:pt x="1940" y="174"/>
                </a:cubicBezTo>
                <a:cubicBezTo>
                  <a:pt x="1940" y="173"/>
                  <a:pt x="1940" y="173"/>
                  <a:pt x="1940" y="173"/>
                </a:cubicBezTo>
                <a:cubicBezTo>
                  <a:pt x="1941" y="172"/>
                  <a:pt x="1941" y="173"/>
                  <a:pt x="1942" y="174"/>
                </a:cubicBezTo>
                <a:cubicBezTo>
                  <a:pt x="1942" y="174"/>
                  <a:pt x="1943" y="174"/>
                  <a:pt x="1943" y="174"/>
                </a:cubicBezTo>
                <a:cubicBezTo>
                  <a:pt x="1943" y="174"/>
                  <a:pt x="1944" y="175"/>
                  <a:pt x="1944" y="175"/>
                </a:cubicBezTo>
                <a:cubicBezTo>
                  <a:pt x="1944" y="175"/>
                  <a:pt x="1945" y="175"/>
                  <a:pt x="1945" y="176"/>
                </a:cubicBezTo>
                <a:cubicBezTo>
                  <a:pt x="1945" y="176"/>
                  <a:pt x="1944" y="176"/>
                  <a:pt x="1944" y="176"/>
                </a:cubicBezTo>
                <a:cubicBezTo>
                  <a:pt x="1944" y="176"/>
                  <a:pt x="1943" y="175"/>
                  <a:pt x="1943" y="175"/>
                </a:cubicBezTo>
                <a:cubicBezTo>
                  <a:pt x="1943" y="175"/>
                  <a:pt x="1942" y="175"/>
                  <a:pt x="1942" y="175"/>
                </a:cubicBezTo>
                <a:cubicBezTo>
                  <a:pt x="1942" y="175"/>
                  <a:pt x="1941" y="175"/>
                  <a:pt x="1941" y="175"/>
                </a:cubicBezTo>
                <a:cubicBezTo>
                  <a:pt x="1940" y="176"/>
                  <a:pt x="1940" y="176"/>
                  <a:pt x="1940" y="176"/>
                </a:cubicBezTo>
                <a:cubicBezTo>
                  <a:pt x="1939" y="176"/>
                  <a:pt x="1938" y="176"/>
                  <a:pt x="1937" y="177"/>
                </a:cubicBezTo>
                <a:cubicBezTo>
                  <a:pt x="1937" y="177"/>
                  <a:pt x="1935" y="177"/>
                  <a:pt x="1935" y="178"/>
                </a:cubicBezTo>
                <a:cubicBezTo>
                  <a:pt x="1936" y="178"/>
                  <a:pt x="1936" y="178"/>
                  <a:pt x="1936" y="178"/>
                </a:cubicBezTo>
                <a:cubicBezTo>
                  <a:pt x="1937" y="178"/>
                  <a:pt x="1937" y="178"/>
                  <a:pt x="1937" y="179"/>
                </a:cubicBezTo>
                <a:cubicBezTo>
                  <a:pt x="1938" y="179"/>
                  <a:pt x="1938" y="179"/>
                  <a:pt x="1938" y="179"/>
                </a:cubicBezTo>
                <a:cubicBezTo>
                  <a:pt x="1939" y="179"/>
                  <a:pt x="1939" y="179"/>
                  <a:pt x="1940" y="179"/>
                </a:cubicBezTo>
                <a:cubicBezTo>
                  <a:pt x="1941" y="180"/>
                  <a:pt x="1943" y="181"/>
                  <a:pt x="1943" y="182"/>
                </a:cubicBezTo>
                <a:cubicBezTo>
                  <a:pt x="1944" y="182"/>
                  <a:pt x="1945" y="182"/>
                  <a:pt x="1945" y="183"/>
                </a:cubicBezTo>
                <a:cubicBezTo>
                  <a:pt x="1945" y="184"/>
                  <a:pt x="1944" y="186"/>
                  <a:pt x="1945" y="185"/>
                </a:cubicBezTo>
                <a:cubicBezTo>
                  <a:pt x="1946" y="184"/>
                  <a:pt x="1947" y="184"/>
                  <a:pt x="1949" y="185"/>
                </a:cubicBezTo>
                <a:cubicBezTo>
                  <a:pt x="1950" y="185"/>
                  <a:pt x="1951" y="185"/>
                  <a:pt x="1952" y="185"/>
                </a:cubicBezTo>
                <a:cubicBezTo>
                  <a:pt x="1953" y="184"/>
                  <a:pt x="1953" y="184"/>
                  <a:pt x="1954" y="183"/>
                </a:cubicBezTo>
                <a:cubicBezTo>
                  <a:pt x="1954" y="183"/>
                  <a:pt x="1956" y="182"/>
                  <a:pt x="1955" y="181"/>
                </a:cubicBezTo>
                <a:cubicBezTo>
                  <a:pt x="1955" y="181"/>
                  <a:pt x="1954" y="181"/>
                  <a:pt x="1954" y="181"/>
                </a:cubicBezTo>
                <a:cubicBezTo>
                  <a:pt x="1953" y="181"/>
                  <a:pt x="1953" y="180"/>
                  <a:pt x="1953" y="180"/>
                </a:cubicBezTo>
                <a:cubicBezTo>
                  <a:pt x="1952" y="180"/>
                  <a:pt x="1953" y="179"/>
                  <a:pt x="1953" y="179"/>
                </a:cubicBezTo>
                <a:cubicBezTo>
                  <a:pt x="1954" y="178"/>
                  <a:pt x="1954" y="177"/>
                  <a:pt x="1955" y="177"/>
                </a:cubicBezTo>
                <a:cubicBezTo>
                  <a:pt x="1956" y="176"/>
                  <a:pt x="1957" y="176"/>
                  <a:pt x="1956" y="175"/>
                </a:cubicBezTo>
                <a:cubicBezTo>
                  <a:pt x="1956" y="175"/>
                  <a:pt x="1956" y="175"/>
                  <a:pt x="1955" y="175"/>
                </a:cubicBezTo>
                <a:cubicBezTo>
                  <a:pt x="1955" y="174"/>
                  <a:pt x="1955" y="174"/>
                  <a:pt x="1955" y="174"/>
                </a:cubicBezTo>
                <a:cubicBezTo>
                  <a:pt x="1955" y="173"/>
                  <a:pt x="1955" y="173"/>
                  <a:pt x="1955" y="173"/>
                </a:cubicBezTo>
                <a:cubicBezTo>
                  <a:pt x="1956" y="173"/>
                  <a:pt x="1956" y="173"/>
                  <a:pt x="1957" y="173"/>
                </a:cubicBezTo>
                <a:cubicBezTo>
                  <a:pt x="1957" y="173"/>
                  <a:pt x="1957" y="172"/>
                  <a:pt x="1957" y="171"/>
                </a:cubicBezTo>
                <a:cubicBezTo>
                  <a:pt x="1958" y="171"/>
                  <a:pt x="1958" y="170"/>
                  <a:pt x="1958" y="169"/>
                </a:cubicBezTo>
                <a:cubicBezTo>
                  <a:pt x="1958" y="169"/>
                  <a:pt x="1958" y="168"/>
                  <a:pt x="1959" y="167"/>
                </a:cubicBezTo>
                <a:cubicBezTo>
                  <a:pt x="1959" y="167"/>
                  <a:pt x="1959" y="166"/>
                  <a:pt x="1960" y="166"/>
                </a:cubicBezTo>
                <a:cubicBezTo>
                  <a:pt x="1960" y="165"/>
                  <a:pt x="1960" y="164"/>
                  <a:pt x="1961" y="164"/>
                </a:cubicBezTo>
                <a:cubicBezTo>
                  <a:pt x="1961" y="163"/>
                  <a:pt x="1962" y="163"/>
                  <a:pt x="1962" y="163"/>
                </a:cubicBezTo>
                <a:cubicBezTo>
                  <a:pt x="1963" y="163"/>
                  <a:pt x="1964" y="162"/>
                  <a:pt x="1965" y="163"/>
                </a:cubicBezTo>
                <a:cubicBezTo>
                  <a:pt x="1965" y="163"/>
                  <a:pt x="1965" y="163"/>
                  <a:pt x="1966" y="163"/>
                </a:cubicBezTo>
                <a:cubicBezTo>
                  <a:pt x="1966" y="163"/>
                  <a:pt x="1967" y="163"/>
                  <a:pt x="1967" y="163"/>
                </a:cubicBezTo>
                <a:cubicBezTo>
                  <a:pt x="1968" y="163"/>
                  <a:pt x="1968" y="162"/>
                  <a:pt x="1968" y="161"/>
                </a:cubicBezTo>
                <a:cubicBezTo>
                  <a:pt x="1968" y="161"/>
                  <a:pt x="1968" y="160"/>
                  <a:pt x="1968" y="160"/>
                </a:cubicBezTo>
                <a:cubicBezTo>
                  <a:pt x="1968" y="159"/>
                  <a:pt x="1968" y="159"/>
                  <a:pt x="1968" y="158"/>
                </a:cubicBezTo>
                <a:cubicBezTo>
                  <a:pt x="1969" y="158"/>
                  <a:pt x="1969" y="157"/>
                  <a:pt x="1969" y="156"/>
                </a:cubicBezTo>
                <a:cubicBezTo>
                  <a:pt x="1970" y="156"/>
                  <a:pt x="1970" y="155"/>
                  <a:pt x="1970" y="154"/>
                </a:cubicBezTo>
                <a:cubicBezTo>
                  <a:pt x="1969" y="154"/>
                  <a:pt x="1970" y="154"/>
                  <a:pt x="1970" y="153"/>
                </a:cubicBezTo>
                <a:cubicBezTo>
                  <a:pt x="1970" y="153"/>
                  <a:pt x="1970" y="152"/>
                  <a:pt x="1970" y="152"/>
                </a:cubicBezTo>
                <a:cubicBezTo>
                  <a:pt x="1970" y="151"/>
                  <a:pt x="1970" y="151"/>
                  <a:pt x="1970" y="151"/>
                </a:cubicBezTo>
                <a:cubicBezTo>
                  <a:pt x="1970" y="150"/>
                  <a:pt x="1970" y="150"/>
                  <a:pt x="1970" y="149"/>
                </a:cubicBezTo>
                <a:cubicBezTo>
                  <a:pt x="1970" y="149"/>
                  <a:pt x="1971" y="149"/>
                  <a:pt x="1971" y="149"/>
                </a:cubicBezTo>
                <a:cubicBezTo>
                  <a:pt x="1972" y="150"/>
                  <a:pt x="1973" y="149"/>
                  <a:pt x="1974" y="149"/>
                </a:cubicBezTo>
                <a:cubicBezTo>
                  <a:pt x="1974" y="149"/>
                  <a:pt x="1974" y="149"/>
                  <a:pt x="1975" y="149"/>
                </a:cubicBezTo>
                <a:cubicBezTo>
                  <a:pt x="1976" y="149"/>
                  <a:pt x="1977" y="149"/>
                  <a:pt x="1977" y="148"/>
                </a:cubicBezTo>
                <a:cubicBezTo>
                  <a:pt x="1977" y="147"/>
                  <a:pt x="1977" y="147"/>
                  <a:pt x="1977" y="146"/>
                </a:cubicBezTo>
                <a:cubicBezTo>
                  <a:pt x="1977" y="146"/>
                  <a:pt x="1977" y="146"/>
                  <a:pt x="1976" y="145"/>
                </a:cubicBezTo>
                <a:cubicBezTo>
                  <a:pt x="1976" y="145"/>
                  <a:pt x="1976" y="144"/>
                  <a:pt x="1976" y="144"/>
                </a:cubicBezTo>
                <a:cubicBezTo>
                  <a:pt x="1976" y="143"/>
                  <a:pt x="1976" y="143"/>
                  <a:pt x="1976" y="143"/>
                </a:cubicBezTo>
                <a:cubicBezTo>
                  <a:pt x="1976" y="142"/>
                  <a:pt x="1976" y="142"/>
                  <a:pt x="1977" y="142"/>
                </a:cubicBezTo>
                <a:cubicBezTo>
                  <a:pt x="1977" y="141"/>
                  <a:pt x="1976" y="140"/>
                  <a:pt x="1976" y="139"/>
                </a:cubicBezTo>
                <a:cubicBezTo>
                  <a:pt x="1976" y="139"/>
                  <a:pt x="1977" y="139"/>
                  <a:pt x="1977" y="139"/>
                </a:cubicBezTo>
                <a:cubicBezTo>
                  <a:pt x="1978" y="139"/>
                  <a:pt x="1978" y="139"/>
                  <a:pt x="1979" y="139"/>
                </a:cubicBezTo>
                <a:cubicBezTo>
                  <a:pt x="1980" y="139"/>
                  <a:pt x="1980" y="139"/>
                  <a:pt x="1980" y="139"/>
                </a:cubicBezTo>
                <a:cubicBezTo>
                  <a:pt x="1981" y="138"/>
                  <a:pt x="1982" y="138"/>
                  <a:pt x="1983" y="138"/>
                </a:cubicBezTo>
                <a:cubicBezTo>
                  <a:pt x="1983" y="138"/>
                  <a:pt x="1983" y="138"/>
                  <a:pt x="1984" y="138"/>
                </a:cubicBezTo>
                <a:cubicBezTo>
                  <a:pt x="1984" y="138"/>
                  <a:pt x="1984" y="137"/>
                  <a:pt x="1984" y="137"/>
                </a:cubicBezTo>
                <a:cubicBezTo>
                  <a:pt x="1984" y="136"/>
                  <a:pt x="1984" y="136"/>
                  <a:pt x="1984" y="136"/>
                </a:cubicBezTo>
                <a:cubicBezTo>
                  <a:pt x="1984" y="136"/>
                  <a:pt x="1985" y="136"/>
                  <a:pt x="1985" y="135"/>
                </a:cubicBezTo>
                <a:cubicBezTo>
                  <a:pt x="1985" y="135"/>
                  <a:pt x="1985" y="135"/>
                  <a:pt x="1985" y="135"/>
                </a:cubicBezTo>
                <a:cubicBezTo>
                  <a:pt x="1985" y="135"/>
                  <a:pt x="1986" y="135"/>
                  <a:pt x="1986" y="135"/>
                </a:cubicBezTo>
                <a:cubicBezTo>
                  <a:pt x="1987" y="135"/>
                  <a:pt x="1986" y="135"/>
                  <a:pt x="1987" y="136"/>
                </a:cubicBezTo>
                <a:cubicBezTo>
                  <a:pt x="1987" y="136"/>
                  <a:pt x="1988" y="136"/>
                  <a:pt x="1988" y="135"/>
                </a:cubicBezTo>
                <a:cubicBezTo>
                  <a:pt x="1988" y="135"/>
                  <a:pt x="1988" y="135"/>
                  <a:pt x="1989" y="135"/>
                </a:cubicBezTo>
                <a:cubicBezTo>
                  <a:pt x="1989" y="135"/>
                  <a:pt x="1990" y="135"/>
                  <a:pt x="1990" y="135"/>
                </a:cubicBezTo>
                <a:cubicBezTo>
                  <a:pt x="1991" y="135"/>
                  <a:pt x="1990" y="134"/>
                  <a:pt x="1991" y="134"/>
                </a:cubicBezTo>
                <a:cubicBezTo>
                  <a:pt x="1991" y="134"/>
                  <a:pt x="1991" y="134"/>
                  <a:pt x="1992" y="134"/>
                </a:cubicBezTo>
                <a:cubicBezTo>
                  <a:pt x="1992" y="134"/>
                  <a:pt x="1993" y="135"/>
                  <a:pt x="1994" y="135"/>
                </a:cubicBezTo>
                <a:cubicBezTo>
                  <a:pt x="1995" y="135"/>
                  <a:pt x="1994" y="134"/>
                  <a:pt x="1995" y="133"/>
                </a:cubicBezTo>
                <a:cubicBezTo>
                  <a:pt x="1996" y="133"/>
                  <a:pt x="1997" y="133"/>
                  <a:pt x="1998" y="134"/>
                </a:cubicBezTo>
                <a:cubicBezTo>
                  <a:pt x="1998" y="134"/>
                  <a:pt x="1999" y="134"/>
                  <a:pt x="2000" y="134"/>
                </a:cubicBezTo>
                <a:cubicBezTo>
                  <a:pt x="2000" y="134"/>
                  <a:pt x="2000" y="134"/>
                  <a:pt x="2000" y="134"/>
                </a:cubicBezTo>
                <a:cubicBezTo>
                  <a:pt x="2001" y="134"/>
                  <a:pt x="2001" y="134"/>
                  <a:pt x="2002" y="134"/>
                </a:cubicBezTo>
                <a:cubicBezTo>
                  <a:pt x="2002" y="134"/>
                  <a:pt x="2003" y="134"/>
                  <a:pt x="2003" y="134"/>
                </a:cubicBezTo>
                <a:cubicBezTo>
                  <a:pt x="2003" y="134"/>
                  <a:pt x="2004" y="133"/>
                  <a:pt x="2004" y="133"/>
                </a:cubicBezTo>
                <a:cubicBezTo>
                  <a:pt x="2004" y="132"/>
                  <a:pt x="2004" y="132"/>
                  <a:pt x="2004" y="132"/>
                </a:cubicBezTo>
                <a:cubicBezTo>
                  <a:pt x="2005" y="132"/>
                  <a:pt x="2005" y="132"/>
                  <a:pt x="2005" y="131"/>
                </a:cubicBezTo>
                <a:cubicBezTo>
                  <a:pt x="2006" y="131"/>
                  <a:pt x="2004" y="130"/>
                  <a:pt x="2004" y="130"/>
                </a:cubicBezTo>
                <a:cubicBezTo>
                  <a:pt x="2003" y="130"/>
                  <a:pt x="2002" y="129"/>
                  <a:pt x="2001" y="129"/>
                </a:cubicBezTo>
                <a:cubicBezTo>
                  <a:pt x="2001" y="129"/>
                  <a:pt x="2000" y="129"/>
                  <a:pt x="1999" y="129"/>
                </a:cubicBezTo>
                <a:cubicBezTo>
                  <a:pt x="1998" y="129"/>
                  <a:pt x="1998" y="128"/>
                  <a:pt x="1997" y="128"/>
                </a:cubicBezTo>
                <a:cubicBezTo>
                  <a:pt x="1995" y="128"/>
                  <a:pt x="1994" y="127"/>
                  <a:pt x="1992" y="126"/>
                </a:cubicBezTo>
                <a:cubicBezTo>
                  <a:pt x="1991" y="126"/>
                  <a:pt x="1991" y="126"/>
                  <a:pt x="1990" y="126"/>
                </a:cubicBezTo>
                <a:cubicBezTo>
                  <a:pt x="1989" y="126"/>
                  <a:pt x="1988" y="126"/>
                  <a:pt x="1987" y="125"/>
                </a:cubicBezTo>
                <a:cubicBezTo>
                  <a:pt x="1987" y="125"/>
                  <a:pt x="1986" y="124"/>
                  <a:pt x="1986" y="123"/>
                </a:cubicBezTo>
                <a:cubicBezTo>
                  <a:pt x="1985" y="123"/>
                  <a:pt x="1984" y="121"/>
                  <a:pt x="1983" y="121"/>
                </a:cubicBezTo>
                <a:cubicBezTo>
                  <a:pt x="1983" y="121"/>
                  <a:pt x="1982" y="121"/>
                  <a:pt x="1982" y="121"/>
                </a:cubicBezTo>
                <a:cubicBezTo>
                  <a:pt x="1981" y="121"/>
                  <a:pt x="1981" y="120"/>
                  <a:pt x="1980" y="120"/>
                </a:cubicBezTo>
                <a:cubicBezTo>
                  <a:pt x="1979" y="121"/>
                  <a:pt x="1979" y="122"/>
                  <a:pt x="1978" y="122"/>
                </a:cubicBezTo>
                <a:cubicBezTo>
                  <a:pt x="1977" y="122"/>
                  <a:pt x="1976" y="122"/>
                  <a:pt x="1976" y="121"/>
                </a:cubicBezTo>
                <a:cubicBezTo>
                  <a:pt x="1975" y="121"/>
                  <a:pt x="1975" y="121"/>
                  <a:pt x="1975" y="120"/>
                </a:cubicBezTo>
                <a:cubicBezTo>
                  <a:pt x="1975" y="120"/>
                  <a:pt x="1975" y="119"/>
                  <a:pt x="1974" y="119"/>
                </a:cubicBezTo>
                <a:cubicBezTo>
                  <a:pt x="1974" y="118"/>
                  <a:pt x="1975" y="117"/>
                  <a:pt x="1974" y="117"/>
                </a:cubicBezTo>
                <a:cubicBezTo>
                  <a:pt x="1974" y="116"/>
                  <a:pt x="1974" y="116"/>
                  <a:pt x="1974" y="115"/>
                </a:cubicBezTo>
                <a:cubicBezTo>
                  <a:pt x="1974" y="115"/>
                  <a:pt x="1974" y="114"/>
                  <a:pt x="1974" y="114"/>
                </a:cubicBezTo>
                <a:cubicBezTo>
                  <a:pt x="1974" y="113"/>
                  <a:pt x="1974" y="113"/>
                  <a:pt x="1973" y="113"/>
                </a:cubicBezTo>
                <a:cubicBezTo>
                  <a:pt x="1973" y="113"/>
                  <a:pt x="1973" y="112"/>
                  <a:pt x="1972" y="112"/>
                </a:cubicBezTo>
                <a:cubicBezTo>
                  <a:pt x="1972" y="112"/>
                  <a:pt x="1971" y="112"/>
                  <a:pt x="1971" y="112"/>
                </a:cubicBezTo>
                <a:cubicBezTo>
                  <a:pt x="1971" y="112"/>
                  <a:pt x="1970" y="111"/>
                  <a:pt x="1970" y="111"/>
                </a:cubicBezTo>
                <a:cubicBezTo>
                  <a:pt x="1969" y="111"/>
                  <a:pt x="1968" y="111"/>
                  <a:pt x="1968" y="111"/>
                </a:cubicBezTo>
                <a:cubicBezTo>
                  <a:pt x="1966" y="111"/>
                  <a:pt x="1965" y="110"/>
                  <a:pt x="1965" y="112"/>
                </a:cubicBezTo>
                <a:cubicBezTo>
                  <a:pt x="1965" y="112"/>
                  <a:pt x="1965" y="112"/>
                  <a:pt x="1965" y="113"/>
                </a:cubicBezTo>
                <a:cubicBezTo>
                  <a:pt x="1965" y="113"/>
                  <a:pt x="1965" y="114"/>
                  <a:pt x="1964" y="114"/>
                </a:cubicBezTo>
                <a:cubicBezTo>
                  <a:pt x="1964" y="115"/>
                  <a:pt x="1963" y="115"/>
                  <a:pt x="1962" y="115"/>
                </a:cubicBezTo>
                <a:cubicBezTo>
                  <a:pt x="1962" y="116"/>
                  <a:pt x="1961" y="117"/>
                  <a:pt x="1961" y="116"/>
                </a:cubicBezTo>
                <a:cubicBezTo>
                  <a:pt x="1961" y="116"/>
                  <a:pt x="1961" y="115"/>
                  <a:pt x="1961" y="115"/>
                </a:cubicBezTo>
                <a:cubicBezTo>
                  <a:pt x="1962" y="114"/>
                  <a:pt x="1962" y="114"/>
                  <a:pt x="1961" y="114"/>
                </a:cubicBezTo>
                <a:cubicBezTo>
                  <a:pt x="1961" y="113"/>
                  <a:pt x="1962" y="112"/>
                  <a:pt x="1962" y="112"/>
                </a:cubicBezTo>
                <a:cubicBezTo>
                  <a:pt x="1962" y="111"/>
                  <a:pt x="1962" y="110"/>
                  <a:pt x="1962" y="110"/>
                </a:cubicBezTo>
                <a:cubicBezTo>
                  <a:pt x="1962" y="109"/>
                  <a:pt x="1963" y="109"/>
                  <a:pt x="1963" y="109"/>
                </a:cubicBezTo>
                <a:cubicBezTo>
                  <a:pt x="1964" y="109"/>
                  <a:pt x="1964" y="108"/>
                  <a:pt x="1964" y="108"/>
                </a:cubicBezTo>
                <a:cubicBezTo>
                  <a:pt x="1964" y="108"/>
                  <a:pt x="1965" y="108"/>
                  <a:pt x="1965" y="108"/>
                </a:cubicBezTo>
                <a:cubicBezTo>
                  <a:pt x="1966" y="108"/>
                  <a:pt x="1966" y="107"/>
                  <a:pt x="1966" y="107"/>
                </a:cubicBezTo>
                <a:cubicBezTo>
                  <a:pt x="1965" y="107"/>
                  <a:pt x="1965" y="107"/>
                  <a:pt x="1965" y="106"/>
                </a:cubicBezTo>
                <a:cubicBezTo>
                  <a:pt x="1964" y="106"/>
                  <a:pt x="1964" y="106"/>
                  <a:pt x="1964" y="106"/>
                </a:cubicBezTo>
                <a:cubicBezTo>
                  <a:pt x="1963" y="106"/>
                  <a:pt x="1962" y="106"/>
                  <a:pt x="1961" y="106"/>
                </a:cubicBezTo>
                <a:cubicBezTo>
                  <a:pt x="1960" y="106"/>
                  <a:pt x="1959" y="105"/>
                  <a:pt x="1958" y="105"/>
                </a:cubicBezTo>
                <a:cubicBezTo>
                  <a:pt x="1957" y="105"/>
                  <a:pt x="1957" y="104"/>
                  <a:pt x="1956" y="104"/>
                </a:cubicBezTo>
                <a:cubicBezTo>
                  <a:pt x="1955" y="104"/>
                  <a:pt x="1954" y="104"/>
                  <a:pt x="1954" y="104"/>
                </a:cubicBezTo>
                <a:cubicBezTo>
                  <a:pt x="1953" y="104"/>
                  <a:pt x="1953" y="104"/>
                  <a:pt x="1952" y="104"/>
                </a:cubicBezTo>
                <a:cubicBezTo>
                  <a:pt x="1952" y="103"/>
                  <a:pt x="1951" y="103"/>
                  <a:pt x="1951" y="103"/>
                </a:cubicBezTo>
                <a:cubicBezTo>
                  <a:pt x="1951" y="103"/>
                  <a:pt x="1951" y="102"/>
                  <a:pt x="1950" y="102"/>
                </a:cubicBezTo>
                <a:cubicBezTo>
                  <a:pt x="1950" y="101"/>
                  <a:pt x="1949" y="101"/>
                  <a:pt x="1949" y="100"/>
                </a:cubicBezTo>
                <a:cubicBezTo>
                  <a:pt x="1948" y="99"/>
                  <a:pt x="1948" y="99"/>
                  <a:pt x="1947" y="99"/>
                </a:cubicBezTo>
                <a:cubicBezTo>
                  <a:pt x="1946" y="99"/>
                  <a:pt x="1946" y="99"/>
                  <a:pt x="1946" y="99"/>
                </a:cubicBezTo>
                <a:cubicBezTo>
                  <a:pt x="1945" y="99"/>
                  <a:pt x="1945" y="99"/>
                  <a:pt x="1944" y="99"/>
                </a:cubicBezTo>
                <a:cubicBezTo>
                  <a:pt x="1944" y="99"/>
                  <a:pt x="1942" y="99"/>
                  <a:pt x="1943" y="99"/>
                </a:cubicBezTo>
                <a:cubicBezTo>
                  <a:pt x="1943" y="100"/>
                  <a:pt x="1944" y="100"/>
                  <a:pt x="1944" y="100"/>
                </a:cubicBezTo>
                <a:cubicBezTo>
                  <a:pt x="1944" y="100"/>
                  <a:pt x="1944" y="101"/>
                  <a:pt x="1944" y="101"/>
                </a:cubicBezTo>
                <a:cubicBezTo>
                  <a:pt x="1945" y="102"/>
                  <a:pt x="1946" y="102"/>
                  <a:pt x="1946" y="103"/>
                </a:cubicBezTo>
                <a:cubicBezTo>
                  <a:pt x="1946" y="104"/>
                  <a:pt x="1945" y="104"/>
                  <a:pt x="1945" y="103"/>
                </a:cubicBezTo>
                <a:cubicBezTo>
                  <a:pt x="1944" y="103"/>
                  <a:pt x="1944" y="103"/>
                  <a:pt x="1943" y="103"/>
                </a:cubicBezTo>
                <a:cubicBezTo>
                  <a:pt x="1943" y="103"/>
                  <a:pt x="1943" y="103"/>
                  <a:pt x="1942" y="103"/>
                </a:cubicBezTo>
                <a:cubicBezTo>
                  <a:pt x="1942" y="103"/>
                  <a:pt x="1942" y="103"/>
                  <a:pt x="1941" y="103"/>
                </a:cubicBezTo>
                <a:cubicBezTo>
                  <a:pt x="1941" y="103"/>
                  <a:pt x="1940" y="103"/>
                  <a:pt x="1940" y="103"/>
                </a:cubicBezTo>
                <a:cubicBezTo>
                  <a:pt x="1940" y="104"/>
                  <a:pt x="1940" y="105"/>
                  <a:pt x="1940" y="106"/>
                </a:cubicBezTo>
                <a:cubicBezTo>
                  <a:pt x="1940" y="107"/>
                  <a:pt x="1941" y="108"/>
                  <a:pt x="1941" y="109"/>
                </a:cubicBezTo>
                <a:cubicBezTo>
                  <a:pt x="1942" y="109"/>
                  <a:pt x="1942" y="110"/>
                  <a:pt x="1942" y="110"/>
                </a:cubicBezTo>
                <a:cubicBezTo>
                  <a:pt x="1942" y="110"/>
                  <a:pt x="1942" y="110"/>
                  <a:pt x="1943" y="111"/>
                </a:cubicBezTo>
                <a:cubicBezTo>
                  <a:pt x="1944" y="112"/>
                  <a:pt x="1943" y="114"/>
                  <a:pt x="1943" y="116"/>
                </a:cubicBezTo>
                <a:cubicBezTo>
                  <a:pt x="1943" y="116"/>
                  <a:pt x="1944" y="117"/>
                  <a:pt x="1944" y="117"/>
                </a:cubicBezTo>
                <a:cubicBezTo>
                  <a:pt x="1944" y="117"/>
                  <a:pt x="1944" y="118"/>
                  <a:pt x="1944" y="118"/>
                </a:cubicBezTo>
                <a:cubicBezTo>
                  <a:pt x="1945" y="119"/>
                  <a:pt x="1945" y="119"/>
                  <a:pt x="1946" y="119"/>
                </a:cubicBezTo>
                <a:cubicBezTo>
                  <a:pt x="1946" y="120"/>
                  <a:pt x="1946" y="121"/>
                  <a:pt x="1946" y="121"/>
                </a:cubicBezTo>
                <a:cubicBezTo>
                  <a:pt x="1946" y="122"/>
                  <a:pt x="1947" y="123"/>
                  <a:pt x="1948" y="124"/>
                </a:cubicBezTo>
                <a:cubicBezTo>
                  <a:pt x="1948" y="125"/>
                  <a:pt x="1948" y="125"/>
                  <a:pt x="1949" y="126"/>
                </a:cubicBezTo>
                <a:cubicBezTo>
                  <a:pt x="1949" y="126"/>
                  <a:pt x="1950" y="126"/>
                  <a:pt x="1950" y="127"/>
                </a:cubicBezTo>
                <a:cubicBezTo>
                  <a:pt x="1950" y="127"/>
                  <a:pt x="1950" y="127"/>
                  <a:pt x="1950" y="127"/>
                </a:cubicBezTo>
                <a:cubicBezTo>
                  <a:pt x="1949" y="128"/>
                  <a:pt x="1948" y="126"/>
                  <a:pt x="1948" y="126"/>
                </a:cubicBezTo>
                <a:cubicBezTo>
                  <a:pt x="1947" y="126"/>
                  <a:pt x="1946" y="126"/>
                  <a:pt x="1946" y="126"/>
                </a:cubicBezTo>
                <a:cubicBezTo>
                  <a:pt x="1945" y="125"/>
                  <a:pt x="1946" y="125"/>
                  <a:pt x="1946" y="124"/>
                </a:cubicBezTo>
                <a:cubicBezTo>
                  <a:pt x="1946" y="124"/>
                  <a:pt x="1945" y="124"/>
                  <a:pt x="1945" y="124"/>
                </a:cubicBezTo>
                <a:cubicBezTo>
                  <a:pt x="1945" y="123"/>
                  <a:pt x="1944" y="123"/>
                  <a:pt x="1944" y="122"/>
                </a:cubicBezTo>
                <a:cubicBezTo>
                  <a:pt x="1944" y="122"/>
                  <a:pt x="1944" y="122"/>
                  <a:pt x="1943" y="122"/>
                </a:cubicBezTo>
                <a:cubicBezTo>
                  <a:pt x="1943" y="121"/>
                  <a:pt x="1943" y="121"/>
                  <a:pt x="1942" y="121"/>
                </a:cubicBezTo>
                <a:cubicBezTo>
                  <a:pt x="1942" y="121"/>
                  <a:pt x="1942" y="121"/>
                  <a:pt x="1941" y="121"/>
                </a:cubicBezTo>
                <a:cubicBezTo>
                  <a:pt x="1941" y="121"/>
                  <a:pt x="1941" y="121"/>
                  <a:pt x="1941" y="120"/>
                </a:cubicBezTo>
                <a:cubicBezTo>
                  <a:pt x="1942" y="120"/>
                  <a:pt x="1942" y="120"/>
                  <a:pt x="1942" y="119"/>
                </a:cubicBezTo>
                <a:cubicBezTo>
                  <a:pt x="1941" y="119"/>
                  <a:pt x="1941" y="119"/>
                  <a:pt x="1941" y="119"/>
                </a:cubicBezTo>
                <a:cubicBezTo>
                  <a:pt x="1940" y="118"/>
                  <a:pt x="1940" y="118"/>
                  <a:pt x="1940" y="118"/>
                </a:cubicBezTo>
                <a:cubicBezTo>
                  <a:pt x="1939" y="117"/>
                  <a:pt x="1938" y="117"/>
                  <a:pt x="1938" y="116"/>
                </a:cubicBezTo>
                <a:cubicBezTo>
                  <a:pt x="1937" y="115"/>
                  <a:pt x="1937" y="114"/>
                  <a:pt x="1936" y="113"/>
                </a:cubicBezTo>
                <a:cubicBezTo>
                  <a:pt x="1936" y="112"/>
                  <a:pt x="1936" y="111"/>
                  <a:pt x="1936" y="110"/>
                </a:cubicBezTo>
                <a:cubicBezTo>
                  <a:pt x="1936" y="110"/>
                  <a:pt x="1935" y="109"/>
                  <a:pt x="1935" y="109"/>
                </a:cubicBezTo>
                <a:cubicBezTo>
                  <a:pt x="1933" y="109"/>
                  <a:pt x="1933" y="107"/>
                  <a:pt x="1931" y="106"/>
                </a:cubicBezTo>
                <a:cubicBezTo>
                  <a:pt x="1930" y="106"/>
                  <a:pt x="1930" y="106"/>
                  <a:pt x="1930" y="105"/>
                </a:cubicBezTo>
                <a:cubicBezTo>
                  <a:pt x="1929" y="105"/>
                  <a:pt x="1929" y="105"/>
                  <a:pt x="1929" y="105"/>
                </a:cubicBezTo>
                <a:cubicBezTo>
                  <a:pt x="1928" y="105"/>
                  <a:pt x="1927" y="105"/>
                  <a:pt x="1926" y="106"/>
                </a:cubicBezTo>
                <a:cubicBezTo>
                  <a:pt x="1926" y="106"/>
                  <a:pt x="1925" y="107"/>
                  <a:pt x="1925" y="107"/>
                </a:cubicBezTo>
                <a:cubicBezTo>
                  <a:pt x="1924" y="108"/>
                  <a:pt x="1924" y="108"/>
                  <a:pt x="1924" y="108"/>
                </a:cubicBezTo>
                <a:cubicBezTo>
                  <a:pt x="1923" y="109"/>
                  <a:pt x="1923" y="109"/>
                  <a:pt x="1923" y="110"/>
                </a:cubicBezTo>
                <a:cubicBezTo>
                  <a:pt x="1922" y="110"/>
                  <a:pt x="1921" y="110"/>
                  <a:pt x="1920" y="110"/>
                </a:cubicBezTo>
                <a:cubicBezTo>
                  <a:pt x="1919" y="110"/>
                  <a:pt x="1919" y="111"/>
                  <a:pt x="1919" y="112"/>
                </a:cubicBezTo>
                <a:cubicBezTo>
                  <a:pt x="1920" y="113"/>
                  <a:pt x="1920" y="113"/>
                  <a:pt x="1921" y="114"/>
                </a:cubicBezTo>
                <a:cubicBezTo>
                  <a:pt x="1921" y="114"/>
                  <a:pt x="1921" y="115"/>
                  <a:pt x="1921" y="115"/>
                </a:cubicBezTo>
                <a:cubicBezTo>
                  <a:pt x="1921" y="116"/>
                  <a:pt x="1922" y="116"/>
                  <a:pt x="1922" y="116"/>
                </a:cubicBezTo>
                <a:cubicBezTo>
                  <a:pt x="1923" y="117"/>
                  <a:pt x="1922" y="117"/>
                  <a:pt x="1921" y="118"/>
                </a:cubicBezTo>
                <a:cubicBezTo>
                  <a:pt x="1921" y="118"/>
                  <a:pt x="1920" y="119"/>
                  <a:pt x="1919" y="118"/>
                </a:cubicBezTo>
                <a:cubicBezTo>
                  <a:pt x="1919" y="117"/>
                  <a:pt x="1919" y="117"/>
                  <a:pt x="1919" y="116"/>
                </a:cubicBezTo>
                <a:cubicBezTo>
                  <a:pt x="1919" y="116"/>
                  <a:pt x="1919" y="116"/>
                  <a:pt x="1919" y="115"/>
                </a:cubicBezTo>
                <a:cubicBezTo>
                  <a:pt x="1919" y="115"/>
                  <a:pt x="1918" y="115"/>
                  <a:pt x="1918" y="115"/>
                </a:cubicBezTo>
                <a:cubicBezTo>
                  <a:pt x="1918" y="114"/>
                  <a:pt x="1917" y="114"/>
                  <a:pt x="1917" y="114"/>
                </a:cubicBezTo>
                <a:cubicBezTo>
                  <a:pt x="1916" y="113"/>
                  <a:pt x="1915" y="113"/>
                  <a:pt x="1914" y="113"/>
                </a:cubicBezTo>
                <a:cubicBezTo>
                  <a:pt x="1914" y="113"/>
                  <a:pt x="1913" y="113"/>
                  <a:pt x="1913" y="114"/>
                </a:cubicBezTo>
                <a:cubicBezTo>
                  <a:pt x="1913" y="114"/>
                  <a:pt x="1912" y="114"/>
                  <a:pt x="1912" y="114"/>
                </a:cubicBezTo>
                <a:cubicBezTo>
                  <a:pt x="1912" y="113"/>
                  <a:pt x="1912" y="113"/>
                  <a:pt x="1912" y="113"/>
                </a:cubicBezTo>
                <a:cubicBezTo>
                  <a:pt x="1913" y="112"/>
                  <a:pt x="1913" y="112"/>
                  <a:pt x="1913" y="112"/>
                </a:cubicBezTo>
                <a:cubicBezTo>
                  <a:pt x="1914" y="112"/>
                  <a:pt x="1914" y="112"/>
                  <a:pt x="1914" y="111"/>
                </a:cubicBezTo>
                <a:cubicBezTo>
                  <a:pt x="1914" y="110"/>
                  <a:pt x="1914" y="110"/>
                  <a:pt x="1914" y="110"/>
                </a:cubicBezTo>
                <a:cubicBezTo>
                  <a:pt x="1912" y="110"/>
                  <a:pt x="1910" y="110"/>
                  <a:pt x="1908" y="111"/>
                </a:cubicBezTo>
                <a:cubicBezTo>
                  <a:pt x="1908" y="111"/>
                  <a:pt x="1907" y="111"/>
                  <a:pt x="1907" y="111"/>
                </a:cubicBezTo>
                <a:cubicBezTo>
                  <a:pt x="1906" y="111"/>
                  <a:pt x="1906" y="111"/>
                  <a:pt x="1905" y="111"/>
                </a:cubicBezTo>
                <a:cubicBezTo>
                  <a:pt x="1905" y="111"/>
                  <a:pt x="1903" y="112"/>
                  <a:pt x="1903" y="111"/>
                </a:cubicBezTo>
                <a:cubicBezTo>
                  <a:pt x="1903" y="111"/>
                  <a:pt x="1905" y="110"/>
                  <a:pt x="1906" y="110"/>
                </a:cubicBezTo>
                <a:cubicBezTo>
                  <a:pt x="1906" y="109"/>
                  <a:pt x="1907" y="109"/>
                  <a:pt x="1907" y="109"/>
                </a:cubicBezTo>
                <a:cubicBezTo>
                  <a:pt x="1908" y="109"/>
                  <a:pt x="1908" y="108"/>
                  <a:pt x="1908" y="108"/>
                </a:cubicBezTo>
                <a:cubicBezTo>
                  <a:pt x="1909" y="108"/>
                  <a:pt x="1910" y="108"/>
                  <a:pt x="1911" y="108"/>
                </a:cubicBezTo>
                <a:cubicBezTo>
                  <a:pt x="1912" y="107"/>
                  <a:pt x="1913" y="108"/>
                  <a:pt x="1914" y="108"/>
                </a:cubicBezTo>
                <a:cubicBezTo>
                  <a:pt x="1915" y="107"/>
                  <a:pt x="1917" y="108"/>
                  <a:pt x="1917" y="107"/>
                </a:cubicBezTo>
                <a:cubicBezTo>
                  <a:pt x="1918" y="107"/>
                  <a:pt x="1918" y="107"/>
                  <a:pt x="1919" y="107"/>
                </a:cubicBezTo>
                <a:cubicBezTo>
                  <a:pt x="1919" y="107"/>
                  <a:pt x="1919" y="107"/>
                  <a:pt x="1920" y="106"/>
                </a:cubicBezTo>
                <a:cubicBezTo>
                  <a:pt x="1920" y="106"/>
                  <a:pt x="1920" y="106"/>
                  <a:pt x="1920" y="106"/>
                </a:cubicBezTo>
                <a:cubicBezTo>
                  <a:pt x="1920" y="105"/>
                  <a:pt x="1921" y="105"/>
                  <a:pt x="1920" y="104"/>
                </a:cubicBezTo>
                <a:cubicBezTo>
                  <a:pt x="1920" y="104"/>
                  <a:pt x="1919" y="103"/>
                  <a:pt x="1919" y="103"/>
                </a:cubicBezTo>
                <a:cubicBezTo>
                  <a:pt x="1918" y="103"/>
                  <a:pt x="1917" y="104"/>
                  <a:pt x="1917" y="103"/>
                </a:cubicBezTo>
                <a:cubicBezTo>
                  <a:pt x="1916" y="103"/>
                  <a:pt x="1916" y="103"/>
                  <a:pt x="1916" y="103"/>
                </a:cubicBezTo>
                <a:cubicBezTo>
                  <a:pt x="1915" y="103"/>
                  <a:pt x="1915" y="103"/>
                  <a:pt x="1914" y="103"/>
                </a:cubicBezTo>
                <a:cubicBezTo>
                  <a:pt x="1913" y="103"/>
                  <a:pt x="1913" y="104"/>
                  <a:pt x="1912" y="104"/>
                </a:cubicBezTo>
                <a:cubicBezTo>
                  <a:pt x="1911" y="104"/>
                  <a:pt x="1911" y="104"/>
                  <a:pt x="1911" y="104"/>
                </a:cubicBezTo>
                <a:cubicBezTo>
                  <a:pt x="1910" y="104"/>
                  <a:pt x="1909" y="104"/>
                  <a:pt x="1909" y="104"/>
                </a:cubicBezTo>
                <a:cubicBezTo>
                  <a:pt x="1908" y="104"/>
                  <a:pt x="1908" y="104"/>
                  <a:pt x="1908" y="105"/>
                </a:cubicBezTo>
                <a:cubicBezTo>
                  <a:pt x="1907" y="105"/>
                  <a:pt x="1907" y="105"/>
                  <a:pt x="1907" y="105"/>
                </a:cubicBezTo>
                <a:cubicBezTo>
                  <a:pt x="1906" y="106"/>
                  <a:pt x="1905" y="106"/>
                  <a:pt x="1904" y="106"/>
                </a:cubicBezTo>
                <a:cubicBezTo>
                  <a:pt x="1904" y="106"/>
                  <a:pt x="1903" y="106"/>
                  <a:pt x="1903" y="106"/>
                </a:cubicBezTo>
                <a:cubicBezTo>
                  <a:pt x="1902" y="106"/>
                  <a:pt x="1903" y="105"/>
                  <a:pt x="1902" y="105"/>
                </a:cubicBezTo>
                <a:cubicBezTo>
                  <a:pt x="1902" y="105"/>
                  <a:pt x="1902" y="105"/>
                  <a:pt x="1902" y="104"/>
                </a:cubicBezTo>
                <a:cubicBezTo>
                  <a:pt x="1902" y="104"/>
                  <a:pt x="1901" y="104"/>
                  <a:pt x="1901" y="104"/>
                </a:cubicBezTo>
                <a:cubicBezTo>
                  <a:pt x="1901" y="104"/>
                  <a:pt x="1901" y="104"/>
                  <a:pt x="1901" y="104"/>
                </a:cubicBezTo>
                <a:cubicBezTo>
                  <a:pt x="1901" y="104"/>
                  <a:pt x="1900" y="104"/>
                  <a:pt x="1900" y="104"/>
                </a:cubicBezTo>
                <a:cubicBezTo>
                  <a:pt x="1900" y="104"/>
                  <a:pt x="1899" y="105"/>
                  <a:pt x="1899" y="105"/>
                </a:cubicBezTo>
                <a:cubicBezTo>
                  <a:pt x="1899" y="105"/>
                  <a:pt x="1899" y="105"/>
                  <a:pt x="1898" y="105"/>
                </a:cubicBezTo>
                <a:cubicBezTo>
                  <a:pt x="1898" y="106"/>
                  <a:pt x="1899" y="107"/>
                  <a:pt x="1898" y="107"/>
                </a:cubicBezTo>
                <a:cubicBezTo>
                  <a:pt x="1898" y="108"/>
                  <a:pt x="1897" y="108"/>
                  <a:pt x="1897" y="107"/>
                </a:cubicBezTo>
                <a:cubicBezTo>
                  <a:pt x="1897" y="107"/>
                  <a:pt x="1897" y="107"/>
                  <a:pt x="1897" y="107"/>
                </a:cubicBezTo>
                <a:cubicBezTo>
                  <a:pt x="1897" y="106"/>
                  <a:pt x="1897" y="106"/>
                  <a:pt x="1896" y="106"/>
                </a:cubicBezTo>
                <a:cubicBezTo>
                  <a:pt x="1896" y="106"/>
                  <a:pt x="1896" y="105"/>
                  <a:pt x="1896" y="105"/>
                </a:cubicBezTo>
                <a:cubicBezTo>
                  <a:pt x="1896" y="104"/>
                  <a:pt x="1895" y="104"/>
                  <a:pt x="1895" y="104"/>
                </a:cubicBezTo>
                <a:cubicBezTo>
                  <a:pt x="1894" y="104"/>
                  <a:pt x="1894" y="104"/>
                  <a:pt x="1894" y="104"/>
                </a:cubicBezTo>
                <a:cubicBezTo>
                  <a:pt x="1893" y="104"/>
                  <a:pt x="1892" y="105"/>
                  <a:pt x="1892" y="105"/>
                </a:cubicBezTo>
                <a:cubicBezTo>
                  <a:pt x="1891" y="105"/>
                  <a:pt x="1891" y="105"/>
                  <a:pt x="1890" y="105"/>
                </a:cubicBezTo>
                <a:cubicBezTo>
                  <a:pt x="1890" y="105"/>
                  <a:pt x="1890" y="106"/>
                  <a:pt x="1889" y="106"/>
                </a:cubicBezTo>
                <a:cubicBezTo>
                  <a:pt x="1889" y="106"/>
                  <a:pt x="1888" y="106"/>
                  <a:pt x="1888" y="106"/>
                </a:cubicBezTo>
                <a:cubicBezTo>
                  <a:pt x="1888" y="107"/>
                  <a:pt x="1888" y="108"/>
                  <a:pt x="1888" y="108"/>
                </a:cubicBezTo>
                <a:cubicBezTo>
                  <a:pt x="1888" y="109"/>
                  <a:pt x="1887" y="109"/>
                  <a:pt x="1887" y="109"/>
                </a:cubicBezTo>
                <a:cubicBezTo>
                  <a:pt x="1886" y="109"/>
                  <a:pt x="1886" y="109"/>
                  <a:pt x="1886" y="109"/>
                </a:cubicBezTo>
                <a:cubicBezTo>
                  <a:pt x="1885" y="109"/>
                  <a:pt x="1885" y="109"/>
                  <a:pt x="1885" y="109"/>
                </a:cubicBezTo>
                <a:cubicBezTo>
                  <a:pt x="1884" y="109"/>
                  <a:pt x="1884" y="109"/>
                  <a:pt x="1884" y="110"/>
                </a:cubicBezTo>
                <a:cubicBezTo>
                  <a:pt x="1884" y="110"/>
                  <a:pt x="1885" y="110"/>
                  <a:pt x="1885" y="110"/>
                </a:cubicBezTo>
                <a:cubicBezTo>
                  <a:pt x="1885" y="110"/>
                  <a:pt x="1885" y="111"/>
                  <a:pt x="1884" y="111"/>
                </a:cubicBezTo>
                <a:cubicBezTo>
                  <a:pt x="1884" y="111"/>
                  <a:pt x="1883" y="110"/>
                  <a:pt x="1882" y="111"/>
                </a:cubicBezTo>
                <a:cubicBezTo>
                  <a:pt x="1881" y="111"/>
                  <a:pt x="1882" y="112"/>
                  <a:pt x="1882" y="113"/>
                </a:cubicBezTo>
                <a:cubicBezTo>
                  <a:pt x="1883" y="114"/>
                  <a:pt x="1883" y="114"/>
                  <a:pt x="1883" y="115"/>
                </a:cubicBezTo>
                <a:close/>
                <a:moveTo>
                  <a:pt x="1986" y="328"/>
                </a:moveTo>
                <a:cubicBezTo>
                  <a:pt x="1986" y="328"/>
                  <a:pt x="1987" y="328"/>
                  <a:pt x="1988" y="328"/>
                </a:cubicBezTo>
                <a:cubicBezTo>
                  <a:pt x="1988" y="328"/>
                  <a:pt x="1990" y="327"/>
                  <a:pt x="1989" y="326"/>
                </a:cubicBezTo>
                <a:cubicBezTo>
                  <a:pt x="1989" y="326"/>
                  <a:pt x="1988" y="326"/>
                  <a:pt x="1988" y="326"/>
                </a:cubicBezTo>
                <a:cubicBezTo>
                  <a:pt x="1988" y="326"/>
                  <a:pt x="1988" y="326"/>
                  <a:pt x="1988" y="326"/>
                </a:cubicBezTo>
                <a:cubicBezTo>
                  <a:pt x="1987" y="325"/>
                  <a:pt x="1987" y="325"/>
                  <a:pt x="1986" y="325"/>
                </a:cubicBezTo>
                <a:cubicBezTo>
                  <a:pt x="1986" y="325"/>
                  <a:pt x="1985" y="324"/>
                  <a:pt x="1985" y="324"/>
                </a:cubicBezTo>
                <a:cubicBezTo>
                  <a:pt x="1984" y="324"/>
                  <a:pt x="1983" y="323"/>
                  <a:pt x="1983" y="324"/>
                </a:cubicBezTo>
                <a:cubicBezTo>
                  <a:pt x="1983" y="325"/>
                  <a:pt x="1984" y="325"/>
                  <a:pt x="1984" y="326"/>
                </a:cubicBezTo>
                <a:cubicBezTo>
                  <a:pt x="1985" y="327"/>
                  <a:pt x="1985" y="328"/>
                  <a:pt x="1986" y="328"/>
                </a:cubicBezTo>
                <a:close/>
                <a:moveTo>
                  <a:pt x="1991" y="139"/>
                </a:moveTo>
                <a:cubicBezTo>
                  <a:pt x="1991" y="139"/>
                  <a:pt x="1992" y="140"/>
                  <a:pt x="1993" y="140"/>
                </a:cubicBezTo>
                <a:cubicBezTo>
                  <a:pt x="1994" y="140"/>
                  <a:pt x="1994" y="141"/>
                  <a:pt x="1995" y="141"/>
                </a:cubicBezTo>
                <a:cubicBezTo>
                  <a:pt x="1995" y="142"/>
                  <a:pt x="1995" y="142"/>
                  <a:pt x="1996" y="143"/>
                </a:cubicBezTo>
                <a:cubicBezTo>
                  <a:pt x="1996" y="143"/>
                  <a:pt x="1997" y="143"/>
                  <a:pt x="1996" y="144"/>
                </a:cubicBezTo>
                <a:cubicBezTo>
                  <a:pt x="1996" y="144"/>
                  <a:pt x="1996" y="144"/>
                  <a:pt x="1996" y="145"/>
                </a:cubicBezTo>
                <a:cubicBezTo>
                  <a:pt x="1996" y="145"/>
                  <a:pt x="1995" y="145"/>
                  <a:pt x="1995" y="146"/>
                </a:cubicBezTo>
                <a:cubicBezTo>
                  <a:pt x="1996" y="146"/>
                  <a:pt x="1996" y="145"/>
                  <a:pt x="1996" y="145"/>
                </a:cubicBezTo>
                <a:cubicBezTo>
                  <a:pt x="1997" y="145"/>
                  <a:pt x="1998" y="145"/>
                  <a:pt x="1999" y="145"/>
                </a:cubicBezTo>
                <a:cubicBezTo>
                  <a:pt x="1999" y="145"/>
                  <a:pt x="2000" y="145"/>
                  <a:pt x="2001" y="145"/>
                </a:cubicBezTo>
                <a:cubicBezTo>
                  <a:pt x="2002" y="145"/>
                  <a:pt x="2002" y="145"/>
                  <a:pt x="2002" y="145"/>
                </a:cubicBezTo>
                <a:cubicBezTo>
                  <a:pt x="2003" y="145"/>
                  <a:pt x="2003" y="144"/>
                  <a:pt x="2003" y="144"/>
                </a:cubicBezTo>
                <a:cubicBezTo>
                  <a:pt x="2004" y="144"/>
                  <a:pt x="2005" y="144"/>
                  <a:pt x="2006" y="144"/>
                </a:cubicBezTo>
                <a:cubicBezTo>
                  <a:pt x="2007" y="144"/>
                  <a:pt x="2008" y="144"/>
                  <a:pt x="2009" y="144"/>
                </a:cubicBezTo>
                <a:cubicBezTo>
                  <a:pt x="2010" y="144"/>
                  <a:pt x="2014" y="144"/>
                  <a:pt x="2014" y="142"/>
                </a:cubicBezTo>
                <a:cubicBezTo>
                  <a:pt x="2013" y="141"/>
                  <a:pt x="2013" y="141"/>
                  <a:pt x="2013" y="141"/>
                </a:cubicBezTo>
                <a:cubicBezTo>
                  <a:pt x="2013" y="140"/>
                  <a:pt x="2013" y="140"/>
                  <a:pt x="2013" y="139"/>
                </a:cubicBezTo>
                <a:cubicBezTo>
                  <a:pt x="2014" y="139"/>
                  <a:pt x="2013" y="138"/>
                  <a:pt x="2013" y="138"/>
                </a:cubicBezTo>
                <a:cubicBezTo>
                  <a:pt x="2013" y="138"/>
                  <a:pt x="2012" y="137"/>
                  <a:pt x="2012" y="137"/>
                </a:cubicBezTo>
                <a:cubicBezTo>
                  <a:pt x="2012" y="137"/>
                  <a:pt x="2012" y="136"/>
                  <a:pt x="2012" y="136"/>
                </a:cubicBezTo>
                <a:cubicBezTo>
                  <a:pt x="2011" y="135"/>
                  <a:pt x="2011" y="136"/>
                  <a:pt x="2010" y="137"/>
                </a:cubicBezTo>
                <a:cubicBezTo>
                  <a:pt x="2009" y="137"/>
                  <a:pt x="2009" y="136"/>
                  <a:pt x="2008" y="136"/>
                </a:cubicBezTo>
                <a:cubicBezTo>
                  <a:pt x="2008" y="135"/>
                  <a:pt x="2007" y="136"/>
                  <a:pt x="2006" y="136"/>
                </a:cubicBezTo>
                <a:cubicBezTo>
                  <a:pt x="2005" y="136"/>
                  <a:pt x="2005" y="136"/>
                  <a:pt x="2004" y="135"/>
                </a:cubicBezTo>
                <a:cubicBezTo>
                  <a:pt x="2003" y="135"/>
                  <a:pt x="2003" y="135"/>
                  <a:pt x="2002" y="135"/>
                </a:cubicBezTo>
                <a:cubicBezTo>
                  <a:pt x="2001" y="135"/>
                  <a:pt x="2001" y="135"/>
                  <a:pt x="2001" y="136"/>
                </a:cubicBezTo>
                <a:cubicBezTo>
                  <a:pt x="2001" y="136"/>
                  <a:pt x="2001" y="136"/>
                  <a:pt x="2000" y="137"/>
                </a:cubicBezTo>
                <a:cubicBezTo>
                  <a:pt x="2000" y="137"/>
                  <a:pt x="2000" y="137"/>
                  <a:pt x="1999" y="137"/>
                </a:cubicBezTo>
                <a:cubicBezTo>
                  <a:pt x="1998" y="137"/>
                  <a:pt x="1997" y="137"/>
                  <a:pt x="1996" y="137"/>
                </a:cubicBezTo>
                <a:cubicBezTo>
                  <a:pt x="1996" y="137"/>
                  <a:pt x="1995" y="138"/>
                  <a:pt x="1994" y="138"/>
                </a:cubicBezTo>
                <a:cubicBezTo>
                  <a:pt x="1993" y="138"/>
                  <a:pt x="1992" y="138"/>
                  <a:pt x="1991" y="138"/>
                </a:cubicBezTo>
                <a:cubicBezTo>
                  <a:pt x="1991" y="138"/>
                  <a:pt x="1990" y="138"/>
                  <a:pt x="1990" y="138"/>
                </a:cubicBezTo>
                <a:cubicBezTo>
                  <a:pt x="1990" y="138"/>
                  <a:pt x="1989" y="138"/>
                  <a:pt x="1989" y="138"/>
                </a:cubicBezTo>
                <a:cubicBezTo>
                  <a:pt x="1989" y="139"/>
                  <a:pt x="1989" y="139"/>
                  <a:pt x="1989" y="139"/>
                </a:cubicBezTo>
                <a:cubicBezTo>
                  <a:pt x="1990" y="139"/>
                  <a:pt x="1990" y="139"/>
                  <a:pt x="1991" y="139"/>
                </a:cubicBezTo>
                <a:close/>
                <a:moveTo>
                  <a:pt x="1976" y="332"/>
                </a:moveTo>
                <a:cubicBezTo>
                  <a:pt x="1976" y="332"/>
                  <a:pt x="1977" y="332"/>
                  <a:pt x="1977" y="332"/>
                </a:cubicBezTo>
                <a:cubicBezTo>
                  <a:pt x="1977" y="333"/>
                  <a:pt x="1977" y="333"/>
                  <a:pt x="1978" y="333"/>
                </a:cubicBezTo>
                <a:cubicBezTo>
                  <a:pt x="1978" y="333"/>
                  <a:pt x="1979" y="333"/>
                  <a:pt x="1979" y="333"/>
                </a:cubicBezTo>
                <a:cubicBezTo>
                  <a:pt x="1980" y="332"/>
                  <a:pt x="1981" y="333"/>
                  <a:pt x="1981" y="333"/>
                </a:cubicBezTo>
                <a:cubicBezTo>
                  <a:pt x="1982" y="332"/>
                  <a:pt x="1982" y="332"/>
                  <a:pt x="1983" y="331"/>
                </a:cubicBezTo>
                <a:cubicBezTo>
                  <a:pt x="1983" y="331"/>
                  <a:pt x="1984" y="330"/>
                  <a:pt x="1984" y="329"/>
                </a:cubicBezTo>
                <a:cubicBezTo>
                  <a:pt x="1984" y="329"/>
                  <a:pt x="1984" y="328"/>
                  <a:pt x="1983" y="328"/>
                </a:cubicBezTo>
                <a:cubicBezTo>
                  <a:pt x="1982" y="328"/>
                  <a:pt x="1981" y="327"/>
                  <a:pt x="1980" y="327"/>
                </a:cubicBezTo>
                <a:cubicBezTo>
                  <a:pt x="1980" y="327"/>
                  <a:pt x="1979" y="327"/>
                  <a:pt x="1978" y="327"/>
                </a:cubicBezTo>
                <a:cubicBezTo>
                  <a:pt x="1978" y="327"/>
                  <a:pt x="1978" y="328"/>
                  <a:pt x="1978" y="328"/>
                </a:cubicBezTo>
                <a:cubicBezTo>
                  <a:pt x="1977" y="328"/>
                  <a:pt x="1977" y="328"/>
                  <a:pt x="1976" y="328"/>
                </a:cubicBezTo>
                <a:cubicBezTo>
                  <a:pt x="1976" y="328"/>
                  <a:pt x="1976" y="329"/>
                  <a:pt x="1975" y="329"/>
                </a:cubicBezTo>
                <a:cubicBezTo>
                  <a:pt x="1975" y="329"/>
                  <a:pt x="1975" y="329"/>
                  <a:pt x="1975" y="329"/>
                </a:cubicBezTo>
                <a:cubicBezTo>
                  <a:pt x="1975" y="329"/>
                  <a:pt x="1975" y="329"/>
                  <a:pt x="1975" y="329"/>
                </a:cubicBezTo>
                <a:cubicBezTo>
                  <a:pt x="1974" y="330"/>
                  <a:pt x="1975" y="331"/>
                  <a:pt x="1974" y="331"/>
                </a:cubicBezTo>
                <a:cubicBezTo>
                  <a:pt x="1974" y="332"/>
                  <a:pt x="1973" y="331"/>
                  <a:pt x="1973" y="332"/>
                </a:cubicBezTo>
                <a:cubicBezTo>
                  <a:pt x="1973" y="332"/>
                  <a:pt x="1973" y="332"/>
                  <a:pt x="1973" y="332"/>
                </a:cubicBezTo>
                <a:cubicBezTo>
                  <a:pt x="1973" y="333"/>
                  <a:pt x="1973" y="333"/>
                  <a:pt x="1973" y="333"/>
                </a:cubicBezTo>
                <a:cubicBezTo>
                  <a:pt x="1972" y="333"/>
                  <a:pt x="1972" y="333"/>
                  <a:pt x="1972" y="333"/>
                </a:cubicBezTo>
                <a:cubicBezTo>
                  <a:pt x="1972" y="333"/>
                  <a:pt x="1972" y="333"/>
                  <a:pt x="1972" y="333"/>
                </a:cubicBezTo>
                <a:cubicBezTo>
                  <a:pt x="1971" y="334"/>
                  <a:pt x="1971" y="334"/>
                  <a:pt x="1971" y="334"/>
                </a:cubicBezTo>
                <a:cubicBezTo>
                  <a:pt x="1970" y="333"/>
                  <a:pt x="1970" y="333"/>
                  <a:pt x="1970" y="333"/>
                </a:cubicBezTo>
                <a:cubicBezTo>
                  <a:pt x="1969" y="333"/>
                  <a:pt x="1969" y="333"/>
                  <a:pt x="1969" y="334"/>
                </a:cubicBezTo>
                <a:cubicBezTo>
                  <a:pt x="1969" y="334"/>
                  <a:pt x="1969" y="335"/>
                  <a:pt x="1969" y="335"/>
                </a:cubicBezTo>
                <a:cubicBezTo>
                  <a:pt x="1968" y="335"/>
                  <a:pt x="1968" y="334"/>
                  <a:pt x="1968" y="335"/>
                </a:cubicBezTo>
                <a:cubicBezTo>
                  <a:pt x="1967" y="336"/>
                  <a:pt x="1969" y="336"/>
                  <a:pt x="1969" y="337"/>
                </a:cubicBezTo>
                <a:cubicBezTo>
                  <a:pt x="1968" y="337"/>
                  <a:pt x="1968" y="337"/>
                  <a:pt x="1967" y="337"/>
                </a:cubicBezTo>
                <a:cubicBezTo>
                  <a:pt x="1967" y="336"/>
                  <a:pt x="1967" y="336"/>
                  <a:pt x="1966" y="337"/>
                </a:cubicBezTo>
                <a:cubicBezTo>
                  <a:pt x="1966" y="337"/>
                  <a:pt x="1966" y="337"/>
                  <a:pt x="1966" y="337"/>
                </a:cubicBezTo>
                <a:cubicBezTo>
                  <a:pt x="1966" y="338"/>
                  <a:pt x="1967" y="338"/>
                  <a:pt x="1968" y="338"/>
                </a:cubicBezTo>
                <a:cubicBezTo>
                  <a:pt x="1968" y="338"/>
                  <a:pt x="1968" y="338"/>
                  <a:pt x="1968" y="338"/>
                </a:cubicBezTo>
                <a:cubicBezTo>
                  <a:pt x="1969" y="338"/>
                  <a:pt x="1970" y="338"/>
                  <a:pt x="1971" y="338"/>
                </a:cubicBezTo>
                <a:cubicBezTo>
                  <a:pt x="1972" y="338"/>
                  <a:pt x="1973" y="338"/>
                  <a:pt x="1974" y="338"/>
                </a:cubicBezTo>
                <a:cubicBezTo>
                  <a:pt x="1974" y="338"/>
                  <a:pt x="1974" y="338"/>
                  <a:pt x="1974" y="337"/>
                </a:cubicBezTo>
                <a:cubicBezTo>
                  <a:pt x="1975" y="337"/>
                  <a:pt x="1975" y="337"/>
                  <a:pt x="1975" y="336"/>
                </a:cubicBezTo>
                <a:cubicBezTo>
                  <a:pt x="1975" y="335"/>
                  <a:pt x="1976" y="336"/>
                  <a:pt x="1976" y="335"/>
                </a:cubicBezTo>
                <a:cubicBezTo>
                  <a:pt x="1977" y="335"/>
                  <a:pt x="1977" y="334"/>
                  <a:pt x="1977" y="334"/>
                </a:cubicBezTo>
                <a:cubicBezTo>
                  <a:pt x="1977" y="334"/>
                  <a:pt x="1978" y="334"/>
                  <a:pt x="1978" y="334"/>
                </a:cubicBezTo>
                <a:cubicBezTo>
                  <a:pt x="1978" y="333"/>
                  <a:pt x="1977" y="333"/>
                  <a:pt x="1976" y="333"/>
                </a:cubicBezTo>
                <a:cubicBezTo>
                  <a:pt x="1976" y="332"/>
                  <a:pt x="1976" y="332"/>
                  <a:pt x="1975" y="332"/>
                </a:cubicBezTo>
                <a:cubicBezTo>
                  <a:pt x="1975" y="332"/>
                  <a:pt x="1975" y="332"/>
                  <a:pt x="1975" y="332"/>
                </a:cubicBezTo>
                <a:cubicBezTo>
                  <a:pt x="1976" y="331"/>
                  <a:pt x="1976" y="332"/>
                  <a:pt x="1976" y="332"/>
                </a:cubicBezTo>
                <a:close/>
                <a:moveTo>
                  <a:pt x="1931" y="351"/>
                </a:moveTo>
                <a:cubicBezTo>
                  <a:pt x="1930" y="352"/>
                  <a:pt x="1930" y="353"/>
                  <a:pt x="1929" y="353"/>
                </a:cubicBezTo>
                <a:cubicBezTo>
                  <a:pt x="1929" y="354"/>
                  <a:pt x="1928" y="353"/>
                  <a:pt x="1927" y="354"/>
                </a:cubicBezTo>
                <a:cubicBezTo>
                  <a:pt x="1927" y="354"/>
                  <a:pt x="1926" y="355"/>
                  <a:pt x="1926" y="355"/>
                </a:cubicBezTo>
                <a:cubicBezTo>
                  <a:pt x="1925" y="355"/>
                  <a:pt x="1924" y="356"/>
                  <a:pt x="1925" y="356"/>
                </a:cubicBezTo>
                <a:cubicBezTo>
                  <a:pt x="1925" y="357"/>
                  <a:pt x="1925" y="357"/>
                  <a:pt x="1925" y="357"/>
                </a:cubicBezTo>
                <a:cubicBezTo>
                  <a:pt x="1925" y="357"/>
                  <a:pt x="1926" y="357"/>
                  <a:pt x="1926" y="357"/>
                </a:cubicBezTo>
                <a:cubicBezTo>
                  <a:pt x="1927" y="357"/>
                  <a:pt x="1927" y="356"/>
                  <a:pt x="1928" y="355"/>
                </a:cubicBezTo>
                <a:cubicBezTo>
                  <a:pt x="1928" y="355"/>
                  <a:pt x="1930" y="355"/>
                  <a:pt x="1930" y="355"/>
                </a:cubicBezTo>
                <a:cubicBezTo>
                  <a:pt x="1932" y="355"/>
                  <a:pt x="1931" y="356"/>
                  <a:pt x="1931" y="357"/>
                </a:cubicBezTo>
                <a:cubicBezTo>
                  <a:pt x="1930" y="357"/>
                  <a:pt x="1930" y="357"/>
                  <a:pt x="1931" y="358"/>
                </a:cubicBezTo>
                <a:cubicBezTo>
                  <a:pt x="1931" y="358"/>
                  <a:pt x="1931" y="358"/>
                  <a:pt x="1932" y="357"/>
                </a:cubicBezTo>
                <a:cubicBezTo>
                  <a:pt x="1932" y="357"/>
                  <a:pt x="1933" y="357"/>
                  <a:pt x="1933" y="357"/>
                </a:cubicBezTo>
                <a:cubicBezTo>
                  <a:pt x="1933" y="357"/>
                  <a:pt x="1934" y="357"/>
                  <a:pt x="1934" y="357"/>
                </a:cubicBezTo>
                <a:cubicBezTo>
                  <a:pt x="1934" y="356"/>
                  <a:pt x="1935" y="356"/>
                  <a:pt x="1935" y="356"/>
                </a:cubicBezTo>
                <a:cubicBezTo>
                  <a:pt x="1935" y="356"/>
                  <a:pt x="1935" y="356"/>
                  <a:pt x="1936" y="355"/>
                </a:cubicBezTo>
                <a:cubicBezTo>
                  <a:pt x="1936" y="354"/>
                  <a:pt x="1936" y="354"/>
                  <a:pt x="1936" y="353"/>
                </a:cubicBezTo>
                <a:cubicBezTo>
                  <a:pt x="1936" y="352"/>
                  <a:pt x="1935" y="352"/>
                  <a:pt x="1934" y="352"/>
                </a:cubicBezTo>
                <a:cubicBezTo>
                  <a:pt x="1934" y="351"/>
                  <a:pt x="1934" y="351"/>
                  <a:pt x="1934" y="351"/>
                </a:cubicBezTo>
                <a:cubicBezTo>
                  <a:pt x="1933" y="350"/>
                  <a:pt x="1933" y="350"/>
                  <a:pt x="1933" y="350"/>
                </a:cubicBezTo>
                <a:cubicBezTo>
                  <a:pt x="1933" y="349"/>
                  <a:pt x="1932" y="348"/>
                  <a:pt x="1931" y="349"/>
                </a:cubicBezTo>
                <a:cubicBezTo>
                  <a:pt x="1931" y="350"/>
                  <a:pt x="1932" y="351"/>
                  <a:pt x="1931" y="351"/>
                </a:cubicBezTo>
                <a:close/>
                <a:moveTo>
                  <a:pt x="2408" y="61"/>
                </a:moveTo>
                <a:cubicBezTo>
                  <a:pt x="2409" y="62"/>
                  <a:pt x="2409" y="61"/>
                  <a:pt x="2409" y="61"/>
                </a:cubicBezTo>
                <a:cubicBezTo>
                  <a:pt x="2410" y="61"/>
                  <a:pt x="2410" y="61"/>
                  <a:pt x="2411" y="61"/>
                </a:cubicBezTo>
                <a:cubicBezTo>
                  <a:pt x="2411" y="61"/>
                  <a:pt x="2411" y="61"/>
                  <a:pt x="2412" y="62"/>
                </a:cubicBezTo>
                <a:cubicBezTo>
                  <a:pt x="2412" y="62"/>
                  <a:pt x="2412" y="62"/>
                  <a:pt x="2413" y="62"/>
                </a:cubicBezTo>
                <a:cubicBezTo>
                  <a:pt x="2414" y="62"/>
                  <a:pt x="2415" y="62"/>
                  <a:pt x="2416" y="62"/>
                </a:cubicBezTo>
                <a:cubicBezTo>
                  <a:pt x="2417" y="63"/>
                  <a:pt x="2417" y="62"/>
                  <a:pt x="2418" y="62"/>
                </a:cubicBezTo>
                <a:cubicBezTo>
                  <a:pt x="2419" y="62"/>
                  <a:pt x="2419" y="63"/>
                  <a:pt x="2420" y="63"/>
                </a:cubicBezTo>
                <a:cubicBezTo>
                  <a:pt x="2420" y="63"/>
                  <a:pt x="2420" y="63"/>
                  <a:pt x="2421" y="63"/>
                </a:cubicBezTo>
                <a:cubicBezTo>
                  <a:pt x="2422" y="64"/>
                  <a:pt x="2423" y="64"/>
                  <a:pt x="2423" y="63"/>
                </a:cubicBezTo>
                <a:cubicBezTo>
                  <a:pt x="2424" y="62"/>
                  <a:pt x="2425" y="63"/>
                  <a:pt x="2426" y="63"/>
                </a:cubicBezTo>
                <a:cubicBezTo>
                  <a:pt x="2426" y="63"/>
                  <a:pt x="2427" y="63"/>
                  <a:pt x="2427" y="62"/>
                </a:cubicBezTo>
                <a:cubicBezTo>
                  <a:pt x="2427" y="62"/>
                  <a:pt x="2426" y="62"/>
                  <a:pt x="2426" y="62"/>
                </a:cubicBezTo>
                <a:cubicBezTo>
                  <a:pt x="2426" y="61"/>
                  <a:pt x="2425" y="61"/>
                  <a:pt x="2425" y="61"/>
                </a:cubicBezTo>
                <a:cubicBezTo>
                  <a:pt x="2424" y="61"/>
                  <a:pt x="2424" y="61"/>
                  <a:pt x="2424" y="61"/>
                </a:cubicBezTo>
                <a:cubicBezTo>
                  <a:pt x="2423" y="60"/>
                  <a:pt x="2422" y="61"/>
                  <a:pt x="2421" y="60"/>
                </a:cubicBezTo>
                <a:cubicBezTo>
                  <a:pt x="2420" y="60"/>
                  <a:pt x="2419" y="61"/>
                  <a:pt x="2419" y="59"/>
                </a:cubicBezTo>
                <a:cubicBezTo>
                  <a:pt x="2419" y="59"/>
                  <a:pt x="2419" y="59"/>
                  <a:pt x="2419" y="58"/>
                </a:cubicBezTo>
                <a:cubicBezTo>
                  <a:pt x="2419" y="58"/>
                  <a:pt x="2418" y="58"/>
                  <a:pt x="2417" y="58"/>
                </a:cubicBezTo>
                <a:cubicBezTo>
                  <a:pt x="2417" y="58"/>
                  <a:pt x="2417" y="58"/>
                  <a:pt x="2416" y="59"/>
                </a:cubicBezTo>
                <a:cubicBezTo>
                  <a:pt x="2416" y="59"/>
                  <a:pt x="2415" y="59"/>
                  <a:pt x="2415" y="59"/>
                </a:cubicBezTo>
                <a:cubicBezTo>
                  <a:pt x="2414" y="59"/>
                  <a:pt x="2414" y="59"/>
                  <a:pt x="2414" y="59"/>
                </a:cubicBezTo>
                <a:cubicBezTo>
                  <a:pt x="2413" y="59"/>
                  <a:pt x="2413" y="59"/>
                  <a:pt x="2412" y="59"/>
                </a:cubicBezTo>
                <a:cubicBezTo>
                  <a:pt x="2411" y="59"/>
                  <a:pt x="2410" y="59"/>
                  <a:pt x="2409" y="60"/>
                </a:cubicBezTo>
                <a:cubicBezTo>
                  <a:pt x="2409" y="60"/>
                  <a:pt x="2408" y="60"/>
                  <a:pt x="2408" y="60"/>
                </a:cubicBezTo>
                <a:cubicBezTo>
                  <a:pt x="2408" y="61"/>
                  <a:pt x="2407" y="60"/>
                  <a:pt x="2407" y="61"/>
                </a:cubicBezTo>
                <a:cubicBezTo>
                  <a:pt x="2407" y="61"/>
                  <a:pt x="2408" y="61"/>
                  <a:pt x="2408" y="61"/>
                </a:cubicBezTo>
                <a:close/>
                <a:moveTo>
                  <a:pt x="2383" y="73"/>
                </a:moveTo>
                <a:cubicBezTo>
                  <a:pt x="2383" y="73"/>
                  <a:pt x="2384" y="73"/>
                  <a:pt x="2385" y="73"/>
                </a:cubicBezTo>
                <a:cubicBezTo>
                  <a:pt x="2386" y="73"/>
                  <a:pt x="2386" y="74"/>
                  <a:pt x="2387" y="75"/>
                </a:cubicBezTo>
                <a:cubicBezTo>
                  <a:pt x="2387" y="75"/>
                  <a:pt x="2388" y="75"/>
                  <a:pt x="2388" y="75"/>
                </a:cubicBezTo>
                <a:cubicBezTo>
                  <a:pt x="2389" y="75"/>
                  <a:pt x="2389" y="75"/>
                  <a:pt x="2389" y="74"/>
                </a:cubicBezTo>
                <a:cubicBezTo>
                  <a:pt x="2390" y="74"/>
                  <a:pt x="2391" y="74"/>
                  <a:pt x="2392" y="74"/>
                </a:cubicBezTo>
                <a:cubicBezTo>
                  <a:pt x="2392" y="75"/>
                  <a:pt x="2392" y="76"/>
                  <a:pt x="2393" y="76"/>
                </a:cubicBezTo>
                <a:cubicBezTo>
                  <a:pt x="2394" y="77"/>
                  <a:pt x="2395" y="76"/>
                  <a:pt x="2395" y="77"/>
                </a:cubicBezTo>
                <a:cubicBezTo>
                  <a:pt x="2396" y="77"/>
                  <a:pt x="2396" y="77"/>
                  <a:pt x="2397" y="77"/>
                </a:cubicBezTo>
                <a:cubicBezTo>
                  <a:pt x="2397" y="77"/>
                  <a:pt x="2398" y="77"/>
                  <a:pt x="2399" y="77"/>
                </a:cubicBezTo>
                <a:cubicBezTo>
                  <a:pt x="2401" y="78"/>
                  <a:pt x="2403" y="78"/>
                  <a:pt x="2405" y="78"/>
                </a:cubicBezTo>
                <a:cubicBezTo>
                  <a:pt x="2406" y="79"/>
                  <a:pt x="2407" y="79"/>
                  <a:pt x="2408" y="79"/>
                </a:cubicBezTo>
                <a:cubicBezTo>
                  <a:pt x="2408" y="80"/>
                  <a:pt x="2409" y="81"/>
                  <a:pt x="2410" y="81"/>
                </a:cubicBezTo>
                <a:cubicBezTo>
                  <a:pt x="2411" y="81"/>
                  <a:pt x="2412" y="81"/>
                  <a:pt x="2413" y="81"/>
                </a:cubicBezTo>
                <a:cubicBezTo>
                  <a:pt x="2414" y="81"/>
                  <a:pt x="2414" y="81"/>
                  <a:pt x="2415" y="80"/>
                </a:cubicBezTo>
                <a:cubicBezTo>
                  <a:pt x="2415" y="80"/>
                  <a:pt x="2416" y="80"/>
                  <a:pt x="2416" y="80"/>
                </a:cubicBezTo>
                <a:cubicBezTo>
                  <a:pt x="2416" y="80"/>
                  <a:pt x="2417" y="80"/>
                  <a:pt x="2417" y="80"/>
                </a:cubicBezTo>
                <a:cubicBezTo>
                  <a:pt x="2418" y="79"/>
                  <a:pt x="2418" y="79"/>
                  <a:pt x="2417" y="79"/>
                </a:cubicBezTo>
                <a:cubicBezTo>
                  <a:pt x="2417" y="78"/>
                  <a:pt x="2416" y="78"/>
                  <a:pt x="2416" y="78"/>
                </a:cubicBezTo>
                <a:cubicBezTo>
                  <a:pt x="2416" y="78"/>
                  <a:pt x="2415" y="78"/>
                  <a:pt x="2415" y="78"/>
                </a:cubicBezTo>
                <a:cubicBezTo>
                  <a:pt x="2414" y="78"/>
                  <a:pt x="2413" y="77"/>
                  <a:pt x="2412" y="77"/>
                </a:cubicBezTo>
                <a:cubicBezTo>
                  <a:pt x="2411" y="77"/>
                  <a:pt x="2410" y="76"/>
                  <a:pt x="2409" y="76"/>
                </a:cubicBezTo>
                <a:cubicBezTo>
                  <a:pt x="2408" y="75"/>
                  <a:pt x="2406" y="75"/>
                  <a:pt x="2404" y="74"/>
                </a:cubicBezTo>
                <a:cubicBezTo>
                  <a:pt x="2403" y="74"/>
                  <a:pt x="2402" y="74"/>
                  <a:pt x="2401" y="73"/>
                </a:cubicBezTo>
                <a:cubicBezTo>
                  <a:pt x="2400" y="72"/>
                  <a:pt x="2400" y="72"/>
                  <a:pt x="2399" y="72"/>
                </a:cubicBezTo>
                <a:cubicBezTo>
                  <a:pt x="2397" y="72"/>
                  <a:pt x="2396" y="72"/>
                  <a:pt x="2395" y="72"/>
                </a:cubicBezTo>
                <a:cubicBezTo>
                  <a:pt x="2394" y="72"/>
                  <a:pt x="2393" y="72"/>
                  <a:pt x="2391" y="73"/>
                </a:cubicBezTo>
                <a:cubicBezTo>
                  <a:pt x="2390" y="73"/>
                  <a:pt x="2388" y="72"/>
                  <a:pt x="2387" y="72"/>
                </a:cubicBezTo>
                <a:cubicBezTo>
                  <a:pt x="2386" y="72"/>
                  <a:pt x="2385" y="72"/>
                  <a:pt x="2384" y="72"/>
                </a:cubicBezTo>
                <a:cubicBezTo>
                  <a:pt x="2383" y="72"/>
                  <a:pt x="2382" y="72"/>
                  <a:pt x="2381" y="72"/>
                </a:cubicBezTo>
                <a:cubicBezTo>
                  <a:pt x="2381" y="73"/>
                  <a:pt x="2382" y="73"/>
                  <a:pt x="2383" y="73"/>
                </a:cubicBezTo>
                <a:close/>
                <a:moveTo>
                  <a:pt x="826" y="464"/>
                </a:moveTo>
                <a:cubicBezTo>
                  <a:pt x="826" y="463"/>
                  <a:pt x="825" y="463"/>
                  <a:pt x="825" y="463"/>
                </a:cubicBezTo>
                <a:cubicBezTo>
                  <a:pt x="825" y="463"/>
                  <a:pt x="824" y="463"/>
                  <a:pt x="824" y="463"/>
                </a:cubicBezTo>
                <a:cubicBezTo>
                  <a:pt x="823" y="463"/>
                  <a:pt x="823" y="463"/>
                  <a:pt x="823" y="463"/>
                </a:cubicBezTo>
                <a:cubicBezTo>
                  <a:pt x="822" y="463"/>
                  <a:pt x="821" y="463"/>
                  <a:pt x="821" y="464"/>
                </a:cubicBezTo>
                <a:cubicBezTo>
                  <a:pt x="820" y="464"/>
                  <a:pt x="819" y="464"/>
                  <a:pt x="818" y="464"/>
                </a:cubicBezTo>
                <a:cubicBezTo>
                  <a:pt x="817" y="464"/>
                  <a:pt x="816" y="464"/>
                  <a:pt x="815" y="464"/>
                </a:cubicBezTo>
                <a:cubicBezTo>
                  <a:pt x="814" y="465"/>
                  <a:pt x="814" y="465"/>
                  <a:pt x="813" y="465"/>
                </a:cubicBezTo>
                <a:cubicBezTo>
                  <a:pt x="813" y="465"/>
                  <a:pt x="812" y="465"/>
                  <a:pt x="812" y="465"/>
                </a:cubicBezTo>
                <a:cubicBezTo>
                  <a:pt x="811" y="465"/>
                  <a:pt x="811" y="465"/>
                  <a:pt x="811" y="464"/>
                </a:cubicBezTo>
                <a:cubicBezTo>
                  <a:pt x="811" y="464"/>
                  <a:pt x="810" y="464"/>
                  <a:pt x="809" y="465"/>
                </a:cubicBezTo>
                <a:cubicBezTo>
                  <a:pt x="808" y="465"/>
                  <a:pt x="807" y="466"/>
                  <a:pt x="807" y="467"/>
                </a:cubicBezTo>
                <a:cubicBezTo>
                  <a:pt x="807" y="469"/>
                  <a:pt x="806" y="470"/>
                  <a:pt x="805" y="471"/>
                </a:cubicBezTo>
                <a:cubicBezTo>
                  <a:pt x="804" y="471"/>
                  <a:pt x="803" y="471"/>
                  <a:pt x="803" y="472"/>
                </a:cubicBezTo>
                <a:cubicBezTo>
                  <a:pt x="803" y="473"/>
                  <a:pt x="803" y="473"/>
                  <a:pt x="804" y="474"/>
                </a:cubicBezTo>
                <a:cubicBezTo>
                  <a:pt x="804" y="475"/>
                  <a:pt x="804" y="475"/>
                  <a:pt x="805" y="476"/>
                </a:cubicBezTo>
                <a:cubicBezTo>
                  <a:pt x="805" y="477"/>
                  <a:pt x="805" y="477"/>
                  <a:pt x="805" y="477"/>
                </a:cubicBezTo>
                <a:cubicBezTo>
                  <a:pt x="806" y="478"/>
                  <a:pt x="806" y="478"/>
                  <a:pt x="807" y="477"/>
                </a:cubicBezTo>
                <a:cubicBezTo>
                  <a:pt x="808" y="477"/>
                  <a:pt x="808" y="477"/>
                  <a:pt x="809" y="477"/>
                </a:cubicBezTo>
                <a:cubicBezTo>
                  <a:pt x="810" y="477"/>
                  <a:pt x="811" y="477"/>
                  <a:pt x="812" y="477"/>
                </a:cubicBezTo>
                <a:cubicBezTo>
                  <a:pt x="814" y="477"/>
                  <a:pt x="815" y="476"/>
                  <a:pt x="816" y="475"/>
                </a:cubicBezTo>
                <a:cubicBezTo>
                  <a:pt x="817" y="474"/>
                  <a:pt x="818" y="474"/>
                  <a:pt x="819" y="473"/>
                </a:cubicBezTo>
                <a:cubicBezTo>
                  <a:pt x="820" y="472"/>
                  <a:pt x="820" y="471"/>
                  <a:pt x="821" y="471"/>
                </a:cubicBezTo>
                <a:cubicBezTo>
                  <a:pt x="822" y="470"/>
                  <a:pt x="823" y="470"/>
                  <a:pt x="824" y="469"/>
                </a:cubicBezTo>
                <a:cubicBezTo>
                  <a:pt x="825" y="469"/>
                  <a:pt x="825" y="468"/>
                  <a:pt x="825" y="467"/>
                </a:cubicBezTo>
                <a:cubicBezTo>
                  <a:pt x="825" y="466"/>
                  <a:pt x="826" y="465"/>
                  <a:pt x="826" y="465"/>
                </a:cubicBezTo>
                <a:cubicBezTo>
                  <a:pt x="826" y="464"/>
                  <a:pt x="826" y="464"/>
                  <a:pt x="826" y="464"/>
                </a:cubicBezTo>
                <a:close/>
                <a:moveTo>
                  <a:pt x="2421" y="54"/>
                </a:moveTo>
                <a:cubicBezTo>
                  <a:pt x="2422" y="54"/>
                  <a:pt x="2421" y="55"/>
                  <a:pt x="2422" y="55"/>
                </a:cubicBezTo>
                <a:cubicBezTo>
                  <a:pt x="2422" y="55"/>
                  <a:pt x="2423" y="55"/>
                  <a:pt x="2423" y="54"/>
                </a:cubicBezTo>
                <a:cubicBezTo>
                  <a:pt x="2424" y="54"/>
                  <a:pt x="2425" y="55"/>
                  <a:pt x="2426" y="54"/>
                </a:cubicBezTo>
                <a:cubicBezTo>
                  <a:pt x="2426" y="54"/>
                  <a:pt x="2427" y="54"/>
                  <a:pt x="2428" y="54"/>
                </a:cubicBezTo>
                <a:cubicBezTo>
                  <a:pt x="2430" y="54"/>
                  <a:pt x="2431" y="54"/>
                  <a:pt x="2432" y="54"/>
                </a:cubicBezTo>
                <a:cubicBezTo>
                  <a:pt x="2433" y="54"/>
                  <a:pt x="2435" y="54"/>
                  <a:pt x="2436" y="53"/>
                </a:cubicBezTo>
                <a:cubicBezTo>
                  <a:pt x="2436" y="53"/>
                  <a:pt x="2436" y="53"/>
                  <a:pt x="2436" y="53"/>
                </a:cubicBezTo>
                <a:cubicBezTo>
                  <a:pt x="2437" y="52"/>
                  <a:pt x="2437" y="52"/>
                  <a:pt x="2437" y="52"/>
                </a:cubicBezTo>
                <a:cubicBezTo>
                  <a:pt x="2437" y="51"/>
                  <a:pt x="2435" y="51"/>
                  <a:pt x="2435" y="51"/>
                </a:cubicBezTo>
                <a:cubicBezTo>
                  <a:pt x="2434" y="51"/>
                  <a:pt x="2433" y="51"/>
                  <a:pt x="2432" y="51"/>
                </a:cubicBezTo>
                <a:cubicBezTo>
                  <a:pt x="2431" y="51"/>
                  <a:pt x="2430" y="51"/>
                  <a:pt x="2429" y="51"/>
                </a:cubicBezTo>
                <a:cubicBezTo>
                  <a:pt x="2428" y="51"/>
                  <a:pt x="2427" y="51"/>
                  <a:pt x="2426" y="51"/>
                </a:cubicBezTo>
                <a:cubicBezTo>
                  <a:pt x="2425" y="51"/>
                  <a:pt x="2424" y="51"/>
                  <a:pt x="2423" y="51"/>
                </a:cubicBezTo>
                <a:cubicBezTo>
                  <a:pt x="2423" y="51"/>
                  <a:pt x="2422" y="52"/>
                  <a:pt x="2422" y="52"/>
                </a:cubicBezTo>
                <a:cubicBezTo>
                  <a:pt x="2422" y="52"/>
                  <a:pt x="2421" y="52"/>
                  <a:pt x="2421" y="53"/>
                </a:cubicBezTo>
                <a:cubicBezTo>
                  <a:pt x="2421" y="53"/>
                  <a:pt x="2421" y="53"/>
                  <a:pt x="2420" y="53"/>
                </a:cubicBezTo>
                <a:cubicBezTo>
                  <a:pt x="2420" y="53"/>
                  <a:pt x="2420" y="54"/>
                  <a:pt x="2420" y="54"/>
                </a:cubicBezTo>
                <a:cubicBezTo>
                  <a:pt x="2420" y="54"/>
                  <a:pt x="2421" y="54"/>
                  <a:pt x="2421" y="54"/>
                </a:cubicBezTo>
                <a:close/>
                <a:moveTo>
                  <a:pt x="2377" y="79"/>
                </a:moveTo>
                <a:cubicBezTo>
                  <a:pt x="2377" y="79"/>
                  <a:pt x="2377" y="79"/>
                  <a:pt x="2377" y="79"/>
                </a:cubicBezTo>
                <a:cubicBezTo>
                  <a:pt x="2378" y="80"/>
                  <a:pt x="2378" y="79"/>
                  <a:pt x="2379" y="79"/>
                </a:cubicBezTo>
                <a:cubicBezTo>
                  <a:pt x="2379" y="79"/>
                  <a:pt x="2380" y="79"/>
                  <a:pt x="2380" y="79"/>
                </a:cubicBezTo>
                <a:cubicBezTo>
                  <a:pt x="2380" y="79"/>
                  <a:pt x="2381" y="79"/>
                  <a:pt x="2381" y="79"/>
                </a:cubicBezTo>
                <a:cubicBezTo>
                  <a:pt x="2382" y="79"/>
                  <a:pt x="2382" y="79"/>
                  <a:pt x="2382" y="79"/>
                </a:cubicBezTo>
                <a:cubicBezTo>
                  <a:pt x="2383" y="79"/>
                  <a:pt x="2384" y="80"/>
                  <a:pt x="2384" y="80"/>
                </a:cubicBezTo>
                <a:cubicBezTo>
                  <a:pt x="2385" y="81"/>
                  <a:pt x="2386" y="81"/>
                  <a:pt x="2387" y="81"/>
                </a:cubicBezTo>
                <a:cubicBezTo>
                  <a:pt x="2387" y="80"/>
                  <a:pt x="2388" y="80"/>
                  <a:pt x="2389" y="80"/>
                </a:cubicBezTo>
                <a:cubicBezTo>
                  <a:pt x="2390" y="80"/>
                  <a:pt x="2391" y="81"/>
                  <a:pt x="2392" y="80"/>
                </a:cubicBezTo>
                <a:cubicBezTo>
                  <a:pt x="2393" y="79"/>
                  <a:pt x="2394" y="79"/>
                  <a:pt x="2395" y="79"/>
                </a:cubicBezTo>
                <a:cubicBezTo>
                  <a:pt x="2395" y="79"/>
                  <a:pt x="2397" y="80"/>
                  <a:pt x="2397" y="79"/>
                </a:cubicBezTo>
                <a:cubicBezTo>
                  <a:pt x="2396" y="78"/>
                  <a:pt x="2395" y="79"/>
                  <a:pt x="2394" y="79"/>
                </a:cubicBezTo>
                <a:cubicBezTo>
                  <a:pt x="2393" y="79"/>
                  <a:pt x="2392" y="79"/>
                  <a:pt x="2391" y="79"/>
                </a:cubicBezTo>
                <a:cubicBezTo>
                  <a:pt x="2389" y="78"/>
                  <a:pt x="2386" y="79"/>
                  <a:pt x="2384" y="78"/>
                </a:cubicBezTo>
                <a:cubicBezTo>
                  <a:pt x="2383" y="78"/>
                  <a:pt x="2382" y="78"/>
                  <a:pt x="2381" y="78"/>
                </a:cubicBezTo>
                <a:cubicBezTo>
                  <a:pt x="2380" y="78"/>
                  <a:pt x="2379" y="78"/>
                  <a:pt x="2378" y="78"/>
                </a:cubicBezTo>
                <a:cubicBezTo>
                  <a:pt x="2377" y="78"/>
                  <a:pt x="2377" y="78"/>
                  <a:pt x="2376" y="78"/>
                </a:cubicBezTo>
                <a:cubicBezTo>
                  <a:pt x="2376" y="78"/>
                  <a:pt x="2375" y="77"/>
                  <a:pt x="2376" y="78"/>
                </a:cubicBezTo>
                <a:cubicBezTo>
                  <a:pt x="2376" y="78"/>
                  <a:pt x="2376" y="78"/>
                  <a:pt x="2377" y="79"/>
                </a:cubicBezTo>
                <a:close/>
                <a:moveTo>
                  <a:pt x="2314" y="86"/>
                </a:moveTo>
                <a:cubicBezTo>
                  <a:pt x="2313" y="86"/>
                  <a:pt x="2313" y="85"/>
                  <a:pt x="2312" y="85"/>
                </a:cubicBezTo>
                <a:cubicBezTo>
                  <a:pt x="2312" y="85"/>
                  <a:pt x="2312" y="85"/>
                  <a:pt x="2312" y="85"/>
                </a:cubicBezTo>
                <a:cubicBezTo>
                  <a:pt x="2311" y="85"/>
                  <a:pt x="2311" y="85"/>
                  <a:pt x="2310" y="85"/>
                </a:cubicBezTo>
                <a:cubicBezTo>
                  <a:pt x="2310" y="86"/>
                  <a:pt x="2309" y="86"/>
                  <a:pt x="2308" y="86"/>
                </a:cubicBezTo>
                <a:cubicBezTo>
                  <a:pt x="2307" y="85"/>
                  <a:pt x="2306" y="86"/>
                  <a:pt x="2305" y="86"/>
                </a:cubicBezTo>
                <a:cubicBezTo>
                  <a:pt x="2305" y="86"/>
                  <a:pt x="2304" y="86"/>
                  <a:pt x="2304" y="86"/>
                </a:cubicBezTo>
                <a:cubicBezTo>
                  <a:pt x="2304" y="86"/>
                  <a:pt x="2303" y="86"/>
                  <a:pt x="2303" y="87"/>
                </a:cubicBezTo>
                <a:cubicBezTo>
                  <a:pt x="2302" y="87"/>
                  <a:pt x="2301" y="87"/>
                  <a:pt x="2301" y="88"/>
                </a:cubicBezTo>
                <a:cubicBezTo>
                  <a:pt x="2300" y="88"/>
                  <a:pt x="2304" y="88"/>
                  <a:pt x="2304" y="87"/>
                </a:cubicBezTo>
                <a:cubicBezTo>
                  <a:pt x="2305" y="87"/>
                  <a:pt x="2306" y="87"/>
                  <a:pt x="2307" y="87"/>
                </a:cubicBezTo>
                <a:cubicBezTo>
                  <a:pt x="2307" y="87"/>
                  <a:pt x="2307" y="87"/>
                  <a:pt x="2308" y="88"/>
                </a:cubicBezTo>
                <a:cubicBezTo>
                  <a:pt x="2308" y="88"/>
                  <a:pt x="2309" y="88"/>
                  <a:pt x="2309" y="88"/>
                </a:cubicBezTo>
                <a:cubicBezTo>
                  <a:pt x="2309" y="89"/>
                  <a:pt x="2307" y="89"/>
                  <a:pt x="2307" y="89"/>
                </a:cubicBezTo>
                <a:cubicBezTo>
                  <a:pt x="2306" y="88"/>
                  <a:pt x="2306" y="89"/>
                  <a:pt x="2305" y="89"/>
                </a:cubicBezTo>
                <a:cubicBezTo>
                  <a:pt x="2305" y="89"/>
                  <a:pt x="2304" y="89"/>
                  <a:pt x="2304" y="89"/>
                </a:cubicBezTo>
                <a:cubicBezTo>
                  <a:pt x="2304" y="89"/>
                  <a:pt x="2304" y="89"/>
                  <a:pt x="2304" y="89"/>
                </a:cubicBezTo>
                <a:cubicBezTo>
                  <a:pt x="2304" y="89"/>
                  <a:pt x="2303" y="89"/>
                  <a:pt x="2303" y="89"/>
                </a:cubicBezTo>
                <a:cubicBezTo>
                  <a:pt x="2303" y="89"/>
                  <a:pt x="2303" y="90"/>
                  <a:pt x="2303" y="90"/>
                </a:cubicBezTo>
                <a:cubicBezTo>
                  <a:pt x="2304" y="90"/>
                  <a:pt x="2305" y="90"/>
                  <a:pt x="2306" y="90"/>
                </a:cubicBezTo>
                <a:cubicBezTo>
                  <a:pt x="2306" y="91"/>
                  <a:pt x="2307" y="91"/>
                  <a:pt x="2308" y="91"/>
                </a:cubicBezTo>
                <a:cubicBezTo>
                  <a:pt x="2308" y="91"/>
                  <a:pt x="2308" y="91"/>
                  <a:pt x="2307" y="91"/>
                </a:cubicBezTo>
                <a:cubicBezTo>
                  <a:pt x="2307" y="91"/>
                  <a:pt x="2306" y="92"/>
                  <a:pt x="2306" y="92"/>
                </a:cubicBezTo>
                <a:cubicBezTo>
                  <a:pt x="2305" y="92"/>
                  <a:pt x="2304" y="92"/>
                  <a:pt x="2303" y="92"/>
                </a:cubicBezTo>
                <a:cubicBezTo>
                  <a:pt x="2302" y="91"/>
                  <a:pt x="2301" y="92"/>
                  <a:pt x="2300" y="91"/>
                </a:cubicBezTo>
                <a:cubicBezTo>
                  <a:pt x="2299" y="91"/>
                  <a:pt x="2298" y="90"/>
                  <a:pt x="2297" y="90"/>
                </a:cubicBezTo>
                <a:cubicBezTo>
                  <a:pt x="2297" y="90"/>
                  <a:pt x="2296" y="90"/>
                  <a:pt x="2296" y="90"/>
                </a:cubicBezTo>
                <a:cubicBezTo>
                  <a:pt x="2295" y="90"/>
                  <a:pt x="2295" y="91"/>
                  <a:pt x="2294" y="91"/>
                </a:cubicBezTo>
                <a:cubicBezTo>
                  <a:pt x="2294" y="91"/>
                  <a:pt x="2293" y="91"/>
                  <a:pt x="2293" y="91"/>
                </a:cubicBezTo>
                <a:cubicBezTo>
                  <a:pt x="2293" y="91"/>
                  <a:pt x="2293" y="92"/>
                  <a:pt x="2292" y="92"/>
                </a:cubicBezTo>
                <a:cubicBezTo>
                  <a:pt x="2292" y="92"/>
                  <a:pt x="2292" y="92"/>
                  <a:pt x="2292" y="92"/>
                </a:cubicBezTo>
                <a:cubicBezTo>
                  <a:pt x="2292" y="93"/>
                  <a:pt x="2293" y="93"/>
                  <a:pt x="2293" y="93"/>
                </a:cubicBezTo>
                <a:cubicBezTo>
                  <a:pt x="2294" y="93"/>
                  <a:pt x="2294" y="94"/>
                  <a:pt x="2295" y="95"/>
                </a:cubicBezTo>
                <a:cubicBezTo>
                  <a:pt x="2295" y="95"/>
                  <a:pt x="2296" y="96"/>
                  <a:pt x="2297" y="95"/>
                </a:cubicBezTo>
                <a:cubicBezTo>
                  <a:pt x="2297" y="95"/>
                  <a:pt x="2297" y="95"/>
                  <a:pt x="2298" y="95"/>
                </a:cubicBezTo>
                <a:cubicBezTo>
                  <a:pt x="2298" y="95"/>
                  <a:pt x="2299" y="95"/>
                  <a:pt x="2299" y="95"/>
                </a:cubicBezTo>
                <a:cubicBezTo>
                  <a:pt x="2300" y="95"/>
                  <a:pt x="2300" y="94"/>
                  <a:pt x="2300" y="94"/>
                </a:cubicBezTo>
                <a:cubicBezTo>
                  <a:pt x="2301" y="94"/>
                  <a:pt x="2301" y="94"/>
                  <a:pt x="2301" y="94"/>
                </a:cubicBezTo>
                <a:cubicBezTo>
                  <a:pt x="2302" y="93"/>
                  <a:pt x="2303" y="93"/>
                  <a:pt x="2304" y="93"/>
                </a:cubicBezTo>
                <a:cubicBezTo>
                  <a:pt x="2305" y="93"/>
                  <a:pt x="2306" y="94"/>
                  <a:pt x="2306" y="94"/>
                </a:cubicBezTo>
                <a:cubicBezTo>
                  <a:pt x="2307" y="94"/>
                  <a:pt x="2307" y="94"/>
                  <a:pt x="2307" y="94"/>
                </a:cubicBezTo>
                <a:cubicBezTo>
                  <a:pt x="2308" y="95"/>
                  <a:pt x="2307" y="95"/>
                  <a:pt x="2307" y="95"/>
                </a:cubicBezTo>
                <a:cubicBezTo>
                  <a:pt x="2306" y="95"/>
                  <a:pt x="2306" y="95"/>
                  <a:pt x="2305" y="95"/>
                </a:cubicBezTo>
                <a:cubicBezTo>
                  <a:pt x="2305" y="95"/>
                  <a:pt x="2305" y="96"/>
                  <a:pt x="2304" y="96"/>
                </a:cubicBezTo>
                <a:cubicBezTo>
                  <a:pt x="2304" y="96"/>
                  <a:pt x="2304" y="96"/>
                  <a:pt x="2303" y="96"/>
                </a:cubicBezTo>
                <a:cubicBezTo>
                  <a:pt x="2303" y="97"/>
                  <a:pt x="2303" y="97"/>
                  <a:pt x="2303" y="97"/>
                </a:cubicBezTo>
                <a:cubicBezTo>
                  <a:pt x="2304" y="97"/>
                  <a:pt x="2305" y="97"/>
                  <a:pt x="2306" y="96"/>
                </a:cubicBezTo>
                <a:cubicBezTo>
                  <a:pt x="2307" y="96"/>
                  <a:pt x="2307" y="97"/>
                  <a:pt x="2308" y="97"/>
                </a:cubicBezTo>
                <a:cubicBezTo>
                  <a:pt x="2310" y="96"/>
                  <a:pt x="2312" y="96"/>
                  <a:pt x="2314" y="96"/>
                </a:cubicBezTo>
                <a:cubicBezTo>
                  <a:pt x="2315" y="96"/>
                  <a:pt x="2316" y="96"/>
                  <a:pt x="2317" y="96"/>
                </a:cubicBezTo>
                <a:cubicBezTo>
                  <a:pt x="2318" y="96"/>
                  <a:pt x="2319" y="96"/>
                  <a:pt x="2320" y="96"/>
                </a:cubicBezTo>
                <a:cubicBezTo>
                  <a:pt x="2320" y="95"/>
                  <a:pt x="2319" y="95"/>
                  <a:pt x="2319" y="95"/>
                </a:cubicBezTo>
                <a:cubicBezTo>
                  <a:pt x="2319" y="95"/>
                  <a:pt x="2319" y="94"/>
                  <a:pt x="2319" y="94"/>
                </a:cubicBezTo>
                <a:cubicBezTo>
                  <a:pt x="2319" y="94"/>
                  <a:pt x="2318" y="93"/>
                  <a:pt x="2318" y="93"/>
                </a:cubicBezTo>
                <a:cubicBezTo>
                  <a:pt x="2318" y="93"/>
                  <a:pt x="2318" y="92"/>
                  <a:pt x="2318" y="92"/>
                </a:cubicBezTo>
                <a:cubicBezTo>
                  <a:pt x="2317" y="91"/>
                  <a:pt x="2316" y="91"/>
                  <a:pt x="2317" y="90"/>
                </a:cubicBezTo>
                <a:cubicBezTo>
                  <a:pt x="2317" y="89"/>
                  <a:pt x="2318" y="89"/>
                  <a:pt x="2319" y="89"/>
                </a:cubicBezTo>
                <a:cubicBezTo>
                  <a:pt x="2321" y="89"/>
                  <a:pt x="2323" y="88"/>
                  <a:pt x="2325" y="87"/>
                </a:cubicBezTo>
                <a:cubicBezTo>
                  <a:pt x="2326" y="87"/>
                  <a:pt x="2327" y="87"/>
                  <a:pt x="2327" y="87"/>
                </a:cubicBezTo>
                <a:cubicBezTo>
                  <a:pt x="2328" y="87"/>
                  <a:pt x="2328" y="87"/>
                  <a:pt x="2329" y="87"/>
                </a:cubicBezTo>
                <a:cubicBezTo>
                  <a:pt x="2330" y="86"/>
                  <a:pt x="2331" y="86"/>
                  <a:pt x="2332" y="85"/>
                </a:cubicBezTo>
                <a:cubicBezTo>
                  <a:pt x="2333" y="85"/>
                  <a:pt x="2334" y="85"/>
                  <a:pt x="2335" y="85"/>
                </a:cubicBezTo>
                <a:cubicBezTo>
                  <a:pt x="2336" y="85"/>
                  <a:pt x="2337" y="84"/>
                  <a:pt x="2338" y="84"/>
                </a:cubicBezTo>
                <a:cubicBezTo>
                  <a:pt x="2339" y="83"/>
                  <a:pt x="2340" y="83"/>
                  <a:pt x="2342" y="83"/>
                </a:cubicBezTo>
                <a:cubicBezTo>
                  <a:pt x="2343" y="83"/>
                  <a:pt x="2344" y="82"/>
                  <a:pt x="2345" y="82"/>
                </a:cubicBezTo>
                <a:cubicBezTo>
                  <a:pt x="2346" y="82"/>
                  <a:pt x="2346" y="82"/>
                  <a:pt x="2347" y="82"/>
                </a:cubicBezTo>
                <a:cubicBezTo>
                  <a:pt x="2348" y="82"/>
                  <a:pt x="2350" y="82"/>
                  <a:pt x="2350" y="81"/>
                </a:cubicBezTo>
                <a:cubicBezTo>
                  <a:pt x="2350" y="80"/>
                  <a:pt x="2348" y="81"/>
                  <a:pt x="2348" y="81"/>
                </a:cubicBezTo>
                <a:cubicBezTo>
                  <a:pt x="2347" y="81"/>
                  <a:pt x="2347" y="80"/>
                  <a:pt x="2346" y="80"/>
                </a:cubicBezTo>
                <a:cubicBezTo>
                  <a:pt x="2346" y="80"/>
                  <a:pt x="2346" y="80"/>
                  <a:pt x="2346" y="80"/>
                </a:cubicBezTo>
                <a:cubicBezTo>
                  <a:pt x="2345" y="80"/>
                  <a:pt x="2345" y="80"/>
                  <a:pt x="2345" y="79"/>
                </a:cubicBezTo>
                <a:cubicBezTo>
                  <a:pt x="2345" y="79"/>
                  <a:pt x="2345" y="79"/>
                  <a:pt x="2345" y="79"/>
                </a:cubicBezTo>
                <a:cubicBezTo>
                  <a:pt x="2344" y="79"/>
                  <a:pt x="2344" y="79"/>
                  <a:pt x="2344" y="79"/>
                </a:cubicBezTo>
                <a:cubicBezTo>
                  <a:pt x="2343" y="79"/>
                  <a:pt x="2343" y="80"/>
                  <a:pt x="2343" y="80"/>
                </a:cubicBezTo>
                <a:cubicBezTo>
                  <a:pt x="2342" y="80"/>
                  <a:pt x="2342" y="79"/>
                  <a:pt x="2342" y="79"/>
                </a:cubicBezTo>
                <a:cubicBezTo>
                  <a:pt x="2342" y="78"/>
                  <a:pt x="2341" y="78"/>
                  <a:pt x="2341" y="77"/>
                </a:cubicBezTo>
                <a:cubicBezTo>
                  <a:pt x="2341" y="77"/>
                  <a:pt x="2341" y="76"/>
                  <a:pt x="2341" y="76"/>
                </a:cubicBezTo>
                <a:cubicBezTo>
                  <a:pt x="2340" y="75"/>
                  <a:pt x="2340" y="75"/>
                  <a:pt x="2339" y="75"/>
                </a:cubicBezTo>
                <a:cubicBezTo>
                  <a:pt x="2339" y="76"/>
                  <a:pt x="2338" y="77"/>
                  <a:pt x="2337" y="77"/>
                </a:cubicBezTo>
                <a:cubicBezTo>
                  <a:pt x="2336" y="77"/>
                  <a:pt x="2336" y="76"/>
                  <a:pt x="2335" y="76"/>
                </a:cubicBezTo>
                <a:cubicBezTo>
                  <a:pt x="2334" y="76"/>
                  <a:pt x="2333" y="75"/>
                  <a:pt x="2332" y="75"/>
                </a:cubicBezTo>
                <a:cubicBezTo>
                  <a:pt x="2332" y="76"/>
                  <a:pt x="2331" y="76"/>
                  <a:pt x="2330" y="76"/>
                </a:cubicBezTo>
                <a:cubicBezTo>
                  <a:pt x="2329" y="76"/>
                  <a:pt x="2329" y="76"/>
                  <a:pt x="2328" y="76"/>
                </a:cubicBezTo>
                <a:cubicBezTo>
                  <a:pt x="2328" y="76"/>
                  <a:pt x="2327" y="77"/>
                  <a:pt x="2327" y="77"/>
                </a:cubicBezTo>
                <a:cubicBezTo>
                  <a:pt x="2326" y="77"/>
                  <a:pt x="2326" y="77"/>
                  <a:pt x="2325" y="77"/>
                </a:cubicBezTo>
                <a:cubicBezTo>
                  <a:pt x="2325" y="77"/>
                  <a:pt x="2325" y="78"/>
                  <a:pt x="2324" y="78"/>
                </a:cubicBezTo>
                <a:cubicBezTo>
                  <a:pt x="2324" y="78"/>
                  <a:pt x="2323" y="78"/>
                  <a:pt x="2322" y="78"/>
                </a:cubicBezTo>
                <a:cubicBezTo>
                  <a:pt x="2321" y="78"/>
                  <a:pt x="2320" y="79"/>
                  <a:pt x="2320" y="79"/>
                </a:cubicBezTo>
                <a:cubicBezTo>
                  <a:pt x="2319" y="80"/>
                  <a:pt x="2319" y="79"/>
                  <a:pt x="2318" y="80"/>
                </a:cubicBezTo>
                <a:cubicBezTo>
                  <a:pt x="2318" y="80"/>
                  <a:pt x="2318" y="80"/>
                  <a:pt x="2318" y="81"/>
                </a:cubicBezTo>
                <a:cubicBezTo>
                  <a:pt x="2319" y="81"/>
                  <a:pt x="2320" y="80"/>
                  <a:pt x="2321" y="80"/>
                </a:cubicBezTo>
                <a:cubicBezTo>
                  <a:pt x="2322" y="81"/>
                  <a:pt x="2321" y="81"/>
                  <a:pt x="2321" y="81"/>
                </a:cubicBezTo>
                <a:cubicBezTo>
                  <a:pt x="2321" y="82"/>
                  <a:pt x="2322" y="82"/>
                  <a:pt x="2322" y="82"/>
                </a:cubicBezTo>
                <a:cubicBezTo>
                  <a:pt x="2323" y="81"/>
                  <a:pt x="2323" y="81"/>
                  <a:pt x="2323" y="81"/>
                </a:cubicBezTo>
                <a:cubicBezTo>
                  <a:pt x="2324" y="81"/>
                  <a:pt x="2324" y="82"/>
                  <a:pt x="2325" y="81"/>
                </a:cubicBezTo>
                <a:cubicBezTo>
                  <a:pt x="2325" y="81"/>
                  <a:pt x="2326" y="81"/>
                  <a:pt x="2326" y="81"/>
                </a:cubicBezTo>
                <a:cubicBezTo>
                  <a:pt x="2326" y="82"/>
                  <a:pt x="2326" y="82"/>
                  <a:pt x="2326" y="82"/>
                </a:cubicBezTo>
                <a:cubicBezTo>
                  <a:pt x="2326" y="83"/>
                  <a:pt x="2326" y="83"/>
                  <a:pt x="2325" y="83"/>
                </a:cubicBezTo>
                <a:cubicBezTo>
                  <a:pt x="2325" y="83"/>
                  <a:pt x="2325" y="83"/>
                  <a:pt x="2324" y="83"/>
                </a:cubicBezTo>
                <a:cubicBezTo>
                  <a:pt x="2323" y="83"/>
                  <a:pt x="2323" y="84"/>
                  <a:pt x="2323" y="84"/>
                </a:cubicBezTo>
                <a:cubicBezTo>
                  <a:pt x="2322" y="85"/>
                  <a:pt x="2321" y="85"/>
                  <a:pt x="2321" y="85"/>
                </a:cubicBezTo>
                <a:cubicBezTo>
                  <a:pt x="2321" y="86"/>
                  <a:pt x="2321" y="86"/>
                  <a:pt x="2320" y="86"/>
                </a:cubicBezTo>
                <a:cubicBezTo>
                  <a:pt x="2319" y="87"/>
                  <a:pt x="2318" y="86"/>
                  <a:pt x="2317" y="86"/>
                </a:cubicBezTo>
                <a:cubicBezTo>
                  <a:pt x="2317" y="86"/>
                  <a:pt x="2317" y="87"/>
                  <a:pt x="2316" y="87"/>
                </a:cubicBezTo>
                <a:cubicBezTo>
                  <a:pt x="2316" y="87"/>
                  <a:pt x="2315" y="87"/>
                  <a:pt x="2315" y="87"/>
                </a:cubicBezTo>
                <a:cubicBezTo>
                  <a:pt x="2314" y="86"/>
                  <a:pt x="2314" y="86"/>
                  <a:pt x="2314" y="86"/>
                </a:cubicBezTo>
                <a:close/>
                <a:moveTo>
                  <a:pt x="2441" y="335"/>
                </a:moveTo>
                <a:cubicBezTo>
                  <a:pt x="2442" y="335"/>
                  <a:pt x="2442" y="336"/>
                  <a:pt x="2442" y="336"/>
                </a:cubicBezTo>
                <a:cubicBezTo>
                  <a:pt x="2443" y="336"/>
                  <a:pt x="2444" y="335"/>
                  <a:pt x="2444" y="335"/>
                </a:cubicBezTo>
                <a:cubicBezTo>
                  <a:pt x="2446" y="335"/>
                  <a:pt x="2448" y="336"/>
                  <a:pt x="2449" y="335"/>
                </a:cubicBezTo>
                <a:cubicBezTo>
                  <a:pt x="2450" y="334"/>
                  <a:pt x="2449" y="333"/>
                  <a:pt x="2449" y="333"/>
                </a:cubicBezTo>
                <a:cubicBezTo>
                  <a:pt x="2449" y="332"/>
                  <a:pt x="2449" y="331"/>
                  <a:pt x="2449" y="330"/>
                </a:cubicBezTo>
                <a:cubicBezTo>
                  <a:pt x="2449" y="330"/>
                  <a:pt x="2448" y="329"/>
                  <a:pt x="2447" y="329"/>
                </a:cubicBezTo>
                <a:cubicBezTo>
                  <a:pt x="2447" y="329"/>
                  <a:pt x="2446" y="329"/>
                  <a:pt x="2445" y="328"/>
                </a:cubicBezTo>
                <a:cubicBezTo>
                  <a:pt x="2445" y="328"/>
                  <a:pt x="2444" y="328"/>
                  <a:pt x="2444" y="327"/>
                </a:cubicBezTo>
                <a:cubicBezTo>
                  <a:pt x="2444" y="327"/>
                  <a:pt x="2443" y="326"/>
                  <a:pt x="2443" y="326"/>
                </a:cubicBezTo>
                <a:cubicBezTo>
                  <a:pt x="2442" y="326"/>
                  <a:pt x="2441" y="326"/>
                  <a:pt x="2441" y="325"/>
                </a:cubicBezTo>
                <a:cubicBezTo>
                  <a:pt x="2441" y="325"/>
                  <a:pt x="2441" y="325"/>
                  <a:pt x="2440" y="325"/>
                </a:cubicBezTo>
                <a:cubicBezTo>
                  <a:pt x="2439" y="324"/>
                  <a:pt x="2438" y="323"/>
                  <a:pt x="2438" y="322"/>
                </a:cubicBezTo>
                <a:cubicBezTo>
                  <a:pt x="2437" y="322"/>
                  <a:pt x="2437" y="322"/>
                  <a:pt x="2437" y="322"/>
                </a:cubicBezTo>
                <a:cubicBezTo>
                  <a:pt x="2436" y="321"/>
                  <a:pt x="2436" y="321"/>
                  <a:pt x="2436" y="321"/>
                </a:cubicBezTo>
                <a:cubicBezTo>
                  <a:pt x="2435" y="320"/>
                  <a:pt x="2433" y="319"/>
                  <a:pt x="2432" y="320"/>
                </a:cubicBezTo>
                <a:cubicBezTo>
                  <a:pt x="2431" y="320"/>
                  <a:pt x="2431" y="320"/>
                  <a:pt x="2431" y="320"/>
                </a:cubicBezTo>
                <a:cubicBezTo>
                  <a:pt x="2430" y="320"/>
                  <a:pt x="2430" y="320"/>
                  <a:pt x="2430" y="320"/>
                </a:cubicBezTo>
                <a:cubicBezTo>
                  <a:pt x="2429" y="321"/>
                  <a:pt x="2429" y="322"/>
                  <a:pt x="2428" y="322"/>
                </a:cubicBezTo>
                <a:cubicBezTo>
                  <a:pt x="2428" y="322"/>
                  <a:pt x="2427" y="322"/>
                  <a:pt x="2427" y="322"/>
                </a:cubicBezTo>
                <a:cubicBezTo>
                  <a:pt x="2427" y="322"/>
                  <a:pt x="2427" y="323"/>
                  <a:pt x="2427" y="323"/>
                </a:cubicBezTo>
                <a:cubicBezTo>
                  <a:pt x="2428" y="323"/>
                  <a:pt x="2428" y="323"/>
                  <a:pt x="2428" y="323"/>
                </a:cubicBezTo>
                <a:cubicBezTo>
                  <a:pt x="2429" y="323"/>
                  <a:pt x="2429" y="323"/>
                  <a:pt x="2429" y="324"/>
                </a:cubicBezTo>
                <a:cubicBezTo>
                  <a:pt x="2429" y="324"/>
                  <a:pt x="2427" y="324"/>
                  <a:pt x="2427" y="324"/>
                </a:cubicBezTo>
                <a:cubicBezTo>
                  <a:pt x="2427" y="325"/>
                  <a:pt x="2427" y="326"/>
                  <a:pt x="2427" y="327"/>
                </a:cubicBezTo>
                <a:cubicBezTo>
                  <a:pt x="2427" y="328"/>
                  <a:pt x="2428" y="328"/>
                  <a:pt x="2429" y="328"/>
                </a:cubicBezTo>
                <a:cubicBezTo>
                  <a:pt x="2429" y="329"/>
                  <a:pt x="2429" y="329"/>
                  <a:pt x="2429" y="329"/>
                </a:cubicBezTo>
                <a:cubicBezTo>
                  <a:pt x="2430" y="330"/>
                  <a:pt x="2430" y="330"/>
                  <a:pt x="2431" y="331"/>
                </a:cubicBezTo>
                <a:cubicBezTo>
                  <a:pt x="2431" y="331"/>
                  <a:pt x="2432" y="331"/>
                  <a:pt x="2432" y="331"/>
                </a:cubicBezTo>
                <a:cubicBezTo>
                  <a:pt x="2432" y="331"/>
                  <a:pt x="2433" y="332"/>
                  <a:pt x="2433" y="332"/>
                </a:cubicBezTo>
                <a:cubicBezTo>
                  <a:pt x="2433" y="331"/>
                  <a:pt x="2433" y="331"/>
                  <a:pt x="2433" y="331"/>
                </a:cubicBezTo>
                <a:cubicBezTo>
                  <a:pt x="2432" y="330"/>
                  <a:pt x="2432" y="330"/>
                  <a:pt x="2433" y="330"/>
                </a:cubicBezTo>
                <a:cubicBezTo>
                  <a:pt x="2433" y="331"/>
                  <a:pt x="2434" y="331"/>
                  <a:pt x="2434" y="331"/>
                </a:cubicBezTo>
                <a:cubicBezTo>
                  <a:pt x="2434" y="331"/>
                  <a:pt x="2435" y="331"/>
                  <a:pt x="2435" y="331"/>
                </a:cubicBezTo>
                <a:cubicBezTo>
                  <a:pt x="2436" y="332"/>
                  <a:pt x="2437" y="332"/>
                  <a:pt x="2438" y="332"/>
                </a:cubicBezTo>
                <a:cubicBezTo>
                  <a:pt x="2438" y="332"/>
                  <a:pt x="2438" y="333"/>
                  <a:pt x="2438" y="333"/>
                </a:cubicBezTo>
                <a:cubicBezTo>
                  <a:pt x="2439" y="333"/>
                  <a:pt x="2439" y="333"/>
                  <a:pt x="2439" y="333"/>
                </a:cubicBezTo>
                <a:cubicBezTo>
                  <a:pt x="2440" y="334"/>
                  <a:pt x="2439" y="334"/>
                  <a:pt x="2439" y="335"/>
                </a:cubicBezTo>
                <a:cubicBezTo>
                  <a:pt x="2439" y="336"/>
                  <a:pt x="2441" y="335"/>
                  <a:pt x="2441" y="335"/>
                </a:cubicBezTo>
                <a:close/>
                <a:moveTo>
                  <a:pt x="2366" y="307"/>
                </a:moveTo>
                <a:cubicBezTo>
                  <a:pt x="2366" y="307"/>
                  <a:pt x="2366" y="307"/>
                  <a:pt x="2366" y="306"/>
                </a:cubicBezTo>
                <a:cubicBezTo>
                  <a:pt x="2366" y="306"/>
                  <a:pt x="2366" y="305"/>
                  <a:pt x="2366" y="305"/>
                </a:cubicBezTo>
                <a:cubicBezTo>
                  <a:pt x="2367" y="305"/>
                  <a:pt x="2367" y="304"/>
                  <a:pt x="2367" y="304"/>
                </a:cubicBezTo>
                <a:cubicBezTo>
                  <a:pt x="2366" y="303"/>
                  <a:pt x="2365" y="304"/>
                  <a:pt x="2365" y="303"/>
                </a:cubicBezTo>
                <a:cubicBezTo>
                  <a:pt x="2364" y="303"/>
                  <a:pt x="2364" y="303"/>
                  <a:pt x="2364" y="302"/>
                </a:cubicBezTo>
                <a:cubicBezTo>
                  <a:pt x="2364" y="302"/>
                  <a:pt x="2363" y="302"/>
                  <a:pt x="2363" y="301"/>
                </a:cubicBezTo>
                <a:cubicBezTo>
                  <a:pt x="2363" y="301"/>
                  <a:pt x="2363" y="301"/>
                  <a:pt x="2363" y="300"/>
                </a:cubicBezTo>
                <a:cubicBezTo>
                  <a:pt x="2362" y="300"/>
                  <a:pt x="2362" y="301"/>
                  <a:pt x="2363" y="301"/>
                </a:cubicBezTo>
                <a:cubicBezTo>
                  <a:pt x="2363" y="302"/>
                  <a:pt x="2363" y="302"/>
                  <a:pt x="2363" y="302"/>
                </a:cubicBezTo>
                <a:cubicBezTo>
                  <a:pt x="2363" y="302"/>
                  <a:pt x="2362" y="302"/>
                  <a:pt x="2362" y="302"/>
                </a:cubicBezTo>
                <a:cubicBezTo>
                  <a:pt x="2362" y="302"/>
                  <a:pt x="2362" y="301"/>
                  <a:pt x="2362" y="301"/>
                </a:cubicBezTo>
                <a:cubicBezTo>
                  <a:pt x="2362" y="300"/>
                  <a:pt x="2360" y="300"/>
                  <a:pt x="2359" y="300"/>
                </a:cubicBezTo>
                <a:cubicBezTo>
                  <a:pt x="2359" y="300"/>
                  <a:pt x="2358" y="300"/>
                  <a:pt x="2358" y="301"/>
                </a:cubicBezTo>
                <a:cubicBezTo>
                  <a:pt x="2357" y="301"/>
                  <a:pt x="2357" y="301"/>
                  <a:pt x="2357" y="301"/>
                </a:cubicBezTo>
                <a:cubicBezTo>
                  <a:pt x="2356" y="301"/>
                  <a:pt x="2355" y="301"/>
                  <a:pt x="2355" y="302"/>
                </a:cubicBezTo>
                <a:cubicBezTo>
                  <a:pt x="2355" y="302"/>
                  <a:pt x="2356" y="302"/>
                  <a:pt x="2357" y="303"/>
                </a:cubicBezTo>
                <a:cubicBezTo>
                  <a:pt x="2357" y="303"/>
                  <a:pt x="2358" y="304"/>
                  <a:pt x="2358" y="304"/>
                </a:cubicBezTo>
                <a:cubicBezTo>
                  <a:pt x="2359" y="305"/>
                  <a:pt x="2360" y="305"/>
                  <a:pt x="2361" y="306"/>
                </a:cubicBezTo>
                <a:cubicBezTo>
                  <a:pt x="2362" y="307"/>
                  <a:pt x="2361" y="308"/>
                  <a:pt x="2363" y="308"/>
                </a:cubicBezTo>
                <a:cubicBezTo>
                  <a:pt x="2363" y="308"/>
                  <a:pt x="2363" y="308"/>
                  <a:pt x="2364" y="308"/>
                </a:cubicBezTo>
                <a:cubicBezTo>
                  <a:pt x="2364" y="309"/>
                  <a:pt x="2364" y="309"/>
                  <a:pt x="2365" y="309"/>
                </a:cubicBezTo>
                <a:cubicBezTo>
                  <a:pt x="2366" y="310"/>
                  <a:pt x="2365" y="308"/>
                  <a:pt x="2365" y="308"/>
                </a:cubicBezTo>
                <a:cubicBezTo>
                  <a:pt x="2365" y="307"/>
                  <a:pt x="2365" y="307"/>
                  <a:pt x="2366" y="307"/>
                </a:cubicBezTo>
                <a:close/>
                <a:moveTo>
                  <a:pt x="2357" y="94"/>
                </a:moveTo>
                <a:cubicBezTo>
                  <a:pt x="2358" y="95"/>
                  <a:pt x="2358" y="94"/>
                  <a:pt x="2359" y="95"/>
                </a:cubicBezTo>
                <a:cubicBezTo>
                  <a:pt x="2359" y="95"/>
                  <a:pt x="2360" y="95"/>
                  <a:pt x="2360" y="96"/>
                </a:cubicBezTo>
                <a:cubicBezTo>
                  <a:pt x="2361" y="96"/>
                  <a:pt x="2362" y="95"/>
                  <a:pt x="2362" y="95"/>
                </a:cubicBezTo>
                <a:cubicBezTo>
                  <a:pt x="2363" y="95"/>
                  <a:pt x="2364" y="95"/>
                  <a:pt x="2365" y="95"/>
                </a:cubicBezTo>
                <a:cubicBezTo>
                  <a:pt x="2366" y="95"/>
                  <a:pt x="2367" y="95"/>
                  <a:pt x="2368" y="95"/>
                </a:cubicBezTo>
                <a:cubicBezTo>
                  <a:pt x="2368" y="95"/>
                  <a:pt x="2368" y="96"/>
                  <a:pt x="2369" y="96"/>
                </a:cubicBezTo>
                <a:cubicBezTo>
                  <a:pt x="2369" y="96"/>
                  <a:pt x="2370" y="95"/>
                  <a:pt x="2370" y="95"/>
                </a:cubicBezTo>
                <a:cubicBezTo>
                  <a:pt x="2370" y="95"/>
                  <a:pt x="2370" y="94"/>
                  <a:pt x="2370" y="94"/>
                </a:cubicBezTo>
                <a:cubicBezTo>
                  <a:pt x="2371" y="94"/>
                  <a:pt x="2371" y="94"/>
                  <a:pt x="2372" y="94"/>
                </a:cubicBezTo>
                <a:cubicBezTo>
                  <a:pt x="2372" y="94"/>
                  <a:pt x="2373" y="94"/>
                  <a:pt x="2373" y="94"/>
                </a:cubicBezTo>
                <a:cubicBezTo>
                  <a:pt x="2373" y="94"/>
                  <a:pt x="2374" y="94"/>
                  <a:pt x="2374" y="93"/>
                </a:cubicBezTo>
                <a:cubicBezTo>
                  <a:pt x="2374" y="92"/>
                  <a:pt x="2372" y="92"/>
                  <a:pt x="2372" y="92"/>
                </a:cubicBezTo>
                <a:cubicBezTo>
                  <a:pt x="2371" y="92"/>
                  <a:pt x="2371" y="92"/>
                  <a:pt x="2370" y="91"/>
                </a:cubicBezTo>
                <a:cubicBezTo>
                  <a:pt x="2370" y="91"/>
                  <a:pt x="2370" y="91"/>
                  <a:pt x="2369" y="91"/>
                </a:cubicBezTo>
                <a:cubicBezTo>
                  <a:pt x="2368" y="91"/>
                  <a:pt x="2368" y="90"/>
                  <a:pt x="2368" y="90"/>
                </a:cubicBezTo>
                <a:cubicBezTo>
                  <a:pt x="2367" y="89"/>
                  <a:pt x="2366" y="89"/>
                  <a:pt x="2365" y="89"/>
                </a:cubicBezTo>
                <a:cubicBezTo>
                  <a:pt x="2365" y="89"/>
                  <a:pt x="2365" y="89"/>
                  <a:pt x="2364" y="89"/>
                </a:cubicBezTo>
                <a:cubicBezTo>
                  <a:pt x="2364" y="89"/>
                  <a:pt x="2363" y="89"/>
                  <a:pt x="2363" y="90"/>
                </a:cubicBezTo>
                <a:cubicBezTo>
                  <a:pt x="2362" y="90"/>
                  <a:pt x="2361" y="90"/>
                  <a:pt x="2361" y="91"/>
                </a:cubicBezTo>
                <a:cubicBezTo>
                  <a:pt x="2360" y="91"/>
                  <a:pt x="2360" y="92"/>
                  <a:pt x="2360" y="92"/>
                </a:cubicBezTo>
                <a:cubicBezTo>
                  <a:pt x="2359" y="92"/>
                  <a:pt x="2359" y="93"/>
                  <a:pt x="2359" y="93"/>
                </a:cubicBezTo>
                <a:cubicBezTo>
                  <a:pt x="2358" y="93"/>
                  <a:pt x="2358" y="93"/>
                  <a:pt x="2358" y="93"/>
                </a:cubicBezTo>
                <a:cubicBezTo>
                  <a:pt x="2358" y="93"/>
                  <a:pt x="2356" y="94"/>
                  <a:pt x="2357" y="94"/>
                </a:cubicBezTo>
                <a:close/>
                <a:moveTo>
                  <a:pt x="2348" y="287"/>
                </a:moveTo>
                <a:cubicBezTo>
                  <a:pt x="2347" y="287"/>
                  <a:pt x="2346" y="288"/>
                  <a:pt x="2346" y="288"/>
                </a:cubicBezTo>
                <a:cubicBezTo>
                  <a:pt x="2346" y="289"/>
                  <a:pt x="2346" y="291"/>
                  <a:pt x="2346" y="291"/>
                </a:cubicBezTo>
                <a:cubicBezTo>
                  <a:pt x="2346" y="292"/>
                  <a:pt x="2346" y="293"/>
                  <a:pt x="2347" y="294"/>
                </a:cubicBezTo>
                <a:cubicBezTo>
                  <a:pt x="2347" y="294"/>
                  <a:pt x="2348" y="294"/>
                  <a:pt x="2348" y="294"/>
                </a:cubicBezTo>
                <a:cubicBezTo>
                  <a:pt x="2348" y="295"/>
                  <a:pt x="2348" y="295"/>
                  <a:pt x="2348" y="296"/>
                </a:cubicBezTo>
                <a:cubicBezTo>
                  <a:pt x="2348" y="297"/>
                  <a:pt x="2349" y="296"/>
                  <a:pt x="2350" y="297"/>
                </a:cubicBezTo>
                <a:cubicBezTo>
                  <a:pt x="2350" y="297"/>
                  <a:pt x="2351" y="297"/>
                  <a:pt x="2351" y="297"/>
                </a:cubicBezTo>
                <a:cubicBezTo>
                  <a:pt x="2352" y="297"/>
                  <a:pt x="2352" y="297"/>
                  <a:pt x="2352" y="297"/>
                </a:cubicBezTo>
                <a:cubicBezTo>
                  <a:pt x="2353" y="297"/>
                  <a:pt x="2354" y="297"/>
                  <a:pt x="2355" y="296"/>
                </a:cubicBezTo>
                <a:cubicBezTo>
                  <a:pt x="2356" y="296"/>
                  <a:pt x="2357" y="297"/>
                  <a:pt x="2357" y="297"/>
                </a:cubicBezTo>
                <a:cubicBezTo>
                  <a:pt x="2357" y="297"/>
                  <a:pt x="2358" y="297"/>
                  <a:pt x="2358" y="297"/>
                </a:cubicBezTo>
                <a:cubicBezTo>
                  <a:pt x="2358" y="296"/>
                  <a:pt x="2358" y="296"/>
                  <a:pt x="2358" y="296"/>
                </a:cubicBezTo>
                <a:cubicBezTo>
                  <a:pt x="2358" y="296"/>
                  <a:pt x="2359" y="296"/>
                  <a:pt x="2359" y="296"/>
                </a:cubicBezTo>
                <a:cubicBezTo>
                  <a:pt x="2359" y="296"/>
                  <a:pt x="2359" y="297"/>
                  <a:pt x="2359" y="297"/>
                </a:cubicBezTo>
                <a:cubicBezTo>
                  <a:pt x="2359" y="298"/>
                  <a:pt x="2359" y="298"/>
                  <a:pt x="2359" y="298"/>
                </a:cubicBezTo>
                <a:cubicBezTo>
                  <a:pt x="2359" y="299"/>
                  <a:pt x="2360" y="299"/>
                  <a:pt x="2360" y="299"/>
                </a:cubicBezTo>
                <a:cubicBezTo>
                  <a:pt x="2360" y="299"/>
                  <a:pt x="2360" y="299"/>
                  <a:pt x="2361" y="300"/>
                </a:cubicBezTo>
                <a:cubicBezTo>
                  <a:pt x="2361" y="300"/>
                  <a:pt x="2362" y="300"/>
                  <a:pt x="2362" y="300"/>
                </a:cubicBezTo>
                <a:cubicBezTo>
                  <a:pt x="2363" y="300"/>
                  <a:pt x="2364" y="300"/>
                  <a:pt x="2364" y="299"/>
                </a:cubicBezTo>
                <a:cubicBezTo>
                  <a:pt x="2364" y="299"/>
                  <a:pt x="2364" y="299"/>
                  <a:pt x="2365" y="298"/>
                </a:cubicBezTo>
                <a:cubicBezTo>
                  <a:pt x="2365" y="298"/>
                  <a:pt x="2365" y="299"/>
                  <a:pt x="2366" y="298"/>
                </a:cubicBezTo>
                <a:cubicBezTo>
                  <a:pt x="2366" y="298"/>
                  <a:pt x="2367" y="298"/>
                  <a:pt x="2367" y="298"/>
                </a:cubicBezTo>
                <a:cubicBezTo>
                  <a:pt x="2367" y="297"/>
                  <a:pt x="2367" y="297"/>
                  <a:pt x="2368" y="297"/>
                </a:cubicBezTo>
                <a:cubicBezTo>
                  <a:pt x="2368" y="297"/>
                  <a:pt x="2368" y="298"/>
                  <a:pt x="2368" y="298"/>
                </a:cubicBezTo>
                <a:cubicBezTo>
                  <a:pt x="2368" y="299"/>
                  <a:pt x="2367" y="298"/>
                  <a:pt x="2367" y="299"/>
                </a:cubicBezTo>
                <a:cubicBezTo>
                  <a:pt x="2367" y="299"/>
                  <a:pt x="2367" y="300"/>
                  <a:pt x="2367" y="300"/>
                </a:cubicBezTo>
                <a:cubicBezTo>
                  <a:pt x="2368" y="301"/>
                  <a:pt x="2368" y="301"/>
                  <a:pt x="2368" y="301"/>
                </a:cubicBezTo>
                <a:cubicBezTo>
                  <a:pt x="2368" y="301"/>
                  <a:pt x="2368" y="302"/>
                  <a:pt x="2369" y="302"/>
                </a:cubicBezTo>
                <a:cubicBezTo>
                  <a:pt x="2369" y="302"/>
                  <a:pt x="2370" y="301"/>
                  <a:pt x="2371" y="301"/>
                </a:cubicBezTo>
                <a:cubicBezTo>
                  <a:pt x="2371" y="301"/>
                  <a:pt x="2371" y="300"/>
                  <a:pt x="2372" y="300"/>
                </a:cubicBezTo>
                <a:cubicBezTo>
                  <a:pt x="2372" y="300"/>
                  <a:pt x="2372" y="301"/>
                  <a:pt x="2372" y="301"/>
                </a:cubicBezTo>
                <a:cubicBezTo>
                  <a:pt x="2371" y="301"/>
                  <a:pt x="2371" y="302"/>
                  <a:pt x="2371" y="302"/>
                </a:cubicBezTo>
                <a:cubicBezTo>
                  <a:pt x="2370" y="302"/>
                  <a:pt x="2370" y="302"/>
                  <a:pt x="2370" y="303"/>
                </a:cubicBezTo>
                <a:cubicBezTo>
                  <a:pt x="2369" y="303"/>
                  <a:pt x="2370" y="304"/>
                  <a:pt x="2371" y="304"/>
                </a:cubicBezTo>
                <a:cubicBezTo>
                  <a:pt x="2371" y="305"/>
                  <a:pt x="2372" y="305"/>
                  <a:pt x="2373" y="305"/>
                </a:cubicBezTo>
                <a:cubicBezTo>
                  <a:pt x="2373" y="306"/>
                  <a:pt x="2374" y="306"/>
                  <a:pt x="2374" y="306"/>
                </a:cubicBezTo>
                <a:cubicBezTo>
                  <a:pt x="2374" y="307"/>
                  <a:pt x="2374" y="307"/>
                  <a:pt x="2375" y="307"/>
                </a:cubicBezTo>
                <a:cubicBezTo>
                  <a:pt x="2375" y="307"/>
                  <a:pt x="2375" y="308"/>
                  <a:pt x="2374" y="308"/>
                </a:cubicBezTo>
                <a:cubicBezTo>
                  <a:pt x="2374" y="307"/>
                  <a:pt x="2374" y="307"/>
                  <a:pt x="2373" y="307"/>
                </a:cubicBezTo>
                <a:cubicBezTo>
                  <a:pt x="2373" y="307"/>
                  <a:pt x="2372" y="307"/>
                  <a:pt x="2372" y="307"/>
                </a:cubicBezTo>
                <a:cubicBezTo>
                  <a:pt x="2371" y="307"/>
                  <a:pt x="2371" y="307"/>
                  <a:pt x="2371" y="307"/>
                </a:cubicBezTo>
                <a:cubicBezTo>
                  <a:pt x="2370" y="307"/>
                  <a:pt x="2370" y="307"/>
                  <a:pt x="2370" y="307"/>
                </a:cubicBezTo>
                <a:cubicBezTo>
                  <a:pt x="2370" y="308"/>
                  <a:pt x="2371" y="308"/>
                  <a:pt x="2371" y="308"/>
                </a:cubicBezTo>
                <a:cubicBezTo>
                  <a:pt x="2372" y="308"/>
                  <a:pt x="2372" y="308"/>
                  <a:pt x="2373" y="309"/>
                </a:cubicBezTo>
                <a:cubicBezTo>
                  <a:pt x="2373" y="310"/>
                  <a:pt x="2373" y="310"/>
                  <a:pt x="2372" y="310"/>
                </a:cubicBezTo>
                <a:cubicBezTo>
                  <a:pt x="2372" y="310"/>
                  <a:pt x="2372" y="311"/>
                  <a:pt x="2372" y="311"/>
                </a:cubicBezTo>
                <a:cubicBezTo>
                  <a:pt x="2372" y="312"/>
                  <a:pt x="2372" y="312"/>
                  <a:pt x="2371" y="312"/>
                </a:cubicBezTo>
                <a:cubicBezTo>
                  <a:pt x="2371" y="312"/>
                  <a:pt x="2371" y="312"/>
                  <a:pt x="2370" y="311"/>
                </a:cubicBezTo>
                <a:cubicBezTo>
                  <a:pt x="2370" y="311"/>
                  <a:pt x="2368" y="311"/>
                  <a:pt x="2368" y="311"/>
                </a:cubicBezTo>
                <a:cubicBezTo>
                  <a:pt x="2368" y="312"/>
                  <a:pt x="2369" y="312"/>
                  <a:pt x="2369" y="312"/>
                </a:cubicBezTo>
                <a:cubicBezTo>
                  <a:pt x="2369" y="312"/>
                  <a:pt x="2369" y="312"/>
                  <a:pt x="2370" y="312"/>
                </a:cubicBezTo>
                <a:cubicBezTo>
                  <a:pt x="2371" y="313"/>
                  <a:pt x="2373" y="313"/>
                  <a:pt x="2374" y="313"/>
                </a:cubicBezTo>
                <a:cubicBezTo>
                  <a:pt x="2375" y="314"/>
                  <a:pt x="2376" y="314"/>
                  <a:pt x="2377" y="314"/>
                </a:cubicBezTo>
                <a:cubicBezTo>
                  <a:pt x="2377" y="314"/>
                  <a:pt x="2378" y="314"/>
                  <a:pt x="2378" y="314"/>
                </a:cubicBezTo>
                <a:cubicBezTo>
                  <a:pt x="2379" y="315"/>
                  <a:pt x="2380" y="315"/>
                  <a:pt x="2380" y="315"/>
                </a:cubicBezTo>
                <a:cubicBezTo>
                  <a:pt x="2381" y="315"/>
                  <a:pt x="2381" y="315"/>
                  <a:pt x="2382" y="315"/>
                </a:cubicBezTo>
                <a:cubicBezTo>
                  <a:pt x="2382" y="316"/>
                  <a:pt x="2383" y="316"/>
                  <a:pt x="2383" y="316"/>
                </a:cubicBezTo>
                <a:cubicBezTo>
                  <a:pt x="2383" y="315"/>
                  <a:pt x="2382" y="314"/>
                  <a:pt x="2381" y="314"/>
                </a:cubicBezTo>
                <a:cubicBezTo>
                  <a:pt x="2381" y="313"/>
                  <a:pt x="2383" y="314"/>
                  <a:pt x="2383" y="314"/>
                </a:cubicBezTo>
                <a:cubicBezTo>
                  <a:pt x="2383" y="314"/>
                  <a:pt x="2383" y="315"/>
                  <a:pt x="2384" y="315"/>
                </a:cubicBezTo>
                <a:cubicBezTo>
                  <a:pt x="2384" y="315"/>
                  <a:pt x="2384" y="315"/>
                  <a:pt x="2385" y="315"/>
                </a:cubicBezTo>
                <a:cubicBezTo>
                  <a:pt x="2386" y="315"/>
                  <a:pt x="2387" y="316"/>
                  <a:pt x="2387" y="316"/>
                </a:cubicBezTo>
                <a:cubicBezTo>
                  <a:pt x="2387" y="317"/>
                  <a:pt x="2387" y="317"/>
                  <a:pt x="2388" y="317"/>
                </a:cubicBezTo>
                <a:cubicBezTo>
                  <a:pt x="2388" y="317"/>
                  <a:pt x="2388" y="317"/>
                  <a:pt x="2389" y="317"/>
                </a:cubicBezTo>
                <a:cubicBezTo>
                  <a:pt x="2390" y="317"/>
                  <a:pt x="2389" y="316"/>
                  <a:pt x="2390" y="315"/>
                </a:cubicBezTo>
                <a:cubicBezTo>
                  <a:pt x="2390" y="314"/>
                  <a:pt x="2391" y="314"/>
                  <a:pt x="2392" y="314"/>
                </a:cubicBezTo>
                <a:cubicBezTo>
                  <a:pt x="2393" y="315"/>
                  <a:pt x="2394" y="314"/>
                  <a:pt x="2395" y="315"/>
                </a:cubicBezTo>
                <a:cubicBezTo>
                  <a:pt x="2395" y="315"/>
                  <a:pt x="2395" y="315"/>
                  <a:pt x="2395" y="316"/>
                </a:cubicBezTo>
                <a:cubicBezTo>
                  <a:pt x="2395" y="316"/>
                  <a:pt x="2395" y="316"/>
                  <a:pt x="2395" y="316"/>
                </a:cubicBezTo>
                <a:cubicBezTo>
                  <a:pt x="2394" y="316"/>
                  <a:pt x="2395" y="317"/>
                  <a:pt x="2395" y="317"/>
                </a:cubicBezTo>
                <a:cubicBezTo>
                  <a:pt x="2396" y="317"/>
                  <a:pt x="2396" y="316"/>
                  <a:pt x="2397" y="317"/>
                </a:cubicBezTo>
                <a:cubicBezTo>
                  <a:pt x="2397" y="317"/>
                  <a:pt x="2398" y="317"/>
                  <a:pt x="2398" y="317"/>
                </a:cubicBezTo>
                <a:cubicBezTo>
                  <a:pt x="2399" y="317"/>
                  <a:pt x="2399" y="317"/>
                  <a:pt x="2398" y="317"/>
                </a:cubicBezTo>
                <a:cubicBezTo>
                  <a:pt x="2398" y="316"/>
                  <a:pt x="2398" y="316"/>
                  <a:pt x="2397" y="316"/>
                </a:cubicBezTo>
                <a:cubicBezTo>
                  <a:pt x="2397" y="316"/>
                  <a:pt x="2397" y="316"/>
                  <a:pt x="2397" y="315"/>
                </a:cubicBezTo>
                <a:cubicBezTo>
                  <a:pt x="2398" y="315"/>
                  <a:pt x="2399" y="316"/>
                  <a:pt x="2399" y="317"/>
                </a:cubicBezTo>
                <a:cubicBezTo>
                  <a:pt x="2400" y="317"/>
                  <a:pt x="2400" y="317"/>
                  <a:pt x="2401" y="317"/>
                </a:cubicBezTo>
                <a:cubicBezTo>
                  <a:pt x="2402" y="317"/>
                  <a:pt x="2402" y="317"/>
                  <a:pt x="2403" y="317"/>
                </a:cubicBezTo>
                <a:cubicBezTo>
                  <a:pt x="2403" y="317"/>
                  <a:pt x="2403" y="318"/>
                  <a:pt x="2404" y="318"/>
                </a:cubicBezTo>
                <a:cubicBezTo>
                  <a:pt x="2405" y="318"/>
                  <a:pt x="2403" y="316"/>
                  <a:pt x="2403" y="316"/>
                </a:cubicBezTo>
                <a:cubicBezTo>
                  <a:pt x="2403" y="315"/>
                  <a:pt x="2403" y="315"/>
                  <a:pt x="2402" y="315"/>
                </a:cubicBezTo>
                <a:cubicBezTo>
                  <a:pt x="2402" y="315"/>
                  <a:pt x="2401" y="315"/>
                  <a:pt x="2401" y="315"/>
                </a:cubicBezTo>
                <a:cubicBezTo>
                  <a:pt x="2402" y="314"/>
                  <a:pt x="2403" y="315"/>
                  <a:pt x="2404" y="315"/>
                </a:cubicBezTo>
                <a:cubicBezTo>
                  <a:pt x="2405" y="316"/>
                  <a:pt x="2406" y="315"/>
                  <a:pt x="2407" y="316"/>
                </a:cubicBezTo>
                <a:cubicBezTo>
                  <a:pt x="2408" y="316"/>
                  <a:pt x="2408" y="317"/>
                  <a:pt x="2408" y="317"/>
                </a:cubicBezTo>
                <a:cubicBezTo>
                  <a:pt x="2408" y="317"/>
                  <a:pt x="2409" y="317"/>
                  <a:pt x="2409" y="317"/>
                </a:cubicBezTo>
                <a:cubicBezTo>
                  <a:pt x="2410" y="317"/>
                  <a:pt x="2410" y="317"/>
                  <a:pt x="2411" y="317"/>
                </a:cubicBezTo>
                <a:cubicBezTo>
                  <a:pt x="2411" y="318"/>
                  <a:pt x="2413" y="318"/>
                  <a:pt x="2412" y="317"/>
                </a:cubicBezTo>
                <a:cubicBezTo>
                  <a:pt x="2412" y="317"/>
                  <a:pt x="2411" y="316"/>
                  <a:pt x="2411" y="316"/>
                </a:cubicBezTo>
                <a:cubicBezTo>
                  <a:pt x="2410" y="316"/>
                  <a:pt x="2409" y="316"/>
                  <a:pt x="2408" y="316"/>
                </a:cubicBezTo>
                <a:cubicBezTo>
                  <a:pt x="2408" y="315"/>
                  <a:pt x="2408" y="315"/>
                  <a:pt x="2409" y="316"/>
                </a:cubicBezTo>
                <a:cubicBezTo>
                  <a:pt x="2409" y="316"/>
                  <a:pt x="2409" y="316"/>
                  <a:pt x="2410" y="316"/>
                </a:cubicBezTo>
                <a:cubicBezTo>
                  <a:pt x="2411" y="316"/>
                  <a:pt x="2411" y="316"/>
                  <a:pt x="2412" y="316"/>
                </a:cubicBezTo>
                <a:cubicBezTo>
                  <a:pt x="2412" y="316"/>
                  <a:pt x="2412" y="316"/>
                  <a:pt x="2413" y="316"/>
                </a:cubicBezTo>
                <a:cubicBezTo>
                  <a:pt x="2413" y="317"/>
                  <a:pt x="2413" y="317"/>
                  <a:pt x="2413" y="317"/>
                </a:cubicBezTo>
                <a:cubicBezTo>
                  <a:pt x="2415" y="317"/>
                  <a:pt x="2414" y="316"/>
                  <a:pt x="2415" y="315"/>
                </a:cubicBezTo>
                <a:cubicBezTo>
                  <a:pt x="2415" y="314"/>
                  <a:pt x="2416" y="314"/>
                  <a:pt x="2416" y="314"/>
                </a:cubicBezTo>
                <a:cubicBezTo>
                  <a:pt x="2416" y="315"/>
                  <a:pt x="2417" y="315"/>
                  <a:pt x="2417" y="314"/>
                </a:cubicBezTo>
                <a:cubicBezTo>
                  <a:pt x="2417" y="313"/>
                  <a:pt x="2416" y="313"/>
                  <a:pt x="2415" y="313"/>
                </a:cubicBezTo>
                <a:cubicBezTo>
                  <a:pt x="2414" y="313"/>
                  <a:pt x="2414" y="313"/>
                  <a:pt x="2413" y="313"/>
                </a:cubicBezTo>
                <a:cubicBezTo>
                  <a:pt x="2412" y="312"/>
                  <a:pt x="2411" y="312"/>
                  <a:pt x="2410" y="311"/>
                </a:cubicBezTo>
                <a:cubicBezTo>
                  <a:pt x="2409" y="311"/>
                  <a:pt x="2408" y="310"/>
                  <a:pt x="2407" y="310"/>
                </a:cubicBezTo>
                <a:cubicBezTo>
                  <a:pt x="2406" y="309"/>
                  <a:pt x="2405" y="309"/>
                  <a:pt x="2405" y="308"/>
                </a:cubicBezTo>
                <a:cubicBezTo>
                  <a:pt x="2404" y="307"/>
                  <a:pt x="2403" y="306"/>
                  <a:pt x="2402" y="306"/>
                </a:cubicBezTo>
                <a:cubicBezTo>
                  <a:pt x="2401" y="305"/>
                  <a:pt x="2400" y="304"/>
                  <a:pt x="2400" y="303"/>
                </a:cubicBezTo>
                <a:cubicBezTo>
                  <a:pt x="2399" y="302"/>
                  <a:pt x="2399" y="301"/>
                  <a:pt x="2398" y="300"/>
                </a:cubicBezTo>
                <a:cubicBezTo>
                  <a:pt x="2398" y="300"/>
                  <a:pt x="2397" y="299"/>
                  <a:pt x="2396" y="298"/>
                </a:cubicBezTo>
                <a:cubicBezTo>
                  <a:pt x="2396" y="297"/>
                  <a:pt x="2395" y="296"/>
                  <a:pt x="2395" y="295"/>
                </a:cubicBezTo>
                <a:cubicBezTo>
                  <a:pt x="2394" y="295"/>
                  <a:pt x="2394" y="295"/>
                  <a:pt x="2394" y="294"/>
                </a:cubicBezTo>
                <a:cubicBezTo>
                  <a:pt x="2393" y="294"/>
                  <a:pt x="2393" y="293"/>
                  <a:pt x="2393" y="292"/>
                </a:cubicBezTo>
                <a:cubicBezTo>
                  <a:pt x="2393" y="291"/>
                  <a:pt x="2392" y="290"/>
                  <a:pt x="2391" y="290"/>
                </a:cubicBezTo>
                <a:cubicBezTo>
                  <a:pt x="2391" y="289"/>
                  <a:pt x="2391" y="289"/>
                  <a:pt x="2391" y="288"/>
                </a:cubicBezTo>
                <a:cubicBezTo>
                  <a:pt x="2392" y="288"/>
                  <a:pt x="2392" y="287"/>
                  <a:pt x="2392" y="287"/>
                </a:cubicBezTo>
                <a:cubicBezTo>
                  <a:pt x="2392" y="286"/>
                  <a:pt x="2392" y="286"/>
                  <a:pt x="2392" y="286"/>
                </a:cubicBezTo>
                <a:cubicBezTo>
                  <a:pt x="2392" y="286"/>
                  <a:pt x="2392" y="285"/>
                  <a:pt x="2392" y="285"/>
                </a:cubicBezTo>
                <a:cubicBezTo>
                  <a:pt x="2392" y="284"/>
                  <a:pt x="2394" y="284"/>
                  <a:pt x="2393" y="283"/>
                </a:cubicBezTo>
                <a:cubicBezTo>
                  <a:pt x="2393" y="283"/>
                  <a:pt x="2393" y="283"/>
                  <a:pt x="2393" y="283"/>
                </a:cubicBezTo>
                <a:cubicBezTo>
                  <a:pt x="2393" y="283"/>
                  <a:pt x="2393" y="282"/>
                  <a:pt x="2393" y="282"/>
                </a:cubicBezTo>
                <a:cubicBezTo>
                  <a:pt x="2392" y="282"/>
                  <a:pt x="2392" y="282"/>
                  <a:pt x="2392" y="281"/>
                </a:cubicBezTo>
                <a:cubicBezTo>
                  <a:pt x="2391" y="281"/>
                  <a:pt x="2393" y="281"/>
                  <a:pt x="2392" y="280"/>
                </a:cubicBezTo>
                <a:cubicBezTo>
                  <a:pt x="2392" y="279"/>
                  <a:pt x="2392" y="279"/>
                  <a:pt x="2392" y="279"/>
                </a:cubicBezTo>
                <a:cubicBezTo>
                  <a:pt x="2392" y="279"/>
                  <a:pt x="2392" y="279"/>
                  <a:pt x="2392" y="279"/>
                </a:cubicBezTo>
                <a:cubicBezTo>
                  <a:pt x="2391" y="278"/>
                  <a:pt x="2391" y="278"/>
                  <a:pt x="2391" y="278"/>
                </a:cubicBezTo>
                <a:cubicBezTo>
                  <a:pt x="2391" y="278"/>
                  <a:pt x="2391" y="277"/>
                  <a:pt x="2391" y="277"/>
                </a:cubicBezTo>
                <a:cubicBezTo>
                  <a:pt x="2392" y="277"/>
                  <a:pt x="2392" y="278"/>
                  <a:pt x="2393" y="278"/>
                </a:cubicBezTo>
                <a:cubicBezTo>
                  <a:pt x="2393" y="278"/>
                  <a:pt x="2393" y="277"/>
                  <a:pt x="2393" y="277"/>
                </a:cubicBezTo>
                <a:cubicBezTo>
                  <a:pt x="2393" y="276"/>
                  <a:pt x="2393" y="276"/>
                  <a:pt x="2392" y="276"/>
                </a:cubicBezTo>
                <a:cubicBezTo>
                  <a:pt x="2392" y="276"/>
                  <a:pt x="2393" y="276"/>
                  <a:pt x="2394" y="276"/>
                </a:cubicBezTo>
                <a:cubicBezTo>
                  <a:pt x="2394" y="276"/>
                  <a:pt x="2395" y="275"/>
                  <a:pt x="2395" y="274"/>
                </a:cubicBezTo>
                <a:cubicBezTo>
                  <a:pt x="2395" y="274"/>
                  <a:pt x="2395" y="273"/>
                  <a:pt x="2396" y="273"/>
                </a:cubicBezTo>
                <a:cubicBezTo>
                  <a:pt x="2396" y="273"/>
                  <a:pt x="2397" y="273"/>
                  <a:pt x="2397" y="273"/>
                </a:cubicBezTo>
                <a:cubicBezTo>
                  <a:pt x="2397" y="273"/>
                  <a:pt x="2397" y="272"/>
                  <a:pt x="2397" y="272"/>
                </a:cubicBezTo>
                <a:cubicBezTo>
                  <a:pt x="2397" y="271"/>
                  <a:pt x="2397" y="271"/>
                  <a:pt x="2396" y="271"/>
                </a:cubicBezTo>
                <a:cubicBezTo>
                  <a:pt x="2396" y="271"/>
                  <a:pt x="2395" y="271"/>
                  <a:pt x="2395" y="271"/>
                </a:cubicBezTo>
                <a:cubicBezTo>
                  <a:pt x="2395" y="271"/>
                  <a:pt x="2396" y="270"/>
                  <a:pt x="2396" y="270"/>
                </a:cubicBezTo>
                <a:cubicBezTo>
                  <a:pt x="2396" y="270"/>
                  <a:pt x="2397" y="270"/>
                  <a:pt x="2397" y="270"/>
                </a:cubicBezTo>
                <a:cubicBezTo>
                  <a:pt x="2398" y="271"/>
                  <a:pt x="2399" y="271"/>
                  <a:pt x="2400" y="271"/>
                </a:cubicBezTo>
                <a:cubicBezTo>
                  <a:pt x="2400" y="271"/>
                  <a:pt x="2400" y="270"/>
                  <a:pt x="2401" y="270"/>
                </a:cubicBezTo>
                <a:cubicBezTo>
                  <a:pt x="2401" y="270"/>
                  <a:pt x="2401" y="269"/>
                  <a:pt x="2401" y="269"/>
                </a:cubicBezTo>
                <a:cubicBezTo>
                  <a:pt x="2401" y="268"/>
                  <a:pt x="2402" y="268"/>
                  <a:pt x="2402" y="268"/>
                </a:cubicBezTo>
                <a:cubicBezTo>
                  <a:pt x="2402" y="267"/>
                  <a:pt x="2401" y="267"/>
                  <a:pt x="2401" y="267"/>
                </a:cubicBezTo>
                <a:cubicBezTo>
                  <a:pt x="2400" y="267"/>
                  <a:pt x="2400" y="268"/>
                  <a:pt x="2400" y="267"/>
                </a:cubicBezTo>
                <a:cubicBezTo>
                  <a:pt x="2399" y="267"/>
                  <a:pt x="2399" y="267"/>
                  <a:pt x="2398" y="267"/>
                </a:cubicBezTo>
                <a:cubicBezTo>
                  <a:pt x="2397" y="267"/>
                  <a:pt x="2396" y="267"/>
                  <a:pt x="2396" y="267"/>
                </a:cubicBezTo>
                <a:cubicBezTo>
                  <a:pt x="2395" y="267"/>
                  <a:pt x="2396" y="267"/>
                  <a:pt x="2397" y="266"/>
                </a:cubicBezTo>
                <a:cubicBezTo>
                  <a:pt x="2397" y="266"/>
                  <a:pt x="2397" y="266"/>
                  <a:pt x="2398" y="266"/>
                </a:cubicBezTo>
                <a:cubicBezTo>
                  <a:pt x="2399" y="266"/>
                  <a:pt x="2400" y="266"/>
                  <a:pt x="2400" y="266"/>
                </a:cubicBezTo>
                <a:cubicBezTo>
                  <a:pt x="2401" y="266"/>
                  <a:pt x="2401" y="266"/>
                  <a:pt x="2402" y="266"/>
                </a:cubicBezTo>
                <a:cubicBezTo>
                  <a:pt x="2402" y="266"/>
                  <a:pt x="2403" y="266"/>
                  <a:pt x="2403" y="265"/>
                </a:cubicBezTo>
                <a:cubicBezTo>
                  <a:pt x="2404" y="265"/>
                  <a:pt x="2401" y="265"/>
                  <a:pt x="2401" y="265"/>
                </a:cubicBezTo>
                <a:cubicBezTo>
                  <a:pt x="2401" y="264"/>
                  <a:pt x="2401" y="264"/>
                  <a:pt x="2402" y="264"/>
                </a:cubicBezTo>
                <a:cubicBezTo>
                  <a:pt x="2402" y="264"/>
                  <a:pt x="2403" y="264"/>
                  <a:pt x="2403" y="264"/>
                </a:cubicBezTo>
                <a:cubicBezTo>
                  <a:pt x="2404" y="263"/>
                  <a:pt x="2404" y="263"/>
                  <a:pt x="2404" y="263"/>
                </a:cubicBezTo>
                <a:cubicBezTo>
                  <a:pt x="2405" y="263"/>
                  <a:pt x="2405" y="264"/>
                  <a:pt x="2405" y="263"/>
                </a:cubicBezTo>
                <a:cubicBezTo>
                  <a:pt x="2405" y="263"/>
                  <a:pt x="2404" y="262"/>
                  <a:pt x="2403" y="262"/>
                </a:cubicBezTo>
                <a:cubicBezTo>
                  <a:pt x="2403" y="262"/>
                  <a:pt x="2402" y="262"/>
                  <a:pt x="2401" y="262"/>
                </a:cubicBezTo>
                <a:cubicBezTo>
                  <a:pt x="2400" y="261"/>
                  <a:pt x="2399" y="261"/>
                  <a:pt x="2398" y="261"/>
                </a:cubicBezTo>
                <a:cubicBezTo>
                  <a:pt x="2398" y="261"/>
                  <a:pt x="2397" y="260"/>
                  <a:pt x="2396" y="260"/>
                </a:cubicBezTo>
                <a:cubicBezTo>
                  <a:pt x="2396" y="260"/>
                  <a:pt x="2395" y="260"/>
                  <a:pt x="2395" y="260"/>
                </a:cubicBezTo>
                <a:cubicBezTo>
                  <a:pt x="2395" y="260"/>
                  <a:pt x="2394" y="259"/>
                  <a:pt x="2394" y="259"/>
                </a:cubicBezTo>
                <a:cubicBezTo>
                  <a:pt x="2394" y="259"/>
                  <a:pt x="2393" y="259"/>
                  <a:pt x="2393" y="259"/>
                </a:cubicBezTo>
                <a:cubicBezTo>
                  <a:pt x="2393" y="259"/>
                  <a:pt x="2393" y="259"/>
                  <a:pt x="2394" y="259"/>
                </a:cubicBezTo>
                <a:cubicBezTo>
                  <a:pt x="2394" y="259"/>
                  <a:pt x="2395" y="258"/>
                  <a:pt x="2396" y="259"/>
                </a:cubicBezTo>
                <a:cubicBezTo>
                  <a:pt x="2396" y="259"/>
                  <a:pt x="2397" y="260"/>
                  <a:pt x="2397" y="260"/>
                </a:cubicBezTo>
                <a:cubicBezTo>
                  <a:pt x="2397" y="259"/>
                  <a:pt x="2397" y="259"/>
                  <a:pt x="2397" y="258"/>
                </a:cubicBezTo>
                <a:cubicBezTo>
                  <a:pt x="2397" y="258"/>
                  <a:pt x="2397" y="257"/>
                  <a:pt x="2397" y="257"/>
                </a:cubicBezTo>
                <a:cubicBezTo>
                  <a:pt x="2398" y="257"/>
                  <a:pt x="2398" y="258"/>
                  <a:pt x="2398" y="258"/>
                </a:cubicBezTo>
                <a:cubicBezTo>
                  <a:pt x="2399" y="258"/>
                  <a:pt x="2399" y="259"/>
                  <a:pt x="2399" y="259"/>
                </a:cubicBezTo>
                <a:cubicBezTo>
                  <a:pt x="2399" y="259"/>
                  <a:pt x="2400" y="259"/>
                  <a:pt x="2400" y="260"/>
                </a:cubicBezTo>
                <a:cubicBezTo>
                  <a:pt x="2401" y="260"/>
                  <a:pt x="2402" y="260"/>
                  <a:pt x="2403" y="260"/>
                </a:cubicBezTo>
                <a:cubicBezTo>
                  <a:pt x="2403" y="260"/>
                  <a:pt x="2403" y="260"/>
                  <a:pt x="2404" y="260"/>
                </a:cubicBezTo>
                <a:cubicBezTo>
                  <a:pt x="2404" y="260"/>
                  <a:pt x="2404" y="260"/>
                  <a:pt x="2405" y="260"/>
                </a:cubicBezTo>
                <a:cubicBezTo>
                  <a:pt x="2405" y="261"/>
                  <a:pt x="2406" y="261"/>
                  <a:pt x="2407" y="260"/>
                </a:cubicBezTo>
                <a:cubicBezTo>
                  <a:pt x="2407" y="260"/>
                  <a:pt x="2407" y="259"/>
                  <a:pt x="2407" y="259"/>
                </a:cubicBezTo>
                <a:cubicBezTo>
                  <a:pt x="2407" y="259"/>
                  <a:pt x="2408" y="258"/>
                  <a:pt x="2408" y="258"/>
                </a:cubicBezTo>
                <a:cubicBezTo>
                  <a:pt x="2408" y="258"/>
                  <a:pt x="2408" y="257"/>
                  <a:pt x="2408" y="257"/>
                </a:cubicBezTo>
                <a:cubicBezTo>
                  <a:pt x="2409" y="257"/>
                  <a:pt x="2409" y="257"/>
                  <a:pt x="2410" y="257"/>
                </a:cubicBezTo>
                <a:cubicBezTo>
                  <a:pt x="2410" y="257"/>
                  <a:pt x="2410" y="256"/>
                  <a:pt x="2411" y="256"/>
                </a:cubicBezTo>
                <a:cubicBezTo>
                  <a:pt x="2411" y="255"/>
                  <a:pt x="2412" y="255"/>
                  <a:pt x="2412" y="255"/>
                </a:cubicBezTo>
                <a:cubicBezTo>
                  <a:pt x="2412" y="254"/>
                  <a:pt x="2411" y="254"/>
                  <a:pt x="2411" y="254"/>
                </a:cubicBezTo>
                <a:cubicBezTo>
                  <a:pt x="2411" y="254"/>
                  <a:pt x="2410" y="253"/>
                  <a:pt x="2410" y="253"/>
                </a:cubicBezTo>
                <a:cubicBezTo>
                  <a:pt x="2409" y="253"/>
                  <a:pt x="2409" y="253"/>
                  <a:pt x="2409" y="253"/>
                </a:cubicBezTo>
                <a:cubicBezTo>
                  <a:pt x="2408" y="252"/>
                  <a:pt x="2408" y="252"/>
                  <a:pt x="2407" y="252"/>
                </a:cubicBezTo>
                <a:cubicBezTo>
                  <a:pt x="2408" y="251"/>
                  <a:pt x="2408" y="252"/>
                  <a:pt x="2409" y="252"/>
                </a:cubicBezTo>
                <a:cubicBezTo>
                  <a:pt x="2409" y="252"/>
                  <a:pt x="2409" y="252"/>
                  <a:pt x="2410" y="252"/>
                </a:cubicBezTo>
                <a:cubicBezTo>
                  <a:pt x="2410" y="253"/>
                  <a:pt x="2411" y="254"/>
                  <a:pt x="2412" y="254"/>
                </a:cubicBezTo>
                <a:cubicBezTo>
                  <a:pt x="2412" y="254"/>
                  <a:pt x="2413" y="254"/>
                  <a:pt x="2414" y="253"/>
                </a:cubicBezTo>
                <a:cubicBezTo>
                  <a:pt x="2414" y="253"/>
                  <a:pt x="2414" y="253"/>
                  <a:pt x="2414" y="252"/>
                </a:cubicBezTo>
                <a:cubicBezTo>
                  <a:pt x="2415" y="252"/>
                  <a:pt x="2415" y="252"/>
                  <a:pt x="2415" y="251"/>
                </a:cubicBezTo>
                <a:cubicBezTo>
                  <a:pt x="2416" y="251"/>
                  <a:pt x="2416" y="250"/>
                  <a:pt x="2415" y="249"/>
                </a:cubicBezTo>
                <a:cubicBezTo>
                  <a:pt x="2414" y="249"/>
                  <a:pt x="2414" y="248"/>
                  <a:pt x="2413" y="248"/>
                </a:cubicBezTo>
                <a:cubicBezTo>
                  <a:pt x="2412" y="248"/>
                  <a:pt x="2412" y="248"/>
                  <a:pt x="2411" y="247"/>
                </a:cubicBezTo>
                <a:cubicBezTo>
                  <a:pt x="2410" y="247"/>
                  <a:pt x="2409" y="247"/>
                  <a:pt x="2408" y="247"/>
                </a:cubicBezTo>
                <a:cubicBezTo>
                  <a:pt x="2409" y="247"/>
                  <a:pt x="2411" y="247"/>
                  <a:pt x="2411" y="247"/>
                </a:cubicBezTo>
                <a:cubicBezTo>
                  <a:pt x="2412" y="247"/>
                  <a:pt x="2412" y="247"/>
                  <a:pt x="2413" y="247"/>
                </a:cubicBezTo>
                <a:cubicBezTo>
                  <a:pt x="2414" y="247"/>
                  <a:pt x="2415" y="247"/>
                  <a:pt x="2415" y="248"/>
                </a:cubicBezTo>
                <a:cubicBezTo>
                  <a:pt x="2416" y="249"/>
                  <a:pt x="2416" y="249"/>
                  <a:pt x="2417" y="250"/>
                </a:cubicBezTo>
                <a:cubicBezTo>
                  <a:pt x="2417" y="250"/>
                  <a:pt x="2417" y="251"/>
                  <a:pt x="2418" y="251"/>
                </a:cubicBezTo>
                <a:cubicBezTo>
                  <a:pt x="2418" y="250"/>
                  <a:pt x="2418" y="250"/>
                  <a:pt x="2418" y="250"/>
                </a:cubicBezTo>
                <a:cubicBezTo>
                  <a:pt x="2419" y="249"/>
                  <a:pt x="2419" y="249"/>
                  <a:pt x="2419" y="249"/>
                </a:cubicBezTo>
                <a:cubicBezTo>
                  <a:pt x="2419" y="249"/>
                  <a:pt x="2419" y="248"/>
                  <a:pt x="2419" y="248"/>
                </a:cubicBezTo>
                <a:cubicBezTo>
                  <a:pt x="2419" y="247"/>
                  <a:pt x="2420" y="246"/>
                  <a:pt x="2419" y="245"/>
                </a:cubicBezTo>
                <a:cubicBezTo>
                  <a:pt x="2419" y="245"/>
                  <a:pt x="2419" y="245"/>
                  <a:pt x="2418" y="245"/>
                </a:cubicBezTo>
                <a:cubicBezTo>
                  <a:pt x="2418" y="245"/>
                  <a:pt x="2418" y="244"/>
                  <a:pt x="2418" y="244"/>
                </a:cubicBezTo>
                <a:cubicBezTo>
                  <a:pt x="2417" y="244"/>
                  <a:pt x="2417" y="244"/>
                  <a:pt x="2417" y="243"/>
                </a:cubicBezTo>
                <a:cubicBezTo>
                  <a:pt x="2416" y="243"/>
                  <a:pt x="2416" y="243"/>
                  <a:pt x="2416" y="243"/>
                </a:cubicBezTo>
                <a:cubicBezTo>
                  <a:pt x="2416" y="242"/>
                  <a:pt x="2414" y="243"/>
                  <a:pt x="2414" y="242"/>
                </a:cubicBezTo>
                <a:cubicBezTo>
                  <a:pt x="2414" y="242"/>
                  <a:pt x="2415" y="242"/>
                  <a:pt x="2415" y="241"/>
                </a:cubicBezTo>
                <a:cubicBezTo>
                  <a:pt x="2415" y="241"/>
                  <a:pt x="2415" y="240"/>
                  <a:pt x="2415" y="240"/>
                </a:cubicBezTo>
                <a:cubicBezTo>
                  <a:pt x="2416" y="240"/>
                  <a:pt x="2417" y="241"/>
                  <a:pt x="2417" y="242"/>
                </a:cubicBezTo>
                <a:cubicBezTo>
                  <a:pt x="2418" y="242"/>
                  <a:pt x="2418" y="243"/>
                  <a:pt x="2419" y="243"/>
                </a:cubicBezTo>
                <a:cubicBezTo>
                  <a:pt x="2419" y="244"/>
                  <a:pt x="2420" y="244"/>
                  <a:pt x="2421" y="244"/>
                </a:cubicBezTo>
                <a:cubicBezTo>
                  <a:pt x="2422" y="244"/>
                  <a:pt x="2422" y="245"/>
                  <a:pt x="2423" y="244"/>
                </a:cubicBezTo>
                <a:cubicBezTo>
                  <a:pt x="2423" y="243"/>
                  <a:pt x="2423" y="243"/>
                  <a:pt x="2423" y="242"/>
                </a:cubicBezTo>
                <a:cubicBezTo>
                  <a:pt x="2423" y="241"/>
                  <a:pt x="2423" y="241"/>
                  <a:pt x="2424" y="241"/>
                </a:cubicBezTo>
                <a:cubicBezTo>
                  <a:pt x="2424" y="240"/>
                  <a:pt x="2424" y="239"/>
                  <a:pt x="2425" y="239"/>
                </a:cubicBezTo>
                <a:cubicBezTo>
                  <a:pt x="2426" y="239"/>
                  <a:pt x="2426" y="240"/>
                  <a:pt x="2426" y="240"/>
                </a:cubicBezTo>
                <a:cubicBezTo>
                  <a:pt x="2426" y="240"/>
                  <a:pt x="2427" y="240"/>
                  <a:pt x="2427" y="240"/>
                </a:cubicBezTo>
                <a:cubicBezTo>
                  <a:pt x="2427" y="240"/>
                  <a:pt x="2428" y="240"/>
                  <a:pt x="2428" y="239"/>
                </a:cubicBezTo>
                <a:cubicBezTo>
                  <a:pt x="2428" y="239"/>
                  <a:pt x="2428" y="239"/>
                  <a:pt x="2429" y="238"/>
                </a:cubicBezTo>
                <a:cubicBezTo>
                  <a:pt x="2429" y="238"/>
                  <a:pt x="2429" y="237"/>
                  <a:pt x="2429" y="237"/>
                </a:cubicBezTo>
                <a:cubicBezTo>
                  <a:pt x="2429" y="236"/>
                  <a:pt x="2428" y="236"/>
                  <a:pt x="2428" y="236"/>
                </a:cubicBezTo>
                <a:cubicBezTo>
                  <a:pt x="2428" y="235"/>
                  <a:pt x="2428" y="235"/>
                  <a:pt x="2428" y="234"/>
                </a:cubicBezTo>
                <a:cubicBezTo>
                  <a:pt x="2428" y="234"/>
                  <a:pt x="2427" y="234"/>
                  <a:pt x="2427" y="234"/>
                </a:cubicBezTo>
                <a:cubicBezTo>
                  <a:pt x="2427" y="233"/>
                  <a:pt x="2427" y="233"/>
                  <a:pt x="2426" y="233"/>
                </a:cubicBezTo>
                <a:cubicBezTo>
                  <a:pt x="2426" y="232"/>
                  <a:pt x="2425" y="232"/>
                  <a:pt x="2425" y="232"/>
                </a:cubicBezTo>
                <a:cubicBezTo>
                  <a:pt x="2425" y="232"/>
                  <a:pt x="2424" y="232"/>
                  <a:pt x="2424" y="232"/>
                </a:cubicBezTo>
                <a:cubicBezTo>
                  <a:pt x="2423" y="231"/>
                  <a:pt x="2424" y="232"/>
                  <a:pt x="2425" y="232"/>
                </a:cubicBezTo>
                <a:cubicBezTo>
                  <a:pt x="2425" y="232"/>
                  <a:pt x="2425" y="232"/>
                  <a:pt x="2426" y="232"/>
                </a:cubicBezTo>
                <a:cubicBezTo>
                  <a:pt x="2426" y="232"/>
                  <a:pt x="2427" y="232"/>
                  <a:pt x="2427" y="232"/>
                </a:cubicBezTo>
                <a:cubicBezTo>
                  <a:pt x="2427" y="232"/>
                  <a:pt x="2428" y="232"/>
                  <a:pt x="2428" y="233"/>
                </a:cubicBezTo>
                <a:cubicBezTo>
                  <a:pt x="2429" y="233"/>
                  <a:pt x="2429" y="233"/>
                  <a:pt x="2430" y="233"/>
                </a:cubicBezTo>
                <a:cubicBezTo>
                  <a:pt x="2431" y="234"/>
                  <a:pt x="2431" y="234"/>
                  <a:pt x="2432" y="234"/>
                </a:cubicBezTo>
                <a:cubicBezTo>
                  <a:pt x="2432" y="234"/>
                  <a:pt x="2433" y="234"/>
                  <a:pt x="2433" y="234"/>
                </a:cubicBezTo>
                <a:cubicBezTo>
                  <a:pt x="2434" y="234"/>
                  <a:pt x="2434" y="232"/>
                  <a:pt x="2434" y="232"/>
                </a:cubicBezTo>
                <a:cubicBezTo>
                  <a:pt x="2434" y="231"/>
                  <a:pt x="2435" y="231"/>
                  <a:pt x="2435" y="231"/>
                </a:cubicBezTo>
                <a:cubicBezTo>
                  <a:pt x="2435" y="230"/>
                  <a:pt x="2435" y="230"/>
                  <a:pt x="2435" y="230"/>
                </a:cubicBezTo>
                <a:cubicBezTo>
                  <a:pt x="2435" y="230"/>
                  <a:pt x="2435" y="230"/>
                  <a:pt x="2435" y="230"/>
                </a:cubicBezTo>
                <a:cubicBezTo>
                  <a:pt x="2434" y="229"/>
                  <a:pt x="2435" y="229"/>
                  <a:pt x="2435" y="229"/>
                </a:cubicBezTo>
                <a:cubicBezTo>
                  <a:pt x="2435" y="228"/>
                  <a:pt x="2435" y="228"/>
                  <a:pt x="2435" y="228"/>
                </a:cubicBezTo>
                <a:cubicBezTo>
                  <a:pt x="2435" y="228"/>
                  <a:pt x="2436" y="228"/>
                  <a:pt x="2436" y="228"/>
                </a:cubicBezTo>
                <a:cubicBezTo>
                  <a:pt x="2436" y="229"/>
                  <a:pt x="2437" y="229"/>
                  <a:pt x="2437" y="229"/>
                </a:cubicBezTo>
                <a:cubicBezTo>
                  <a:pt x="2437" y="229"/>
                  <a:pt x="2437" y="230"/>
                  <a:pt x="2438" y="230"/>
                </a:cubicBezTo>
                <a:cubicBezTo>
                  <a:pt x="2438" y="230"/>
                  <a:pt x="2439" y="230"/>
                  <a:pt x="2439" y="230"/>
                </a:cubicBezTo>
                <a:cubicBezTo>
                  <a:pt x="2439" y="230"/>
                  <a:pt x="2439" y="231"/>
                  <a:pt x="2440" y="231"/>
                </a:cubicBezTo>
                <a:cubicBezTo>
                  <a:pt x="2441" y="231"/>
                  <a:pt x="2441" y="230"/>
                  <a:pt x="2441" y="230"/>
                </a:cubicBezTo>
                <a:cubicBezTo>
                  <a:pt x="2442" y="229"/>
                  <a:pt x="2442" y="229"/>
                  <a:pt x="2442" y="229"/>
                </a:cubicBezTo>
                <a:cubicBezTo>
                  <a:pt x="2442" y="228"/>
                  <a:pt x="2441" y="228"/>
                  <a:pt x="2441" y="228"/>
                </a:cubicBezTo>
                <a:cubicBezTo>
                  <a:pt x="2440" y="228"/>
                  <a:pt x="2440" y="227"/>
                  <a:pt x="2440" y="227"/>
                </a:cubicBezTo>
                <a:cubicBezTo>
                  <a:pt x="2440" y="227"/>
                  <a:pt x="2439" y="227"/>
                  <a:pt x="2439" y="227"/>
                </a:cubicBezTo>
                <a:cubicBezTo>
                  <a:pt x="2440" y="227"/>
                  <a:pt x="2440" y="227"/>
                  <a:pt x="2441" y="227"/>
                </a:cubicBezTo>
                <a:cubicBezTo>
                  <a:pt x="2442" y="227"/>
                  <a:pt x="2443" y="227"/>
                  <a:pt x="2443" y="228"/>
                </a:cubicBezTo>
                <a:cubicBezTo>
                  <a:pt x="2444" y="228"/>
                  <a:pt x="2444" y="228"/>
                  <a:pt x="2445" y="228"/>
                </a:cubicBezTo>
                <a:cubicBezTo>
                  <a:pt x="2445" y="228"/>
                  <a:pt x="2446" y="228"/>
                  <a:pt x="2446" y="228"/>
                </a:cubicBezTo>
                <a:cubicBezTo>
                  <a:pt x="2447" y="227"/>
                  <a:pt x="2446" y="226"/>
                  <a:pt x="2446" y="225"/>
                </a:cubicBezTo>
                <a:cubicBezTo>
                  <a:pt x="2447" y="224"/>
                  <a:pt x="2448" y="225"/>
                  <a:pt x="2448" y="224"/>
                </a:cubicBezTo>
                <a:cubicBezTo>
                  <a:pt x="2449" y="224"/>
                  <a:pt x="2449" y="223"/>
                  <a:pt x="2449" y="223"/>
                </a:cubicBezTo>
                <a:cubicBezTo>
                  <a:pt x="2450" y="223"/>
                  <a:pt x="2450" y="223"/>
                  <a:pt x="2450" y="223"/>
                </a:cubicBezTo>
                <a:cubicBezTo>
                  <a:pt x="2450" y="222"/>
                  <a:pt x="2450" y="222"/>
                  <a:pt x="2449" y="222"/>
                </a:cubicBezTo>
                <a:cubicBezTo>
                  <a:pt x="2449" y="222"/>
                  <a:pt x="2448" y="222"/>
                  <a:pt x="2448" y="222"/>
                </a:cubicBezTo>
                <a:cubicBezTo>
                  <a:pt x="2447" y="222"/>
                  <a:pt x="2447" y="222"/>
                  <a:pt x="2447" y="222"/>
                </a:cubicBezTo>
                <a:cubicBezTo>
                  <a:pt x="2447" y="222"/>
                  <a:pt x="2446" y="222"/>
                  <a:pt x="2446" y="222"/>
                </a:cubicBezTo>
                <a:cubicBezTo>
                  <a:pt x="2446" y="221"/>
                  <a:pt x="2445" y="222"/>
                  <a:pt x="2445" y="221"/>
                </a:cubicBezTo>
                <a:cubicBezTo>
                  <a:pt x="2446" y="221"/>
                  <a:pt x="2447" y="221"/>
                  <a:pt x="2449" y="221"/>
                </a:cubicBezTo>
                <a:cubicBezTo>
                  <a:pt x="2449" y="221"/>
                  <a:pt x="2450" y="221"/>
                  <a:pt x="2451" y="221"/>
                </a:cubicBezTo>
                <a:cubicBezTo>
                  <a:pt x="2452" y="221"/>
                  <a:pt x="2452" y="221"/>
                  <a:pt x="2452" y="220"/>
                </a:cubicBezTo>
                <a:cubicBezTo>
                  <a:pt x="2452" y="220"/>
                  <a:pt x="2453" y="219"/>
                  <a:pt x="2453" y="219"/>
                </a:cubicBezTo>
                <a:cubicBezTo>
                  <a:pt x="2453" y="219"/>
                  <a:pt x="2454" y="218"/>
                  <a:pt x="2454" y="218"/>
                </a:cubicBezTo>
                <a:cubicBezTo>
                  <a:pt x="2454" y="218"/>
                  <a:pt x="2455" y="217"/>
                  <a:pt x="2455" y="217"/>
                </a:cubicBezTo>
                <a:cubicBezTo>
                  <a:pt x="2456" y="217"/>
                  <a:pt x="2457" y="217"/>
                  <a:pt x="2457" y="216"/>
                </a:cubicBezTo>
                <a:cubicBezTo>
                  <a:pt x="2458" y="216"/>
                  <a:pt x="2458" y="215"/>
                  <a:pt x="2459" y="215"/>
                </a:cubicBezTo>
                <a:cubicBezTo>
                  <a:pt x="2459" y="215"/>
                  <a:pt x="2459" y="215"/>
                  <a:pt x="2459" y="215"/>
                </a:cubicBezTo>
                <a:cubicBezTo>
                  <a:pt x="2460" y="216"/>
                  <a:pt x="2460" y="216"/>
                  <a:pt x="2460" y="216"/>
                </a:cubicBezTo>
                <a:cubicBezTo>
                  <a:pt x="2460" y="216"/>
                  <a:pt x="2461" y="216"/>
                  <a:pt x="2461" y="217"/>
                </a:cubicBezTo>
                <a:cubicBezTo>
                  <a:pt x="2461" y="217"/>
                  <a:pt x="2461" y="216"/>
                  <a:pt x="2462" y="215"/>
                </a:cubicBezTo>
                <a:cubicBezTo>
                  <a:pt x="2462" y="215"/>
                  <a:pt x="2462" y="214"/>
                  <a:pt x="2463" y="213"/>
                </a:cubicBezTo>
                <a:cubicBezTo>
                  <a:pt x="2463" y="213"/>
                  <a:pt x="2464" y="213"/>
                  <a:pt x="2464" y="212"/>
                </a:cubicBezTo>
                <a:cubicBezTo>
                  <a:pt x="2465" y="212"/>
                  <a:pt x="2466" y="212"/>
                  <a:pt x="2467" y="211"/>
                </a:cubicBezTo>
                <a:cubicBezTo>
                  <a:pt x="2468" y="211"/>
                  <a:pt x="2468" y="211"/>
                  <a:pt x="2469" y="210"/>
                </a:cubicBezTo>
                <a:cubicBezTo>
                  <a:pt x="2470" y="210"/>
                  <a:pt x="2471" y="210"/>
                  <a:pt x="2473" y="210"/>
                </a:cubicBezTo>
                <a:cubicBezTo>
                  <a:pt x="2474" y="210"/>
                  <a:pt x="2475" y="210"/>
                  <a:pt x="2477" y="209"/>
                </a:cubicBezTo>
                <a:cubicBezTo>
                  <a:pt x="2478" y="208"/>
                  <a:pt x="2479" y="208"/>
                  <a:pt x="2480" y="208"/>
                </a:cubicBezTo>
                <a:cubicBezTo>
                  <a:pt x="2481" y="208"/>
                  <a:pt x="2482" y="208"/>
                  <a:pt x="2482" y="208"/>
                </a:cubicBezTo>
                <a:cubicBezTo>
                  <a:pt x="2483" y="208"/>
                  <a:pt x="2484" y="207"/>
                  <a:pt x="2484" y="207"/>
                </a:cubicBezTo>
                <a:cubicBezTo>
                  <a:pt x="2486" y="207"/>
                  <a:pt x="2487" y="207"/>
                  <a:pt x="2489" y="206"/>
                </a:cubicBezTo>
                <a:cubicBezTo>
                  <a:pt x="2489" y="206"/>
                  <a:pt x="2490" y="206"/>
                  <a:pt x="2491" y="205"/>
                </a:cubicBezTo>
                <a:cubicBezTo>
                  <a:pt x="2492" y="205"/>
                  <a:pt x="2492" y="205"/>
                  <a:pt x="2493" y="205"/>
                </a:cubicBezTo>
                <a:cubicBezTo>
                  <a:pt x="2494" y="204"/>
                  <a:pt x="2495" y="204"/>
                  <a:pt x="2497" y="204"/>
                </a:cubicBezTo>
                <a:cubicBezTo>
                  <a:pt x="2500" y="202"/>
                  <a:pt x="2503" y="203"/>
                  <a:pt x="2506" y="202"/>
                </a:cubicBezTo>
                <a:cubicBezTo>
                  <a:pt x="2507" y="201"/>
                  <a:pt x="2508" y="201"/>
                  <a:pt x="2509" y="200"/>
                </a:cubicBezTo>
                <a:cubicBezTo>
                  <a:pt x="2510" y="200"/>
                  <a:pt x="2511" y="200"/>
                  <a:pt x="2512" y="200"/>
                </a:cubicBezTo>
                <a:cubicBezTo>
                  <a:pt x="2513" y="199"/>
                  <a:pt x="2514" y="199"/>
                  <a:pt x="2515" y="199"/>
                </a:cubicBezTo>
                <a:cubicBezTo>
                  <a:pt x="2516" y="199"/>
                  <a:pt x="2518" y="198"/>
                  <a:pt x="2519" y="197"/>
                </a:cubicBezTo>
                <a:cubicBezTo>
                  <a:pt x="2520" y="197"/>
                  <a:pt x="2521" y="197"/>
                  <a:pt x="2523" y="197"/>
                </a:cubicBezTo>
                <a:cubicBezTo>
                  <a:pt x="2524" y="197"/>
                  <a:pt x="2525" y="196"/>
                  <a:pt x="2526" y="195"/>
                </a:cubicBezTo>
                <a:cubicBezTo>
                  <a:pt x="2527" y="195"/>
                  <a:pt x="2529" y="195"/>
                  <a:pt x="2530" y="194"/>
                </a:cubicBezTo>
                <a:cubicBezTo>
                  <a:pt x="2530" y="194"/>
                  <a:pt x="2531" y="194"/>
                  <a:pt x="2532" y="193"/>
                </a:cubicBezTo>
                <a:cubicBezTo>
                  <a:pt x="2532" y="193"/>
                  <a:pt x="2533" y="193"/>
                  <a:pt x="2534" y="192"/>
                </a:cubicBezTo>
                <a:cubicBezTo>
                  <a:pt x="2535" y="192"/>
                  <a:pt x="2535" y="192"/>
                  <a:pt x="2536" y="192"/>
                </a:cubicBezTo>
                <a:cubicBezTo>
                  <a:pt x="2537" y="192"/>
                  <a:pt x="2537" y="192"/>
                  <a:pt x="2538" y="192"/>
                </a:cubicBezTo>
                <a:cubicBezTo>
                  <a:pt x="2538" y="192"/>
                  <a:pt x="2538" y="191"/>
                  <a:pt x="2538" y="191"/>
                </a:cubicBezTo>
                <a:cubicBezTo>
                  <a:pt x="2538" y="190"/>
                  <a:pt x="2539" y="190"/>
                  <a:pt x="2539" y="190"/>
                </a:cubicBezTo>
                <a:cubicBezTo>
                  <a:pt x="2540" y="189"/>
                  <a:pt x="2541" y="189"/>
                  <a:pt x="2542" y="188"/>
                </a:cubicBezTo>
                <a:cubicBezTo>
                  <a:pt x="2543" y="188"/>
                  <a:pt x="2543" y="187"/>
                  <a:pt x="2544" y="187"/>
                </a:cubicBezTo>
                <a:cubicBezTo>
                  <a:pt x="2545" y="186"/>
                  <a:pt x="2545" y="185"/>
                  <a:pt x="2545" y="184"/>
                </a:cubicBezTo>
                <a:cubicBezTo>
                  <a:pt x="2545" y="184"/>
                  <a:pt x="2545" y="183"/>
                  <a:pt x="2545" y="183"/>
                </a:cubicBezTo>
                <a:cubicBezTo>
                  <a:pt x="2545" y="183"/>
                  <a:pt x="2546" y="183"/>
                  <a:pt x="2546" y="182"/>
                </a:cubicBezTo>
                <a:cubicBezTo>
                  <a:pt x="2547" y="181"/>
                  <a:pt x="2546" y="181"/>
                  <a:pt x="2546" y="180"/>
                </a:cubicBezTo>
                <a:cubicBezTo>
                  <a:pt x="2545" y="180"/>
                  <a:pt x="2544" y="180"/>
                  <a:pt x="2544" y="179"/>
                </a:cubicBezTo>
                <a:cubicBezTo>
                  <a:pt x="2544" y="179"/>
                  <a:pt x="2544" y="178"/>
                  <a:pt x="2544" y="177"/>
                </a:cubicBezTo>
                <a:cubicBezTo>
                  <a:pt x="2543" y="177"/>
                  <a:pt x="2543" y="177"/>
                  <a:pt x="2542" y="177"/>
                </a:cubicBezTo>
                <a:cubicBezTo>
                  <a:pt x="2542" y="177"/>
                  <a:pt x="2542" y="177"/>
                  <a:pt x="2541" y="176"/>
                </a:cubicBezTo>
                <a:cubicBezTo>
                  <a:pt x="2541" y="176"/>
                  <a:pt x="2541" y="176"/>
                  <a:pt x="2540" y="176"/>
                </a:cubicBezTo>
                <a:cubicBezTo>
                  <a:pt x="2540" y="176"/>
                  <a:pt x="2539" y="176"/>
                  <a:pt x="2538" y="176"/>
                </a:cubicBezTo>
                <a:cubicBezTo>
                  <a:pt x="2537" y="176"/>
                  <a:pt x="2537" y="175"/>
                  <a:pt x="2537" y="175"/>
                </a:cubicBezTo>
                <a:cubicBezTo>
                  <a:pt x="2536" y="175"/>
                  <a:pt x="2536" y="175"/>
                  <a:pt x="2536" y="174"/>
                </a:cubicBezTo>
                <a:cubicBezTo>
                  <a:pt x="2535" y="174"/>
                  <a:pt x="2535" y="174"/>
                  <a:pt x="2535" y="174"/>
                </a:cubicBezTo>
                <a:cubicBezTo>
                  <a:pt x="2534" y="174"/>
                  <a:pt x="2532" y="174"/>
                  <a:pt x="2531" y="174"/>
                </a:cubicBezTo>
                <a:cubicBezTo>
                  <a:pt x="2530" y="174"/>
                  <a:pt x="2530" y="175"/>
                  <a:pt x="2529" y="175"/>
                </a:cubicBezTo>
                <a:cubicBezTo>
                  <a:pt x="2528" y="175"/>
                  <a:pt x="2527" y="175"/>
                  <a:pt x="2526" y="176"/>
                </a:cubicBezTo>
                <a:cubicBezTo>
                  <a:pt x="2526" y="176"/>
                  <a:pt x="2525" y="176"/>
                  <a:pt x="2524" y="176"/>
                </a:cubicBezTo>
                <a:cubicBezTo>
                  <a:pt x="2522" y="176"/>
                  <a:pt x="2520" y="178"/>
                  <a:pt x="2518" y="178"/>
                </a:cubicBezTo>
                <a:cubicBezTo>
                  <a:pt x="2517" y="178"/>
                  <a:pt x="2517" y="178"/>
                  <a:pt x="2516" y="178"/>
                </a:cubicBezTo>
                <a:cubicBezTo>
                  <a:pt x="2515" y="179"/>
                  <a:pt x="2515" y="179"/>
                  <a:pt x="2515" y="179"/>
                </a:cubicBezTo>
                <a:cubicBezTo>
                  <a:pt x="2514" y="179"/>
                  <a:pt x="2512" y="180"/>
                  <a:pt x="2512" y="181"/>
                </a:cubicBezTo>
                <a:cubicBezTo>
                  <a:pt x="2511" y="181"/>
                  <a:pt x="2511" y="182"/>
                  <a:pt x="2511" y="183"/>
                </a:cubicBezTo>
                <a:cubicBezTo>
                  <a:pt x="2511" y="183"/>
                  <a:pt x="2511" y="183"/>
                  <a:pt x="2511" y="184"/>
                </a:cubicBezTo>
                <a:cubicBezTo>
                  <a:pt x="2511" y="184"/>
                  <a:pt x="2512" y="184"/>
                  <a:pt x="2512" y="185"/>
                </a:cubicBezTo>
                <a:cubicBezTo>
                  <a:pt x="2512" y="186"/>
                  <a:pt x="2511" y="185"/>
                  <a:pt x="2510" y="185"/>
                </a:cubicBezTo>
                <a:cubicBezTo>
                  <a:pt x="2509" y="185"/>
                  <a:pt x="2508" y="185"/>
                  <a:pt x="2508" y="185"/>
                </a:cubicBezTo>
                <a:cubicBezTo>
                  <a:pt x="2507" y="185"/>
                  <a:pt x="2506" y="185"/>
                  <a:pt x="2506" y="185"/>
                </a:cubicBezTo>
                <a:cubicBezTo>
                  <a:pt x="2505" y="185"/>
                  <a:pt x="2505" y="186"/>
                  <a:pt x="2504" y="186"/>
                </a:cubicBezTo>
                <a:cubicBezTo>
                  <a:pt x="2504" y="186"/>
                  <a:pt x="2503" y="186"/>
                  <a:pt x="2503" y="187"/>
                </a:cubicBezTo>
                <a:cubicBezTo>
                  <a:pt x="2502" y="187"/>
                  <a:pt x="2501" y="187"/>
                  <a:pt x="2500" y="187"/>
                </a:cubicBezTo>
                <a:cubicBezTo>
                  <a:pt x="2499" y="187"/>
                  <a:pt x="2499" y="187"/>
                  <a:pt x="2498" y="188"/>
                </a:cubicBezTo>
                <a:cubicBezTo>
                  <a:pt x="2497" y="188"/>
                  <a:pt x="2496" y="188"/>
                  <a:pt x="2495" y="189"/>
                </a:cubicBezTo>
                <a:cubicBezTo>
                  <a:pt x="2494" y="189"/>
                  <a:pt x="2494" y="190"/>
                  <a:pt x="2493" y="190"/>
                </a:cubicBezTo>
                <a:cubicBezTo>
                  <a:pt x="2492" y="191"/>
                  <a:pt x="2492" y="191"/>
                  <a:pt x="2491" y="191"/>
                </a:cubicBezTo>
                <a:cubicBezTo>
                  <a:pt x="2490" y="191"/>
                  <a:pt x="2490" y="191"/>
                  <a:pt x="2489" y="190"/>
                </a:cubicBezTo>
                <a:cubicBezTo>
                  <a:pt x="2489" y="190"/>
                  <a:pt x="2488" y="190"/>
                  <a:pt x="2488" y="190"/>
                </a:cubicBezTo>
                <a:cubicBezTo>
                  <a:pt x="2487" y="190"/>
                  <a:pt x="2486" y="190"/>
                  <a:pt x="2485" y="191"/>
                </a:cubicBezTo>
                <a:cubicBezTo>
                  <a:pt x="2484" y="191"/>
                  <a:pt x="2483" y="191"/>
                  <a:pt x="2482" y="192"/>
                </a:cubicBezTo>
                <a:cubicBezTo>
                  <a:pt x="2481" y="192"/>
                  <a:pt x="2480" y="193"/>
                  <a:pt x="2479" y="193"/>
                </a:cubicBezTo>
                <a:cubicBezTo>
                  <a:pt x="2479" y="193"/>
                  <a:pt x="2477" y="194"/>
                  <a:pt x="2477" y="193"/>
                </a:cubicBezTo>
                <a:cubicBezTo>
                  <a:pt x="2477" y="193"/>
                  <a:pt x="2477" y="193"/>
                  <a:pt x="2477" y="192"/>
                </a:cubicBezTo>
                <a:cubicBezTo>
                  <a:pt x="2477" y="192"/>
                  <a:pt x="2476" y="192"/>
                  <a:pt x="2476" y="192"/>
                </a:cubicBezTo>
                <a:cubicBezTo>
                  <a:pt x="2475" y="192"/>
                  <a:pt x="2475" y="192"/>
                  <a:pt x="2475" y="192"/>
                </a:cubicBezTo>
                <a:cubicBezTo>
                  <a:pt x="2474" y="193"/>
                  <a:pt x="2474" y="193"/>
                  <a:pt x="2474" y="193"/>
                </a:cubicBezTo>
                <a:cubicBezTo>
                  <a:pt x="2473" y="193"/>
                  <a:pt x="2472" y="194"/>
                  <a:pt x="2471" y="194"/>
                </a:cubicBezTo>
                <a:cubicBezTo>
                  <a:pt x="2471" y="193"/>
                  <a:pt x="2473" y="192"/>
                  <a:pt x="2471" y="192"/>
                </a:cubicBezTo>
                <a:cubicBezTo>
                  <a:pt x="2470" y="192"/>
                  <a:pt x="2468" y="193"/>
                  <a:pt x="2467" y="192"/>
                </a:cubicBezTo>
                <a:cubicBezTo>
                  <a:pt x="2467" y="192"/>
                  <a:pt x="2467" y="192"/>
                  <a:pt x="2467" y="192"/>
                </a:cubicBezTo>
                <a:cubicBezTo>
                  <a:pt x="2467" y="191"/>
                  <a:pt x="2466" y="191"/>
                  <a:pt x="2466" y="191"/>
                </a:cubicBezTo>
                <a:cubicBezTo>
                  <a:pt x="2466" y="192"/>
                  <a:pt x="2464" y="192"/>
                  <a:pt x="2464" y="191"/>
                </a:cubicBezTo>
                <a:cubicBezTo>
                  <a:pt x="2463" y="191"/>
                  <a:pt x="2462" y="191"/>
                  <a:pt x="2461" y="191"/>
                </a:cubicBezTo>
                <a:cubicBezTo>
                  <a:pt x="2461" y="192"/>
                  <a:pt x="2460" y="192"/>
                  <a:pt x="2459" y="192"/>
                </a:cubicBezTo>
                <a:cubicBezTo>
                  <a:pt x="2459" y="192"/>
                  <a:pt x="2458" y="192"/>
                  <a:pt x="2458" y="192"/>
                </a:cubicBezTo>
                <a:cubicBezTo>
                  <a:pt x="2457" y="192"/>
                  <a:pt x="2457" y="192"/>
                  <a:pt x="2456" y="192"/>
                </a:cubicBezTo>
                <a:cubicBezTo>
                  <a:pt x="2456" y="192"/>
                  <a:pt x="2456" y="192"/>
                  <a:pt x="2455" y="192"/>
                </a:cubicBezTo>
                <a:cubicBezTo>
                  <a:pt x="2455" y="193"/>
                  <a:pt x="2455" y="193"/>
                  <a:pt x="2456" y="194"/>
                </a:cubicBezTo>
                <a:cubicBezTo>
                  <a:pt x="2456" y="194"/>
                  <a:pt x="2456" y="194"/>
                  <a:pt x="2456" y="195"/>
                </a:cubicBezTo>
                <a:cubicBezTo>
                  <a:pt x="2456" y="195"/>
                  <a:pt x="2457" y="195"/>
                  <a:pt x="2457" y="195"/>
                </a:cubicBezTo>
                <a:cubicBezTo>
                  <a:pt x="2457" y="196"/>
                  <a:pt x="2455" y="197"/>
                  <a:pt x="2454" y="197"/>
                </a:cubicBezTo>
                <a:cubicBezTo>
                  <a:pt x="2454" y="197"/>
                  <a:pt x="2453" y="197"/>
                  <a:pt x="2453" y="197"/>
                </a:cubicBezTo>
                <a:cubicBezTo>
                  <a:pt x="2452" y="198"/>
                  <a:pt x="2451" y="199"/>
                  <a:pt x="2450" y="198"/>
                </a:cubicBezTo>
                <a:cubicBezTo>
                  <a:pt x="2450" y="198"/>
                  <a:pt x="2450" y="198"/>
                  <a:pt x="2450" y="198"/>
                </a:cubicBezTo>
                <a:cubicBezTo>
                  <a:pt x="2450" y="197"/>
                  <a:pt x="2450" y="197"/>
                  <a:pt x="2450" y="197"/>
                </a:cubicBezTo>
                <a:cubicBezTo>
                  <a:pt x="2450" y="196"/>
                  <a:pt x="2452" y="196"/>
                  <a:pt x="2451" y="196"/>
                </a:cubicBezTo>
                <a:cubicBezTo>
                  <a:pt x="2451" y="195"/>
                  <a:pt x="2449" y="195"/>
                  <a:pt x="2449" y="195"/>
                </a:cubicBezTo>
                <a:cubicBezTo>
                  <a:pt x="2448" y="196"/>
                  <a:pt x="2448" y="196"/>
                  <a:pt x="2448" y="196"/>
                </a:cubicBezTo>
                <a:cubicBezTo>
                  <a:pt x="2447" y="196"/>
                  <a:pt x="2447" y="196"/>
                  <a:pt x="2446" y="196"/>
                </a:cubicBezTo>
                <a:cubicBezTo>
                  <a:pt x="2446" y="196"/>
                  <a:pt x="2446" y="197"/>
                  <a:pt x="2447" y="197"/>
                </a:cubicBezTo>
                <a:cubicBezTo>
                  <a:pt x="2447" y="197"/>
                  <a:pt x="2447" y="197"/>
                  <a:pt x="2447" y="197"/>
                </a:cubicBezTo>
                <a:cubicBezTo>
                  <a:pt x="2447" y="198"/>
                  <a:pt x="2447" y="198"/>
                  <a:pt x="2447" y="198"/>
                </a:cubicBezTo>
                <a:cubicBezTo>
                  <a:pt x="2448" y="199"/>
                  <a:pt x="2446" y="199"/>
                  <a:pt x="2445" y="199"/>
                </a:cubicBezTo>
                <a:cubicBezTo>
                  <a:pt x="2444" y="199"/>
                  <a:pt x="2444" y="199"/>
                  <a:pt x="2443" y="199"/>
                </a:cubicBezTo>
                <a:cubicBezTo>
                  <a:pt x="2441" y="200"/>
                  <a:pt x="2439" y="200"/>
                  <a:pt x="2437" y="200"/>
                </a:cubicBezTo>
                <a:cubicBezTo>
                  <a:pt x="2436" y="200"/>
                  <a:pt x="2435" y="200"/>
                  <a:pt x="2435" y="201"/>
                </a:cubicBezTo>
                <a:cubicBezTo>
                  <a:pt x="2434" y="201"/>
                  <a:pt x="2433" y="202"/>
                  <a:pt x="2432" y="202"/>
                </a:cubicBezTo>
                <a:cubicBezTo>
                  <a:pt x="2431" y="202"/>
                  <a:pt x="2430" y="202"/>
                  <a:pt x="2429" y="202"/>
                </a:cubicBezTo>
                <a:cubicBezTo>
                  <a:pt x="2429" y="203"/>
                  <a:pt x="2428" y="203"/>
                  <a:pt x="2427" y="204"/>
                </a:cubicBezTo>
                <a:cubicBezTo>
                  <a:pt x="2426" y="205"/>
                  <a:pt x="2425" y="205"/>
                  <a:pt x="2425" y="205"/>
                </a:cubicBezTo>
                <a:cubicBezTo>
                  <a:pt x="2424" y="205"/>
                  <a:pt x="2423" y="206"/>
                  <a:pt x="2423" y="206"/>
                </a:cubicBezTo>
                <a:cubicBezTo>
                  <a:pt x="2422" y="205"/>
                  <a:pt x="2422" y="205"/>
                  <a:pt x="2422" y="205"/>
                </a:cubicBezTo>
                <a:cubicBezTo>
                  <a:pt x="2421" y="205"/>
                  <a:pt x="2421" y="205"/>
                  <a:pt x="2421" y="206"/>
                </a:cubicBezTo>
                <a:cubicBezTo>
                  <a:pt x="2421" y="206"/>
                  <a:pt x="2422" y="206"/>
                  <a:pt x="2422" y="206"/>
                </a:cubicBezTo>
                <a:cubicBezTo>
                  <a:pt x="2422" y="206"/>
                  <a:pt x="2422" y="206"/>
                  <a:pt x="2422" y="207"/>
                </a:cubicBezTo>
                <a:cubicBezTo>
                  <a:pt x="2422" y="207"/>
                  <a:pt x="2422" y="207"/>
                  <a:pt x="2422" y="207"/>
                </a:cubicBezTo>
                <a:cubicBezTo>
                  <a:pt x="2423" y="207"/>
                  <a:pt x="2423" y="207"/>
                  <a:pt x="2423" y="208"/>
                </a:cubicBezTo>
                <a:cubicBezTo>
                  <a:pt x="2423" y="208"/>
                  <a:pt x="2422" y="208"/>
                  <a:pt x="2422" y="208"/>
                </a:cubicBezTo>
                <a:cubicBezTo>
                  <a:pt x="2421" y="208"/>
                  <a:pt x="2420" y="208"/>
                  <a:pt x="2419" y="209"/>
                </a:cubicBezTo>
                <a:cubicBezTo>
                  <a:pt x="2419" y="209"/>
                  <a:pt x="2419" y="209"/>
                  <a:pt x="2418" y="209"/>
                </a:cubicBezTo>
                <a:cubicBezTo>
                  <a:pt x="2418" y="209"/>
                  <a:pt x="2417" y="209"/>
                  <a:pt x="2417" y="209"/>
                </a:cubicBezTo>
                <a:cubicBezTo>
                  <a:pt x="2416" y="209"/>
                  <a:pt x="2416" y="210"/>
                  <a:pt x="2416" y="210"/>
                </a:cubicBezTo>
                <a:cubicBezTo>
                  <a:pt x="2416" y="211"/>
                  <a:pt x="2417" y="211"/>
                  <a:pt x="2417" y="211"/>
                </a:cubicBezTo>
                <a:cubicBezTo>
                  <a:pt x="2417" y="212"/>
                  <a:pt x="2417" y="212"/>
                  <a:pt x="2417" y="213"/>
                </a:cubicBezTo>
                <a:cubicBezTo>
                  <a:pt x="2418" y="213"/>
                  <a:pt x="2418" y="213"/>
                  <a:pt x="2418" y="214"/>
                </a:cubicBezTo>
                <a:cubicBezTo>
                  <a:pt x="2418" y="214"/>
                  <a:pt x="2416" y="214"/>
                  <a:pt x="2416" y="214"/>
                </a:cubicBezTo>
                <a:cubicBezTo>
                  <a:pt x="2415" y="214"/>
                  <a:pt x="2414" y="213"/>
                  <a:pt x="2413" y="213"/>
                </a:cubicBezTo>
                <a:cubicBezTo>
                  <a:pt x="2412" y="213"/>
                  <a:pt x="2412" y="213"/>
                  <a:pt x="2411" y="213"/>
                </a:cubicBezTo>
                <a:cubicBezTo>
                  <a:pt x="2410" y="213"/>
                  <a:pt x="2409" y="213"/>
                  <a:pt x="2409" y="213"/>
                </a:cubicBezTo>
                <a:cubicBezTo>
                  <a:pt x="2408" y="213"/>
                  <a:pt x="2408" y="213"/>
                  <a:pt x="2408" y="213"/>
                </a:cubicBezTo>
                <a:cubicBezTo>
                  <a:pt x="2408" y="213"/>
                  <a:pt x="2407" y="214"/>
                  <a:pt x="2407" y="214"/>
                </a:cubicBezTo>
                <a:cubicBezTo>
                  <a:pt x="2406" y="215"/>
                  <a:pt x="2408" y="214"/>
                  <a:pt x="2409" y="215"/>
                </a:cubicBezTo>
                <a:cubicBezTo>
                  <a:pt x="2409" y="215"/>
                  <a:pt x="2408" y="217"/>
                  <a:pt x="2408" y="217"/>
                </a:cubicBezTo>
                <a:cubicBezTo>
                  <a:pt x="2407" y="217"/>
                  <a:pt x="2406" y="217"/>
                  <a:pt x="2406" y="218"/>
                </a:cubicBezTo>
                <a:cubicBezTo>
                  <a:pt x="2406" y="219"/>
                  <a:pt x="2405" y="221"/>
                  <a:pt x="2404" y="220"/>
                </a:cubicBezTo>
                <a:cubicBezTo>
                  <a:pt x="2404" y="220"/>
                  <a:pt x="2404" y="219"/>
                  <a:pt x="2404" y="219"/>
                </a:cubicBezTo>
                <a:cubicBezTo>
                  <a:pt x="2403" y="218"/>
                  <a:pt x="2403" y="218"/>
                  <a:pt x="2403" y="218"/>
                </a:cubicBezTo>
                <a:cubicBezTo>
                  <a:pt x="2403" y="217"/>
                  <a:pt x="2403" y="217"/>
                  <a:pt x="2402" y="217"/>
                </a:cubicBezTo>
                <a:cubicBezTo>
                  <a:pt x="2402" y="217"/>
                  <a:pt x="2402" y="218"/>
                  <a:pt x="2401" y="218"/>
                </a:cubicBezTo>
                <a:cubicBezTo>
                  <a:pt x="2401" y="218"/>
                  <a:pt x="2401" y="218"/>
                  <a:pt x="2400" y="218"/>
                </a:cubicBezTo>
                <a:cubicBezTo>
                  <a:pt x="2400" y="218"/>
                  <a:pt x="2400" y="218"/>
                  <a:pt x="2400" y="217"/>
                </a:cubicBezTo>
                <a:cubicBezTo>
                  <a:pt x="2400" y="217"/>
                  <a:pt x="2400" y="216"/>
                  <a:pt x="2399" y="216"/>
                </a:cubicBezTo>
                <a:cubicBezTo>
                  <a:pt x="2399" y="216"/>
                  <a:pt x="2399" y="217"/>
                  <a:pt x="2398" y="217"/>
                </a:cubicBezTo>
                <a:cubicBezTo>
                  <a:pt x="2398" y="217"/>
                  <a:pt x="2397" y="217"/>
                  <a:pt x="2397" y="217"/>
                </a:cubicBezTo>
                <a:cubicBezTo>
                  <a:pt x="2396" y="217"/>
                  <a:pt x="2397" y="218"/>
                  <a:pt x="2396" y="218"/>
                </a:cubicBezTo>
                <a:cubicBezTo>
                  <a:pt x="2396" y="218"/>
                  <a:pt x="2394" y="219"/>
                  <a:pt x="2395" y="220"/>
                </a:cubicBezTo>
                <a:cubicBezTo>
                  <a:pt x="2396" y="220"/>
                  <a:pt x="2397" y="219"/>
                  <a:pt x="2398" y="219"/>
                </a:cubicBezTo>
                <a:cubicBezTo>
                  <a:pt x="2398" y="220"/>
                  <a:pt x="2398" y="220"/>
                  <a:pt x="2398" y="221"/>
                </a:cubicBezTo>
                <a:cubicBezTo>
                  <a:pt x="2397" y="222"/>
                  <a:pt x="2398" y="222"/>
                  <a:pt x="2399" y="222"/>
                </a:cubicBezTo>
                <a:cubicBezTo>
                  <a:pt x="2399" y="222"/>
                  <a:pt x="2399" y="221"/>
                  <a:pt x="2400" y="221"/>
                </a:cubicBezTo>
                <a:cubicBezTo>
                  <a:pt x="2400" y="221"/>
                  <a:pt x="2400" y="221"/>
                  <a:pt x="2401" y="221"/>
                </a:cubicBezTo>
                <a:cubicBezTo>
                  <a:pt x="2402" y="221"/>
                  <a:pt x="2402" y="220"/>
                  <a:pt x="2403" y="221"/>
                </a:cubicBezTo>
                <a:cubicBezTo>
                  <a:pt x="2404" y="221"/>
                  <a:pt x="2402" y="222"/>
                  <a:pt x="2402" y="222"/>
                </a:cubicBezTo>
                <a:cubicBezTo>
                  <a:pt x="2401" y="222"/>
                  <a:pt x="2401" y="222"/>
                  <a:pt x="2402" y="222"/>
                </a:cubicBezTo>
                <a:cubicBezTo>
                  <a:pt x="2402" y="222"/>
                  <a:pt x="2403" y="222"/>
                  <a:pt x="2403" y="222"/>
                </a:cubicBezTo>
                <a:cubicBezTo>
                  <a:pt x="2403" y="222"/>
                  <a:pt x="2404" y="223"/>
                  <a:pt x="2404" y="223"/>
                </a:cubicBezTo>
                <a:cubicBezTo>
                  <a:pt x="2405" y="222"/>
                  <a:pt x="2405" y="222"/>
                  <a:pt x="2405" y="222"/>
                </a:cubicBezTo>
                <a:cubicBezTo>
                  <a:pt x="2406" y="222"/>
                  <a:pt x="2406" y="222"/>
                  <a:pt x="2406" y="223"/>
                </a:cubicBezTo>
                <a:cubicBezTo>
                  <a:pt x="2405" y="223"/>
                  <a:pt x="2405" y="223"/>
                  <a:pt x="2405" y="223"/>
                </a:cubicBezTo>
                <a:cubicBezTo>
                  <a:pt x="2404" y="224"/>
                  <a:pt x="2404" y="223"/>
                  <a:pt x="2404" y="223"/>
                </a:cubicBezTo>
                <a:cubicBezTo>
                  <a:pt x="2403" y="223"/>
                  <a:pt x="2403" y="223"/>
                  <a:pt x="2402" y="224"/>
                </a:cubicBezTo>
                <a:cubicBezTo>
                  <a:pt x="2402" y="224"/>
                  <a:pt x="2401" y="224"/>
                  <a:pt x="2400" y="224"/>
                </a:cubicBezTo>
                <a:cubicBezTo>
                  <a:pt x="2399" y="224"/>
                  <a:pt x="2399" y="225"/>
                  <a:pt x="2398" y="225"/>
                </a:cubicBezTo>
                <a:cubicBezTo>
                  <a:pt x="2397" y="225"/>
                  <a:pt x="2397" y="225"/>
                  <a:pt x="2396" y="225"/>
                </a:cubicBezTo>
                <a:cubicBezTo>
                  <a:pt x="2396" y="225"/>
                  <a:pt x="2396" y="226"/>
                  <a:pt x="2396" y="226"/>
                </a:cubicBezTo>
                <a:cubicBezTo>
                  <a:pt x="2397" y="226"/>
                  <a:pt x="2397" y="226"/>
                  <a:pt x="2397" y="226"/>
                </a:cubicBezTo>
                <a:cubicBezTo>
                  <a:pt x="2398" y="226"/>
                  <a:pt x="2398" y="227"/>
                  <a:pt x="2398" y="227"/>
                </a:cubicBezTo>
                <a:cubicBezTo>
                  <a:pt x="2399" y="227"/>
                  <a:pt x="2399" y="225"/>
                  <a:pt x="2400" y="225"/>
                </a:cubicBezTo>
                <a:cubicBezTo>
                  <a:pt x="2401" y="225"/>
                  <a:pt x="2401" y="226"/>
                  <a:pt x="2402" y="226"/>
                </a:cubicBezTo>
                <a:cubicBezTo>
                  <a:pt x="2402" y="226"/>
                  <a:pt x="2404" y="225"/>
                  <a:pt x="2404" y="226"/>
                </a:cubicBezTo>
                <a:cubicBezTo>
                  <a:pt x="2404" y="226"/>
                  <a:pt x="2404" y="227"/>
                  <a:pt x="2404" y="227"/>
                </a:cubicBezTo>
                <a:cubicBezTo>
                  <a:pt x="2405" y="228"/>
                  <a:pt x="2405" y="228"/>
                  <a:pt x="2406" y="228"/>
                </a:cubicBezTo>
                <a:cubicBezTo>
                  <a:pt x="2406" y="228"/>
                  <a:pt x="2407" y="228"/>
                  <a:pt x="2407" y="228"/>
                </a:cubicBezTo>
                <a:cubicBezTo>
                  <a:pt x="2407" y="228"/>
                  <a:pt x="2408" y="228"/>
                  <a:pt x="2408" y="228"/>
                </a:cubicBezTo>
                <a:cubicBezTo>
                  <a:pt x="2409" y="228"/>
                  <a:pt x="2408" y="229"/>
                  <a:pt x="2407" y="229"/>
                </a:cubicBezTo>
                <a:cubicBezTo>
                  <a:pt x="2407" y="229"/>
                  <a:pt x="2406" y="228"/>
                  <a:pt x="2406" y="228"/>
                </a:cubicBezTo>
                <a:cubicBezTo>
                  <a:pt x="2406" y="228"/>
                  <a:pt x="2405" y="228"/>
                  <a:pt x="2405" y="228"/>
                </a:cubicBezTo>
                <a:cubicBezTo>
                  <a:pt x="2404" y="229"/>
                  <a:pt x="2404" y="228"/>
                  <a:pt x="2403" y="228"/>
                </a:cubicBezTo>
                <a:cubicBezTo>
                  <a:pt x="2402" y="228"/>
                  <a:pt x="2401" y="228"/>
                  <a:pt x="2400" y="228"/>
                </a:cubicBezTo>
                <a:cubicBezTo>
                  <a:pt x="2400" y="229"/>
                  <a:pt x="2400" y="228"/>
                  <a:pt x="2399" y="229"/>
                </a:cubicBezTo>
                <a:cubicBezTo>
                  <a:pt x="2399" y="229"/>
                  <a:pt x="2398" y="229"/>
                  <a:pt x="2398" y="229"/>
                </a:cubicBezTo>
                <a:cubicBezTo>
                  <a:pt x="2397" y="229"/>
                  <a:pt x="2397" y="228"/>
                  <a:pt x="2396" y="228"/>
                </a:cubicBezTo>
                <a:cubicBezTo>
                  <a:pt x="2395" y="228"/>
                  <a:pt x="2395" y="229"/>
                  <a:pt x="2395" y="229"/>
                </a:cubicBezTo>
                <a:cubicBezTo>
                  <a:pt x="2394" y="229"/>
                  <a:pt x="2394" y="229"/>
                  <a:pt x="2394" y="229"/>
                </a:cubicBezTo>
                <a:cubicBezTo>
                  <a:pt x="2393" y="229"/>
                  <a:pt x="2393" y="230"/>
                  <a:pt x="2393" y="230"/>
                </a:cubicBezTo>
                <a:cubicBezTo>
                  <a:pt x="2393" y="231"/>
                  <a:pt x="2393" y="231"/>
                  <a:pt x="2394" y="231"/>
                </a:cubicBezTo>
                <a:cubicBezTo>
                  <a:pt x="2394" y="231"/>
                  <a:pt x="2395" y="231"/>
                  <a:pt x="2395" y="231"/>
                </a:cubicBezTo>
                <a:cubicBezTo>
                  <a:pt x="2396" y="232"/>
                  <a:pt x="2395" y="232"/>
                  <a:pt x="2396" y="232"/>
                </a:cubicBezTo>
                <a:cubicBezTo>
                  <a:pt x="2397" y="232"/>
                  <a:pt x="2397" y="232"/>
                  <a:pt x="2397" y="231"/>
                </a:cubicBezTo>
                <a:cubicBezTo>
                  <a:pt x="2397" y="231"/>
                  <a:pt x="2398" y="232"/>
                  <a:pt x="2398" y="232"/>
                </a:cubicBezTo>
                <a:cubicBezTo>
                  <a:pt x="2399" y="232"/>
                  <a:pt x="2399" y="232"/>
                  <a:pt x="2399" y="232"/>
                </a:cubicBezTo>
                <a:cubicBezTo>
                  <a:pt x="2400" y="232"/>
                  <a:pt x="2400" y="233"/>
                  <a:pt x="2400" y="233"/>
                </a:cubicBezTo>
                <a:cubicBezTo>
                  <a:pt x="2400" y="234"/>
                  <a:pt x="2398" y="233"/>
                  <a:pt x="2398" y="233"/>
                </a:cubicBezTo>
                <a:cubicBezTo>
                  <a:pt x="2397" y="234"/>
                  <a:pt x="2397" y="234"/>
                  <a:pt x="2396" y="234"/>
                </a:cubicBezTo>
                <a:cubicBezTo>
                  <a:pt x="2395" y="234"/>
                  <a:pt x="2395" y="234"/>
                  <a:pt x="2394" y="234"/>
                </a:cubicBezTo>
                <a:cubicBezTo>
                  <a:pt x="2393" y="234"/>
                  <a:pt x="2392" y="234"/>
                  <a:pt x="2392" y="235"/>
                </a:cubicBezTo>
                <a:cubicBezTo>
                  <a:pt x="2391" y="235"/>
                  <a:pt x="2391" y="235"/>
                  <a:pt x="2390" y="235"/>
                </a:cubicBezTo>
                <a:cubicBezTo>
                  <a:pt x="2390" y="236"/>
                  <a:pt x="2391" y="236"/>
                  <a:pt x="2391" y="236"/>
                </a:cubicBezTo>
                <a:cubicBezTo>
                  <a:pt x="2391" y="236"/>
                  <a:pt x="2392" y="236"/>
                  <a:pt x="2392" y="236"/>
                </a:cubicBezTo>
                <a:cubicBezTo>
                  <a:pt x="2392" y="237"/>
                  <a:pt x="2393" y="237"/>
                  <a:pt x="2393" y="237"/>
                </a:cubicBezTo>
                <a:cubicBezTo>
                  <a:pt x="2394" y="237"/>
                  <a:pt x="2394" y="236"/>
                  <a:pt x="2395" y="237"/>
                </a:cubicBezTo>
                <a:cubicBezTo>
                  <a:pt x="2395" y="237"/>
                  <a:pt x="2395" y="237"/>
                  <a:pt x="2394" y="238"/>
                </a:cubicBezTo>
                <a:cubicBezTo>
                  <a:pt x="2394" y="238"/>
                  <a:pt x="2394" y="238"/>
                  <a:pt x="2393" y="238"/>
                </a:cubicBezTo>
                <a:cubicBezTo>
                  <a:pt x="2393" y="237"/>
                  <a:pt x="2392" y="237"/>
                  <a:pt x="2392" y="238"/>
                </a:cubicBezTo>
                <a:cubicBezTo>
                  <a:pt x="2391" y="238"/>
                  <a:pt x="2391" y="238"/>
                  <a:pt x="2391" y="238"/>
                </a:cubicBezTo>
                <a:cubicBezTo>
                  <a:pt x="2390" y="238"/>
                  <a:pt x="2390" y="237"/>
                  <a:pt x="2389" y="237"/>
                </a:cubicBezTo>
                <a:cubicBezTo>
                  <a:pt x="2389" y="237"/>
                  <a:pt x="2388" y="238"/>
                  <a:pt x="2389" y="238"/>
                </a:cubicBezTo>
                <a:cubicBezTo>
                  <a:pt x="2389" y="238"/>
                  <a:pt x="2389" y="238"/>
                  <a:pt x="2390" y="238"/>
                </a:cubicBezTo>
                <a:cubicBezTo>
                  <a:pt x="2391" y="239"/>
                  <a:pt x="2392" y="239"/>
                  <a:pt x="2393" y="239"/>
                </a:cubicBezTo>
                <a:cubicBezTo>
                  <a:pt x="2394" y="240"/>
                  <a:pt x="2394" y="241"/>
                  <a:pt x="2395" y="241"/>
                </a:cubicBezTo>
                <a:cubicBezTo>
                  <a:pt x="2395" y="241"/>
                  <a:pt x="2396" y="240"/>
                  <a:pt x="2396" y="241"/>
                </a:cubicBezTo>
                <a:cubicBezTo>
                  <a:pt x="2396" y="242"/>
                  <a:pt x="2394" y="241"/>
                  <a:pt x="2393" y="241"/>
                </a:cubicBezTo>
                <a:cubicBezTo>
                  <a:pt x="2393" y="241"/>
                  <a:pt x="2393" y="241"/>
                  <a:pt x="2392" y="241"/>
                </a:cubicBezTo>
                <a:cubicBezTo>
                  <a:pt x="2392" y="241"/>
                  <a:pt x="2391" y="241"/>
                  <a:pt x="2391" y="241"/>
                </a:cubicBezTo>
                <a:cubicBezTo>
                  <a:pt x="2390" y="241"/>
                  <a:pt x="2389" y="240"/>
                  <a:pt x="2388" y="240"/>
                </a:cubicBezTo>
                <a:cubicBezTo>
                  <a:pt x="2387" y="240"/>
                  <a:pt x="2386" y="240"/>
                  <a:pt x="2386" y="241"/>
                </a:cubicBezTo>
                <a:cubicBezTo>
                  <a:pt x="2385" y="241"/>
                  <a:pt x="2385" y="242"/>
                  <a:pt x="2385" y="242"/>
                </a:cubicBezTo>
                <a:cubicBezTo>
                  <a:pt x="2384" y="242"/>
                  <a:pt x="2384" y="242"/>
                  <a:pt x="2383" y="242"/>
                </a:cubicBezTo>
                <a:cubicBezTo>
                  <a:pt x="2383" y="243"/>
                  <a:pt x="2383" y="243"/>
                  <a:pt x="2383" y="243"/>
                </a:cubicBezTo>
                <a:cubicBezTo>
                  <a:pt x="2383" y="244"/>
                  <a:pt x="2383" y="244"/>
                  <a:pt x="2383" y="244"/>
                </a:cubicBezTo>
                <a:cubicBezTo>
                  <a:pt x="2385" y="244"/>
                  <a:pt x="2384" y="245"/>
                  <a:pt x="2383" y="245"/>
                </a:cubicBezTo>
                <a:cubicBezTo>
                  <a:pt x="2382" y="245"/>
                  <a:pt x="2381" y="245"/>
                  <a:pt x="2380" y="245"/>
                </a:cubicBezTo>
                <a:cubicBezTo>
                  <a:pt x="2379" y="246"/>
                  <a:pt x="2378" y="246"/>
                  <a:pt x="2378" y="246"/>
                </a:cubicBezTo>
                <a:cubicBezTo>
                  <a:pt x="2376" y="247"/>
                  <a:pt x="2375" y="249"/>
                  <a:pt x="2373" y="248"/>
                </a:cubicBezTo>
                <a:cubicBezTo>
                  <a:pt x="2372" y="248"/>
                  <a:pt x="2372" y="249"/>
                  <a:pt x="2372" y="249"/>
                </a:cubicBezTo>
                <a:cubicBezTo>
                  <a:pt x="2373" y="250"/>
                  <a:pt x="2374" y="250"/>
                  <a:pt x="2374" y="250"/>
                </a:cubicBezTo>
                <a:cubicBezTo>
                  <a:pt x="2375" y="250"/>
                  <a:pt x="2376" y="251"/>
                  <a:pt x="2377" y="251"/>
                </a:cubicBezTo>
                <a:cubicBezTo>
                  <a:pt x="2378" y="250"/>
                  <a:pt x="2379" y="250"/>
                  <a:pt x="2380" y="250"/>
                </a:cubicBezTo>
                <a:cubicBezTo>
                  <a:pt x="2380" y="251"/>
                  <a:pt x="2380" y="251"/>
                  <a:pt x="2381" y="251"/>
                </a:cubicBezTo>
                <a:cubicBezTo>
                  <a:pt x="2381" y="251"/>
                  <a:pt x="2382" y="251"/>
                  <a:pt x="2382" y="251"/>
                </a:cubicBezTo>
                <a:cubicBezTo>
                  <a:pt x="2383" y="250"/>
                  <a:pt x="2383" y="250"/>
                  <a:pt x="2384" y="250"/>
                </a:cubicBezTo>
                <a:cubicBezTo>
                  <a:pt x="2384" y="250"/>
                  <a:pt x="2385" y="250"/>
                  <a:pt x="2386" y="250"/>
                </a:cubicBezTo>
                <a:cubicBezTo>
                  <a:pt x="2386" y="250"/>
                  <a:pt x="2387" y="251"/>
                  <a:pt x="2388" y="250"/>
                </a:cubicBezTo>
                <a:cubicBezTo>
                  <a:pt x="2388" y="250"/>
                  <a:pt x="2389" y="250"/>
                  <a:pt x="2389" y="250"/>
                </a:cubicBezTo>
                <a:cubicBezTo>
                  <a:pt x="2389" y="250"/>
                  <a:pt x="2389" y="250"/>
                  <a:pt x="2389" y="250"/>
                </a:cubicBezTo>
                <a:cubicBezTo>
                  <a:pt x="2389" y="251"/>
                  <a:pt x="2388" y="251"/>
                  <a:pt x="2388" y="251"/>
                </a:cubicBezTo>
                <a:cubicBezTo>
                  <a:pt x="2388" y="251"/>
                  <a:pt x="2387" y="251"/>
                  <a:pt x="2387" y="251"/>
                </a:cubicBezTo>
                <a:cubicBezTo>
                  <a:pt x="2386" y="251"/>
                  <a:pt x="2385" y="251"/>
                  <a:pt x="2384" y="251"/>
                </a:cubicBezTo>
                <a:cubicBezTo>
                  <a:pt x="2384" y="252"/>
                  <a:pt x="2384" y="252"/>
                  <a:pt x="2383" y="252"/>
                </a:cubicBezTo>
                <a:cubicBezTo>
                  <a:pt x="2383" y="252"/>
                  <a:pt x="2383" y="252"/>
                  <a:pt x="2382" y="252"/>
                </a:cubicBezTo>
                <a:cubicBezTo>
                  <a:pt x="2381" y="253"/>
                  <a:pt x="2380" y="253"/>
                  <a:pt x="2380" y="254"/>
                </a:cubicBezTo>
                <a:cubicBezTo>
                  <a:pt x="2379" y="254"/>
                  <a:pt x="2378" y="254"/>
                  <a:pt x="2378" y="255"/>
                </a:cubicBezTo>
                <a:cubicBezTo>
                  <a:pt x="2378" y="256"/>
                  <a:pt x="2378" y="257"/>
                  <a:pt x="2376" y="257"/>
                </a:cubicBezTo>
                <a:cubicBezTo>
                  <a:pt x="2376" y="257"/>
                  <a:pt x="2375" y="257"/>
                  <a:pt x="2376" y="258"/>
                </a:cubicBezTo>
                <a:cubicBezTo>
                  <a:pt x="2376" y="258"/>
                  <a:pt x="2377" y="258"/>
                  <a:pt x="2377" y="258"/>
                </a:cubicBezTo>
                <a:cubicBezTo>
                  <a:pt x="2378" y="258"/>
                  <a:pt x="2379" y="258"/>
                  <a:pt x="2379" y="258"/>
                </a:cubicBezTo>
                <a:cubicBezTo>
                  <a:pt x="2380" y="258"/>
                  <a:pt x="2381" y="258"/>
                  <a:pt x="2382" y="258"/>
                </a:cubicBezTo>
                <a:cubicBezTo>
                  <a:pt x="2383" y="257"/>
                  <a:pt x="2383" y="257"/>
                  <a:pt x="2384" y="257"/>
                </a:cubicBezTo>
                <a:cubicBezTo>
                  <a:pt x="2385" y="256"/>
                  <a:pt x="2386" y="256"/>
                  <a:pt x="2387" y="257"/>
                </a:cubicBezTo>
                <a:cubicBezTo>
                  <a:pt x="2387" y="257"/>
                  <a:pt x="2387" y="257"/>
                  <a:pt x="2388" y="258"/>
                </a:cubicBezTo>
                <a:cubicBezTo>
                  <a:pt x="2388" y="258"/>
                  <a:pt x="2389" y="258"/>
                  <a:pt x="2389" y="258"/>
                </a:cubicBezTo>
                <a:cubicBezTo>
                  <a:pt x="2389" y="258"/>
                  <a:pt x="2389" y="259"/>
                  <a:pt x="2389" y="259"/>
                </a:cubicBezTo>
                <a:cubicBezTo>
                  <a:pt x="2388" y="259"/>
                  <a:pt x="2388" y="258"/>
                  <a:pt x="2388" y="258"/>
                </a:cubicBezTo>
                <a:cubicBezTo>
                  <a:pt x="2387" y="258"/>
                  <a:pt x="2386" y="258"/>
                  <a:pt x="2385" y="258"/>
                </a:cubicBezTo>
                <a:cubicBezTo>
                  <a:pt x="2385" y="258"/>
                  <a:pt x="2384" y="258"/>
                  <a:pt x="2383" y="258"/>
                </a:cubicBezTo>
                <a:cubicBezTo>
                  <a:pt x="2382" y="258"/>
                  <a:pt x="2381" y="258"/>
                  <a:pt x="2380" y="258"/>
                </a:cubicBezTo>
                <a:cubicBezTo>
                  <a:pt x="2379" y="259"/>
                  <a:pt x="2378" y="259"/>
                  <a:pt x="2377" y="259"/>
                </a:cubicBezTo>
                <a:cubicBezTo>
                  <a:pt x="2376" y="259"/>
                  <a:pt x="2375" y="259"/>
                  <a:pt x="2374" y="259"/>
                </a:cubicBezTo>
                <a:cubicBezTo>
                  <a:pt x="2373" y="260"/>
                  <a:pt x="2372" y="260"/>
                  <a:pt x="2371" y="261"/>
                </a:cubicBezTo>
                <a:cubicBezTo>
                  <a:pt x="2369" y="261"/>
                  <a:pt x="2366" y="261"/>
                  <a:pt x="2366" y="263"/>
                </a:cubicBezTo>
                <a:cubicBezTo>
                  <a:pt x="2366" y="264"/>
                  <a:pt x="2365" y="264"/>
                  <a:pt x="2366" y="264"/>
                </a:cubicBezTo>
                <a:cubicBezTo>
                  <a:pt x="2366" y="265"/>
                  <a:pt x="2366" y="265"/>
                  <a:pt x="2366" y="265"/>
                </a:cubicBezTo>
                <a:cubicBezTo>
                  <a:pt x="2366" y="266"/>
                  <a:pt x="2366" y="265"/>
                  <a:pt x="2365" y="266"/>
                </a:cubicBezTo>
                <a:cubicBezTo>
                  <a:pt x="2365" y="266"/>
                  <a:pt x="2365" y="266"/>
                  <a:pt x="2366" y="267"/>
                </a:cubicBezTo>
                <a:cubicBezTo>
                  <a:pt x="2366" y="267"/>
                  <a:pt x="2366" y="267"/>
                  <a:pt x="2366" y="267"/>
                </a:cubicBezTo>
                <a:cubicBezTo>
                  <a:pt x="2366" y="267"/>
                  <a:pt x="2367" y="267"/>
                  <a:pt x="2367" y="268"/>
                </a:cubicBezTo>
                <a:cubicBezTo>
                  <a:pt x="2367" y="268"/>
                  <a:pt x="2367" y="268"/>
                  <a:pt x="2366" y="268"/>
                </a:cubicBezTo>
                <a:cubicBezTo>
                  <a:pt x="2366" y="268"/>
                  <a:pt x="2366" y="268"/>
                  <a:pt x="2365" y="268"/>
                </a:cubicBezTo>
                <a:cubicBezTo>
                  <a:pt x="2365" y="268"/>
                  <a:pt x="2364" y="268"/>
                  <a:pt x="2363" y="268"/>
                </a:cubicBezTo>
                <a:cubicBezTo>
                  <a:pt x="2362" y="268"/>
                  <a:pt x="2361" y="269"/>
                  <a:pt x="2360" y="269"/>
                </a:cubicBezTo>
                <a:cubicBezTo>
                  <a:pt x="2360" y="269"/>
                  <a:pt x="2360" y="269"/>
                  <a:pt x="2359" y="270"/>
                </a:cubicBezTo>
                <a:cubicBezTo>
                  <a:pt x="2359" y="270"/>
                  <a:pt x="2359" y="270"/>
                  <a:pt x="2359" y="270"/>
                </a:cubicBezTo>
                <a:cubicBezTo>
                  <a:pt x="2358" y="271"/>
                  <a:pt x="2358" y="271"/>
                  <a:pt x="2357" y="271"/>
                </a:cubicBezTo>
                <a:cubicBezTo>
                  <a:pt x="2357" y="272"/>
                  <a:pt x="2358" y="273"/>
                  <a:pt x="2359" y="273"/>
                </a:cubicBezTo>
                <a:cubicBezTo>
                  <a:pt x="2359" y="272"/>
                  <a:pt x="2359" y="272"/>
                  <a:pt x="2360" y="272"/>
                </a:cubicBezTo>
                <a:cubicBezTo>
                  <a:pt x="2360" y="272"/>
                  <a:pt x="2361" y="273"/>
                  <a:pt x="2361" y="273"/>
                </a:cubicBezTo>
                <a:cubicBezTo>
                  <a:pt x="2362" y="273"/>
                  <a:pt x="2363" y="272"/>
                  <a:pt x="2364" y="272"/>
                </a:cubicBezTo>
                <a:cubicBezTo>
                  <a:pt x="2364" y="273"/>
                  <a:pt x="2364" y="273"/>
                  <a:pt x="2364" y="273"/>
                </a:cubicBezTo>
                <a:cubicBezTo>
                  <a:pt x="2364" y="273"/>
                  <a:pt x="2363" y="273"/>
                  <a:pt x="2363" y="273"/>
                </a:cubicBezTo>
                <a:cubicBezTo>
                  <a:pt x="2363" y="273"/>
                  <a:pt x="2362" y="273"/>
                  <a:pt x="2362" y="274"/>
                </a:cubicBezTo>
                <a:cubicBezTo>
                  <a:pt x="2362" y="274"/>
                  <a:pt x="2361" y="274"/>
                  <a:pt x="2361" y="274"/>
                </a:cubicBezTo>
                <a:cubicBezTo>
                  <a:pt x="2361" y="274"/>
                  <a:pt x="2361" y="275"/>
                  <a:pt x="2361" y="275"/>
                </a:cubicBezTo>
                <a:cubicBezTo>
                  <a:pt x="2361" y="275"/>
                  <a:pt x="2362" y="275"/>
                  <a:pt x="2362" y="275"/>
                </a:cubicBezTo>
                <a:cubicBezTo>
                  <a:pt x="2363" y="275"/>
                  <a:pt x="2363" y="275"/>
                  <a:pt x="2363" y="275"/>
                </a:cubicBezTo>
                <a:cubicBezTo>
                  <a:pt x="2364" y="275"/>
                  <a:pt x="2364" y="274"/>
                  <a:pt x="2364" y="274"/>
                </a:cubicBezTo>
                <a:cubicBezTo>
                  <a:pt x="2365" y="275"/>
                  <a:pt x="2364" y="275"/>
                  <a:pt x="2364" y="276"/>
                </a:cubicBezTo>
                <a:cubicBezTo>
                  <a:pt x="2363" y="276"/>
                  <a:pt x="2362" y="276"/>
                  <a:pt x="2362" y="276"/>
                </a:cubicBezTo>
                <a:cubicBezTo>
                  <a:pt x="2361" y="277"/>
                  <a:pt x="2361" y="277"/>
                  <a:pt x="2361" y="277"/>
                </a:cubicBezTo>
                <a:cubicBezTo>
                  <a:pt x="2360" y="277"/>
                  <a:pt x="2360" y="277"/>
                  <a:pt x="2360" y="278"/>
                </a:cubicBezTo>
                <a:cubicBezTo>
                  <a:pt x="2360" y="278"/>
                  <a:pt x="2361" y="278"/>
                  <a:pt x="2361" y="279"/>
                </a:cubicBezTo>
                <a:cubicBezTo>
                  <a:pt x="2361" y="279"/>
                  <a:pt x="2361" y="280"/>
                  <a:pt x="2360" y="280"/>
                </a:cubicBezTo>
                <a:cubicBezTo>
                  <a:pt x="2360" y="280"/>
                  <a:pt x="2360" y="279"/>
                  <a:pt x="2360" y="280"/>
                </a:cubicBezTo>
                <a:cubicBezTo>
                  <a:pt x="2360" y="280"/>
                  <a:pt x="2360" y="280"/>
                  <a:pt x="2360" y="280"/>
                </a:cubicBezTo>
                <a:cubicBezTo>
                  <a:pt x="2360" y="281"/>
                  <a:pt x="2360" y="281"/>
                  <a:pt x="2360" y="281"/>
                </a:cubicBezTo>
                <a:cubicBezTo>
                  <a:pt x="2360" y="281"/>
                  <a:pt x="2359" y="282"/>
                  <a:pt x="2359" y="282"/>
                </a:cubicBezTo>
                <a:cubicBezTo>
                  <a:pt x="2359" y="282"/>
                  <a:pt x="2359" y="282"/>
                  <a:pt x="2359" y="282"/>
                </a:cubicBezTo>
                <a:cubicBezTo>
                  <a:pt x="2358" y="282"/>
                  <a:pt x="2358" y="282"/>
                  <a:pt x="2358" y="281"/>
                </a:cubicBezTo>
                <a:cubicBezTo>
                  <a:pt x="2358" y="281"/>
                  <a:pt x="2358" y="281"/>
                  <a:pt x="2358" y="282"/>
                </a:cubicBezTo>
                <a:cubicBezTo>
                  <a:pt x="2358" y="282"/>
                  <a:pt x="2358" y="282"/>
                  <a:pt x="2358" y="283"/>
                </a:cubicBezTo>
                <a:cubicBezTo>
                  <a:pt x="2358" y="283"/>
                  <a:pt x="2357" y="283"/>
                  <a:pt x="2357" y="284"/>
                </a:cubicBezTo>
                <a:cubicBezTo>
                  <a:pt x="2358" y="285"/>
                  <a:pt x="2358" y="286"/>
                  <a:pt x="2357" y="286"/>
                </a:cubicBezTo>
                <a:cubicBezTo>
                  <a:pt x="2357" y="286"/>
                  <a:pt x="2356" y="286"/>
                  <a:pt x="2356" y="286"/>
                </a:cubicBezTo>
                <a:cubicBezTo>
                  <a:pt x="2355" y="286"/>
                  <a:pt x="2355" y="286"/>
                  <a:pt x="2355" y="286"/>
                </a:cubicBezTo>
                <a:cubicBezTo>
                  <a:pt x="2354" y="285"/>
                  <a:pt x="2353" y="286"/>
                  <a:pt x="2352" y="285"/>
                </a:cubicBezTo>
                <a:cubicBezTo>
                  <a:pt x="2352" y="285"/>
                  <a:pt x="2352" y="285"/>
                  <a:pt x="2352" y="285"/>
                </a:cubicBezTo>
                <a:cubicBezTo>
                  <a:pt x="2351" y="284"/>
                  <a:pt x="2351" y="284"/>
                  <a:pt x="2350" y="284"/>
                </a:cubicBezTo>
                <a:cubicBezTo>
                  <a:pt x="2349" y="284"/>
                  <a:pt x="2348" y="286"/>
                  <a:pt x="2348" y="287"/>
                </a:cubicBezTo>
                <a:close/>
                <a:moveTo>
                  <a:pt x="1852" y="456"/>
                </a:moveTo>
                <a:cubicBezTo>
                  <a:pt x="1852" y="456"/>
                  <a:pt x="1852" y="456"/>
                  <a:pt x="1852" y="456"/>
                </a:cubicBezTo>
                <a:cubicBezTo>
                  <a:pt x="1853" y="457"/>
                  <a:pt x="1853" y="457"/>
                  <a:pt x="1853" y="456"/>
                </a:cubicBezTo>
                <a:cubicBezTo>
                  <a:pt x="1853" y="456"/>
                  <a:pt x="1853" y="455"/>
                  <a:pt x="1853" y="455"/>
                </a:cubicBezTo>
                <a:cubicBezTo>
                  <a:pt x="1853" y="455"/>
                  <a:pt x="1853" y="454"/>
                  <a:pt x="1852" y="454"/>
                </a:cubicBezTo>
                <a:cubicBezTo>
                  <a:pt x="1852" y="454"/>
                  <a:pt x="1851" y="454"/>
                  <a:pt x="1851" y="455"/>
                </a:cubicBezTo>
                <a:cubicBezTo>
                  <a:pt x="1851" y="455"/>
                  <a:pt x="1850" y="455"/>
                  <a:pt x="1850" y="455"/>
                </a:cubicBezTo>
                <a:cubicBezTo>
                  <a:pt x="1849" y="455"/>
                  <a:pt x="1849" y="455"/>
                  <a:pt x="1850" y="456"/>
                </a:cubicBezTo>
                <a:cubicBezTo>
                  <a:pt x="1850" y="456"/>
                  <a:pt x="1851" y="456"/>
                  <a:pt x="1852" y="456"/>
                </a:cubicBezTo>
                <a:close/>
                <a:moveTo>
                  <a:pt x="83" y="509"/>
                </a:moveTo>
                <a:cubicBezTo>
                  <a:pt x="83" y="509"/>
                  <a:pt x="83" y="508"/>
                  <a:pt x="82" y="508"/>
                </a:cubicBezTo>
                <a:cubicBezTo>
                  <a:pt x="82" y="508"/>
                  <a:pt x="82" y="509"/>
                  <a:pt x="81" y="509"/>
                </a:cubicBezTo>
                <a:cubicBezTo>
                  <a:pt x="81" y="510"/>
                  <a:pt x="81" y="510"/>
                  <a:pt x="80" y="510"/>
                </a:cubicBezTo>
                <a:cubicBezTo>
                  <a:pt x="80" y="511"/>
                  <a:pt x="80" y="511"/>
                  <a:pt x="79" y="512"/>
                </a:cubicBezTo>
                <a:cubicBezTo>
                  <a:pt x="79" y="513"/>
                  <a:pt x="78" y="513"/>
                  <a:pt x="77" y="514"/>
                </a:cubicBezTo>
                <a:cubicBezTo>
                  <a:pt x="76" y="515"/>
                  <a:pt x="74" y="516"/>
                  <a:pt x="74" y="517"/>
                </a:cubicBezTo>
                <a:cubicBezTo>
                  <a:pt x="74" y="518"/>
                  <a:pt x="73" y="518"/>
                  <a:pt x="73" y="518"/>
                </a:cubicBezTo>
                <a:cubicBezTo>
                  <a:pt x="74" y="518"/>
                  <a:pt x="75" y="517"/>
                  <a:pt x="76" y="517"/>
                </a:cubicBezTo>
                <a:cubicBezTo>
                  <a:pt x="77" y="516"/>
                  <a:pt x="78" y="516"/>
                  <a:pt x="79" y="515"/>
                </a:cubicBezTo>
                <a:cubicBezTo>
                  <a:pt x="80" y="515"/>
                  <a:pt x="80" y="514"/>
                  <a:pt x="81" y="513"/>
                </a:cubicBezTo>
                <a:cubicBezTo>
                  <a:pt x="81" y="512"/>
                  <a:pt x="82" y="512"/>
                  <a:pt x="83" y="511"/>
                </a:cubicBezTo>
                <a:cubicBezTo>
                  <a:pt x="84" y="511"/>
                  <a:pt x="85" y="511"/>
                  <a:pt x="84" y="510"/>
                </a:cubicBezTo>
                <a:cubicBezTo>
                  <a:pt x="84" y="509"/>
                  <a:pt x="83" y="510"/>
                  <a:pt x="83" y="509"/>
                </a:cubicBezTo>
                <a:close/>
                <a:moveTo>
                  <a:pt x="213" y="561"/>
                </a:moveTo>
                <a:cubicBezTo>
                  <a:pt x="213" y="560"/>
                  <a:pt x="213" y="560"/>
                  <a:pt x="212" y="560"/>
                </a:cubicBezTo>
                <a:cubicBezTo>
                  <a:pt x="211" y="559"/>
                  <a:pt x="210" y="560"/>
                  <a:pt x="211" y="561"/>
                </a:cubicBezTo>
                <a:cubicBezTo>
                  <a:pt x="211" y="562"/>
                  <a:pt x="211" y="562"/>
                  <a:pt x="212" y="562"/>
                </a:cubicBezTo>
                <a:cubicBezTo>
                  <a:pt x="212" y="562"/>
                  <a:pt x="212" y="563"/>
                  <a:pt x="212" y="563"/>
                </a:cubicBezTo>
                <a:cubicBezTo>
                  <a:pt x="212" y="563"/>
                  <a:pt x="211" y="563"/>
                  <a:pt x="211" y="563"/>
                </a:cubicBezTo>
                <a:cubicBezTo>
                  <a:pt x="211" y="564"/>
                  <a:pt x="211" y="564"/>
                  <a:pt x="211" y="564"/>
                </a:cubicBezTo>
                <a:cubicBezTo>
                  <a:pt x="211" y="565"/>
                  <a:pt x="212" y="566"/>
                  <a:pt x="213" y="565"/>
                </a:cubicBezTo>
                <a:cubicBezTo>
                  <a:pt x="214" y="565"/>
                  <a:pt x="214" y="563"/>
                  <a:pt x="214" y="562"/>
                </a:cubicBezTo>
                <a:cubicBezTo>
                  <a:pt x="213" y="562"/>
                  <a:pt x="213" y="561"/>
                  <a:pt x="213" y="561"/>
                </a:cubicBezTo>
                <a:close/>
                <a:moveTo>
                  <a:pt x="224" y="568"/>
                </a:moveTo>
                <a:cubicBezTo>
                  <a:pt x="224" y="566"/>
                  <a:pt x="224" y="564"/>
                  <a:pt x="223" y="563"/>
                </a:cubicBezTo>
                <a:cubicBezTo>
                  <a:pt x="223" y="562"/>
                  <a:pt x="223" y="561"/>
                  <a:pt x="222" y="560"/>
                </a:cubicBezTo>
                <a:cubicBezTo>
                  <a:pt x="222" y="559"/>
                  <a:pt x="221" y="559"/>
                  <a:pt x="220" y="558"/>
                </a:cubicBezTo>
                <a:cubicBezTo>
                  <a:pt x="220" y="558"/>
                  <a:pt x="219" y="557"/>
                  <a:pt x="219" y="557"/>
                </a:cubicBezTo>
                <a:cubicBezTo>
                  <a:pt x="218" y="557"/>
                  <a:pt x="218" y="557"/>
                  <a:pt x="217" y="557"/>
                </a:cubicBezTo>
                <a:cubicBezTo>
                  <a:pt x="217" y="557"/>
                  <a:pt x="217" y="556"/>
                  <a:pt x="217" y="556"/>
                </a:cubicBezTo>
                <a:cubicBezTo>
                  <a:pt x="216" y="555"/>
                  <a:pt x="215" y="557"/>
                  <a:pt x="214" y="556"/>
                </a:cubicBezTo>
                <a:cubicBezTo>
                  <a:pt x="214" y="556"/>
                  <a:pt x="214" y="556"/>
                  <a:pt x="214" y="555"/>
                </a:cubicBezTo>
                <a:cubicBezTo>
                  <a:pt x="214" y="555"/>
                  <a:pt x="213" y="555"/>
                  <a:pt x="213" y="554"/>
                </a:cubicBezTo>
                <a:cubicBezTo>
                  <a:pt x="213" y="554"/>
                  <a:pt x="211" y="554"/>
                  <a:pt x="212" y="553"/>
                </a:cubicBezTo>
                <a:cubicBezTo>
                  <a:pt x="213" y="553"/>
                  <a:pt x="214" y="555"/>
                  <a:pt x="216" y="555"/>
                </a:cubicBezTo>
                <a:cubicBezTo>
                  <a:pt x="216" y="555"/>
                  <a:pt x="216" y="555"/>
                  <a:pt x="217" y="555"/>
                </a:cubicBezTo>
                <a:cubicBezTo>
                  <a:pt x="217" y="556"/>
                  <a:pt x="217" y="556"/>
                  <a:pt x="218" y="556"/>
                </a:cubicBezTo>
                <a:cubicBezTo>
                  <a:pt x="219" y="556"/>
                  <a:pt x="219" y="556"/>
                  <a:pt x="220" y="556"/>
                </a:cubicBezTo>
                <a:cubicBezTo>
                  <a:pt x="221" y="556"/>
                  <a:pt x="221" y="556"/>
                  <a:pt x="222" y="557"/>
                </a:cubicBezTo>
                <a:cubicBezTo>
                  <a:pt x="222" y="557"/>
                  <a:pt x="222" y="557"/>
                  <a:pt x="222" y="557"/>
                </a:cubicBezTo>
                <a:cubicBezTo>
                  <a:pt x="222" y="557"/>
                  <a:pt x="223" y="557"/>
                  <a:pt x="223" y="557"/>
                </a:cubicBezTo>
                <a:cubicBezTo>
                  <a:pt x="223" y="557"/>
                  <a:pt x="222" y="556"/>
                  <a:pt x="222" y="556"/>
                </a:cubicBezTo>
                <a:cubicBezTo>
                  <a:pt x="222" y="556"/>
                  <a:pt x="222" y="555"/>
                  <a:pt x="222" y="555"/>
                </a:cubicBezTo>
                <a:cubicBezTo>
                  <a:pt x="222" y="554"/>
                  <a:pt x="221" y="554"/>
                  <a:pt x="221" y="553"/>
                </a:cubicBezTo>
                <a:cubicBezTo>
                  <a:pt x="221" y="553"/>
                  <a:pt x="221" y="552"/>
                  <a:pt x="220" y="552"/>
                </a:cubicBezTo>
                <a:cubicBezTo>
                  <a:pt x="220" y="552"/>
                  <a:pt x="220" y="553"/>
                  <a:pt x="219" y="553"/>
                </a:cubicBezTo>
                <a:cubicBezTo>
                  <a:pt x="219" y="553"/>
                  <a:pt x="218" y="553"/>
                  <a:pt x="218" y="553"/>
                </a:cubicBezTo>
                <a:cubicBezTo>
                  <a:pt x="218" y="553"/>
                  <a:pt x="218" y="552"/>
                  <a:pt x="217" y="552"/>
                </a:cubicBezTo>
                <a:cubicBezTo>
                  <a:pt x="217" y="552"/>
                  <a:pt x="216" y="552"/>
                  <a:pt x="216" y="552"/>
                </a:cubicBezTo>
                <a:cubicBezTo>
                  <a:pt x="215" y="552"/>
                  <a:pt x="215" y="551"/>
                  <a:pt x="216" y="551"/>
                </a:cubicBezTo>
                <a:cubicBezTo>
                  <a:pt x="216" y="551"/>
                  <a:pt x="217" y="551"/>
                  <a:pt x="217" y="551"/>
                </a:cubicBezTo>
                <a:cubicBezTo>
                  <a:pt x="218" y="552"/>
                  <a:pt x="218" y="552"/>
                  <a:pt x="219" y="552"/>
                </a:cubicBezTo>
                <a:cubicBezTo>
                  <a:pt x="220" y="552"/>
                  <a:pt x="220" y="552"/>
                  <a:pt x="220" y="552"/>
                </a:cubicBezTo>
                <a:cubicBezTo>
                  <a:pt x="220" y="551"/>
                  <a:pt x="220" y="551"/>
                  <a:pt x="220" y="551"/>
                </a:cubicBezTo>
                <a:cubicBezTo>
                  <a:pt x="220" y="550"/>
                  <a:pt x="221" y="551"/>
                  <a:pt x="221" y="550"/>
                </a:cubicBezTo>
                <a:cubicBezTo>
                  <a:pt x="221" y="550"/>
                  <a:pt x="221" y="549"/>
                  <a:pt x="221" y="549"/>
                </a:cubicBezTo>
                <a:cubicBezTo>
                  <a:pt x="221" y="547"/>
                  <a:pt x="218" y="548"/>
                  <a:pt x="217" y="547"/>
                </a:cubicBezTo>
                <a:cubicBezTo>
                  <a:pt x="217" y="546"/>
                  <a:pt x="217" y="546"/>
                  <a:pt x="216" y="546"/>
                </a:cubicBezTo>
                <a:cubicBezTo>
                  <a:pt x="216" y="546"/>
                  <a:pt x="216" y="547"/>
                  <a:pt x="215" y="547"/>
                </a:cubicBezTo>
                <a:cubicBezTo>
                  <a:pt x="215" y="548"/>
                  <a:pt x="215" y="548"/>
                  <a:pt x="215" y="548"/>
                </a:cubicBezTo>
                <a:cubicBezTo>
                  <a:pt x="214" y="548"/>
                  <a:pt x="214" y="549"/>
                  <a:pt x="214" y="549"/>
                </a:cubicBezTo>
                <a:cubicBezTo>
                  <a:pt x="213" y="549"/>
                  <a:pt x="213" y="549"/>
                  <a:pt x="213" y="549"/>
                </a:cubicBezTo>
                <a:cubicBezTo>
                  <a:pt x="213" y="548"/>
                  <a:pt x="213" y="548"/>
                  <a:pt x="213" y="548"/>
                </a:cubicBezTo>
                <a:cubicBezTo>
                  <a:pt x="213" y="548"/>
                  <a:pt x="213" y="548"/>
                  <a:pt x="212" y="548"/>
                </a:cubicBezTo>
                <a:cubicBezTo>
                  <a:pt x="212" y="547"/>
                  <a:pt x="214" y="547"/>
                  <a:pt x="214" y="547"/>
                </a:cubicBezTo>
                <a:cubicBezTo>
                  <a:pt x="215" y="546"/>
                  <a:pt x="214" y="545"/>
                  <a:pt x="213" y="545"/>
                </a:cubicBezTo>
                <a:cubicBezTo>
                  <a:pt x="213" y="545"/>
                  <a:pt x="213" y="545"/>
                  <a:pt x="212" y="545"/>
                </a:cubicBezTo>
                <a:cubicBezTo>
                  <a:pt x="212" y="544"/>
                  <a:pt x="212" y="544"/>
                  <a:pt x="211" y="544"/>
                </a:cubicBezTo>
                <a:cubicBezTo>
                  <a:pt x="211" y="544"/>
                  <a:pt x="210" y="545"/>
                  <a:pt x="210" y="545"/>
                </a:cubicBezTo>
                <a:cubicBezTo>
                  <a:pt x="209" y="546"/>
                  <a:pt x="208" y="545"/>
                  <a:pt x="207" y="545"/>
                </a:cubicBezTo>
                <a:cubicBezTo>
                  <a:pt x="207" y="546"/>
                  <a:pt x="207" y="546"/>
                  <a:pt x="207" y="546"/>
                </a:cubicBezTo>
                <a:cubicBezTo>
                  <a:pt x="206" y="546"/>
                  <a:pt x="206" y="545"/>
                  <a:pt x="206" y="545"/>
                </a:cubicBezTo>
                <a:cubicBezTo>
                  <a:pt x="205" y="545"/>
                  <a:pt x="205" y="545"/>
                  <a:pt x="205" y="546"/>
                </a:cubicBezTo>
                <a:cubicBezTo>
                  <a:pt x="205" y="546"/>
                  <a:pt x="205" y="546"/>
                  <a:pt x="205" y="547"/>
                </a:cubicBezTo>
                <a:cubicBezTo>
                  <a:pt x="205" y="547"/>
                  <a:pt x="205" y="548"/>
                  <a:pt x="205" y="548"/>
                </a:cubicBezTo>
                <a:cubicBezTo>
                  <a:pt x="204" y="548"/>
                  <a:pt x="204" y="547"/>
                  <a:pt x="204" y="547"/>
                </a:cubicBezTo>
                <a:cubicBezTo>
                  <a:pt x="203" y="547"/>
                  <a:pt x="203" y="549"/>
                  <a:pt x="203" y="550"/>
                </a:cubicBezTo>
                <a:cubicBezTo>
                  <a:pt x="203" y="550"/>
                  <a:pt x="204" y="551"/>
                  <a:pt x="204" y="551"/>
                </a:cubicBezTo>
                <a:cubicBezTo>
                  <a:pt x="204" y="551"/>
                  <a:pt x="205" y="551"/>
                  <a:pt x="205" y="552"/>
                </a:cubicBezTo>
                <a:cubicBezTo>
                  <a:pt x="206" y="552"/>
                  <a:pt x="206" y="552"/>
                  <a:pt x="206" y="552"/>
                </a:cubicBezTo>
                <a:cubicBezTo>
                  <a:pt x="206" y="552"/>
                  <a:pt x="207" y="553"/>
                  <a:pt x="207" y="553"/>
                </a:cubicBezTo>
                <a:cubicBezTo>
                  <a:pt x="207" y="553"/>
                  <a:pt x="207" y="554"/>
                  <a:pt x="207" y="554"/>
                </a:cubicBezTo>
                <a:cubicBezTo>
                  <a:pt x="207" y="554"/>
                  <a:pt x="208" y="555"/>
                  <a:pt x="208" y="555"/>
                </a:cubicBezTo>
                <a:cubicBezTo>
                  <a:pt x="208" y="556"/>
                  <a:pt x="209" y="556"/>
                  <a:pt x="210" y="557"/>
                </a:cubicBezTo>
                <a:cubicBezTo>
                  <a:pt x="210" y="557"/>
                  <a:pt x="211" y="557"/>
                  <a:pt x="212" y="557"/>
                </a:cubicBezTo>
                <a:cubicBezTo>
                  <a:pt x="212" y="557"/>
                  <a:pt x="213" y="557"/>
                  <a:pt x="213" y="557"/>
                </a:cubicBezTo>
                <a:cubicBezTo>
                  <a:pt x="214" y="557"/>
                  <a:pt x="214" y="557"/>
                  <a:pt x="215" y="557"/>
                </a:cubicBezTo>
                <a:cubicBezTo>
                  <a:pt x="215" y="558"/>
                  <a:pt x="214" y="558"/>
                  <a:pt x="214" y="558"/>
                </a:cubicBezTo>
                <a:cubicBezTo>
                  <a:pt x="214" y="559"/>
                  <a:pt x="214" y="559"/>
                  <a:pt x="214" y="559"/>
                </a:cubicBezTo>
                <a:cubicBezTo>
                  <a:pt x="213" y="559"/>
                  <a:pt x="213" y="559"/>
                  <a:pt x="213" y="559"/>
                </a:cubicBezTo>
                <a:cubicBezTo>
                  <a:pt x="212" y="559"/>
                  <a:pt x="213" y="560"/>
                  <a:pt x="213" y="560"/>
                </a:cubicBezTo>
                <a:cubicBezTo>
                  <a:pt x="214" y="560"/>
                  <a:pt x="214" y="560"/>
                  <a:pt x="214" y="561"/>
                </a:cubicBezTo>
                <a:cubicBezTo>
                  <a:pt x="215" y="561"/>
                  <a:pt x="215" y="561"/>
                  <a:pt x="215" y="561"/>
                </a:cubicBezTo>
                <a:cubicBezTo>
                  <a:pt x="216" y="561"/>
                  <a:pt x="216" y="561"/>
                  <a:pt x="216" y="561"/>
                </a:cubicBezTo>
                <a:cubicBezTo>
                  <a:pt x="216" y="562"/>
                  <a:pt x="216" y="562"/>
                  <a:pt x="215" y="562"/>
                </a:cubicBezTo>
                <a:cubicBezTo>
                  <a:pt x="215" y="562"/>
                  <a:pt x="217" y="564"/>
                  <a:pt x="217" y="564"/>
                </a:cubicBezTo>
                <a:cubicBezTo>
                  <a:pt x="217" y="564"/>
                  <a:pt x="217" y="565"/>
                  <a:pt x="217" y="565"/>
                </a:cubicBezTo>
                <a:cubicBezTo>
                  <a:pt x="216" y="566"/>
                  <a:pt x="216" y="566"/>
                  <a:pt x="216" y="566"/>
                </a:cubicBezTo>
                <a:cubicBezTo>
                  <a:pt x="217" y="567"/>
                  <a:pt x="216" y="567"/>
                  <a:pt x="217" y="568"/>
                </a:cubicBezTo>
                <a:cubicBezTo>
                  <a:pt x="217" y="568"/>
                  <a:pt x="218" y="568"/>
                  <a:pt x="218" y="568"/>
                </a:cubicBezTo>
                <a:cubicBezTo>
                  <a:pt x="218" y="569"/>
                  <a:pt x="218" y="569"/>
                  <a:pt x="218" y="569"/>
                </a:cubicBezTo>
                <a:cubicBezTo>
                  <a:pt x="218" y="570"/>
                  <a:pt x="218" y="570"/>
                  <a:pt x="219" y="570"/>
                </a:cubicBezTo>
                <a:cubicBezTo>
                  <a:pt x="219" y="570"/>
                  <a:pt x="219" y="570"/>
                  <a:pt x="220" y="571"/>
                </a:cubicBezTo>
                <a:cubicBezTo>
                  <a:pt x="220" y="571"/>
                  <a:pt x="220" y="572"/>
                  <a:pt x="220" y="571"/>
                </a:cubicBezTo>
                <a:cubicBezTo>
                  <a:pt x="221" y="571"/>
                  <a:pt x="221" y="570"/>
                  <a:pt x="221" y="571"/>
                </a:cubicBezTo>
                <a:cubicBezTo>
                  <a:pt x="221" y="571"/>
                  <a:pt x="221" y="572"/>
                  <a:pt x="221" y="572"/>
                </a:cubicBezTo>
                <a:cubicBezTo>
                  <a:pt x="221" y="573"/>
                  <a:pt x="222" y="574"/>
                  <a:pt x="222" y="575"/>
                </a:cubicBezTo>
                <a:cubicBezTo>
                  <a:pt x="222" y="576"/>
                  <a:pt x="223" y="576"/>
                  <a:pt x="223" y="577"/>
                </a:cubicBezTo>
                <a:cubicBezTo>
                  <a:pt x="223" y="577"/>
                  <a:pt x="224" y="579"/>
                  <a:pt x="224" y="578"/>
                </a:cubicBezTo>
                <a:cubicBezTo>
                  <a:pt x="225" y="577"/>
                  <a:pt x="224" y="576"/>
                  <a:pt x="224" y="575"/>
                </a:cubicBezTo>
                <a:cubicBezTo>
                  <a:pt x="225" y="573"/>
                  <a:pt x="225" y="570"/>
                  <a:pt x="224" y="568"/>
                </a:cubicBezTo>
                <a:close/>
                <a:moveTo>
                  <a:pt x="22" y="538"/>
                </a:moveTo>
                <a:cubicBezTo>
                  <a:pt x="22" y="538"/>
                  <a:pt x="21" y="538"/>
                  <a:pt x="21" y="538"/>
                </a:cubicBezTo>
                <a:cubicBezTo>
                  <a:pt x="21" y="538"/>
                  <a:pt x="20" y="539"/>
                  <a:pt x="20" y="539"/>
                </a:cubicBezTo>
                <a:cubicBezTo>
                  <a:pt x="20" y="540"/>
                  <a:pt x="22" y="539"/>
                  <a:pt x="22" y="539"/>
                </a:cubicBezTo>
                <a:cubicBezTo>
                  <a:pt x="22" y="539"/>
                  <a:pt x="23" y="539"/>
                  <a:pt x="22" y="538"/>
                </a:cubicBezTo>
                <a:close/>
                <a:moveTo>
                  <a:pt x="26" y="543"/>
                </a:moveTo>
                <a:cubicBezTo>
                  <a:pt x="25" y="544"/>
                  <a:pt x="26" y="542"/>
                  <a:pt x="25" y="542"/>
                </a:cubicBezTo>
                <a:cubicBezTo>
                  <a:pt x="25" y="542"/>
                  <a:pt x="25" y="542"/>
                  <a:pt x="24" y="542"/>
                </a:cubicBezTo>
                <a:cubicBezTo>
                  <a:pt x="24" y="542"/>
                  <a:pt x="24" y="542"/>
                  <a:pt x="23" y="542"/>
                </a:cubicBezTo>
                <a:cubicBezTo>
                  <a:pt x="23" y="541"/>
                  <a:pt x="23" y="541"/>
                  <a:pt x="23" y="542"/>
                </a:cubicBezTo>
                <a:cubicBezTo>
                  <a:pt x="22" y="542"/>
                  <a:pt x="23" y="542"/>
                  <a:pt x="22" y="542"/>
                </a:cubicBezTo>
                <a:cubicBezTo>
                  <a:pt x="21" y="542"/>
                  <a:pt x="21" y="542"/>
                  <a:pt x="20" y="541"/>
                </a:cubicBezTo>
                <a:cubicBezTo>
                  <a:pt x="20" y="540"/>
                  <a:pt x="19" y="540"/>
                  <a:pt x="18" y="541"/>
                </a:cubicBezTo>
                <a:cubicBezTo>
                  <a:pt x="18" y="541"/>
                  <a:pt x="18" y="542"/>
                  <a:pt x="18" y="542"/>
                </a:cubicBezTo>
                <a:cubicBezTo>
                  <a:pt x="17" y="542"/>
                  <a:pt x="16" y="542"/>
                  <a:pt x="17" y="542"/>
                </a:cubicBezTo>
                <a:cubicBezTo>
                  <a:pt x="17" y="543"/>
                  <a:pt x="17" y="542"/>
                  <a:pt x="18" y="543"/>
                </a:cubicBezTo>
                <a:cubicBezTo>
                  <a:pt x="18" y="543"/>
                  <a:pt x="18" y="543"/>
                  <a:pt x="18" y="544"/>
                </a:cubicBezTo>
                <a:cubicBezTo>
                  <a:pt x="17" y="544"/>
                  <a:pt x="16" y="543"/>
                  <a:pt x="15" y="543"/>
                </a:cubicBezTo>
                <a:cubicBezTo>
                  <a:pt x="15" y="543"/>
                  <a:pt x="15" y="544"/>
                  <a:pt x="14" y="544"/>
                </a:cubicBezTo>
                <a:cubicBezTo>
                  <a:pt x="14" y="544"/>
                  <a:pt x="14" y="544"/>
                  <a:pt x="14" y="544"/>
                </a:cubicBezTo>
                <a:cubicBezTo>
                  <a:pt x="14" y="544"/>
                  <a:pt x="15" y="544"/>
                  <a:pt x="15" y="544"/>
                </a:cubicBezTo>
                <a:cubicBezTo>
                  <a:pt x="15" y="545"/>
                  <a:pt x="15" y="545"/>
                  <a:pt x="15" y="545"/>
                </a:cubicBezTo>
                <a:cubicBezTo>
                  <a:pt x="14" y="545"/>
                  <a:pt x="14" y="545"/>
                  <a:pt x="13" y="545"/>
                </a:cubicBezTo>
                <a:cubicBezTo>
                  <a:pt x="13" y="545"/>
                  <a:pt x="12" y="546"/>
                  <a:pt x="13" y="546"/>
                </a:cubicBezTo>
                <a:cubicBezTo>
                  <a:pt x="13" y="546"/>
                  <a:pt x="14" y="546"/>
                  <a:pt x="14" y="547"/>
                </a:cubicBezTo>
                <a:cubicBezTo>
                  <a:pt x="14" y="547"/>
                  <a:pt x="14" y="547"/>
                  <a:pt x="15" y="547"/>
                </a:cubicBezTo>
                <a:cubicBezTo>
                  <a:pt x="15" y="547"/>
                  <a:pt x="15" y="547"/>
                  <a:pt x="16" y="548"/>
                </a:cubicBezTo>
                <a:cubicBezTo>
                  <a:pt x="16" y="548"/>
                  <a:pt x="16" y="549"/>
                  <a:pt x="17" y="549"/>
                </a:cubicBezTo>
                <a:cubicBezTo>
                  <a:pt x="17" y="549"/>
                  <a:pt x="18" y="548"/>
                  <a:pt x="18" y="547"/>
                </a:cubicBezTo>
                <a:cubicBezTo>
                  <a:pt x="18" y="547"/>
                  <a:pt x="18" y="547"/>
                  <a:pt x="19" y="547"/>
                </a:cubicBezTo>
                <a:cubicBezTo>
                  <a:pt x="19" y="546"/>
                  <a:pt x="19" y="546"/>
                  <a:pt x="20" y="545"/>
                </a:cubicBezTo>
                <a:cubicBezTo>
                  <a:pt x="20" y="545"/>
                  <a:pt x="20" y="545"/>
                  <a:pt x="21" y="546"/>
                </a:cubicBezTo>
                <a:cubicBezTo>
                  <a:pt x="21" y="546"/>
                  <a:pt x="21" y="546"/>
                  <a:pt x="21" y="546"/>
                </a:cubicBezTo>
                <a:cubicBezTo>
                  <a:pt x="22" y="546"/>
                  <a:pt x="22" y="547"/>
                  <a:pt x="23" y="547"/>
                </a:cubicBezTo>
                <a:cubicBezTo>
                  <a:pt x="24" y="546"/>
                  <a:pt x="23" y="545"/>
                  <a:pt x="23" y="545"/>
                </a:cubicBezTo>
                <a:cubicBezTo>
                  <a:pt x="23" y="544"/>
                  <a:pt x="24" y="544"/>
                  <a:pt x="24" y="544"/>
                </a:cubicBezTo>
                <a:cubicBezTo>
                  <a:pt x="24" y="545"/>
                  <a:pt x="24" y="545"/>
                  <a:pt x="24" y="546"/>
                </a:cubicBezTo>
                <a:cubicBezTo>
                  <a:pt x="24" y="546"/>
                  <a:pt x="25" y="546"/>
                  <a:pt x="26" y="546"/>
                </a:cubicBezTo>
                <a:cubicBezTo>
                  <a:pt x="26" y="546"/>
                  <a:pt x="26" y="545"/>
                  <a:pt x="26" y="545"/>
                </a:cubicBezTo>
                <a:cubicBezTo>
                  <a:pt x="26" y="545"/>
                  <a:pt x="26" y="544"/>
                  <a:pt x="27" y="544"/>
                </a:cubicBezTo>
                <a:cubicBezTo>
                  <a:pt x="27" y="544"/>
                  <a:pt x="27" y="543"/>
                  <a:pt x="27" y="543"/>
                </a:cubicBezTo>
                <a:cubicBezTo>
                  <a:pt x="26" y="543"/>
                  <a:pt x="26" y="543"/>
                  <a:pt x="26" y="543"/>
                </a:cubicBezTo>
                <a:close/>
                <a:moveTo>
                  <a:pt x="633" y="182"/>
                </a:moveTo>
                <a:cubicBezTo>
                  <a:pt x="633" y="182"/>
                  <a:pt x="632" y="183"/>
                  <a:pt x="632" y="183"/>
                </a:cubicBezTo>
                <a:cubicBezTo>
                  <a:pt x="633" y="183"/>
                  <a:pt x="633" y="183"/>
                  <a:pt x="634" y="183"/>
                </a:cubicBezTo>
                <a:cubicBezTo>
                  <a:pt x="634" y="183"/>
                  <a:pt x="636" y="183"/>
                  <a:pt x="636" y="183"/>
                </a:cubicBezTo>
                <a:cubicBezTo>
                  <a:pt x="636" y="183"/>
                  <a:pt x="636" y="184"/>
                  <a:pt x="636" y="184"/>
                </a:cubicBezTo>
                <a:cubicBezTo>
                  <a:pt x="636" y="184"/>
                  <a:pt x="635" y="184"/>
                  <a:pt x="635" y="184"/>
                </a:cubicBezTo>
                <a:cubicBezTo>
                  <a:pt x="634" y="184"/>
                  <a:pt x="633" y="184"/>
                  <a:pt x="631" y="184"/>
                </a:cubicBezTo>
                <a:cubicBezTo>
                  <a:pt x="630" y="184"/>
                  <a:pt x="630" y="185"/>
                  <a:pt x="631" y="185"/>
                </a:cubicBezTo>
                <a:cubicBezTo>
                  <a:pt x="631" y="186"/>
                  <a:pt x="632" y="186"/>
                  <a:pt x="632" y="187"/>
                </a:cubicBezTo>
                <a:cubicBezTo>
                  <a:pt x="632" y="188"/>
                  <a:pt x="631" y="187"/>
                  <a:pt x="630" y="188"/>
                </a:cubicBezTo>
                <a:cubicBezTo>
                  <a:pt x="630" y="188"/>
                  <a:pt x="631" y="189"/>
                  <a:pt x="630" y="189"/>
                </a:cubicBezTo>
                <a:cubicBezTo>
                  <a:pt x="629" y="189"/>
                  <a:pt x="629" y="188"/>
                  <a:pt x="629" y="188"/>
                </a:cubicBezTo>
                <a:cubicBezTo>
                  <a:pt x="629" y="188"/>
                  <a:pt x="629" y="188"/>
                  <a:pt x="629" y="188"/>
                </a:cubicBezTo>
                <a:cubicBezTo>
                  <a:pt x="629" y="188"/>
                  <a:pt x="629" y="188"/>
                  <a:pt x="629" y="187"/>
                </a:cubicBezTo>
                <a:cubicBezTo>
                  <a:pt x="629" y="187"/>
                  <a:pt x="629" y="187"/>
                  <a:pt x="629" y="186"/>
                </a:cubicBezTo>
                <a:cubicBezTo>
                  <a:pt x="629" y="186"/>
                  <a:pt x="628" y="186"/>
                  <a:pt x="628" y="186"/>
                </a:cubicBezTo>
                <a:cubicBezTo>
                  <a:pt x="627" y="186"/>
                  <a:pt x="627" y="186"/>
                  <a:pt x="627" y="186"/>
                </a:cubicBezTo>
                <a:cubicBezTo>
                  <a:pt x="625" y="185"/>
                  <a:pt x="624" y="183"/>
                  <a:pt x="623" y="183"/>
                </a:cubicBezTo>
                <a:cubicBezTo>
                  <a:pt x="622" y="183"/>
                  <a:pt x="621" y="184"/>
                  <a:pt x="620" y="184"/>
                </a:cubicBezTo>
                <a:cubicBezTo>
                  <a:pt x="619" y="184"/>
                  <a:pt x="619" y="183"/>
                  <a:pt x="618" y="183"/>
                </a:cubicBezTo>
                <a:cubicBezTo>
                  <a:pt x="616" y="183"/>
                  <a:pt x="614" y="184"/>
                  <a:pt x="613" y="184"/>
                </a:cubicBezTo>
                <a:cubicBezTo>
                  <a:pt x="612" y="185"/>
                  <a:pt x="612" y="186"/>
                  <a:pt x="611" y="186"/>
                </a:cubicBezTo>
                <a:cubicBezTo>
                  <a:pt x="610" y="186"/>
                  <a:pt x="609" y="186"/>
                  <a:pt x="609" y="186"/>
                </a:cubicBezTo>
                <a:cubicBezTo>
                  <a:pt x="608" y="187"/>
                  <a:pt x="609" y="188"/>
                  <a:pt x="610" y="188"/>
                </a:cubicBezTo>
                <a:cubicBezTo>
                  <a:pt x="610" y="189"/>
                  <a:pt x="611" y="189"/>
                  <a:pt x="612" y="189"/>
                </a:cubicBezTo>
                <a:cubicBezTo>
                  <a:pt x="612" y="189"/>
                  <a:pt x="612" y="190"/>
                  <a:pt x="612" y="190"/>
                </a:cubicBezTo>
                <a:cubicBezTo>
                  <a:pt x="613" y="190"/>
                  <a:pt x="613" y="190"/>
                  <a:pt x="613" y="190"/>
                </a:cubicBezTo>
                <a:cubicBezTo>
                  <a:pt x="614" y="189"/>
                  <a:pt x="615" y="189"/>
                  <a:pt x="616" y="189"/>
                </a:cubicBezTo>
                <a:cubicBezTo>
                  <a:pt x="617" y="189"/>
                  <a:pt x="617" y="189"/>
                  <a:pt x="618" y="190"/>
                </a:cubicBezTo>
                <a:cubicBezTo>
                  <a:pt x="619" y="191"/>
                  <a:pt x="619" y="191"/>
                  <a:pt x="620" y="191"/>
                </a:cubicBezTo>
                <a:cubicBezTo>
                  <a:pt x="620" y="191"/>
                  <a:pt x="619" y="192"/>
                  <a:pt x="619" y="191"/>
                </a:cubicBezTo>
                <a:cubicBezTo>
                  <a:pt x="618" y="191"/>
                  <a:pt x="618" y="191"/>
                  <a:pt x="618" y="191"/>
                </a:cubicBezTo>
                <a:cubicBezTo>
                  <a:pt x="617" y="191"/>
                  <a:pt x="617" y="192"/>
                  <a:pt x="617" y="192"/>
                </a:cubicBezTo>
                <a:cubicBezTo>
                  <a:pt x="616" y="192"/>
                  <a:pt x="615" y="192"/>
                  <a:pt x="614" y="192"/>
                </a:cubicBezTo>
                <a:cubicBezTo>
                  <a:pt x="614" y="192"/>
                  <a:pt x="614" y="192"/>
                  <a:pt x="614" y="192"/>
                </a:cubicBezTo>
                <a:cubicBezTo>
                  <a:pt x="614" y="193"/>
                  <a:pt x="614" y="193"/>
                  <a:pt x="615" y="193"/>
                </a:cubicBezTo>
                <a:cubicBezTo>
                  <a:pt x="615" y="193"/>
                  <a:pt x="616" y="193"/>
                  <a:pt x="617" y="194"/>
                </a:cubicBezTo>
                <a:cubicBezTo>
                  <a:pt x="617" y="194"/>
                  <a:pt x="618" y="194"/>
                  <a:pt x="619" y="194"/>
                </a:cubicBezTo>
                <a:cubicBezTo>
                  <a:pt x="619" y="194"/>
                  <a:pt x="620" y="194"/>
                  <a:pt x="620" y="194"/>
                </a:cubicBezTo>
                <a:cubicBezTo>
                  <a:pt x="621" y="195"/>
                  <a:pt x="621" y="195"/>
                  <a:pt x="622" y="195"/>
                </a:cubicBezTo>
                <a:cubicBezTo>
                  <a:pt x="623" y="195"/>
                  <a:pt x="624" y="194"/>
                  <a:pt x="624" y="195"/>
                </a:cubicBezTo>
                <a:cubicBezTo>
                  <a:pt x="623" y="196"/>
                  <a:pt x="622" y="196"/>
                  <a:pt x="622" y="195"/>
                </a:cubicBezTo>
                <a:cubicBezTo>
                  <a:pt x="621" y="195"/>
                  <a:pt x="621" y="195"/>
                  <a:pt x="621" y="195"/>
                </a:cubicBezTo>
                <a:cubicBezTo>
                  <a:pt x="620" y="195"/>
                  <a:pt x="620" y="195"/>
                  <a:pt x="619" y="195"/>
                </a:cubicBezTo>
                <a:cubicBezTo>
                  <a:pt x="619" y="195"/>
                  <a:pt x="619" y="195"/>
                  <a:pt x="618" y="195"/>
                </a:cubicBezTo>
                <a:cubicBezTo>
                  <a:pt x="618" y="195"/>
                  <a:pt x="617" y="195"/>
                  <a:pt x="617" y="195"/>
                </a:cubicBezTo>
                <a:cubicBezTo>
                  <a:pt x="617" y="196"/>
                  <a:pt x="618" y="196"/>
                  <a:pt x="618" y="197"/>
                </a:cubicBezTo>
                <a:cubicBezTo>
                  <a:pt x="619" y="198"/>
                  <a:pt x="619" y="198"/>
                  <a:pt x="620" y="199"/>
                </a:cubicBezTo>
                <a:cubicBezTo>
                  <a:pt x="621" y="200"/>
                  <a:pt x="621" y="200"/>
                  <a:pt x="622" y="200"/>
                </a:cubicBezTo>
                <a:cubicBezTo>
                  <a:pt x="623" y="199"/>
                  <a:pt x="623" y="199"/>
                  <a:pt x="623" y="199"/>
                </a:cubicBezTo>
                <a:cubicBezTo>
                  <a:pt x="624" y="199"/>
                  <a:pt x="624" y="199"/>
                  <a:pt x="624" y="199"/>
                </a:cubicBezTo>
                <a:cubicBezTo>
                  <a:pt x="624" y="200"/>
                  <a:pt x="622" y="200"/>
                  <a:pt x="622" y="201"/>
                </a:cubicBezTo>
                <a:cubicBezTo>
                  <a:pt x="621" y="201"/>
                  <a:pt x="620" y="200"/>
                  <a:pt x="619" y="200"/>
                </a:cubicBezTo>
                <a:cubicBezTo>
                  <a:pt x="618" y="199"/>
                  <a:pt x="618" y="198"/>
                  <a:pt x="617" y="198"/>
                </a:cubicBezTo>
                <a:cubicBezTo>
                  <a:pt x="616" y="197"/>
                  <a:pt x="615" y="197"/>
                  <a:pt x="614" y="197"/>
                </a:cubicBezTo>
                <a:cubicBezTo>
                  <a:pt x="614" y="197"/>
                  <a:pt x="614" y="196"/>
                  <a:pt x="614" y="196"/>
                </a:cubicBezTo>
                <a:cubicBezTo>
                  <a:pt x="614" y="196"/>
                  <a:pt x="615" y="196"/>
                  <a:pt x="615" y="196"/>
                </a:cubicBezTo>
                <a:cubicBezTo>
                  <a:pt x="615" y="196"/>
                  <a:pt x="614" y="196"/>
                  <a:pt x="614" y="196"/>
                </a:cubicBezTo>
                <a:cubicBezTo>
                  <a:pt x="614" y="195"/>
                  <a:pt x="613" y="196"/>
                  <a:pt x="612" y="196"/>
                </a:cubicBezTo>
                <a:cubicBezTo>
                  <a:pt x="612" y="195"/>
                  <a:pt x="612" y="194"/>
                  <a:pt x="611" y="194"/>
                </a:cubicBezTo>
                <a:cubicBezTo>
                  <a:pt x="610" y="194"/>
                  <a:pt x="610" y="194"/>
                  <a:pt x="610" y="193"/>
                </a:cubicBezTo>
                <a:cubicBezTo>
                  <a:pt x="609" y="193"/>
                  <a:pt x="609" y="193"/>
                  <a:pt x="609" y="193"/>
                </a:cubicBezTo>
                <a:cubicBezTo>
                  <a:pt x="608" y="192"/>
                  <a:pt x="607" y="191"/>
                  <a:pt x="607" y="191"/>
                </a:cubicBezTo>
                <a:cubicBezTo>
                  <a:pt x="606" y="190"/>
                  <a:pt x="605" y="190"/>
                  <a:pt x="605" y="189"/>
                </a:cubicBezTo>
                <a:cubicBezTo>
                  <a:pt x="604" y="188"/>
                  <a:pt x="604" y="188"/>
                  <a:pt x="603" y="188"/>
                </a:cubicBezTo>
                <a:cubicBezTo>
                  <a:pt x="602" y="188"/>
                  <a:pt x="602" y="188"/>
                  <a:pt x="601" y="188"/>
                </a:cubicBezTo>
                <a:cubicBezTo>
                  <a:pt x="600" y="188"/>
                  <a:pt x="599" y="188"/>
                  <a:pt x="598" y="188"/>
                </a:cubicBezTo>
                <a:cubicBezTo>
                  <a:pt x="597" y="188"/>
                  <a:pt x="597" y="189"/>
                  <a:pt x="597" y="190"/>
                </a:cubicBezTo>
                <a:cubicBezTo>
                  <a:pt x="597" y="190"/>
                  <a:pt x="596" y="190"/>
                  <a:pt x="596" y="191"/>
                </a:cubicBezTo>
                <a:cubicBezTo>
                  <a:pt x="596" y="191"/>
                  <a:pt x="595" y="191"/>
                  <a:pt x="595" y="192"/>
                </a:cubicBezTo>
                <a:cubicBezTo>
                  <a:pt x="595" y="192"/>
                  <a:pt x="594" y="193"/>
                  <a:pt x="595" y="193"/>
                </a:cubicBezTo>
                <a:cubicBezTo>
                  <a:pt x="596" y="194"/>
                  <a:pt x="597" y="193"/>
                  <a:pt x="598" y="193"/>
                </a:cubicBezTo>
                <a:cubicBezTo>
                  <a:pt x="599" y="193"/>
                  <a:pt x="599" y="193"/>
                  <a:pt x="600" y="193"/>
                </a:cubicBezTo>
                <a:cubicBezTo>
                  <a:pt x="601" y="193"/>
                  <a:pt x="601" y="193"/>
                  <a:pt x="602" y="193"/>
                </a:cubicBezTo>
                <a:cubicBezTo>
                  <a:pt x="602" y="193"/>
                  <a:pt x="602" y="193"/>
                  <a:pt x="601" y="194"/>
                </a:cubicBezTo>
                <a:cubicBezTo>
                  <a:pt x="601" y="194"/>
                  <a:pt x="600" y="194"/>
                  <a:pt x="599" y="194"/>
                </a:cubicBezTo>
                <a:cubicBezTo>
                  <a:pt x="598" y="195"/>
                  <a:pt x="598" y="197"/>
                  <a:pt x="599" y="198"/>
                </a:cubicBezTo>
                <a:cubicBezTo>
                  <a:pt x="599" y="198"/>
                  <a:pt x="600" y="198"/>
                  <a:pt x="601" y="199"/>
                </a:cubicBezTo>
                <a:cubicBezTo>
                  <a:pt x="601" y="199"/>
                  <a:pt x="602" y="199"/>
                  <a:pt x="602" y="199"/>
                </a:cubicBezTo>
                <a:cubicBezTo>
                  <a:pt x="602" y="199"/>
                  <a:pt x="603" y="198"/>
                  <a:pt x="603" y="198"/>
                </a:cubicBezTo>
                <a:cubicBezTo>
                  <a:pt x="603" y="198"/>
                  <a:pt x="604" y="198"/>
                  <a:pt x="604" y="198"/>
                </a:cubicBezTo>
                <a:cubicBezTo>
                  <a:pt x="604" y="199"/>
                  <a:pt x="603" y="199"/>
                  <a:pt x="603" y="199"/>
                </a:cubicBezTo>
                <a:cubicBezTo>
                  <a:pt x="602" y="200"/>
                  <a:pt x="601" y="200"/>
                  <a:pt x="602" y="201"/>
                </a:cubicBezTo>
                <a:cubicBezTo>
                  <a:pt x="602" y="201"/>
                  <a:pt x="603" y="201"/>
                  <a:pt x="603" y="202"/>
                </a:cubicBezTo>
                <a:cubicBezTo>
                  <a:pt x="602" y="202"/>
                  <a:pt x="602" y="202"/>
                  <a:pt x="602" y="202"/>
                </a:cubicBezTo>
                <a:cubicBezTo>
                  <a:pt x="601" y="202"/>
                  <a:pt x="600" y="201"/>
                  <a:pt x="599" y="201"/>
                </a:cubicBezTo>
                <a:cubicBezTo>
                  <a:pt x="599" y="201"/>
                  <a:pt x="599" y="201"/>
                  <a:pt x="598" y="201"/>
                </a:cubicBezTo>
                <a:cubicBezTo>
                  <a:pt x="598" y="200"/>
                  <a:pt x="598" y="201"/>
                  <a:pt x="597" y="201"/>
                </a:cubicBezTo>
                <a:cubicBezTo>
                  <a:pt x="596" y="201"/>
                  <a:pt x="595" y="201"/>
                  <a:pt x="595" y="201"/>
                </a:cubicBezTo>
                <a:cubicBezTo>
                  <a:pt x="594" y="201"/>
                  <a:pt x="592" y="202"/>
                  <a:pt x="594" y="202"/>
                </a:cubicBezTo>
                <a:cubicBezTo>
                  <a:pt x="594" y="203"/>
                  <a:pt x="594" y="202"/>
                  <a:pt x="595" y="202"/>
                </a:cubicBezTo>
                <a:cubicBezTo>
                  <a:pt x="595" y="203"/>
                  <a:pt x="595" y="203"/>
                  <a:pt x="595" y="203"/>
                </a:cubicBezTo>
                <a:cubicBezTo>
                  <a:pt x="594" y="203"/>
                  <a:pt x="594" y="204"/>
                  <a:pt x="594" y="204"/>
                </a:cubicBezTo>
                <a:cubicBezTo>
                  <a:pt x="595" y="204"/>
                  <a:pt x="595" y="204"/>
                  <a:pt x="596" y="204"/>
                </a:cubicBezTo>
                <a:cubicBezTo>
                  <a:pt x="596" y="204"/>
                  <a:pt x="596" y="205"/>
                  <a:pt x="596" y="205"/>
                </a:cubicBezTo>
                <a:cubicBezTo>
                  <a:pt x="595" y="205"/>
                  <a:pt x="595" y="205"/>
                  <a:pt x="595" y="205"/>
                </a:cubicBezTo>
                <a:cubicBezTo>
                  <a:pt x="594" y="205"/>
                  <a:pt x="593" y="204"/>
                  <a:pt x="592" y="204"/>
                </a:cubicBezTo>
                <a:cubicBezTo>
                  <a:pt x="591" y="204"/>
                  <a:pt x="591" y="205"/>
                  <a:pt x="590" y="206"/>
                </a:cubicBezTo>
                <a:cubicBezTo>
                  <a:pt x="589" y="206"/>
                  <a:pt x="588" y="206"/>
                  <a:pt x="587" y="207"/>
                </a:cubicBezTo>
                <a:cubicBezTo>
                  <a:pt x="586" y="207"/>
                  <a:pt x="587" y="208"/>
                  <a:pt x="588" y="208"/>
                </a:cubicBezTo>
                <a:cubicBezTo>
                  <a:pt x="589" y="209"/>
                  <a:pt x="588" y="210"/>
                  <a:pt x="590" y="210"/>
                </a:cubicBezTo>
                <a:cubicBezTo>
                  <a:pt x="591" y="210"/>
                  <a:pt x="592" y="209"/>
                  <a:pt x="593" y="209"/>
                </a:cubicBezTo>
                <a:cubicBezTo>
                  <a:pt x="594" y="209"/>
                  <a:pt x="595" y="209"/>
                  <a:pt x="596" y="209"/>
                </a:cubicBezTo>
                <a:cubicBezTo>
                  <a:pt x="597" y="209"/>
                  <a:pt x="598" y="209"/>
                  <a:pt x="599" y="208"/>
                </a:cubicBezTo>
                <a:cubicBezTo>
                  <a:pt x="600" y="208"/>
                  <a:pt x="600" y="208"/>
                  <a:pt x="601" y="208"/>
                </a:cubicBezTo>
                <a:cubicBezTo>
                  <a:pt x="602" y="208"/>
                  <a:pt x="603" y="208"/>
                  <a:pt x="604" y="208"/>
                </a:cubicBezTo>
                <a:cubicBezTo>
                  <a:pt x="605" y="208"/>
                  <a:pt x="606" y="208"/>
                  <a:pt x="606" y="208"/>
                </a:cubicBezTo>
                <a:cubicBezTo>
                  <a:pt x="607" y="207"/>
                  <a:pt x="608" y="207"/>
                  <a:pt x="609" y="207"/>
                </a:cubicBezTo>
                <a:cubicBezTo>
                  <a:pt x="610" y="207"/>
                  <a:pt x="611" y="207"/>
                  <a:pt x="612" y="207"/>
                </a:cubicBezTo>
                <a:cubicBezTo>
                  <a:pt x="613" y="207"/>
                  <a:pt x="614" y="207"/>
                  <a:pt x="615" y="207"/>
                </a:cubicBezTo>
                <a:cubicBezTo>
                  <a:pt x="616" y="206"/>
                  <a:pt x="617" y="206"/>
                  <a:pt x="618" y="206"/>
                </a:cubicBezTo>
                <a:cubicBezTo>
                  <a:pt x="619" y="206"/>
                  <a:pt x="619" y="206"/>
                  <a:pt x="620" y="206"/>
                </a:cubicBezTo>
                <a:cubicBezTo>
                  <a:pt x="621" y="206"/>
                  <a:pt x="621" y="206"/>
                  <a:pt x="622" y="206"/>
                </a:cubicBezTo>
                <a:cubicBezTo>
                  <a:pt x="623" y="205"/>
                  <a:pt x="624" y="205"/>
                  <a:pt x="623" y="206"/>
                </a:cubicBezTo>
                <a:cubicBezTo>
                  <a:pt x="623" y="207"/>
                  <a:pt x="622" y="206"/>
                  <a:pt x="622" y="206"/>
                </a:cubicBezTo>
                <a:cubicBezTo>
                  <a:pt x="621" y="207"/>
                  <a:pt x="623" y="207"/>
                  <a:pt x="623" y="208"/>
                </a:cubicBezTo>
                <a:cubicBezTo>
                  <a:pt x="622" y="208"/>
                  <a:pt x="620" y="208"/>
                  <a:pt x="620" y="208"/>
                </a:cubicBezTo>
                <a:cubicBezTo>
                  <a:pt x="619" y="209"/>
                  <a:pt x="619" y="209"/>
                  <a:pt x="619" y="209"/>
                </a:cubicBezTo>
                <a:cubicBezTo>
                  <a:pt x="619" y="209"/>
                  <a:pt x="618" y="209"/>
                  <a:pt x="618" y="209"/>
                </a:cubicBezTo>
                <a:cubicBezTo>
                  <a:pt x="617" y="210"/>
                  <a:pt x="618" y="211"/>
                  <a:pt x="618" y="211"/>
                </a:cubicBezTo>
                <a:cubicBezTo>
                  <a:pt x="617" y="211"/>
                  <a:pt x="616" y="211"/>
                  <a:pt x="615" y="211"/>
                </a:cubicBezTo>
                <a:cubicBezTo>
                  <a:pt x="615" y="211"/>
                  <a:pt x="613" y="211"/>
                  <a:pt x="613" y="212"/>
                </a:cubicBezTo>
                <a:cubicBezTo>
                  <a:pt x="613" y="212"/>
                  <a:pt x="615" y="213"/>
                  <a:pt x="614" y="213"/>
                </a:cubicBezTo>
                <a:cubicBezTo>
                  <a:pt x="613" y="213"/>
                  <a:pt x="612" y="213"/>
                  <a:pt x="611" y="213"/>
                </a:cubicBezTo>
                <a:cubicBezTo>
                  <a:pt x="611" y="214"/>
                  <a:pt x="611" y="214"/>
                  <a:pt x="612" y="214"/>
                </a:cubicBezTo>
                <a:cubicBezTo>
                  <a:pt x="612" y="214"/>
                  <a:pt x="612" y="214"/>
                  <a:pt x="613" y="214"/>
                </a:cubicBezTo>
                <a:cubicBezTo>
                  <a:pt x="613" y="215"/>
                  <a:pt x="614" y="215"/>
                  <a:pt x="615" y="215"/>
                </a:cubicBezTo>
                <a:cubicBezTo>
                  <a:pt x="615" y="215"/>
                  <a:pt x="615" y="215"/>
                  <a:pt x="616" y="216"/>
                </a:cubicBezTo>
                <a:cubicBezTo>
                  <a:pt x="616" y="216"/>
                  <a:pt x="617" y="216"/>
                  <a:pt x="617" y="216"/>
                </a:cubicBezTo>
                <a:cubicBezTo>
                  <a:pt x="617" y="216"/>
                  <a:pt x="618" y="216"/>
                  <a:pt x="618" y="216"/>
                </a:cubicBezTo>
                <a:cubicBezTo>
                  <a:pt x="618" y="216"/>
                  <a:pt x="617" y="216"/>
                  <a:pt x="617" y="216"/>
                </a:cubicBezTo>
                <a:cubicBezTo>
                  <a:pt x="616" y="216"/>
                  <a:pt x="615" y="216"/>
                  <a:pt x="614" y="217"/>
                </a:cubicBezTo>
                <a:cubicBezTo>
                  <a:pt x="614" y="217"/>
                  <a:pt x="614" y="217"/>
                  <a:pt x="614" y="218"/>
                </a:cubicBezTo>
                <a:cubicBezTo>
                  <a:pt x="615" y="218"/>
                  <a:pt x="615" y="218"/>
                  <a:pt x="615" y="219"/>
                </a:cubicBezTo>
                <a:cubicBezTo>
                  <a:pt x="615" y="220"/>
                  <a:pt x="615" y="220"/>
                  <a:pt x="615" y="221"/>
                </a:cubicBezTo>
                <a:cubicBezTo>
                  <a:pt x="616" y="222"/>
                  <a:pt x="617" y="221"/>
                  <a:pt x="618" y="221"/>
                </a:cubicBezTo>
                <a:cubicBezTo>
                  <a:pt x="619" y="221"/>
                  <a:pt x="621" y="222"/>
                  <a:pt x="623" y="222"/>
                </a:cubicBezTo>
                <a:cubicBezTo>
                  <a:pt x="624" y="222"/>
                  <a:pt x="624" y="222"/>
                  <a:pt x="625" y="221"/>
                </a:cubicBezTo>
                <a:cubicBezTo>
                  <a:pt x="626" y="221"/>
                  <a:pt x="626" y="220"/>
                  <a:pt x="627" y="220"/>
                </a:cubicBezTo>
                <a:cubicBezTo>
                  <a:pt x="629" y="219"/>
                  <a:pt x="631" y="220"/>
                  <a:pt x="632" y="220"/>
                </a:cubicBezTo>
                <a:cubicBezTo>
                  <a:pt x="633" y="220"/>
                  <a:pt x="634" y="220"/>
                  <a:pt x="635" y="220"/>
                </a:cubicBezTo>
                <a:cubicBezTo>
                  <a:pt x="636" y="220"/>
                  <a:pt x="637" y="220"/>
                  <a:pt x="638" y="221"/>
                </a:cubicBezTo>
                <a:cubicBezTo>
                  <a:pt x="639" y="221"/>
                  <a:pt x="640" y="221"/>
                  <a:pt x="640" y="221"/>
                </a:cubicBezTo>
                <a:cubicBezTo>
                  <a:pt x="641" y="221"/>
                  <a:pt x="641" y="221"/>
                  <a:pt x="642" y="221"/>
                </a:cubicBezTo>
                <a:cubicBezTo>
                  <a:pt x="642" y="221"/>
                  <a:pt x="643" y="220"/>
                  <a:pt x="643" y="220"/>
                </a:cubicBezTo>
                <a:cubicBezTo>
                  <a:pt x="643" y="219"/>
                  <a:pt x="642" y="218"/>
                  <a:pt x="642" y="218"/>
                </a:cubicBezTo>
                <a:cubicBezTo>
                  <a:pt x="641" y="217"/>
                  <a:pt x="641" y="216"/>
                  <a:pt x="642" y="216"/>
                </a:cubicBezTo>
                <a:cubicBezTo>
                  <a:pt x="642" y="216"/>
                  <a:pt x="643" y="217"/>
                  <a:pt x="643" y="217"/>
                </a:cubicBezTo>
                <a:cubicBezTo>
                  <a:pt x="643" y="217"/>
                  <a:pt x="644" y="217"/>
                  <a:pt x="644" y="217"/>
                </a:cubicBezTo>
                <a:cubicBezTo>
                  <a:pt x="645" y="218"/>
                  <a:pt x="645" y="219"/>
                  <a:pt x="646" y="219"/>
                </a:cubicBezTo>
                <a:cubicBezTo>
                  <a:pt x="647" y="218"/>
                  <a:pt x="646" y="217"/>
                  <a:pt x="646" y="217"/>
                </a:cubicBezTo>
                <a:cubicBezTo>
                  <a:pt x="645" y="217"/>
                  <a:pt x="645" y="216"/>
                  <a:pt x="644" y="215"/>
                </a:cubicBezTo>
                <a:cubicBezTo>
                  <a:pt x="644" y="215"/>
                  <a:pt x="642" y="215"/>
                  <a:pt x="643" y="214"/>
                </a:cubicBezTo>
                <a:cubicBezTo>
                  <a:pt x="643" y="214"/>
                  <a:pt x="643" y="214"/>
                  <a:pt x="643" y="213"/>
                </a:cubicBezTo>
                <a:cubicBezTo>
                  <a:pt x="644" y="213"/>
                  <a:pt x="644" y="213"/>
                  <a:pt x="644" y="212"/>
                </a:cubicBezTo>
                <a:cubicBezTo>
                  <a:pt x="645" y="212"/>
                  <a:pt x="645" y="211"/>
                  <a:pt x="645" y="210"/>
                </a:cubicBezTo>
                <a:cubicBezTo>
                  <a:pt x="645" y="209"/>
                  <a:pt x="646" y="209"/>
                  <a:pt x="647" y="209"/>
                </a:cubicBezTo>
                <a:cubicBezTo>
                  <a:pt x="647" y="210"/>
                  <a:pt x="648" y="210"/>
                  <a:pt x="648" y="211"/>
                </a:cubicBezTo>
                <a:cubicBezTo>
                  <a:pt x="649" y="211"/>
                  <a:pt x="649" y="211"/>
                  <a:pt x="649" y="211"/>
                </a:cubicBezTo>
                <a:cubicBezTo>
                  <a:pt x="649" y="212"/>
                  <a:pt x="649" y="212"/>
                  <a:pt x="650" y="213"/>
                </a:cubicBezTo>
                <a:cubicBezTo>
                  <a:pt x="650" y="213"/>
                  <a:pt x="650" y="212"/>
                  <a:pt x="650" y="212"/>
                </a:cubicBezTo>
                <a:cubicBezTo>
                  <a:pt x="650" y="212"/>
                  <a:pt x="649" y="211"/>
                  <a:pt x="649" y="211"/>
                </a:cubicBezTo>
                <a:cubicBezTo>
                  <a:pt x="649" y="210"/>
                  <a:pt x="649" y="209"/>
                  <a:pt x="649" y="208"/>
                </a:cubicBezTo>
                <a:cubicBezTo>
                  <a:pt x="649" y="208"/>
                  <a:pt x="650" y="206"/>
                  <a:pt x="649" y="206"/>
                </a:cubicBezTo>
                <a:cubicBezTo>
                  <a:pt x="649" y="205"/>
                  <a:pt x="648" y="205"/>
                  <a:pt x="648" y="205"/>
                </a:cubicBezTo>
                <a:cubicBezTo>
                  <a:pt x="647" y="205"/>
                  <a:pt x="647" y="204"/>
                  <a:pt x="647" y="203"/>
                </a:cubicBezTo>
                <a:cubicBezTo>
                  <a:pt x="647" y="202"/>
                  <a:pt x="647" y="201"/>
                  <a:pt x="647" y="201"/>
                </a:cubicBezTo>
                <a:cubicBezTo>
                  <a:pt x="646" y="200"/>
                  <a:pt x="646" y="199"/>
                  <a:pt x="647" y="198"/>
                </a:cubicBezTo>
                <a:cubicBezTo>
                  <a:pt x="647" y="198"/>
                  <a:pt x="647" y="198"/>
                  <a:pt x="648" y="197"/>
                </a:cubicBezTo>
                <a:cubicBezTo>
                  <a:pt x="648" y="197"/>
                  <a:pt x="648" y="196"/>
                  <a:pt x="648" y="196"/>
                </a:cubicBezTo>
                <a:cubicBezTo>
                  <a:pt x="648" y="195"/>
                  <a:pt x="648" y="194"/>
                  <a:pt x="648" y="193"/>
                </a:cubicBezTo>
                <a:cubicBezTo>
                  <a:pt x="647" y="193"/>
                  <a:pt x="646" y="193"/>
                  <a:pt x="646" y="192"/>
                </a:cubicBezTo>
                <a:cubicBezTo>
                  <a:pt x="645" y="190"/>
                  <a:pt x="646" y="189"/>
                  <a:pt x="646" y="187"/>
                </a:cubicBezTo>
                <a:cubicBezTo>
                  <a:pt x="645" y="186"/>
                  <a:pt x="643" y="186"/>
                  <a:pt x="642" y="186"/>
                </a:cubicBezTo>
                <a:cubicBezTo>
                  <a:pt x="641" y="185"/>
                  <a:pt x="640" y="185"/>
                  <a:pt x="640" y="185"/>
                </a:cubicBezTo>
                <a:cubicBezTo>
                  <a:pt x="639" y="184"/>
                  <a:pt x="639" y="183"/>
                  <a:pt x="638" y="183"/>
                </a:cubicBezTo>
                <a:cubicBezTo>
                  <a:pt x="637" y="182"/>
                  <a:pt x="636" y="182"/>
                  <a:pt x="635" y="182"/>
                </a:cubicBezTo>
                <a:cubicBezTo>
                  <a:pt x="635" y="182"/>
                  <a:pt x="635" y="182"/>
                  <a:pt x="634" y="182"/>
                </a:cubicBezTo>
                <a:cubicBezTo>
                  <a:pt x="634" y="182"/>
                  <a:pt x="633" y="182"/>
                  <a:pt x="633" y="182"/>
                </a:cubicBezTo>
                <a:close/>
                <a:moveTo>
                  <a:pt x="243" y="576"/>
                </a:moveTo>
                <a:cubicBezTo>
                  <a:pt x="244" y="576"/>
                  <a:pt x="244" y="576"/>
                  <a:pt x="244" y="577"/>
                </a:cubicBezTo>
                <a:cubicBezTo>
                  <a:pt x="245" y="577"/>
                  <a:pt x="245" y="577"/>
                  <a:pt x="245" y="577"/>
                </a:cubicBezTo>
                <a:cubicBezTo>
                  <a:pt x="246" y="577"/>
                  <a:pt x="246" y="576"/>
                  <a:pt x="246" y="576"/>
                </a:cubicBezTo>
                <a:cubicBezTo>
                  <a:pt x="247" y="575"/>
                  <a:pt x="247" y="574"/>
                  <a:pt x="246" y="574"/>
                </a:cubicBezTo>
                <a:cubicBezTo>
                  <a:pt x="245" y="573"/>
                  <a:pt x="241" y="575"/>
                  <a:pt x="243" y="576"/>
                </a:cubicBezTo>
                <a:close/>
                <a:moveTo>
                  <a:pt x="229" y="562"/>
                </a:moveTo>
                <a:cubicBezTo>
                  <a:pt x="230" y="562"/>
                  <a:pt x="230" y="562"/>
                  <a:pt x="230" y="561"/>
                </a:cubicBezTo>
                <a:cubicBezTo>
                  <a:pt x="231" y="561"/>
                  <a:pt x="231" y="560"/>
                  <a:pt x="232" y="560"/>
                </a:cubicBezTo>
                <a:cubicBezTo>
                  <a:pt x="233" y="559"/>
                  <a:pt x="233" y="559"/>
                  <a:pt x="233" y="558"/>
                </a:cubicBezTo>
                <a:cubicBezTo>
                  <a:pt x="233" y="557"/>
                  <a:pt x="233" y="557"/>
                  <a:pt x="233" y="556"/>
                </a:cubicBezTo>
                <a:cubicBezTo>
                  <a:pt x="233" y="556"/>
                  <a:pt x="232" y="556"/>
                  <a:pt x="232" y="555"/>
                </a:cubicBezTo>
                <a:cubicBezTo>
                  <a:pt x="232" y="555"/>
                  <a:pt x="232" y="554"/>
                  <a:pt x="232" y="554"/>
                </a:cubicBezTo>
                <a:cubicBezTo>
                  <a:pt x="232" y="554"/>
                  <a:pt x="231" y="553"/>
                  <a:pt x="231" y="553"/>
                </a:cubicBezTo>
                <a:cubicBezTo>
                  <a:pt x="230" y="553"/>
                  <a:pt x="230" y="553"/>
                  <a:pt x="230" y="552"/>
                </a:cubicBezTo>
                <a:cubicBezTo>
                  <a:pt x="230" y="552"/>
                  <a:pt x="230" y="552"/>
                  <a:pt x="229" y="551"/>
                </a:cubicBezTo>
                <a:cubicBezTo>
                  <a:pt x="229" y="551"/>
                  <a:pt x="229" y="550"/>
                  <a:pt x="229" y="549"/>
                </a:cubicBezTo>
                <a:cubicBezTo>
                  <a:pt x="229" y="549"/>
                  <a:pt x="229" y="548"/>
                  <a:pt x="229" y="548"/>
                </a:cubicBezTo>
                <a:cubicBezTo>
                  <a:pt x="229" y="547"/>
                  <a:pt x="230" y="548"/>
                  <a:pt x="230" y="548"/>
                </a:cubicBezTo>
                <a:cubicBezTo>
                  <a:pt x="230" y="549"/>
                  <a:pt x="230" y="550"/>
                  <a:pt x="231" y="551"/>
                </a:cubicBezTo>
                <a:cubicBezTo>
                  <a:pt x="231" y="551"/>
                  <a:pt x="232" y="552"/>
                  <a:pt x="232" y="552"/>
                </a:cubicBezTo>
                <a:cubicBezTo>
                  <a:pt x="232" y="553"/>
                  <a:pt x="232" y="553"/>
                  <a:pt x="233" y="554"/>
                </a:cubicBezTo>
                <a:cubicBezTo>
                  <a:pt x="233" y="554"/>
                  <a:pt x="234" y="555"/>
                  <a:pt x="234" y="555"/>
                </a:cubicBezTo>
                <a:cubicBezTo>
                  <a:pt x="234" y="555"/>
                  <a:pt x="234" y="554"/>
                  <a:pt x="234" y="554"/>
                </a:cubicBezTo>
                <a:cubicBezTo>
                  <a:pt x="233" y="553"/>
                  <a:pt x="233" y="553"/>
                  <a:pt x="233" y="553"/>
                </a:cubicBezTo>
                <a:cubicBezTo>
                  <a:pt x="233" y="552"/>
                  <a:pt x="233" y="551"/>
                  <a:pt x="232" y="551"/>
                </a:cubicBezTo>
                <a:cubicBezTo>
                  <a:pt x="231" y="550"/>
                  <a:pt x="232" y="549"/>
                  <a:pt x="231" y="549"/>
                </a:cubicBezTo>
                <a:cubicBezTo>
                  <a:pt x="231" y="548"/>
                  <a:pt x="230" y="547"/>
                  <a:pt x="230" y="546"/>
                </a:cubicBezTo>
                <a:cubicBezTo>
                  <a:pt x="230" y="546"/>
                  <a:pt x="229" y="546"/>
                  <a:pt x="229" y="546"/>
                </a:cubicBezTo>
                <a:cubicBezTo>
                  <a:pt x="228" y="546"/>
                  <a:pt x="227" y="546"/>
                  <a:pt x="226" y="546"/>
                </a:cubicBezTo>
                <a:cubicBezTo>
                  <a:pt x="226" y="545"/>
                  <a:pt x="225" y="545"/>
                  <a:pt x="224" y="545"/>
                </a:cubicBezTo>
                <a:cubicBezTo>
                  <a:pt x="224" y="545"/>
                  <a:pt x="223" y="544"/>
                  <a:pt x="223" y="543"/>
                </a:cubicBezTo>
                <a:cubicBezTo>
                  <a:pt x="222" y="543"/>
                  <a:pt x="222" y="542"/>
                  <a:pt x="221" y="542"/>
                </a:cubicBezTo>
                <a:cubicBezTo>
                  <a:pt x="221" y="542"/>
                  <a:pt x="221" y="543"/>
                  <a:pt x="221" y="543"/>
                </a:cubicBezTo>
                <a:cubicBezTo>
                  <a:pt x="221" y="544"/>
                  <a:pt x="221" y="545"/>
                  <a:pt x="221" y="545"/>
                </a:cubicBezTo>
                <a:cubicBezTo>
                  <a:pt x="222" y="545"/>
                  <a:pt x="222" y="546"/>
                  <a:pt x="222" y="546"/>
                </a:cubicBezTo>
                <a:cubicBezTo>
                  <a:pt x="222" y="546"/>
                  <a:pt x="223" y="546"/>
                  <a:pt x="223" y="546"/>
                </a:cubicBezTo>
                <a:cubicBezTo>
                  <a:pt x="224" y="546"/>
                  <a:pt x="223" y="547"/>
                  <a:pt x="223" y="547"/>
                </a:cubicBezTo>
                <a:cubicBezTo>
                  <a:pt x="223" y="548"/>
                  <a:pt x="223" y="549"/>
                  <a:pt x="223" y="549"/>
                </a:cubicBezTo>
                <a:cubicBezTo>
                  <a:pt x="224" y="550"/>
                  <a:pt x="224" y="551"/>
                  <a:pt x="224" y="552"/>
                </a:cubicBezTo>
                <a:cubicBezTo>
                  <a:pt x="224" y="553"/>
                  <a:pt x="224" y="554"/>
                  <a:pt x="224" y="555"/>
                </a:cubicBezTo>
                <a:cubicBezTo>
                  <a:pt x="224" y="555"/>
                  <a:pt x="225" y="555"/>
                  <a:pt x="225" y="556"/>
                </a:cubicBezTo>
                <a:cubicBezTo>
                  <a:pt x="225" y="556"/>
                  <a:pt x="225" y="556"/>
                  <a:pt x="225" y="557"/>
                </a:cubicBezTo>
                <a:cubicBezTo>
                  <a:pt x="226" y="557"/>
                  <a:pt x="226" y="556"/>
                  <a:pt x="227" y="556"/>
                </a:cubicBezTo>
                <a:cubicBezTo>
                  <a:pt x="228" y="556"/>
                  <a:pt x="227" y="557"/>
                  <a:pt x="228" y="557"/>
                </a:cubicBezTo>
                <a:cubicBezTo>
                  <a:pt x="228" y="558"/>
                  <a:pt x="228" y="558"/>
                  <a:pt x="228" y="558"/>
                </a:cubicBezTo>
                <a:cubicBezTo>
                  <a:pt x="228" y="558"/>
                  <a:pt x="228" y="559"/>
                  <a:pt x="228" y="559"/>
                </a:cubicBezTo>
                <a:cubicBezTo>
                  <a:pt x="228" y="559"/>
                  <a:pt x="227" y="559"/>
                  <a:pt x="227" y="559"/>
                </a:cubicBezTo>
                <a:cubicBezTo>
                  <a:pt x="227" y="559"/>
                  <a:pt x="227" y="560"/>
                  <a:pt x="227" y="561"/>
                </a:cubicBezTo>
                <a:cubicBezTo>
                  <a:pt x="226" y="561"/>
                  <a:pt x="226" y="562"/>
                  <a:pt x="226" y="563"/>
                </a:cubicBezTo>
                <a:cubicBezTo>
                  <a:pt x="226" y="563"/>
                  <a:pt x="225" y="563"/>
                  <a:pt x="225" y="564"/>
                </a:cubicBezTo>
                <a:cubicBezTo>
                  <a:pt x="225" y="564"/>
                  <a:pt x="225" y="564"/>
                  <a:pt x="225" y="564"/>
                </a:cubicBezTo>
                <a:cubicBezTo>
                  <a:pt x="225" y="565"/>
                  <a:pt x="226" y="565"/>
                  <a:pt x="226" y="564"/>
                </a:cubicBezTo>
                <a:cubicBezTo>
                  <a:pt x="227" y="564"/>
                  <a:pt x="227" y="564"/>
                  <a:pt x="227" y="564"/>
                </a:cubicBezTo>
                <a:cubicBezTo>
                  <a:pt x="228" y="563"/>
                  <a:pt x="228" y="563"/>
                  <a:pt x="229" y="562"/>
                </a:cubicBezTo>
                <a:close/>
                <a:moveTo>
                  <a:pt x="244" y="600"/>
                </a:moveTo>
                <a:cubicBezTo>
                  <a:pt x="244" y="601"/>
                  <a:pt x="244" y="601"/>
                  <a:pt x="245" y="601"/>
                </a:cubicBezTo>
                <a:cubicBezTo>
                  <a:pt x="246" y="602"/>
                  <a:pt x="246" y="602"/>
                  <a:pt x="246" y="602"/>
                </a:cubicBezTo>
                <a:cubicBezTo>
                  <a:pt x="246" y="602"/>
                  <a:pt x="247" y="603"/>
                  <a:pt x="247" y="602"/>
                </a:cubicBezTo>
                <a:cubicBezTo>
                  <a:pt x="247" y="602"/>
                  <a:pt x="247" y="602"/>
                  <a:pt x="246" y="601"/>
                </a:cubicBezTo>
                <a:cubicBezTo>
                  <a:pt x="246" y="601"/>
                  <a:pt x="246" y="600"/>
                  <a:pt x="246" y="600"/>
                </a:cubicBezTo>
                <a:cubicBezTo>
                  <a:pt x="246" y="599"/>
                  <a:pt x="245" y="599"/>
                  <a:pt x="245" y="599"/>
                </a:cubicBezTo>
                <a:cubicBezTo>
                  <a:pt x="245" y="598"/>
                  <a:pt x="244" y="598"/>
                  <a:pt x="244" y="597"/>
                </a:cubicBezTo>
                <a:cubicBezTo>
                  <a:pt x="244" y="596"/>
                  <a:pt x="244" y="595"/>
                  <a:pt x="243" y="595"/>
                </a:cubicBezTo>
                <a:cubicBezTo>
                  <a:pt x="242" y="594"/>
                  <a:pt x="242" y="594"/>
                  <a:pt x="242" y="594"/>
                </a:cubicBezTo>
                <a:cubicBezTo>
                  <a:pt x="242" y="593"/>
                  <a:pt x="242" y="592"/>
                  <a:pt x="243" y="593"/>
                </a:cubicBezTo>
                <a:cubicBezTo>
                  <a:pt x="243" y="593"/>
                  <a:pt x="243" y="593"/>
                  <a:pt x="243" y="594"/>
                </a:cubicBezTo>
                <a:cubicBezTo>
                  <a:pt x="244" y="594"/>
                  <a:pt x="244" y="594"/>
                  <a:pt x="244" y="594"/>
                </a:cubicBezTo>
                <a:cubicBezTo>
                  <a:pt x="244" y="593"/>
                  <a:pt x="244" y="593"/>
                  <a:pt x="245" y="593"/>
                </a:cubicBezTo>
                <a:cubicBezTo>
                  <a:pt x="245" y="593"/>
                  <a:pt x="245" y="593"/>
                  <a:pt x="245" y="593"/>
                </a:cubicBezTo>
                <a:cubicBezTo>
                  <a:pt x="245" y="594"/>
                  <a:pt x="245" y="594"/>
                  <a:pt x="246" y="594"/>
                </a:cubicBezTo>
                <a:cubicBezTo>
                  <a:pt x="246" y="594"/>
                  <a:pt x="246" y="594"/>
                  <a:pt x="247" y="594"/>
                </a:cubicBezTo>
                <a:cubicBezTo>
                  <a:pt x="247" y="594"/>
                  <a:pt x="247" y="593"/>
                  <a:pt x="247" y="593"/>
                </a:cubicBezTo>
                <a:cubicBezTo>
                  <a:pt x="248" y="593"/>
                  <a:pt x="248" y="595"/>
                  <a:pt x="248" y="595"/>
                </a:cubicBezTo>
                <a:cubicBezTo>
                  <a:pt x="248" y="596"/>
                  <a:pt x="249" y="596"/>
                  <a:pt x="249" y="596"/>
                </a:cubicBezTo>
                <a:cubicBezTo>
                  <a:pt x="249" y="597"/>
                  <a:pt x="248" y="597"/>
                  <a:pt x="248" y="598"/>
                </a:cubicBezTo>
                <a:cubicBezTo>
                  <a:pt x="249" y="598"/>
                  <a:pt x="250" y="599"/>
                  <a:pt x="250" y="599"/>
                </a:cubicBezTo>
                <a:cubicBezTo>
                  <a:pt x="250" y="599"/>
                  <a:pt x="250" y="600"/>
                  <a:pt x="251" y="600"/>
                </a:cubicBezTo>
                <a:cubicBezTo>
                  <a:pt x="251" y="600"/>
                  <a:pt x="252" y="600"/>
                  <a:pt x="252" y="600"/>
                </a:cubicBezTo>
                <a:cubicBezTo>
                  <a:pt x="252" y="601"/>
                  <a:pt x="252" y="601"/>
                  <a:pt x="252" y="601"/>
                </a:cubicBezTo>
                <a:cubicBezTo>
                  <a:pt x="252" y="602"/>
                  <a:pt x="253" y="601"/>
                  <a:pt x="253" y="601"/>
                </a:cubicBezTo>
                <a:cubicBezTo>
                  <a:pt x="253" y="601"/>
                  <a:pt x="254" y="602"/>
                  <a:pt x="254" y="602"/>
                </a:cubicBezTo>
                <a:cubicBezTo>
                  <a:pt x="254" y="602"/>
                  <a:pt x="255" y="601"/>
                  <a:pt x="255" y="601"/>
                </a:cubicBezTo>
                <a:cubicBezTo>
                  <a:pt x="255" y="600"/>
                  <a:pt x="256" y="597"/>
                  <a:pt x="254" y="597"/>
                </a:cubicBezTo>
                <a:cubicBezTo>
                  <a:pt x="254" y="597"/>
                  <a:pt x="253" y="598"/>
                  <a:pt x="253" y="597"/>
                </a:cubicBezTo>
                <a:cubicBezTo>
                  <a:pt x="253" y="597"/>
                  <a:pt x="253" y="596"/>
                  <a:pt x="254" y="596"/>
                </a:cubicBezTo>
                <a:cubicBezTo>
                  <a:pt x="254" y="596"/>
                  <a:pt x="255" y="595"/>
                  <a:pt x="255" y="595"/>
                </a:cubicBezTo>
                <a:cubicBezTo>
                  <a:pt x="255" y="594"/>
                  <a:pt x="255" y="593"/>
                  <a:pt x="254" y="593"/>
                </a:cubicBezTo>
                <a:cubicBezTo>
                  <a:pt x="254" y="593"/>
                  <a:pt x="254" y="593"/>
                  <a:pt x="254" y="593"/>
                </a:cubicBezTo>
                <a:cubicBezTo>
                  <a:pt x="253" y="593"/>
                  <a:pt x="253" y="592"/>
                  <a:pt x="253" y="592"/>
                </a:cubicBezTo>
                <a:cubicBezTo>
                  <a:pt x="253" y="590"/>
                  <a:pt x="252" y="591"/>
                  <a:pt x="251" y="591"/>
                </a:cubicBezTo>
                <a:cubicBezTo>
                  <a:pt x="251" y="590"/>
                  <a:pt x="252" y="590"/>
                  <a:pt x="251" y="590"/>
                </a:cubicBezTo>
                <a:cubicBezTo>
                  <a:pt x="251" y="590"/>
                  <a:pt x="251" y="590"/>
                  <a:pt x="251" y="590"/>
                </a:cubicBezTo>
                <a:cubicBezTo>
                  <a:pt x="251" y="590"/>
                  <a:pt x="251" y="589"/>
                  <a:pt x="250" y="589"/>
                </a:cubicBezTo>
                <a:cubicBezTo>
                  <a:pt x="249" y="589"/>
                  <a:pt x="249" y="590"/>
                  <a:pt x="248" y="589"/>
                </a:cubicBezTo>
                <a:cubicBezTo>
                  <a:pt x="248" y="589"/>
                  <a:pt x="248" y="588"/>
                  <a:pt x="248" y="588"/>
                </a:cubicBezTo>
                <a:cubicBezTo>
                  <a:pt x="249" y="587"/>
                  <a:pt x="249" y="588"/>
                  <a:pt x="250" y="588"/>
                </a:cubicBezTo>
                <a:cubicBezTo>
                  <a:pt x="250" y="589"/>
                  <a:pt x="250" y="589"/>
                  <a:pt x="251" y="589"/>
                </a:cubicBezTo>
                <a:cubicBezTo>
                  <a:pt x="251" y="589"/>
                  <a:pt x="252" y="589"/>
                  <a:pt x="253" y="589"/>
                </a:cubicBezTo>
                <a:cubicBezTo>
                  <a:pt x="253" y="588"/>
                  <a:pt x="252" y="588"/>
                  <a:pt x="252" y="588"/>
                </a:cubicBezTo>
                <a:cubicBezTo>
                  <a:pt x="251" y="588"/>
                  <a:pt x="251" y="588"/>
                  <a:pt x="251" y="587"/>
                </a:cubicBezTo>
                <a:cubicBezTo>
                  <a:pt x="250" y="586"/>
                  <a:pt x="249" y="585"/>
                  <a:pt x="248" y="583"/>
                </a:cubicBezTo>
                <a:cubicBezTo>
                  <a:pt x="248" y="582"/>
                  <a:pt x="246" y="580"/>
                  <a:pt x="245" y="580"/>
                </a:cubicBezTo>
                <a:cubicBezTo>
                  <a:pt x="244" y="580"/>
                  <a:pt x="243" y="580"/>
                  <a:pt x="242" y="580"/>
                </a:cubicBezTo>
                <a:cubicBezTo>
                  <a:pt x="242" y="579"/>
                  <a:pt x="242" y="578"/>
                  <a:pt x="242" y="577"/>
                </a:cubicBezTo>
                <a:cubicBezTo>
                  <a:pt x="242" y="577"/>
                  <a:pt x="242" y="576"/>
                  <a:pt x="241" y="576"/>
                </a:cubicBezTo>
                <a:cubicBezTo>
                  <a:pt x="240" y="576"/>
                  <a:pt x="239" y="576"/>
                  <a:pt x="238" y="576"/>
                </a:cubicBezTo>
                <a:cubicBezTo>
                  <a:pt x="238" y="576"/>
                  <a:pt x="238" y="576"/>
                  <a:pt x="237" y="576"/>
                </a:cubicBezTo>
                <a:cubicBezTo>
                  <a:pt x="237" y="576"/>
                  <a:pt x="237" y="575"/>
                  <a:pt x="236" y="576"/>
                </a:cubicBezTo>
                <a:cubicBezTo>
                  <a:pt x="236" y="576"/>
                  <a:pt x="236" y="577"/>
                  <a:pt x="236" y="578"/>
                </a:cubicBezTo>
                <a:cubicBezTo>
                  <a:pt x="237" y="578"/>
                  <a:pt x="238" y="578"/>
                  <a:pt x="237" y="579"/>
                </a:cubicBezTo>
                <a:cubicBezTo>
                  <a:pt x="237" y="579"/>
                  <a:pt x="236" y="580"/>
                  <a:pt x="236" y="580"/>
                </a:cubicBezTo>
                <a:cubicBezTo>
                  <a:pt x="235" y="580"/>
                  <a:pt x="235" y="580"/>
                  <a:pt x="235" y="581"/>
                </a:cubicBezTo>
                <a:cubicBezTo>
                  <a:pt x="234" y="581"/>
                  <a:pt x="234" y="582"/>
                  <a:pt x="234" y="582"/>
                </a:cubicBezTo>
                <a:cubicBezTo>
                  <a:pt x="234" y="582"/>
                  <a:pt x="235" y="582"/>
                  <a:pt x="235" y="582"/>
                </a:cubicBezTo>
                <a:cubicBezTo>
                  <a:pt x="235" y="582"/>
                  <a:pt x="236" y="582"/>
                  <a:pt x="236" y="582"/>
                </a:cubicBezTo>
                <a:cubicBezTo>
                  <a:pt x="237" y="582"/>
                  <a:pt x="237" y="581"/>
                  <a:pt x="238" y="581"/>
                </a:cubicBezTo>
                <a:cubicBezTo>
                  <a:pt x="238" y="581"/>
                  <a:pt x="239" y="581"/>
                  <a:pt x="239" y="581"/>
                </a:cubicBezTo>
                <a:cubicBezTo>
                  <a:pt x="240" y="581"/>
                  <a:pt x="240" y="580"/>
                  <a:pt x="240" y="581"/>
                </a:cubicBezTo>
                <a:cubicBezTo>
                  <a:pt x="240" y="581"/>
                  <a:pt x="240" y="581"/>
                  <a:pt x="240" y="582"/>
                </a:cubicBezTo>
                <a:cubicBezTo>
                  <a:pt x="240" y="582"/>
                  <a:pt x="240" y="583"/>
                  <a:pt x="240" y="583"/>
                </a:cubicBezTo>
                <a:cubicBezTo>
                  <a:pt x="241" y="583"/>
                  <a:pt x="241" y="583"/>
                  <a:pt x="241" y="584"/>
                </a:cubicBezTo>
                <a:cubicBezTo>
                  <a:pt x="242" y="584"/>
                  <a:pt x="241" y="584"/>
                  <a:pt x="241" y="585"/>
                </a:cubicBezTo>
                <a:cubicBezTo>
                  <a:pt x="240" y="585"/>
                  <a:pt x="240" y="585"/>
                  <a:pt x="240" y="585"/>
                </a:cubicBezTo>
                <a:cubicBezTo>
                  <a:pt x="240" y="586"/>
                  <a:pt x="239" y="586"/>
                  <a:pt x="239" y="586"/>
                </a:cubicBezTo>
                <a:cubicBezTo>
                  <a:pt x="239" y="586"/>
                  <a:pt x="238" y="586"/>
                  <a:pt x="239" y="587"/>
                </a:cubicBezTo>
                <a:cubicBezTo>
                  <a:pt x="239" y="587"/>
                  <a:pt x="239" y="587"/>
                  <a:pt x="240" y="587"/>
                </a:cubicBezTo>
                <a:cubicBezTo>
                  <a:pt x="240" y="588"/>
                  <a:pt x="240" y="588"/>
                  <a:pt x="240" y="588"/>
                </a:cubicBezTo>
                <a:cubicBezTo>
                  <a:pt x="241" y="588"/>
                  <a:pt x="241" y="587"/>
                  <a:pt x="242" y="588"/>
                </a:cubicBezTo>
                <a:cubicBezTo>
                  <a:pt x="242" y="588"/>
                  <a:pt x="242" y="589"/>
                  <a:pt x="242" y="589"/>
                </a:cubicBezTo>
                <a:cubicBezTo>
                  <a:pt x="242" y="590"/>
                  <a:pt x="243" y="590"/>
                  <a:pt x="243" y="591"/>
                </a:cubicBezTo>
                <a:cubicBezTo>
                  <a:pt x="245" y="591"/>
                  <a:pt x="243" y="591"/>
                  <a:pt x="243" y="591"/>
                </a:cubicBezTo>
                <a:cubicBezTo>
                  <a:pt x="242" y="591"/>
                  <a:pt x="241" y="591"/>
                  <a:pt x="240" y="592"/>
                </a:cubicBezTo>
                <a:cubicBezTo>
                  <a:pt x="240" y="592"/>
                  <a:pt x="240" y="592"/>
                  <a:pt x="239" y="592"/>
                </a:cubicBezTo>
                <a:cubicBezTo>
                  <a:pt x="239" y="592"/>
                  <a:pt x="238" y="592"/>
                  <a:pt x="238" y="593"/>
                </a:cubicBezTo>
                <a:cubicBezTo>
                  <a:pt x="238" y="593"/>
                  <a:pt x="238" y="593"/>
                  <a:pt x="238" y="594"/>
                </a:cubicBezTo>
                <a:cubicBezTo>
                  <a:pt x="238" y="594"/>
                  <a:pt x="238" y="594"/>
                  <a:pt x="239" y="594"/>
                </a:cubicBezTo>
                <a:cubicBezTo>
                  <a:pt x="239" y="594"/>
                  <a:pt x="240" y="594"/>
                  <a:pt x="240" y="594"/>
                </a:cubicBezTo>
                <a:cubicBezTo>
                  <a:pt x="240" y="594"/>
                  <a:pt x="240" y="593"/>
                  <a:pt x="240" y="593"/>
                </a:cubicBezTo>
                <a:cubicBezTo>
                  <a:pt x="241" y="593"/>
                  <a:pt x="241" y="592"/>
                  <a:pt x="242" y="593"/>
                </a:cubicBezTo>
                <a:cubicBezTo>
                  <a:pt x="242" y="593"/>
                  <a:pt x="241" y="594"/>
                  <a:pt x="241" y="594"/>
                </a:cubicBezTo>
                <a:cubicBezTo>
                  <a:pt x="241" y="594"/>
                  <a:pt x="241" y="594"/>
                  <a:pt x="241" y="595"/>
                </a:cubicBezTo>
                <a:cubicBezTo>
                  <a:pt x="241" y="595"/>
                  <a:pt x="241" y="595"/>
                  <a:pt x="241" y="596"/>
                </a:cubicBezTo>
                <a:cubicBezTo>
                  <a:pt x="241" y="596"/>
                  <a:pt x="241" y="597"/>
                  <a:pt x="241" y="597"/>
                </a:cubicBezTo>
                <a:cubicBezTo>
                  <a:pt x="241" y="597"/>
                  <a:pt x="242" y="598"/>
                  <a:pt x="242" y="598"/>
                </a:cubicBezTo>
                <a:cubicBezTo>
                  <a:pt x="243" y="599"/>
                  <a:pt x="243" y="599"/>
                  <a:pt x="244" y="600"/>
                </a:cubicBezTo>
                <a:close/>
                <a:moveTo>
                  <a:pt x="2" y="565"/>
                </a:moveTo>
                <a:cubicBezTo>
                  <a:pt x="2" y="565"/>
                  <a:pt x="1" y="564"/>
                  <a:pt x="0" y="564"/>
                </a:cubicBezTo>
                <a:cubicBezTo>
                  <a:pt x="0" y="567"/>
                  <a:pt x="0" y="567"/>
                  <a:pt x="0" y="567"/>
                </a:cubicBezTo>
                <a:cubicBezTo>
                  <a:pt x="1" y="567"/>
                  <a:pt x="1" y="566"/>
                  <a:pt x="1" y="566"/>
                </a:cubicBezTo>
                <a:cubicBezTo>
                  <a:pt x="2" y="566"/>
                  <a:pt x="2" y="566"/>
                  <a:pt x="2" y="565"/>
                </a:cubicBezTo>
                <a:close/>
                <a:moveTo>
                  <a:pt x="250" y="576"/>
                </a:moveTo>
                <a:cubicBezTo>
                  <a:pt x="250" y="576"/>
                  <a:pt x="249" y="575"/>
                  <a:pt x="249" y="576"/>
                </a:cubicBezTo>
                <a:cubicBezTo>
                  <a:pt x="249" y="576"/>
                  <a:pt x="249" y="576"/>
                  <a:pt x="249" y="576"/>
                </a:cubicBezTo>
                <a:cubicBezTo>
                  <a:pt x="248" y="577"/>
                  <a:pt x="248" y="577"/>
                  <a:pt x="248" y="577"/>
                </a:cubicBezTo>
                <a:cubicBezTo>
                  <a:pt x="247" y="578"/>
                  <a:pt x="246" y="578"/>
                  <a:pt x="247" y="579"/>
                </a:cubicBezTo>
                <a:cubicBezTo>
                  <a:pt x="247" y="580"/>
                  <a:pt x="248" y="580"/>
                  <a:pt x="249" y="580"/>
                </a:cubicBezTo>
                <a:cubicBezTo>
                  <a:pt x="249" y="580"/>
                  <a:pt x="250" y="581"/>
                  <a:pt x="250" y="582"/>
                </a:cubicBezTo>
                <a:cubicBezTo>
                  <a:pt x="250" y="582"/>
                  <a:pt x="250" y="582"/>
                  <a:pt x="250" y="583"/>
                </a:cubicBezTo>
                <a:cubicBezTo>
                  <a:pt x="251" y="583"/>
                  <a:pt x="251" y="582"/>
                  <a:pt x="252" y="582"/>
                </a:cubicBezTo>
                <a:cubicBezTo>
                  <a:pt x="253" y="582"/>
                  <a:pt x="253" y="582"/>
                  <a:pt x="253" y="581"/>
                </a:cubicBezTo>
                <a:cubicBezTo>
                  <a:pt x="253" y="581"/>
                  <a:pt x="254" y="579"/>
                  <a:pt x="253" y="579"/>
                </a:cubicBezTo>
                <a:cubicBezTo>
                  <a:pt x="253" y="579"/>
                  <a:pt x="252" y="579"/>
                  <a:pt x="252" y="579"/>
                </a:cubicBezTo>
                <a:cubicBezTo>
                  <a:pt x="251" y="578"/>
                  <a:pt x="251" y="578"/>
                  <a:pt x="251" y="578"/>
                </a:cubicBezTo>
                <a:cubicBezTo>
                  <a:pt x="250" y="578"/>
                  <a:pt x="250" y="578"/>
                  <a:pt x="250" y="578"/>
                </a:cubicBezTo>
                <a:cubicBezTo>
                  <a:pt x="249" y="578"/>
                  <a:pt x="250" y="577"/>
                  <a:pt x="250" y="577"/>
                </a:cubicBezTo>
                <a:cubicBezTo>
                  <a:pt x="250" y="576"/>
                  <a:pt x="250" y="576"/>
                  <a:pt x="250" y="576"/>
                </a:cubicBezTo>
                <a:close/>
                <a:moveTo>
                  <a:pt x="234" y="572"/>
                </a:moveTo>
                <a:cubicBezTo>
                  <a:pt x="235" y="572"/>
                  <a:pt x="235" y="571"/>
                  <a:pt x="235" y="571"/>
                </a:cubicBezTo>
                <a:cubicBezTo>
                  <a:pt x="235" y="570"/>
                  <a:pt x="236" y="570"/>
                  <a:pt x="236" y="571"/>
                </a:cubicBezTo>
                <a:cubicBezTo>
                  <a:pt x="236" y="572"/>
                  <a:pt x="235" y="573"/>
                  <a:pt x="236" y="573"/>
                </a:cubicBezTo>
                <a:cubicBezTo>
                  <a:pt x="237" y="574"/>
                  <a:pt x="237" y="574"/>
                  <a:pt x="238" y="574"/>
                </a:cubicBezTo>
                <a:cubicBezTo>
                  <a:pt x="239" y="574"/>
                  <a:pt x="239" y="573"/>
                  <a:pt x="240" y="573"/>
                </a:cubicBezTo>
                <a:cubicBezTo>
                  <a:pt x="241" y="573"/>
                  <a:pt x="241" y="573"/>
                  <a:pt x="241" y="573"/>
                </a:cubicBezTo>
                <a:cubicBezTo>
                  <a:pt x="242" y="573"/>
                  <a:pt x="242" y="572"/>
                  <a:pt x="242" y="571"/>
                </a:cubicBezTo>
                <a:cubicBezTo>
                  <a:pt x="242" y="571"/>
                  <a:pt x="242" y="571"/>
                  <a:pt x="242" y="571"/>
                </a:cubicBezTo>
                <a:cubicBezTo>
                  <a:pt x="241" y="570"/>
                  <a:pt x="241" y="570"/>
                  <a:pt x="241" y="570"/>
                </a:cubicBezTo>
                <a:cubicBezTo>
                  <a:pt x="241" y="569"/>
                  <a:pt x="241" y="569"/>
                  <a:pt x="240" y="569"/>
                </a:cubicBezTo>
                <a:cubicBezTo>
                  <a:pt x="240" y="568"/>
                  <a:pt x="240" y="568"/>
                  <a:pt x="241" y="568"/>
                </a:cubicBezTo>
                <a:cubicBezTo>
                  <a:pt x="241" y="569"/>
                  <a:pt x="241" y="570"/>
                  <a:pt x="242" y="570"/>
                </a:cubicBezTo>
                <a:cubicBezTo>
                  <a:pt x="242" y="570"/>
                  <a:pt x="242" y="570"/>
                  <a:pt x="242" y="570"/>
                </a:cubicBezTo>
                <a:cubicBezTo>
                  <a:pt x="243" y="571"/>
                  <a:pt x="243" y="571"/>
                  <a:pt x="244" y="571"/>
                </a:cubicBezTo>
                <a:cubicBezTo>
                  <a:pt x="244" y="571"/>
                  <a:pt x="243" y="569"/>
                  <a:pt x="244" y="569"/>
                </a:cubicBezTo>
                <a:cubicBezTo>
                  <a:pt x="244" y="569"/>
                  <a:pt x="244" y="570"/>
                  <a:pt x="244" y="570"/>
                </a:cubicBezTo>
                <a:cubicBezTo>
                  <a:pt x="245" y="570"/>
                  <a:pt x="244" y="570"/>
                  <a:pt x="244" y="571"/>
                </a:cubicBezTo>
                <a:cubicBezTo>
                  <a:pt x="244" y="571"/>
                  <a:pt x="244" y="571"/>
                  <a:pt x="244" y="571"/>
                </a:cubicBezTo>
                <a:cubicBezTo>
                  <a:pt x="244" y="572"/>
                  <a:pt x="244" y="572"/>
                  <a:pt x="244" y="572"/>
                </a:cubicBezTo>
                <a:cubicBezTo>
                  <a:pt x="243" y="572"/>
                  <a:pt x="243" y="572"/>
                  <a:pt x="244" y="573"/>
                </a:cubicBezTo>
                <a:cubicBezTo>
                  <a:pt x="244" y="573"/>
                  <a:pt x="244" y="573"/>
                  <a:pt x="245" y="573"/>
                </a:cubicBezTo>
                <a:cubicBezTo>
                  <a:pt x="245" y="573"/>
                  <a:pt x="246" y="573"/>
                  <a:pt x="246" y="573"/>
                </a:cubicBezTo>
                <a:cubicBezTo>
                  <a:pt x="247" y="573"/>
                  <a:pt x="247" y="573"/>
                  <a:pt x="247" y="572"/>
                </a:cubicBezTo>
                <a:cubicBezTo>
                  <a:pt x="248" y="572"/>
                  <a:pt x="248" y="572"/>
                  <a:pt x="248" y="572"/>
                </a:cubicBezTo>
                <a:cubicBezTo>
                  <a:pt x="248" y="571"/>
                  <a:pt x="247" y="571"/>
                  <a:pt x="247" y="570"/>
                </a:cubicBezTo>
                <a:cubicBezTo>
                  <a:pt x="246" y="570"/>
                  <a:pt x="246" y="569"/>
                  <a:pt x="245" y="568"/>
                </a:cubicBezTo>
                <a:cubicBezTo>
                  <a:pt x="245" y="568"/>
                  <a:pt x="245" y="568"/>
                  <a:pt x="244" y="568"/>
                </a:cubicBezTo>
                <a:cubicBezTo>
                  <a:pt x="244" y="568"/>
                  <a:pt x="244" y="567"/>
                  <a:pt x="244" y="567"/>
                </a:cubicBezTo>
                <a:cubicBezTo>
                  <a:pt x="243" y="566"/>
                  <a:pt x="242" y="564"/>
                  <a:pt x="240" y="565"/>
                </a:cubicBezTo>
                <a:cubicBezTo>
                  <a:pt x="240" y="566"/>
                  <a:pt x="240" y="566"/>
                  <a:pt x="239" y="566"/>
                </a:cubicBezTo>
                <a:cubicBezTo>
                  <a:pt x="239" y="565"/>
                  <a:pt x="238" y="565"/>
                  <a:pt x="238" y="564"/>
                </a:cubicBezTo>
                <a:cubicBezTo>
                  <a:pt x="237" y="564"/>
                  <a:pt x="236" y="564"/>
                  <a:pt x="235" y="564"/>
                </a:cubicBezTo>
                <a:cubicBezTo>
                  <a:pt x="235" y="564"/>
                  <a:pt x="235" y="564"/>
                  <a:pt x="234" y="564"/>
                </a:cubicBezTo>
                <a:cubicBezTo>
                  <a:pt x="234" y="564"/>
                  <a:pt x="233" y="564"/>
                  <a:pt x="233" y="564"/>
                </a:cubicBezTo>
                <a:cubicBezTo>
                  <a:pt x="232" y="564"/>
                  <a:pt x="231" y="565"/>
                  <a:pt x="232" y="565"/>
                </a:cubicBezTo>
                <a:cubicBezTo>
                  <a:pt x="232" y="566"/>
                  <a:pt x="233" y="566"/>
                  <a:pt x="233" y="566"/>
                </a:cubicBezTo>
                <a:cubicBezTo>
                  <a:pt x="234" y="566"/>
                  <a:pt x="233" y="567"/>
                  <a:pt x="233" y="567"/>
                </a:cubicBezTo>
                <a:cubicBezTo>
                  <a:pt x="234" y="568"/>
                  <a:pt x="235" y="567"/>
                  <a:pt x="235" y="568"/>
                </a:cubicBezTo>
                <a:cubicBezTo>
                  <a:pt x="235" y="569"/>
                  <a:pt x="235" y="569"/>
                  <a:pt x="235" y="569"/>
                </a:cubicBezTo>
                <a:cubicBezTo>
                  <a:pt x="234" y="569"/>
                  <a:pt x="234" y="568"/>
                  <a:pt x="234" y="568"/>
                </a:cubicBezTo>
                <a:cubicBezTo>
                  <a:pt x="233" y="569"/>
                  <a:pt x="234" y="569"/>
                  <a:pt x="233" y="569"/>
                </a:cubicBezTo>
                <a:cubicBezTo>
                  <a:pt x="233" y="570"/>
                  <a:pt x="233" y="569"/>
                  <a:pt x="233" y="569"/>
                </a:cubicBezTo>
                <a:cubicBezTo>
                  <a:pt x="232" y="568"/>
                  <a:pt x="232" y="567"/>
                  <a:pt x="231" y="567"/>
                </a:cubicBezTo>
                <a:cubicBezTo>
                  <a:pt x="231" y="567"/>
                  <a:pt x="230" y="566"/>
                  <a:pt x="230" y="566"/>
                </a:cubicBezTo>
                <a:cubicBezTo>
                  <a:pt x="229" y="566"/>
                  <a:pt x="229" y="567"/>
                  <a:pt x="229" y="567"/>
                </a:cubicBezTo>
                <a:cubicBezTo>
                  <a:pt x="229" y="567"/>
                  <a:pt x="228" y="567"/>
                  <a:pt x="228" y="567"/>
                </a:cubicBezTo>
                <a:cubicBezTo>
                  <a:pt x="228" y="567"/>
                  <a:pt x="227" y="567"/>
                  <a:pt x="227" y="567"/>
                </a:cubicBezTo>
                <a:cubicBezTo>
                  <a:pt x="227" y="568"/>
                  <a:pt x="227" y="568"/>
                  <a:pt x="227" y="568"/>
                </a:cubicBezTo>
                <a:cubicBezTo>
                  <a:pt x="227" y="569"/>
                  <a:pt x="227" y="569"/>
                  <a:pt x="228" y="570"/>
                </a:cubicBezTo>
                <a:cubicBezTo>
                  <a:pt x="229" y="570"/>
                  <a:pt x="228" y="571"/>
                  <a:pt x="229" y="571"/>
                </a:cubicBezTo>
                <a:cubicBezTo>
                  <a:pt x="229" y="572"/>
                  <a:pt x="230" y="572"/>
                  <a:pt x="231" y="573"/>
                </a:cubicBezTo>
                <a:cubicBezTo>
                  <a:pt x="231" y="573"/>
                  <a:pt x="232" y="575"/>
                  <a:pt x="231" y="575"/>
                </a:cubicBezTo>
                <a:cubicBezTo>
                  <a:pt x="230" y="575"/>
                  <a:pt x="230" y="575"/>
                  <a:pt x="230" y="575"/>
                </a:cubicBezTo>
                <a:cubicBezTo>
                  <a:pt x="230" y="574"/>
                  <a:pt x="230" y="575"/>
                  <a:pt x="229" y="575"/>
                </a:cubicBezTo>
                <a:cubicBezTo>
                  <a:pt x="229" y="575"/>
                  <a:pt x="229" y="575"/>
                  <a:pt x="229" y="576"/>
                </a:cubicBezTo>
                <a:cubicBezTo>
                  <a:pt x="229" y="576"/>
                  <a:pt x="229" y="577"/>
                  <a:pt x="229" y="577"/>
                </a:cubicBezTo>
                <a:cubicBezTo>
                  <a:pt x="229" y="577"/>
                  <a:pt x="229" y="578"/>
                  <a:pt x="229" y="578"/>
                </a:cubicBezTo>
                <a:cubicBezTo>
                  <a:pt x="229" y="579"/>
                  <a:pt x="229" y="579"/>
                  <a:pt x="229" y="579"/>
                </a:cubicBezTo>
                <a:cubicBezTo>
                  <a:pt x="229" y="580"/>
                  <a:pt x="230" y="580"/>
                  <a:pt x="230" y="581"/>
                </a:cubicBezTo>
                <a:cubicBezTo>
                  <a:pt x="230" y="581"/>
                  <a:pt x="230" y="582"/>
                  <a:pt x="230" y="582"/>
                </a:cubicBezTo>
                <a:cubicBezTo>
                  <a:pt x="230" y="582"/>
                  <a:pt x="231" y="580"/>
                  <a:pt x="231" y="579"/>
                </a:cubicBezTo>
                <a:cubicBezTo>
                  <a:pt x="231" y="579"/>
                  <a:pt x="230" y="577"/>
                  <a:pt x="231" y="577"/>
                </a:cubicBezTo>
                <a:cubicBezTo>
                  <a:pt x="231" y="577"/>
                  <a:pt x="232" y="577"/>
                  <a:pt x="232" y="578"/>
                </a:cubicBezTo>
                <a:cubicBezTo>
                  <a:pt x="232" y="578"/>
                  <a:pt x="232" y="579"/>
                  <a:pt x="233" y="579"/>
                </a:cubicBezTo>
                <a:cubicBezTo>
                  <a:pt x="234" y="578"/>
                  <a:pt x="232" y="577"/>
                  <a:pt x="233" y="576"/>
                </a:cubicBezTo>
                <a:cubicBezTo>
                  <a:pt x="233" y="576"/>
                  <a:pt x="233" y="576"/>
                  <a:pt x="233" y="576"/>
                </a:cubicBezTo>
                <a:cubicBezTo>
                  <a:pt x="233" y="576"/>
                  <a:pt x="234" y="575"/>
                  <a:pt x="234" y="575"/>
                </a:cubicBezTo>
                <a:cubicBezTo>
                  <a:pt x="234" y="575"/>
                  <a:pt x="234" y="574"/>
                  <a:pt x="233" y="574"/>
                </a:cubicBezTo>
                <a:cubicBezTo>
                  <a:pt x="233" y="573"/>
                  <a:pt x="233" y="573"/>
                  <a:pt x="233" y="573"/>
                </a:cubicBezTo>
                <a:cubicBezTo>
                  <a:pt x="233" y="572"/>
                  <a:pt x="233" y="572"/>
                  <a:pt x="233" y="572"/>
                </a:cubicBezTo>
                <a:cubicBezTo>
                  <a:pt x="233" y="571"/>
                  <a:pt x="234" y="572"/>
                  <a:pt x="234" y="572"/>
                </a:cubicBezTo>
                <a:close/>
                <a:moveTo>
                  <a:pt x="468" y="143"/>
                </a:moveTo>
                <a:cubicBezTo>
                  <a:pt x="469" y="143"/>
                  <a:pt x="470" y="143"/>
                  <a:pt x="471" y="143"/>
                </a:cubicBezTo>
                <a:cubicBezTo>
                  <a:pt x="472" y="143"/>
                  <a:pt x="473" y="143"/>
                  <a:pt x="474" y="143"/>
                </a:cubicBezTo>
                <a:cubicBezTo>
                  <a:pt x="475" y="142"/>
                  <a:pt x="476" y="142"/>
                  <a:pt x="477" y="142"/>
                </a:cubicBezTo>
                <a:cubicBezTo>
                  <a:pt x="479" y="141"/>
                  <a:pt x="481" y="141"/>
                  <a:pt x="483" y="142"/>
                </a:cubicBezTo>
                <a:cubicBezTo>
                  <a:pt x="483" y="142"/>
                  <a:pt x="484" y="143"/>
                  <a:pt x="485" y="143"/>
                </a:cubicBezTo>
                <a:cubicBezTo>
                  <a:pt x="485" y="143"/>
                  <a:pt x="486" y="144"/>
                  <a:pt x="487" y="144"/>
                </a:cubicBezTo>
                <a:cubicBezTo>
                  <a:pt x="488" y="144"/>
                  <a:pt x="489" y="144"/>
                  <a:pt x="489" y="143"/>
                </a:cubicBezTo>
                <a:cubicBezTo>
                  <a:pt x="490" y="143"/>
                  <a:pt x="490" y="142"/>
                  <a:pt x="491" y="142"/>
                </a:cubicBezTo>
                <a:cubicBezTo>
                  <a:pt x="492" y="141"/>
                  <a:pt x="492" y="141"/>
                  <a:pt x="493" y="141"/>
                </a:cubicBezTo>
                <a:cubicBezTo>
                  <a:pt x="494" y="141"/>
                  <a:pt x="495" y="141"/>
                  <a:pt x="495" y="141"/>
                </a:cubicBezTo>
                <a:cubicBezTo>
                  <a:pt x="497" y="141"/>
                  <a:pt x="499" y="142"/>
                  <a:pt x="501" y="142"/>
                </a:cubicBezTo>
                <a:cubicBezTo>
                  <a:pt x="503" y="142"/>
                  <a:pt x="504" y="142"/>
                  <a:pt x="505" y="142"/>
                </a:cubicBezTo>
                <a:cubicBezTo>
                  <a:pt x="506" y="142"/>
                  <a:pt x="507" y="142"/>
                  <a:pt x="507" y="142"/>
                </a:cubicBezTo>
                <a:cubicBezTo>
                  <a:pt x="508" y="143"/>
                  <a:pt x="508" y="143"/>
                  <a:pt x="509" y="143"/>
                </a:cubicBezTo>
                <a:cubicBezTo>
                  <a:pt x="510" y="143"/>
                  <a:pt x="512" y="143"/>
                  <a:pt x="513" y="141"/>
                </a:cubicBezTo>
                <a:cubicBezTo>
                  <a:pt x="513" y="140"/>
                  <a:pt x="514" y="139"/>
                  <a:pt x="513" y="138"/>
                </a:cubicBezTo>
                <a:cubicBezTo>
                  <a:pt x="513" y="138"/>
                  <a:pt x="512" y="137"/>
                  <a:pt x="512" y="137"/>
                </a:cubicBezTo>
                <a:cubicBezTo>
                  <a:pt x="511" y="136"/>
                  <a:pt x="510" y="136"/>
                  <a:pt x="510" y="136"/>
                </a:cubicBezTo>
                <a:cubicBezTo>
                  <a:pt x="509" y="135"/>
                  <a:pt x="508" y="135"/>
                  <a:pt x="507" y="134"/>
                </a:cubicBezTo>
                <a:cubicBezTo>
                  <a:pt x="507" y="134"/>
                  <a:pt x="506" y="133"/>
                  <a:pt x="505" y="133"/>
                </a:cubicBezTo>
                <a:cubicBezTo>
                  <a:pt x="504" y="133"/>
                  <a:pt x="503" y="133"/>
                  <a:pt x="502" y="132"/>
                </a:cubicBezTo>
                <a:cubicBezTo>
                  <a:pt x="500" y="132"/>
                  <a:pt x="497" y="132"/>
                  <a:pt x="495" y="132"/>
                </a:cubicBezTo>
                <a:cubicBezTo>
                  <a:pt x="492" y="133"/>
                  <a:pt x="489" y="134"/>
                  <a:pt x="487" y="135"/>
                </a:cubicBezTo>
                <a:cubicBezTo>
                  <a:pt x="485" y="136"/>
                  <a:pt x="484" y="136"/>
                  <a:pt x="483" y="136"/>
                </a:cubicBezTo>
                <a:cubicBezTo>
                  <a:pt x="481" y="136"/>
                  <a:pt x="480" y="137"/>
                  <a:pt x="479" y="137"/>
                </a:cubicBezTo>
                <a:cubicBezTo>
                  <a:pt x="477" y="138"/>
                  <a:pt x="475" y="139"/>
                  <a:pt x="473" y="139"/>
                </a:cubicBezTo>
                <a:cubicBezTo>
                  <a:pt x="472" y="140"/>
                  <a:pt x="472" y="140"/>
                  <a:pt x="471" y="140"/>
                </a:cubicBezTo>
                <a:cubicBezTo>
                  <a:pt x="470" y="140"/>
                  <a:pt x="469" y="140"/>
                  <a:pt x="469" y="141"/>
                </a:cubicBezTo>
                <a:cubicBezTo>
                  <a:pt x="468" y="141"/>
                  <a:pt x="468" y="141"/>
                  <a:pt x="468" y="141"/>
                </a:cubicBezTo>
                <a:cubicBezTo>
                  <a:pt x="467" y="142"/>
                  <a:pt x="468" y="143"/>
                  <a:pt x="468" y="143"/>
                </a:cubicBezTo>
                <a:close/>
                <a:moveTo>
                  <a:pt x="551" y="158"/>
                </a:moveTo>
                <a:cubicBezTo>
                  <a:pt x="551" y="159"/>
                  <a:pt x="552" y="159"/>
                  <a:pt x="552" y="159"/>
                </a:cubicBezTo>
                <a:cubicBezTo>
                  <a:pt x="552" y="160"/>
                  <a:pt x="553" y="160"/>
                  <a:pt x="553" y="161"/>
                </a:cubicBezTo>
                <a:cubicBezTo>
                  <a:pt x="554" y="163"/>
                  <a:pt x="555" y="165"/>
                  <a:pt x="556" y="166"/>
                </a:cubicBezTo>
                <a:cubicBezTo>
                  <a:pt x="557" y="167"/>
                  <a:pt x="557" y="168"/>
                  <a:pt x="558" y="169"/>
                </a:cubicBezTo>
                <a:cubicBezTo>
                  <a:pt x="558" y="170"/>
                  <a:pt x="558" y="170"/>
                  <a:pt x="559" y="171"/>
                </a:cubicBezTo>
                <a:cubicBezTo>
                  <a:pt x="560" y="171"/>
                  <a:pt x="560" y="171"/>
                  <a:pt x="561" y="171"/>
                </a:cubicBezTo>
                <a:cubicBezTo>
                  <a:pt x="561" y="170"/>
                  <a:pt x="561" y="170"/>
                  <a:pt x="562" y="170"/>
                </a:cubicBezTo>
                <a:cubicBezTo>
                  <a:pt x="563" y="170"/>
                  <a:pt x="563" y="171"/>
                  <a:pt x="564" y="171"/>
                </a:cubicBezTo>
                <a:cubicBezTo>
                  <a:pt x="565" y="172"/>
                  <a:pt x="565" y="172"/>
                  <a:pt x="566" y="172"/>
                </a:cubicBezTo>
                <a:cubicBezTo>
                  <a:pt x="566" y="172"/>
                  <a:pt x="567" y="171"/>
                  <a:pt x="567" y="171"/>
                </a:cubicBezTo>
                <a:cubicBezTo>
                  <a:pt x="567" y="171"/>
                  <a:pt x="568" y="171"/>
                  <a:pt x="568" y="171"/>
                </a:cubicBezTo>
                <a:cubicBezTo>
                  <a:pt x="569" y="171"/>
                  <a:pt x="569" y="170"/>
                  <a:pt x="569" y="169"/>
                </a:cubicBezTo>
                <a:cubicBezTo>
                  <a:pt x="570" y="168"/>
                  <a:pt x="569" y="168"/>
                  <a:pt x="569" y="167"/>
                </a:cubicBezTo>
                <a:cubicBezTo>
                  <a:pt x="568" y="166"/>
                  <a:pt x="567" y="166"/>
                  <a:pt x="566" y="166"/>
                </a:cubicBezTo>
                <a:cubicBezTo>
                  <a:pt x="566" y="166"/>
                  <a:pt x="566" y="165"/>
                  <a:pt x="566" y="165"/>
                </a:cubicBezTo>
                <a:cubicBezTo>
                  <a:pt x="566" y="165"/>
                  <a:pt x="565" y="165"/>
                  <a:pt x="565" y="165"/>
                </a:cubicBezTo>
                <a:cubicBezTo>
                  <a:pt x="564" y="165"/>
                  <a:pt x="563" y="165"/>
                  <a:pt x="563" y="164"/>
                </a:cubicBezTo>
                <a:cubicBezTo>
                  <a:pt x="563" y="163"/>
                  <a:pt x="563" y="162"/>
                  <a:pt x="562" y="161"/>
                </a:cubicBezTo>
                <a:cubicBezTo>
                  <a:pt x="562" y="161"/>
                  <a:pt x="561" y="160"/>
                  <a:pt x="560" y="160"/>
                </a:cubicBezTo>
                <a:cubicBezTo>
                  <a:pt x="560" y="159"/>
                  <a:pt x="559" y="159"/>
                  <a:pt x="559" y="159"/>
                </a:cubicBezTo>
                <a:cubicBezTo>
                  <a:pt x="559" y="158"/>
                  <a:pt x="558" y="158"/>
                  <a:pt x="558" y="158"/>
                </a:cubicBezTo>
                <a:cubicBezTo>
                  <a:pt x="557" y="157"/>
                  <a:pt x="556" y="157"/>
                  <a:pt x="556" y="156"/>
                </a:cubicBezTo>
                <a:cubicBezTo>
                  <a:pt x="555" y="156"/>
                  <a:pt x="549" y="157"/>
                  <a:pt x="550" y="158"/>
                </a:cubicBezTo>
                <a:cubicBezTo>
                  <a:pt x="550" y="158"/>
                  <a:pt x="551" y="158"/>
                  <a:pt x="551" y="158"/>
                </a:cubicBezTo>
                <a:close/>
                <a:moveTo>
                  <a:pt x="263" y="638"/>
                </a:moveTo>
                <a:cubicBezTo>
                  <a:pt x="263" y="638"/>
                  <a:pt x="263" y="637"/>
                  <a:pt x="263" y="637"/>
                </a:cubicBezTo>
                <a:cubicBezTo>
                  <a:pt x="263" y="637"/>
                  <a:pt x="262" y="638"/>
                  <a:pt x="261" y="637"/>
                </a:cubicBezTo>
                <a:cubicBezTo>
                  <a:pt x="261" y="637"/>
                  <a:pt x="261" y="636"/>
                  <a:pt x="261" y="636"/>
                </a:cubicBezTo>
                <a:cubicBezTo>
                  <a:pt x="260" y="636"/>
                  <a:pt x="260" y="635"/>
                  <a:pt x="260" y="635"/>
                </a:cubicBezTo>
                <a:cubicBezTo>
                  <a:pt x="259" y="635"/>
                  <a:pt x="259" y="634"/>
                  <a:pt x="258" y="634"/>
                </a:cubicBezTo>
                <a:cubicBezTo>
                  <a:pt x="258" y="634"/>
                  <a:pt x="256" y="633"/>
                  <a:pt x="257" y="632"/>
                </a:cubicBezTo>
                <a:cubicBezTo>
                  <a:pt x="257" y="632"/>
                  <a:pt x="258" y="632"/>
                  <a:pt x="258" y="632"/>
                </a:cubicBezTo>
                <a:cubicBezTo>
                  <a:pt x="258" y="631"/>
                  <a:pt x="258" y="631"/>
                  <a:pt x="257" y="631"/>
                </a:cubicBezTo>
                <a:cubicBezTo>
                  <a:pt x="257" y="631"/>
                  <a:pt x="255" y="631"/>
                  <a:pt x="255" y="630"/>
                </a:cubicBezTo>
                <a:cubicBezTo>
                  <a:pt x="255" y="630"/>
                  <a:pt x="255" y="628"/>
                  <a:pt x="255" y="628"/>
                </a:cubicBezTo>
                <a:cubicBezTo>
                  <a:pt x="256" y="627"/>
                  <a:pt x="256" y="629"/>
                  <a:pt x="256" y="629"/>
                </a:cubicBezTo>
                <a:cubicBezTo>
                  <a:pt x="257" y="630"/>
                  <a:pt x="257" y="629"/>
                  <a:pt x="257" y="629"/>
                </a:cubicBezTo>
                <a:cubicBezTo>
                  <a:pt x="258" y="629"/>
                  <a:pt x="258" y="629"/>
                  <a:pt x="258" y="629"/>
                </a:cubicBezTo>
                <a:cubicBezTo>
                  <a:pt x="259" y="629"/>
                  <a:pt x="259" y="629"/>
                  <a:pt x="259" y="629"/>
                </a:cubicBezTo>
                <a:cubicBezTo>
                  <a:pt x="259" y="628"/>
                  <a:pt x="259" y="628"/>
                  <a:pt x="259" y="628"/>
                </a:cubicBezTo>
                <a:cubicBezTo>
                  <a:pt x="258" y="628"/>
                  <a:pt x="258" y="628"/>
                  <a:pt x="257" y="628"/>
                </a:cubicBezTo>
                <a:cubicBezTo>
                  <a:pt x="257" y="628"/>
                  <a:pt x="257" y="628"/>
                  <a:pt x="256" y="628"/>
                </a:cubicBezTo>
                <a:cubicBezTo>
                  <a:pt x="256" y="628"/>
                  <a:pt x="256" y="628"/>
                  <a:pt x="256" y="628"/>
                </a:cubicBezTo>
                <a:cubicBezTo>
                  <a:pt x="256" y="627"/>
                  <a:pt x="257" y="627"/>
                  <a:pt x="257" y="627"/>
                </a:cubicBezTo>
                <a:cubicBezTo>
                  <a:pt x="257" y="626"/>
                  <a:pt x="257" y="626"/>
                  <a:pt x="257" y="626"/>
                </a:cubicBezTo>
                <a:cubicBezTo>
                  <a:pt x="257" y="625"/>
                  <a:pt x="257" y="625"/>
                  <a:pt x="257" y="624"/>
                </a:cubicBezTo>
                <a:cubicBezTo>
                  <a:pt x="256" y="624"/>
                  <a:pt x="256" y="624"/>
                  <a:pt x="256" y="625"/>
                </a:cubicBezTo>
                <a:cubicBezTo>
                  <a:pt x="256" y="625"/>
                  <a:pt x="256" y="625"/>
                  <a:pt x="255" y="625"/>
                </a:cubicBezTo>
                <a:cubicBezTo>
                  <a:pt x="255" y="625"/>
                  <a:pt x="254" y="625"/>
                  <a:pt x="254" y="626"/>
                </a:cubicBezTo>
                <a:cubicBezTo>
                  <a:pt x="254" y="626"/>
                  <a:pt x="252" y="627"/>
                  <a:pt x="252" y="626"/>
                </a:cubicBezTo>
                <a:cubicBezTo>
                  <a:pt x="253" y="625"/>
                  <a:pt x="253" y="625"/>
                  <a:pt x="254" y="625"/>
                </a:cubicBezTo>
                <a:cubicBezTo>
                  <a:pt x="254" y="625"/>
                  <a:pt x="254" y="624"/>
                  <a:pt x="254" y="624"/>
                </a:cubicBezTo>
                <a:cubicBezTo>
                  <a:pt x="254" y="624"/>
                  <a:pt x="255" y="624"/>
                  <a:pt x="255" y="624"/>
                </a:cubicBezTo>
                <a:cubicBezTo>
                  <a:pt x="256" y="623"/>
                  <a:pt x="256" y="623"/>
                  <a:pt x="256" y="622"/>
                </a:cubicBezTo>
                <a:cubicBezTo>
                  <a:pt x="256" y="622"/>
                  <a:pt x="256" y="622"/>
                  <a:pt x="256" y="621"/>
                </a:cubicBezTo>
                <a:cubicBezTo>
                  <a:pt x="256" y="621"/>
                  <a:pt x="255" y="621"/>
                  <a:pt x="255" y="620"/>
                </a:cubicBezTo>
                <a:cubicBezTo>
                  <a:pt x="255" y="619"/>
                  <a:pt x="255" y="618"/>
                  <a:pt x="256" y="618"/>
                </a:cubicBezTo>
                <a:cubicBezTo>
                  <a:pt x="256" y="617"/>
                  <a:pt x="256" y="616"/>
                  <a:pt x="257" y="615"/>
                </a:cubicBezTo>
                <a:cubicBezTo>
                  <a:pt x="257" y="614"/>
                  <a:pt x="257" y="614"/>
                  <a:pt x="258" y="613"/>
                </a:cubicBezTo>
                <a:cubicBezTo>
                  <a:pt x="258" y="613"/>
                  <a:pt x="258" y="613"/>
                  <a:pt x="258" y="612"/>
                </a:cubicBezTo>
                <a:cubicBezTo>
                  <a:pt x="259" y="612"/>
                  <a:pt x="259" y="610"/>
                  <a:pt x="258" y="610"/>
                </a:cubicBezTo>
                <a:cubicBezTo>
                  <a:pt x="258" y="610"/>
                  <a:pt x="258" y="611"/>
                  <a:pt x="257" y="611"/>
                </a:cubicBezTo>
                <a:cubicBezTo>
                  <a:pt x="257" y="612"/>
                  <a:pt x="256" y="612"/>
                  <a:pt x="256" y="612"/>
                </a:cubicBezTo>
                <a:cubicBezTo>
                  <a:pt x="255" y="612"/>
                  <a:pt x="255" y="612"/>
                  <a:pt x="254" y="612"/>
                </a:cubicBezTo>
                <a:cubicBezTo>
                  <a:pt x="254" y="612"/>
                  <a:pt x="253" y="612"/>
                  <a:pt x="253" y="612"/>
                </a:cubicBezTo>
                <a:cubicBezTo>
                  <a:pt x="252" y="612"/>
                  <a:pt x="252" y="612"/>
                  <a:pt x="252" y="612"/>
                </a:cubicBezTo>
                <a:cubicBezTo>
                  <a:pt x="251" y="611"/>
                  <a:pt x="251" y="611"/>
                  <a:pt x="250" y="611"/>
                </a:cubicBezTo>
                <a:cubicBezTo>
                  <a:pt x="249" y="612"/>
                  <a:pt x="249" y="612"/>
                  <a:pt x="248" y="611"/>
                </a:cubicBezTo>
                <a:cubicBezTo>
                  <a:pt x="248" y="611"/>
                  <a:pt x="248" y="611"/>
                  <a:pt x="248" y="611"/>
                </a:cubicBezTo>
                <a:cubicBezTo>
                  <a:pt x="247" y="610"/>
                  <a:pt x="247" y="611"/>
                  <a:pt x="246" y="611"/>
                </a:cubicBezTo>
                <a:cubicBezTo>
                  <a:pt x="245" y="611"/>
                  <a:pt x="244" y="610"/>
                  <a:pt x="244" y="610"/>
                </a:cubicBezTo>
                <a:cubicBezTo>
                  <a:pt x="243" y="610"/>
                  <a:pt x="243" y="610"/>
                  <a:pt x="243" y="610"/>
                </a:cubicBezTo>
                <a:cubicBezTo>
                  <a:pt x="242" y="610"/>
                  <a:pt x="242" y="611"/>
                  <a:pt x="243" y="611"/>
                </a:cubicBezTo>
                <a:cubicBezTo>
                  <a:pt x="243" y="612"/>
                  <a:pt x="242" y="613"/>
                  <a:pt x="242" y="614"/>
                </a:cubicBezTo>
                <a:cubicBezTo>
                  <a:pt x="242" y="615"/>
                  <a:pt x="242" y="616"/>
                  <a:pt x="243" y="616"/>
                </a:cubicBezTo>
                <a:cubicBezTo>
                  <a:pt x="244" y="617"/>
                  <a:pt x="243" y="618"/>
                  <a:pt x="244" y="619"/>
                </a:cubicBezTo>
                <a:cubicBezTo>
                  <a:pt x="244" y="619"/>
                  <a:pt x="244" y="619"/>
                  <a:pt x="244" y="619"/>
                </a:cubicBezTo>
                <a:cubicBezTo>
                  <a:pt x="244" y="620"/>
                  <a:pt x="244" y="620"/>
                  <a:pt x="244" y="620"/>
                </a:cubicBezTo>
                <a:cubicBezTo>
                  <a:pt x="244" y="621"/>
                  <a:pt x="245" y="621"/>
                  <a:pt x="246" y="621"/>
                </a:cubicBezTo>
                <a:cubicBezTo>
                  <a:pt x="247" y="622"/>
                  <a:pt x="248" y="622"/>
                  <a:pt x="247" y="623"/>
                </a:cubicBezTo>
                <a:cubicBezTo>
                  <a:pt x="246" y="623"/>
                  <a:pt x="247" y="624"/>
                  <a:pt x="247" y="625"/>
                </a:cubicBezTo>
                <a:cubicBezTo>
                  <a:pt x="248" y="625"/>
                  <a:pt x="249" y="626"/>
                  <a:pt x="249" y="626"/>
                </a:cubicBezTo>
                <a:cubicBezTo>
                  <a:pt x="249" y="627"/>
                  <a:pt x="248" y="626"/>
                  <a:pt x="248" y="627"/>
                </a:cubicBezTo>
                <a:cubicBezTo>
                  <a:pt x="249" y="627"/>
                  <a:pt x="249" y="627"/>
                  <a:pt x="249" y="628"/>
                </a:cubicBezTo>
                <a:cubicBezTo>
                  <a:pt x="250" y="628"/>
                  <a:pt x="250" y="628"/>
                  <a:pt x="250" y="628"/>
                </a:cubicBezTo>
                <a:cubicBezTo>
                  <a:pt x="251" y="628"/>
                  <a:pt x="251" y="628"/>
                  <a:pt x="251" y="628"/>
                </a:cubicBezTo>
                <a:cubicBezTo>
                  <a:pt x="252" y="628"/>
                  <a:pt x="252" y="628"/>
                  <a:pt x="253" y="629"/>
                </a:cubicBezTo>
                <a:cubicBezTo>
                  <a:pt x="253" y="629"/>
                  <a:pt x="253" y="629"/>
                  <a:pt x="252" y="629"/>
                </a:cubicBezTo>
                <a:cubicBezTo>
                  <a:pt x="252" y="630"/>
                  <a:pt x="252" y="629"/>
                  <a:pt x="251" y="630"/>
                </a:cubicBezTo>
                <a:cubicBezTo>
                  <a:pt x="251" y="630"/>
                  <a:pt x="251" y="630"/>
                  <a:pt x="251" y="630"/>
                </a:cubicBezTo>
                <a:cubicBezTo>
                  <a:pt x="251" y="631"/>
                  <a:pt x="252" y="631"/>
                  <a:pt x="252" y="631"/>
                </a:cubicBezTo>
                <a:cubicBezTo>
                  <a:pt x="252" y="631"/>
                  <a:pt x="252" y="632"/>
                  <a:pt x="253" y="632"/>
                </a:cubicBezTo>
                <a:cubicBezTo>
                  <a:pt x="253" y="632"/>
                  <a:pt x="254" y="631"/>
                  <a:pt x="254" y="631"/>
                </a:cubicBezTo>
                <a:cubicBezTo>
                  <a:pt x="255" y="632"/>
                  <a:pt x="254" y="632"/>
                  <a:pt x="254" y="632"/>
                </a:cubicBezTo>
                <a:cubicBezTo>
                  <a:pt x="254" y="633"/>
                  <a:pt x="255" y="633"/>
                  <a:pt x="255" y="634"/>
                </a:cubicBezTo>
                <a:cubicBezTo>
                  <a:pt x="256" y="634"/>
                  <a:pt x="256" y="634"/>
                  <a:pt x="256" y="635"/>
                </a:cubicBezTo>
                <a:cubicBezTo>
                  <a:pt x="256" y="636"/>
                  <a:pt x="257" y="636"/>
                  <a:pt x="258" y="636"/>
                </a:cubicBezTo>
                <a:cubicBezTo>
                  <a:pt x="259" y="637"/>
                  <a:pt x="259" y="637"/>
                  <a:pt x="259" y="638"/>
                </a:cubicBezTo>
                <a:cubicBezTo>
                  <a:pt x="260" y="639"/>
                  <a:pt x="260" y="639"/>
                  <a:pt x="261" y="640"/>
                </a:cubicBezTo>
                <a:cubicBezTo>
                  <a:pt x="261" y="641"/>
                  <a:pt x="262" y="642"/>
                  <a:pt x="263" y="641"/>
                </a:cubicBezTo>
                <a:cubicBezTo>
                  <a:pt x="263" y="641"/>
                  <a:pt x="263" y="641"/>
                  <a:pt x="264" y="641"/>
                </a:cubicBezTo>
                <a:cubicBezTo>
                  <a:pt x="264" y="641"/>
                  <a:pt x="264" y="642"/>
                  <a:pt x="265" y="642"/>
                </a:cubicBezTo>
                <a:cubicBezTo>
                  <a:pt x="266" y="641"/>
                  <a:pt x="265" y="640"/>
                  <a:pt x="264" y="639"/>
                </a:cubicBezTo>
                <a:cubicBezTo>
                  <a:pt x="264" y="639"/>
                  <a:pt x="263" y="639"/>
                  <a:pt x="263" y="638"/>
                </a:cubicBezTo>
                <a:close/>
                <a:moveTo>
                  <a:pt x="252" y="618"/>
                </a:moveTo>
                <a:cubicBezTo>
                  <a:pt x="252" y="618"/>
                  <a:pt x="251" y="618"/>
                  <a:pt x="251" y="619"/>
                </a:cubicBezTo>
                <a:cubicBezTo>
                  <a:pt x="251" y="619"/>
                  <a:pt x="251" y="619"/>
                  <a:pt x="250" y="619"/>
                </a:cubicBezTo>
                <a:cubicBezTo>
                  <a:pt x="250" y="619"/>
                  <a:pt x="250" y="619"/>
                  <a:pt x="250" y="619"/>
                </a:cubicBezTo>
                <a:cubicBezTo>
                  <a:pt x="251" y="618"/>
                  <a:pt x="251" y="617"/>
                  <a:pt x="251" y="617"/>
                </a:cubicBezTo>
                <a:cubicBezTo>
                  <a:pt x="253" y="616"/>
                  <a:pt x="252" y="617"/>
                  <a:pt x="252" y="618"/>
                </a:cubicBezTo>
                <a:close/>
                <a:moveTo>
                  <a:pt x="619" y="103"/>
                </a:moveTo>
                <a:cubicBezTo>
                  <a:pt x="620" y="103"/>
                  <a:pt x="621" y="104"/>
                  <a:pt x="622" y="104"/>
                </a:cubicBezTo>
                <a:cubicBezTo>
                  <a:pt x="622" y="104"/>
                  <a:pt x="623" y="105"/>
                  <a:pt x="623" y="105"/>
                </a:cubicBezTo>
                <a:cubicBezTo>
                  <a:pt x="623" y="105"/>
                  <a:pt x="624" y="105"/>
                  <a:pt x="624" y="105"/>
                </a:cubicBezTo>
                <a:cubicBezTo>
                  <a:pt x="625" y="105"/>
                  <a:pt x="626" y="105"/>
                  <a:pt x="627" y="106"/>
                </a:cubicBezTo>
                <a:cubicBezTo>
                  <a:pt x="628" y="106"/>
                  <a:pt x="629" y="106"/>
                  <a:pt x="629" y="107"/>
                </a:cubicBezTo>
                <a:cubicBezTo>
                  <a:pt x="630" y="107"/>
                  <a:pt x="630" y="107"/>
                  <a:pt x="630" y="108"/>
                </a:cubicBezTo>
                <a:cubicBezTo>
                  <a:pt x="631" y="108"/>
                  <a:pt x="632" y="109"/>
                  <a:pt x="632" y="108"/>
                </a:cubicBezTo>
                <a:cubicBezTo>
                  <a:pt x="633" y="108"/>
                  <a:pt x="634" y="107"/>
                  <a:pt x="634" y="107"/>
                </a:cubicBezTo>
                <a:cubicBezTo>
                  <a:pt x="635" y="106"/>
                  <a:pt x="635" y="105"/>
                  <a:pt x="635" y="104"/>
                </a:cubicBezTo>
                <a:cubicBezTo>
                  <a:pt x="634" y="103"/>
                  <a:pt x="633" y="103"/>
                  <a:pt x="633" y="102"/>
                </a:cubicBezTo>
                <a:cubicBezTo>
                  <a:pt x="633" y="101"/>
                  <a:pt x="634" y="101"/>
                  <a:pt x="634" y="101"/>
                </a:cubicBezTo>
                <a:cubicBezTo>
                  <a:pt x="634" y="100"/>
                  <a:pt x="634" y="100"/>
                  <a:pt x="633" y="100"/>
                </a:cubicBezTo>
                <a:cubicBezTo>
                  <a:pt x="633" y="99"/>
                  <a:pt x="632" y="98"/>
                  <a:pt x="632" y="98"/>
                </a:cubicBezTo>
                <a:cubicBezTo>
                  <a:pt x="631" y="97"/>
                  <a:pt x="630" y="96"/>
                  <a:pt x="629" y="96"/>
                </a:cubicBezTo>
                <a:cubicBezTo>
                  <a:pt x="629" y="96"/>
                  <a:pt x="629" y="96"/>
                  <a:pt x="628" y="96"/>
                </a:cubicBezTo>
                <a:cubicBezTo>
                  <a:pt x="628" y="96"/>
                  <a:pt x="628" y="97"/>
                  <a:pt x="627" y="97"/>
                </a:cubicBezTo>
                <a:cubicBezTo>
                  <a:pt x="627" y="97"/>
                  <a:pt x="626" y="97"/>
                  <a:pt x="625" y="96"/>
                </a:cubicBezTo>
                <a:cubicBezTo>
                  <a:pt x="624" y="96"/>
                  <a:pt x="623" y="96"/>
                  <a:pt x="623" y="96"/>
                </a:cubicBezTo>
                <a:cubicBezTo>
                  <a:pt x="622" y="96"/>
                  <a:pt x="621" y="96"/>
                  <a:pt x="620" y="97"/>
                </a:cubicBezTo>
                <a:cubicBezTo>
                  <a:pt x="620" y="97"/>
                  <a:pt x="620" y="97"/>
                  <a:pt x="619" y="97"/>
                </a:cubicBezTo>
                <a:cubicBezTo>
                  <a:pt x="619" y="97"/>
                  <a:pt x="619" y="98"/>
                  <a:pt x="618" y="98"/>
                </a:cubicBezTo>
                <a:cubicBezTo>
                  <a:pt x="618" y="99"/>
                  <a:pt x="618" y="99"/>
                  <a:pt x="618" y="99"/>
                </a:cubicBezTo>
                <a:cubicBezTo>
                  <a:pt x="618" y="99"/>
                  <a:pt x="617" y="100"/>
                  <a:pt x="617" y="100"/>
                </a:cubicBezTo>
                <a:cubicBezTo>
                  <a:pt x="617" y="101"/>
                  <a:pt x="617" y="101"/>
                  <a:pt x="617" y="102"/>
                </a:cubicBezTo>
                <a:cubicBezTo>
                  <a:pt x="618" y="103"/>
                  <a:pt x="618" y="103"/>
                  <a:pt x="619" y="103"/>
                </a:cubicBezTo>
                <a:close/>
                <a:moveTo>
                  <a:pt x="556" y="125"/>
                </a:moveTo>
                <a:cubicBezTo>
                  <a:pt x="556" y="125"/>
                  <a:pt x="558" y="125"/>
                  <a:pt x="558" y="125"/>
                </a:cubicBezTo>
                <a:cubicBezTo>
                  <a:pt x="560" y="125"/>
                  <a:pt x="562" y="125"/>
                  <a:pt x="563" y="124"/>
                </a:cubicBezTo>
                <a:cubicBezTo>
                  <a:pt x="564" y="124"/>
                  <a:pt x="565" y="124"/>
                  <a:pt x="566" y="125"/>
                </a:cubicBezTo>
                <a:cubicBezTo>
                  <a:pt x="566" y="126"/>
                  <a:pt x="565" y="126"/>
                  <a:pt x="565" y="127"/>
                </a:cubicBezTo>
                <a:cubicBezTo>
                  <a:pt x="564" y="127"/>
                  <a:pt x="564" y="128"/>
                  <a:pt x="563" y="129"/>
                </a:cubicBezTo>
                <a:cubicBezTo>
                  <a:pt x="563" y="129"/>
                  <a:pt x="561" y="130"/>
                  <a:pt x="562" y="131"/>
                </a:cubicBezTo>
                <a:cubicBezTo>
                  <a:pt x="563" y="131"/>
                  <a:pt x="563" y="131"/>
                  <a:pt x="564" y="131"/>
                </a:cubicBezTo>
                <a:cubicBezTo>
                  <a:pt x="564" y="130"/>
                  <a:pt x="565" y="130"/>
                  <a:pt x="565" y="130"/>
                </a:cubicBezTo>
                <a:cubicBezTo>
                  <a:pt x="566" y="130"/>
                  <a:pt x="566" y="129"/>
                  <a:pt x="566" y="129"/>
                </a:cubicBezTo>
                <a:cubicBezTo>
                  <a:pt x="567" y="129"/>
                  <a:pt x="567" y="129"/>
                  <a:pt x="568" y="129"/>
                </a:cubicBezTo>
                <a:cubicBezTo>
                  <a:pt x="569" y="129"/>
                  <a:pt x="568" y="128"/>
                  <a:pt x="569" y="127"/>
                </a:cubicBezTo>
                <a:cubicBezTo>
                  <a:pt x="570" y="126"/>
                  <a:pt x="571" y="126"/>
                  <a:pt x="572" y="126"/>
                </a:cubicBezTo>
                <a:cubicBezTo>
                  <a:pt x="573" y="126"/>
                  <a:pt x="573" y="127"/>
                  <a:pt x="574" y="127"/>
                </a:cubicBezTo>
                <a:cubicBezTo>
                  <a:pt x="574" y="127"/>
                  <a:pt x="574" y="127"/>
                  <a:pt x="575" y="127"/>
                </a:cubicBezTo>
                <a:cubicBezTo>
                  <a:pt x="575" y="127"/>
                  <a:pt x="576" y="127"/>
                  <a:pt x="576" y="127"/>
                </a:cubicBezTo>
                <a:cubicBezTo>
                  <a:pt x="576" y="128"/>
                  <a:pt x="576" y="128"/>
                  <a:pt x="576" y="128"/>
                </a:cubicBezTo>
                <a:cubicBezTo>
                  <a:pt x="575" y="129"/>
                  <a:pt x="574" y="129"/>
                  <a:pt x="573" y="129"/>
                </a:cubicBezTo>
                <a:cubicBezTo>
                  <a:pt x="573" y="129"/>
                  <a:pt x="573" y="130"/>
                  <a:pt x="573" y="130"/>
                </a:cubicBezTo>
                <a:cubicBezTo>
                  <a:pt x="572" y="130"/>
                  <a:pt x="572" y="131"/>
                  <a:pt x="572" y="131"/>
                </a:cubicBezTo>
                <a:cubicBezTo>
                  <a:pt x="572" y="132"/>
                  <a:pt x="573" y="131"/>
                  <a:pt x="574" y="132"/>
                </a:cubicBezTo>
                <a:cubicBezTo>
                  <a:pt x="575" y="132"/>
                  <a:pt x="575" y="132"/>
                  <a:pt x="576" y="132"/>
                </a:cubicBezTo>
                <a:cubicBezTo>
                  <a:pt x="577" y="132"/>
                  <a:pt x="578" y="131"/>
                  <a:pt x="579" y="131"/>
                </a:cubicBezTo>
                <a:cubicBezTo>
                  <a:pt x="579" y="131"/>
                  <a:pt x="581" y="131"/>
                  <a:pt x="581" y="131"/>
                </a:cubicBezTo>
                <a:cubicBezTo>
                  <a:pt x="582" y="132"/>
                  <a:pt x="580" y="132"/>
                  <a:pt x="580" y="132"/>
                </a:cubicBezTo>
                <a:cubicBezTo>
                  <a:pt x="579" y="133"/>
                  <a:pt x="579" y="134"/>
                  <a:pt x="578" y="134"/>
                </a:cubicBezTo>
                <a:cubicBezTo>
                  <a:pt x="578" y="134"/>
                  <a:pt x="578" y="133"/>
                  <a:pt x="577" y="133"/>
                </a:cubicBezTo>
                <a:cubicBezTo>
                  <a:pt x="577" y="134"/>
                  <a:pt x="577" y="134"/>
                  <a:pt x="576" y="134"/>
                </a:cubicBezTo>
                <a:cubicBezTo>
                  <a:pt x="576" y="134"/>
                  <a:pt x="574" y="134"/>
                  <a:pt x="574" y="135"/>
                </a:cubicBezTo>
                <a:cubicBezTo>
                  <a:pt x="576" y="135"/>
                  <a:pt x="578" y="134"/>
                  <a:pt x="579" y="135"/>
                </a:cubicBezTo>
                <a:cubicBezTo>
                  <a:pt x="580" y="135"/>
                  <a:pt x="581" y="135"/>
                  <a:pt x="580" y="136"/>
                </a:cubicBezTo>
                <a:cubicBezTo>
                  <a:pt x="580" y="136"/>
                  <a:pt x="580" y="136"/>
                  <a:pt x="580" y="136"/>
                </a:cubicBezTo>
                <a:cubicBezTo>
                  <a:pt x="580" y="137"/>
                  <a:pt x="580" y="137"/>
                  <a:pt x="580" y="138"/>
                </a:cubicBezTo>
                <a:cubicBezTo>
                  <a:pt x="579" y="138"/>
                  <a:pt x="578" y="138"/>
                  <a:pt x="578" y="138"/>
                </a:cubicBezTo>
                <a:cubicBezTo>
                  <a:pt x="577" y="138"/>
                  <a:pt x="576" y="138"/>
                  <a:pt x="575" y="137"/>
                </a:cubicBezTo>
                <a:cubicBezTo>
                  <a:pt x="573" y="137"/>
                  <a:pt x="571" y="136"/>
                  <a:pt x="569" y="136"/>
                </a:cubicBezTo>
                <a:cubicBezTo>
                  <a:pt x="568" y="136"/>
                  <a:pt x="567" y="136"/>
                  <a:pt x="566" y="136"/>
                </a:cubicBezTo>
                <a:cubicBezTo>
                  <a:pt x="565" y="137"/>
                  <a:pt x="564" y="137"/>
                  <a:pt x="563" y="137"/>
                </a:cubicBezTo>
                <a:cubicBezTo>
                  <a:pt x="563" y="137"/>
                  <a:pt x="562" y="137"/>
                  <a:pt x="562" y="138"/>
                </a:cubicBezTo>
                <a:cubicBezTo>
                  <a:pt x="562" y="139"/>
                  <a:pt x="562" y="140"/>
                  <a:pt x="563" y="140"/>
                </a:cubicBezTo>
                <a:cubicBezTo>
                  <a:pt x="564" y="141"/>
                  <a:pt x="564" y="141"/>
                  <a:pt x="565" y="141"/>
                </a:cubicBezTo>
                <a:cubicBezTo>
                  <a:pt x="565" y="142"/>
                  <a:pt x="566" y="142"/>
                  <a:pt x="566" y="142"/>
                </a:cubicBezTo>
                <a:cubicBezTo>
                  <a:pt x="566" y="142"/>
                  <a:pt x="567" y="143"/>
                  <a:pt x="567" y="143"/>
                </a:cubicBezTo>
                <a:cubicBezTo>
                  <a:pt x="568" y="143"/>
                  <a:pt x="568" y="144"/>
                  <a:pt x="569" y="144"/>
                </a:cubicBezTo>
                <a:cubicBezTo>
                  <a:pt x="570" y="144"/>
                  <a:pt x="571" y="144"/>
                  <a:pt x="572" y="144"/>
                </a:cubicBezTo>
                <a:cubicBezTo>
                  <a:pt x="573" y="144"/>
                  <a:pt x="573" y="145"/>
                  <a:pt x="574" y="145"/>
                </a:cubicBezTo>
                <a:cubicBezTo>
                  <a:pt x="575" y="145"/>
                  <a:pt x="576" y="144"/>
                  <a:pt x="576" y="143"/>
                </a:cubicBezTo>
                <a:cubicBezTo>
                  <a:pt x="577" y="143"/>
                  <a:pt x="578" y="142"/>
                  <a:pt x="579" y="142"/>
                </a:cubicBezTo>
                <a:cubicBezTo>
                  <a:pt x="579" y="142"/>
                  <a:pt x="580" y="142"/>
                  <a:pt x="580" y="142"/>
                </a:cubicBezTo>
                <a:cubicBezTo>
                  <a:pt x="581" y="142"/>
                  <a:pt x="581" y="142"/>
                  <a:pt x="582" y="142"/>
                </a:cubicBezTo>
                <a:cubicBezTo>
                  <a:pt x="582" y="142"/>
                  <a:pt x="583" y="142"/>
                  <a:pt x="583" y="141"/>
                </a:cubicBezTo>
                <a:cubicBezTo>
                  <a:pt x="584" y="141"/>
                  <a:pt x="585" y="141"/>
                  <a:pt x="586" y="141"/>
                </a:cubicBezTo>
                <a:cubicBezTo>
                  <a:pt x="587" y="141"/>
                  <a:pt x="587" y="142"/>
                  <a:pt x="588" y="142"/>
                </a:cubicBezTo>
                <a:cubicBezTo>
                  <a:pt x="588" y="143"/>
                  <a:pt x="588" y="144"/>
                  <a:pt x="589" y="144"/>
                </a:cubicBezTo>
                <a:cubicBezTo>
                  <a:pt x="590" y="144"/>
                  <a:pt x="591" y="144"/>
                  <a:pt x="592" y="144"/>
                </a:cubicBezTo>
                <a:cubicBezTo>
                  <a:pt x="594" y="143"/>
                  <a:pt x="596" y="143"/>
                  <a:pt x="598" y="144"/>
                </a:cubicBezTo>
                <a:cubicBezTo>
                  <a:pt x="599" y="144"/>
                  <a:pt x="599" y="144"/>
                  <a:pt x="601" y="144"/>
                </a:cubicBezTo>
                <a:cubicBezTo>
                  <a:pt x="602" y="144"/>
                  <a:pt x="602" y="145"/>
                  <a:pt x="603" y="145"/>
                </a:cubicBezTo>
                <a:cubicBezTo>
                  <a:pt x="604" y="146"/>
                  <a:pt x="605" y="146"/>
                  <a:pt x="606" y="146"/>
                </a:cubicBezTo>
                <a:cubicBezTo>
                  <a:pt x="607" y="146"/>
                  <a:pt x="607" y="146"/>
                  <a:pt x="608" y="147"/>
                </a:cubicBezTo>
                <a:cubicBezTo>
                  <a:pt x="608" y="147"/>
                  <a:pt x="609" y="147"/>
                  <a:pt x="610" y="148"/>
                </a:cubicBezTo>
                <a:cubicBezTo>
                  <a:pt x="610" y="148"/>
                  <a:pt x="610" y="149"/>
                  <a:pt x="610" y="150"/>
                </a:cubicBezTo>
                <a:cubicBezTo>
                  <a:pt x="610" y="151"/>
                  <a:pt x="611" y="151"/>
                  <a:pt x="612" y="152"/>
                </a:cubicBezTo>
                <a:cubicBezTo>
                  <a:pt x="612" y="152"/>
                  <a:pt x="612" y="153"/>
                  <a:pt x="613" y="154"/>
                </a:cubicBezTo>
                <a:cubicBezTo>
                  <a:pt x="613" y="154"/>
                  <a:pt x="614" y="154"/>
                  <a:pt x="615" y="155"/>
                </a:cubicBezTo>
                <a:cubicBezTo>
                  <a:pt x="616" y="155"/>
                  <a:pt x="617" y="155"/>
                  <a:pt x="618" y="155"/>
                </a:cubicBezTo>
                <a:cubicBezTo>
                  <a:pt x="618" y="155"/>
                  <a:pt x="619" y="155"/>
                  <a:pt x="620" y="155"/>
                </a:cubicBezTo>
                <a:cubicBezTo>
                  <a:pt x="621" y="155"/>
                  <a:pt x="622" y="155"/>
                  <a:pt x="623" y="155"/>
                </a:cubicBezTo>
                <a:cubicBezTo>
                  <a:pt x="624" y="155"/>
                  <a:pt x="625" y="155"/>
                  <a:pt x="625" y="154"/>
                </a:cubicBezTo>
                <a:cubicBezTo>
                  <a:pt x="626" y="154"/>
                  <a:pt x="627" y="154"/>
                  <a:pt x="627" y="154"/>
                </a:cubicBezTo>
                <a:cubicBezTo>
                  <a:pt x="628" y="154"/>
                  <a:pt x="628" y="154"/>
                  <a:pt x="629" y="154"/>
                </a:cubicBezTo>
                <a:cubicBezTo>
                  <a:pt x="630" y="154"/>
                  <a:pt x="630" y="153"/>
                  <a:pt x="630" y="151"/>
                </a:cubicBezTo>
                <a:cubicBezTo>
                  <a:pt x="630" y="151"/>
                  <a:pt x="631" y="150"/>
                  <a:pt x="631" y="150"/>
                </a:cubicBezTo>
                <a:cubicBezTo>
                  <a:pt x="631" y="149"/>
                  <a:pt x="631" y="149"/>
                  <a:pt x="631" y="149"/>
                </a:cubicBezTo>
                <a:cubicBezTo>
                  <a:pt x="630" y="148"/>
                  <a:pt x="630" y="148"/>
                  <a:pt x="630" y="148"/>
                </a:cubicBezTo>
                <a:cubicBezTo>
                  <a:pt x="630" y="148"/>
                  <a:pt x="629" y="147"/>
                  <a:pt x="629" y="147"/>
                </a:cubicBezTo>
                <a:cubicBezTo>
                  <a:pt x="628" y="147"/>
                  <a:pt x="628" y="146"/>
                  <a:pt x="627" y="146"/>
                </a:cubicBezTo>
                <a:cubicBezTo>
                  <a:pt x="627" y="145"/>
                  <a:pt x="626" y="145"/>
                  <a:pt x="626" y="145"/>
                </a:cubicBezTo>
                <a:cubicBezTo>
                  <a:pt x="626" y="144"/>
                  <a:pt x="626" y="144"/>
                  <a:pt x="625" y="144"/>
                </a:cubicBezTo>
                <a:cubicBezTo>
                  <a:pt x="625" y="143"/>
                  <a:pt x="625" y="143"/>
                  <a:pt x="624" y="143"/>
                </a:cubicBezTo>
                <a:cubicBezTo>
                  <a:pt x="623" y="143"/>
                  <a:pt x="623" y="142"/>
                  <a:pt x="623" y="141"/>
                </a:cubicBezTo>
                <a:cubicBezTo>
                  <a:pt x="623" y="141"/>
                  <a:pt x="622" y="141"/>
                  <a:pt x="622" y="140"/>
                </a:cubicBezTo>
                <a:cubicBezTo>
                  <a:pt x="622" y="140"/>
                  <a:pt x="622" y="140"/>
                  <a:pt x="622" y="140"/>
                </a:cubicBezTo>
                <a:cubicBezTo>
                  <a:pt x="621" y="138"/>
                  <a:pt x="624" y="137"/>
                  <a:pt x="624" y="137"/>
                </a:cubicBezTo>
                <a:cubicBezTo>
                  <a:pt x="625" y="136"/>
                  <a:pt x="625" y="136"/>
                  <a:pt x="625" y="136"/>
                </a:cubicBezTo>
                <a:cubicBezTo>
                  <a:pt x="624" y="135"/>
                  <a:pt x="624" y="135"/>
                  <a:pt x="624" y="135"/>
                </a:cubicBezTo>
                <a:cubicBezTo>
                  <a:pt x="623" y="135"/>
                  <a:pt x="623" y="135"/>
                  <a:pt x="623" y="135"/>
                </a:cubicBezTo>
                <a:cubicBezTo>
                  <a:pt x="622" y="135"/>
                  <a:pt x="622" y="135"/>
                  <a:pt x="621" y="135"/>
                </a:cubicBezTo>
                <a:cubicBezTo>
                  <a:pt x="621" y="135"/>
                  <a:pt x="619" y="135"/>
                  <a:pt x="620" y="134"/>
                </a:cubicBezTo>
                <a:cubicBezTo>
                  <a:pt x="620" y="134"/>
                  <a:pt x="620" y="134"/>
                  <a:pt x="620" y="134"/>
                </a:cubicBezTo>
                <a:cubicBezTo>
                  <a:pt x="621" y="133"/>
                  <a:pt x="621" y="133"/>
                  <a:pt x="621" y="132"/>
                </a:cubicBezTo>
                <a:cubicBezTo>
                  <a:pt x="620" y="132"/>
                  <a:pt x="619" y="132"/>
                  <a:pt x="618" y="132"/>
                </a:cubicBezTo>
                <a:cubicBezTo>
                  <a:pt x="617" y="132"/>
                  <a:pt x="617" y="131"/>
                  <a:pt x="616" y="131"/>
                </a:cubicBezTo>
                <a:cubicBezTo>
                  <a:pt x="615" y="130"/>
                  <a:pt x="615" y="130"/>
                  <a:pt x="614" y="130"/>
                </a:cubicBezTo>
                <a:cubicBezTo>
                  <a:pt x="613" y="130"/>
                  <a:pt x="612" y="130"/>
                  <a:pt x="611" y="131"/>
                </a:cubicBezTo>
                <a:cubicBezTo>
                  <a:pt x="611" y="131"/>
                  <a:pt x="610" y="131"/>
                  <a:pt x="609" y="131"/>
                </a:cubicBezTo>
                <a:cubicBezTo>
                  <a:pt x="608" y="131"/>
                  <a:pt x="608" y="131"/>
                  <a:pt x="608" y="130"/>
                </a:cubicBezTo>
                <a:cubicBezTo>
                  <a:pt x="608" y="130"/>
                  <a:pt x="607" y="130"/>
                  <a:pt x="607" y="130"/>
                </a:cubicBezTo>
                <a:cubicBezTo>
                  <a:pt x="606" y="130"/>
                  <a:pt x="607" y="129"/>
                  <a:pt x="607" y="128"/>
                </a:cubicBezTo>
                <a:cubicBezTo>
                  <a:pt x="607" y="128"/>
                  <a:pt x="608" y="127"/>
                  <a:pt x="607" y="126"/>
                </a:cubicBezTo>
                <a:cubicBezTo>
                  <a:pt x="607" y="126"/>
                  <a:pt x="605" y="126"/>
                  <a:pt x="605" y="126"/>
                </a:cubicBezTo>
                <a:cubicBezTo>
                  <a:pt x="604" y="126"/>
                  <a:pt x="603" y="125"/>
                  <a:pt x="602" y="125"/>
                </a:cubicBezTo>
                <a:cubicBezTo>
                  <a:pt x="602" y="124"/>
                  <a:pt x="601" y="123"/>
                  <a:pt x="600" y="123"/>
                </a:cubicBezTo>
                <a:cubicBezTo>
                  <a:pt x="599" y="123"/>
                  <a:pt x="598" y="123"/>
                  <a:pt x="597" y="123"/>
                </a:cubicBezTo>
                <a:cubicBezTo>
                  <a:pt x="597" y="124"/>
                  <a:pt x="596" y="124"/>
                  <a:pt x="596" y="124"/>
                </a:cubicBezTo>
                <a:cubicBezTo>
                  <a:pt x="595" y="124"/>
                  <a:pt x="595" y="124"/>
                  <a:pt x="595" y="125"/>
                </a:cubicBezTo>
                <a:cubicBezTo>
                  <a:pt x="594" y="125"/>
                  <a:pt x="594" y="125"/>
                  <a:pt x="594" y="125"/>
                </a:cubicBezTo>
                <a:cubicBezTo>
                  <a:pt x="593" y="125"/>
                  <a:pt x="592" y="125"/>
                  <a:pt x="592" y="125"/>
                </a:cubicBezTo>
                <a:cubicBezTo>
                  <a:pt x="592" y="126"/>
                  <a:pt x="592" y="126"/>
                  <a:pt x="592" y="126"/>
                </a:cubicBezTo>
                <a:cubicBezTo>
                  <a:pt x="593" y="128"/>
                  <a:pt x="590" y="128"/>
                  <a:pt x="589" y="127"/>
                </a:cubicBezTo>
                <a:cubicBezTo>
                  <a:pt x="589" y="127"/>
                  <a:pt x="589" y="126"/>
                  <a:pt x="589" y="126"/>
                </a:cubicBezTo>
                <a:cubicBezTo>
                  <a:pt x="589" y="126"/>
                  <a:pt x="589" y="125"/>
                  <a:pt x="589" y="125"/>
                </a:cubicBezTo>
                <a:cubicBezTo>
                  <a:pt x="589" y="124"/>
                  <a:pt x="588" y="123"/>
                  <a:pt x="588" y="123"/>
                </a:cubicBezTo>
                <a:cubicBezTo>
                  <a:pt x="588" y="122"/>
                  <a:pt x="587" y="121"/>
                  <a:pt x="587" y="121"/>
                </a:cubicBezTo>
                <a:cubicBezTo>
                  <a:pt x="586" y="120"/>
                  <a:pt x="586" y="120"/>
                  <a:pt x="585" y="119"/>
                </a:cubicBezTo>
                <a:cubicBezTo>
                  <a:pt x="584" y="119"/>
                  <a:pt x="584" y="118"/>
                  <a:pt x="583" y="118"/>
                </a:cubicBezTo>
                <a:cubicBezTo>
                  <a:pt x="582" y="118"/>
                  <a:pt x="581" y="118"/>
                  <a:pt x="580" y="117"/>
                </a:cubicBezTo>
                <a:cubicBezTo>
                  <a:pt x="580" y="117"/>
                  <a:pt x="579" y="117"/>
                  <a:pt x="579" y="117"/>
                </a:cubicBezTo>
                <a:cubicBezTo>
                  <a:pt x="579" y="117"/>
                  <a:pt x="578" y="116"/>
                  <a:pt x="578" y="116"/>
                </a:cubicBezTo>
                <a:cubicBezTo>
                  <a:pt x="577" y="116"/>
                  <a:pt x="576" y="116"/>
                  <a:pt x="575" y="116"/>
                </a:cubicBezTo>
                <a:cubicBezTo>
                  <a:pt x="574" y="116"/>
                  <a:pt x="573" y="116"/>
                  <a:pt x="571" y="116"/>
                </a:cubicBezTo>
                <a:cubicBezTo>
                  <a:pt x="570" y="117"/>
                  <a:pt x="569" y="117"/>
                  <a:pt x="568" y="117"/>
                </a:cubicBezTo>
                <a:cubicBezTo>
                  <a:pt x="567" y="117"/>
                  <a:pt x="565" y="117"/>
                  <a:pt x="564" y="117"/>
                </a:cubicBezTo>
                <a:cubicBezTo>
                  <a:pt x="564" y="118"/>
                  <a:pt x="563" y="118"/>
                  <a:pt x="562" y="118"/>
                </a:cubicBezTo>
                <a:cubicBezTo>
                  <a:pt x="562" y="118"/>
                  <a:pt x="561" y="117"/>
                  <a:pt x="561" y="117"/>
                </a:cubicBezTo>
                <a:cubicBezTo>
                  <a:pt x="560" y="117"/>
                  <a:pt x="560" y="117"/>
                  <a:pt x="559" y="117"/>
                </a:cubicBezTo>
                <a:cubicBezTo>
                  <a:pt x="559" y="117"/>
                  <a:pt x="559" y="117"/>
                  <a:pt x="558" y="117"/>
                </a:cubicBezTo>
                <a:cubicBezTo>
                  <a:pt x="558" y="117"/>
                  <a:pt x="557" y="117"/>
                  <a:pt x="557" y="117"/>
                </a:cubicBezTo>
                <a:cubicBezTo>
                  <a:pt x="557" y="117"/>
                  <a:pt x="557" y="118"/>
                  <a:pt x="557" y="118"/>
                </a:cubicBezTo>
                <a:cubicBezTo>
                  <a:pt x="557" y="119"/>
                  <a:pt x="556" y="119"/>
                  <a:pt x="556" y="120"/>
                </a:cubicBezTo>
                <a:cubicBezTo>
                  <a:pt x="555" y="121"/>
                  <a:pt x="555" y="121"/>
                  <a:pt x="556" y="122"/>
                </a:cubicBezTo>
                <a:cubicBezTo>
                  <a:pt x="556" y="123"/>
                  <a:pt x="556" y="124"/>
                  <a:pt x="556" y="125"/>
                </a:cubicBezTo>
                <a:close/>
                <a:moveTo>
                  <a:pt x="327" y="288"/>
                </a:moveTo>
                <a:cubicBezTo>
                  <a:pt x="328" y="288"/>
                  <a:pt x="329" y="288"/>
                  <a:pt x="329" y="288"/>
                </a:cubicBezTo>
                <a:cubicBezTo>
                  <a:pt x="330" y="288"/>
                  <a:pt x="331" y="288"/>
                  <a:pt x="332" y="288"/>
                </a:cubicBezTo>
                <a:cubicBezTo>
                  <a:pt x="333" y="288"/>
                  <a:pt x="333" y="288"/>
                  <a:pt x="333" y="288"/>
                </a:cubicBezTo>
                <a:cubicBezTo>
                  <a:pt x="334" y="288"/>
                  <a:pt x="334" y="289"/>
                  <a:pt x="333" y="289"/>
                </a:cubicBezTo>
                <a:cubicBezTo>
                  <a:pt x="333" y="289"/>
                  <a:pt x="332" y="288"/>
                  <a:pt x="333" y="289"/>
                </a:cubicBezTo>
                <a:cubicBezTo>
                  <a:pt x="333" y="289"/>
                  <a:pt x="333" y="290"/>
                  <a:pt x="333" y="290"/>
                </a:cubicBezTo>
                <a:cubicBezTo>
                  <a:pt x="334" y="290"/>
                  <a:pt x="335" y="290"/>
                  <a:pt x="336" y="291"/>
                </a:cubicBezTo>
                <a:cubicBezTo>
                  <a:pt x="336" y="291"/>
                  <a:pt x="337" y="291"/>
                  <a:pt x="338" y="291"/>
                </a:cubicBezTo>
                <a:cubicBezTo>
                  <a:pt x="339" y="292"/>
                  <a:pt x="340" y="292"/>
                  <a:pt x="341" y="293"/>
                </a:cubicBezTo>
                <a:cubicBezTo>
                  <a:pt x="342" y="293"/>
                  <a:pt x="343" y="293"/>
                  <a:pt x="344" y="293"/>
                </a:cubicBezTo>
                <a:cubicBezTo>
                  <a:pt x="345" y="293"/>
                  <a:pt x="345" y="294"/>
                  <a:pt x="346" y="294"/>
                </a:cubicBezTo>
                <a:cubicBezTo>
                  <a:pt x="346" y="295"/>
                  <a:pt x="347" y="296"/>
                  <a:pt x="347" y="296"/>
                </a:cubicBezTo>
                <a:cubicBezTo>
                  <a:pt x="348" y="297"/>
                  <a:pt x="348" y="298"/>
                  <a:pt x="349" y="298"/>
                </a:cubicBezTo>
                <a:cubicBezTo>
                  <a:pt x="350" y="299"/>
                  <a:pt x="350" y="300"/>
                  <a:pt x="351" y="300"/>
                </a:cubicBezTo>
                <a:cubicBezTo>
                  <a:pt x="351" y="302"/>
                  <a:pt x="352" y="302"/>
                  <a:pt x="353" y="303"/>
                </a:cubicBezTo>
                <a:cubicBezTo>
                  <a:pt x="354" y="304"/>
                  <a:pt x="354" y="304"/>
                  <a:pt x="355" y="305"/>
                </a:cubicBezTo>
                <a:cubicBezTo>
                  <a:pt x="355" y="305"/>
                  <a:pt x="356" y="306"/>
                  <a:pt x="356" y="306"/>
                </a:cubicBezTo>
                <a:cubicBezTo>
                  <a:pt x="356" y="307"/>
                  <a:pt x="357" y="307"/>
                  <a:pt x="358" y="307"/>
                </a:cubicBezTo>
                <a:cubicBezTo>
                  <a:pt x="359" y="307"/>
                  <a:pt x="361" y="306"/>
                  <a:pt x="362" y="305"/>
                </a:cubicBezTo>
                <a:cubicBezTo>
                  <a:pt x="363" y="304"/>
                  <a:pt x="364" y="304"/>
                  <a:pt x="364" y="304"/>
                </a:cubicBezTo>
                <a:cubicBezTo>
                  <a:pt x="365" y="304"/>
                  <a:pt x="366" y="304"/>
                  <a:pt x="367" y="303"/>
                </a:cubicBezTo>
                <a:cubicBezTo>
                  <a:pt x="368" y="303"/>
                  <a:pt x="369" y="301"/>
                  <a:pt x="370" y="300"/>
                </a:cubicBezTo>
                <a:cubicBezTo>
                  <a:pt x="371" y="300"/>
                  <a:pt x="372" y="299"/>
                  <a:pt x="373" y="299"/>
                </a:cubicBezTo>
                <a:cubicBezTo>
                  <a:pt x="374" y="299"/>
                  <a:pt x="374" y="299"/>
                  <a:pt x="374" y="300"/>
                </a:cubicBezTo>
                <a:cubicBezTo>
                  <a:pt x="375" y="302"/>
                  <a:pt x="378" y="300"/>
                  <a:pt x="379" y="300"/>
                </a:cubicBezTo>
                <a:cubicBezTo>
                  <a:pt x="379" y="300"/>
                  <a:pt x="380" y="300"/>
                  <a:pt x="381" y="300"/>
                </a:cubicBezTo>
                <a:cubicBezTo>
                  <a:pt x="382" y="300"/>
                  <a:pt x="383" y="299"/>
                  <a:pt x="384" y="299"/>
                </a:cubicBezTo>
                <a:cubicBezTo>
                  <a:pt x="385" y="299"/>
                  <a:pt x="385" y="298"/>
                  <a:pt x="386" y="297"/>
                </a:cubicBezTo>
                <a:cubicBezTo>
                  <a:pt x="386" y="296"/>
                  <a:pt x="386" y="296"/>
                  <a:pt x="387" y="295"/>
                </a:cubicBezTo>
                <a:cubicBezTo>
                  <a:pt x="387" y="293"/>
                  <a:pt x="387" y="292"/>
                  <a:pt x="387" y="291"/>
                </a:cubicBezTo>
                <a:cubicBezTo>
                  <a:pt x="387" y="290"/>
                  <a:pt x="387" y="289"/>
                  <a:pt x="388" y="288"/>
                </a:cubicBezTo>
                <a:cubicBezTo>
                  <a:pt x="388" y="287"/>
                  <a:pt x="389" y="287"/>
                  <a:pt x="389" y="286"/>
                </a:cubicBezTo>
                <a:cubicBezTo>
                  <a:pt x="390" y="285"/>
                  <a:pt x="390" y="285"/>
                  <a:pt x="390" y="284"/>
                </a:cubicBezTo>
                <a:cubicBezTo>
                  <a:pt x="389" y="283"/>
                  <a:pt x="389" y="283"/>
                  <a:pt x="389" y="282"/>
                </a:cubicBezTo>
                <a:cubicBezTo>
                  <a:pt x="389" y="281"/>
                  <a:pt x="390" y="283"/>
                  <a:pt x="391" y="283"/>
                </a:cubicBezTo>
                <a:cubicBezTo>
                  <a:pt x="391" y="283"/>
                  <a:pt x="393" y="283"/>
                  <a:pt x="393" y="283"/>
                </a:cubicBezTo>
                <a:cubicBezTo>
                  <a:pt x="395" y="282"/>
                  <a:pt x="396" y="282"/>
                  <a:pt x="398" y="281"/>
                </a:cubicBezTo>
                <a:cubicBezTo>
                  <a:pt x="399" y="280"/>
                  <a:pt x="400" y="278"/>
                  <a:pt x="400" y="277"/>
                </a:cubicBezTo>
                <a:cubicBezTo>
                  <a:pt x="401" y="276"/>
                  <a:pt x="401" y="275"/>
                  <a:pt x="402" y="274"/>
                </a:cubicBezTo>
                <a:cubicBezTo>
                  <a:pt x="402" y="274"/>
                  <a:pt x="403" y="274"/>
                  <a:pt x="403" y="273"/>
                </a:cubicBezTo>
                <a:cubicBezTo>
                  <a:pt x="403" y="273"/>
                  <a:pt x="403" y="273"/>
                  <a:pt x="403" y="273"/>
                </a:cubicBezTo>
                <a:cubicBezTo>
                  <a:pt x="404" y="273"/>
                  <a:pt x="404" y="272"/>
                  <a:pt x="404" y="272"/>
                </a:cubicBezTo>
                <a:cubicBezTo>
                  <a:pt x="404" y="272"/>
                  <a:pt x="405" y="272"/>
                  <a:pt x="405" y="272"/>
                </a:cubicBezTo>
                <a:cubicBezTo>
                  <a:pt x="406" y="272"/>
                  <a:pt x="406" y="272"/>
                  <a:pt x="407" y="271"/>
                </a:cubicBezTo>
                <a:cubicBezTo>
                  <a:pt x="408" y="271"/>
                  <a:pt x="410" y="270"/>
                  <a:pt x="411" y="270"/>
                </a:cubicBezTo>
                <a:cubicBezTo>
                  <a:pt x="413" y="269"/>
                  <a:pt x="414" y="268"/>
                  <a:pt x="416" y="267"/>
                </a:cubicBezTo>
                <a:cubicBezTo>
                  <a:pt x="418" y="266"/>
                  <a:pt x="419" y="265"/>
                  <a:pt x="421" y="265"/>
                </a:cubicBezTo>
                <a:cubicBezTo>
                  <a:pt x="422" y="265"/>
                  <a:pt x="423" y="265"/>
                  <a:pt x="423" y="265"/>
                </a:cubicBezTo>
                <a:cubicBezTo>
                  <a:pt x="425" y="264"/>
                  <a:pt x="426" y="264"/>
                  <a:pt x="427" y="263"/>
                </a:cubicBezTo>
                <a:cubicBezTo>
                  <a:pt x="428" y="262"/>
                  <a:pt x="429" y="262"/>
                  <a:pt x="430" y="261"/>
                </a:cubicBezTo>
                <a:cubicBezTo>
                  <a:pt x="431" y="261"/>
                  <a:pt x="432" y="261"/>
                  <a:pt x="433" y="260"/>
                </a:cubicBezTo>
                <a:cubicBezTo>
                  <a:pt x="435" y="259"/>
                  <a:pt x="437" y="259"/>
                  <a:pt x="439" y="259"/>
                </a:cubicBezTo>
                <a:cubicBezTo>
                  <a:pt x="440" y="258"/>
                  <a:pt x="441" y="258"/>
                  <a:pt x="442" y="257"/>
                </a:cubicBezTo>
                <a:cubicBezTo>
                  <a:pt x="443" y="257"/>
                  <a:pt x="444" y="256"/>
                  <a:pt x="444" y="256"/>
                </a:cubicBezTo>
                <a:cubicBezTo>
                  <a:pt x="445" y="254"/>
                  <a:pt x="443" y="252"/>
                  <a:pt x="442" y="252"/>
                </a:cubicBezTo>
                <a:cubicBezTo>
                  <a:pt x="441" y="251"/>
                  <a:pt x="441" y="251"/>
                  <a:pt x="440" y="251"/>
                </a:cubicBezTo>
                <a:cubicBezTo>
                  <a:pt x="439" y="250"/>
                  <a:pt x="439" y="250"/>
                  <a:pt x="438" y="249"/>
                </a:cubicBezTo>
                <a:cubicBezTo>
                  <a:pt x="437" y="249"/>
                  <a:pt x="436" y="249"/>
                  <a:pt x="436" y="248"/>
                </a:cubicBezTo>
                <a:cubicBezTo>
                  <a:pt x="434" y="247"/>
                  <a:pt x="433" y="246"/>
                  <a:pt x="432" y="245"/>
                </a:cubicBezTo>
                <a:cubicBezTo>
                  <a:pt x="431" y="245"/>
                  <a:pt x="430" y="244"/>
                  <a:pt x="429" y="244"/>
                </a:cubicBezTo>
                <a:cubicBezTo>
                  <a:pt x="429" y="243"/>
                  <a:pt x="428" y="242"/>
                  <a:pt x="427" y="242"/>
                </a:cubicBezTo>
                <a:cubicBezTo>
                  <a:pt x="427" y="241"/>
                  <a:pt x="426" y="241"/>
                  <a:pt x="425" y="241"/>
                </a:cubicBezTo>
                <a:cubicBezTo>
                  <a:pt x="424" y="240"/>
                  <a:pt x="423" y="240"/>
                  <a:pt x="422" y="239"/>
                </a:cubicBezTo>
                <a:cubicBezTo>
                  <a:pt x="421" y="239"/>
                  <a:pt x="420" y="239"/>
                  <a:pt x="419" y="239"/>
                </a:cubicBezTo>
                <a:cubicBezTo>
                  <a:pt x="416" y="238"/>
                  <a:pt x="414" y="238"/>
                  <a:pt x="412" y="238"/>
                </a:cubicBezTo>
                <a:cubicBezTo>
                  <a:pt x="410" y="238"/>
                  <a:pt x="409" y="238"/>
                  <a:pt x="408" y="238"/>
                </a:cubicBezTo>
                <a:cubicBezTo>
                  <a:pt x="407" y="238"/>
                  <a:pt x="406" y="238"/>
                  <a:pt x="406" y="239"/>
                </a:cubicBezTo>
                <a:cubicBezTo>
                  <a:pt x="405" y="240"/>
                  <a:pt x="405" y="241"/>
                  <a:pt x="405" y="242"/>
                </a:cubicBezTo>
                <a:cubicBezTo>
                  <a:pt x="405" y="242"/>
                  <a:pt x="404" y="242"/>
                  <a:pt x="404" y="242"/>
                </a:cubicBezTo>
                <a:cubicBezTo>
                  <a:pt x="404" y="243"/>
                  <a:pt x="403" y="243"/>
                  <a:pt x="402" y="243"/>
                </a:cubicBezTo>
                <a:cubicBezTo>
                  <a:pt x="402" y="244"/>
                  <a:pt x="402" y="244"/>
                  <a:pt x="402" y="244"/>
                </a:cubicBezTo>
                <a:cubicBezTo>
                  <a:pt x="401" y="244"/>
                  <a:pt x="401" y="243"/>
                  <a:pt x="401" y="243"/>
                </a:cubicBezTo>
                <a:cubicBezTo>
                  <a:pt x="401" y="242"/>
                  <a:pt x="402" y="241"/>
                  <a:pt x="402" y="241"/>
                </a:cubicBezTo>
                <a:cubicBezTo>
                  <a:pt x="402" y="240"/>
                  <a:pt x="402" y="239"/>
                  <a:pt x="401" y="239"/>
                </a:cubicBezTo>
                <a:cubicBezTo>
                  <a:pt x="400" y="239"/>
                  <a:pt x="399" y="239"/>
                  <a:pt x="398" y="239"/>
                </a:cubicBezTo>
                <a:cubicBezTo>
                  <a:pt x="398" y="239"/>
                  <a:pt x="397" y="239"/>
                  <a:pt x="396" y="240"/>
                </a:cubicBezTo>
                <a:cubicBezTo>
                  <a:pt x="395" y="240"/>
                  <a:pt x="395" y="241"/>
                  <a:pt x="394" y="242"/>
                </a:cubicBezTo>
                <a:cubicBezTo>
                  <a:pt x="394" y="241"/>
                  <a:pt x="397" y="239"/>
                  <a:pt x="395" y="238"/>
                </a:cubicBezTo>
                <a:cubicBezTo>
                  <a:pt x="394" y="238"/>
                  <a:pt x="393" y="238"/>
                  <a:pt x="392" y="238"/>
                </a:cubicBezTo>
                <a:cubicBezTo>
                  <a:pt x="391" y="238"/>
                  <a:pt x="390" y="237"/>
                  <a:pt x="389" y="237"/>
                </a:cubicBezTo>
                <a:cubicBezTo>
                  <a:pt x="387" y="237"/>
                  <a:pt x="385" y="237"/>
                  <a:pt x="384" y="236"/>
                </a:cubicBezTo>
                <a:cubicBezTo>
                  <a:pt x="383" y="236"/>
                  <a:pt x="382" y="235"/>
                  <a:pt x="381" y="235"/>
                </a:cubicBezTo>
                <a:cubicBezTo>
                  <a:pt x="380" y="234"/>
                  <a:pt x="380" y="233"/>
                  <a:pt x="379" y="233"/>
                </a:cubicBezTo>
                <a:cubicBezTo>
                  <a:pt x="379" y="232"/>
                  <a:pt x="378" y="232"/>
                  <a:pt x="377" y="232"/>
                </a:cubicBezTo>
                <a:cubicBezTo>
                  <a:pt x="376" y="232"/>
                  <a:pt x="376" y="232"/>
                  <a:pt x="375" y="232"/>
                </a:cubicBezTo>
                <a:cubicBezTo>
                  <a:pt x="374" y="232"/>
                  <a:pt x="373" y="232"/>
                  <a:pt x="372" y="232"/>
                </a:cubicBezTo>
                <a:cubicBezTo>
                  <a:pt x="371" y="232"/>
                  <a:pt x="370" y="232"/>
                  <a:pt x="369" y="232"/>
                </a:cubicBezTo>
                <a:cubicBezTo>
                  <a:pt x="368" y="232"/>
                  <a:pt x="367" y="233"/>
                  <a:pt x="366" y="233"/>
                </a:cubicBezTo>
                <a:cubicBezTo>
                  <a:pt x="365" y="233"/>
                  <a:pt x="364" y="233"/>
                  <a:pt x="363" y="234"/>
                </a:cubicBezTo>
                <a:cubicBezTo>
                  <a:pt x="362" y="234"/>
                  <a:pt x="361" y="234"/>
                  <a:pt x="359" y="234"/>
                </a:cubicBezTo>
                <a:cubicBezTo>
                  <a:pt x="354" y="234"/>
                  <a:pt x="349" y="234"/>
                  <a:pt x="344" y="235"/>
                </a:cubicBezTo>
                <a:cubicBezTo>
                  <a:pt x="343" y="235"/>
                  <a:pt x="342" y="235"/>
                  <a:pt x="341" y="236"/>
                </a:cubicBezTo>
                <a:cubicBezTo>
                  <a:pt x="340" y="236"/>
                  <a:pt x="340" y="236"/>
                  <a:pt x="339" y="236"/>
                </a:cubicBezTo>
                <a:cubicBezTo>
                  <a:pt x="339" y="236"/>
                  <a:pt x="338" y="236"/>
                  <a:pt x="338" y="236"/>
                </a:cubicBezTo>
                <a:cubicBezTo>
                  <a:pt x="337" y="236"/>
                  <a:pt x="338" y="237"/>
                  <a:pt x="339" y="237"/>
                </a:cubicBezTo>
                <a:cubicBezTo>
                  <a:pt x="339" y="238"/>
                  <a:pt x="340" y="238"/>
                  <a:pt x="340" y="239"/>
                </a:cubicBezTo>
                <a:cubicBezTo>
                  <a:pt x="341" y="241"/>
                  <a:pt x="341" y="242"/>
                  <a:pt x="342" y="244"/>
                </a:cubicBezTo>
                <a:cubicBezTo>
                  <a:pt x="342" y="245"/>
                  <a:pt x="343" y="245"/>
                  <a:pt x="343" y="246"/>
                </a:cubicBezTo>
                <a:cubicBezTo>
                  <a:pt x="344" y="246"/>
                  <a:pt x="344" y="247"/>
                  <a:pt x="345" y="247"/>
                </a:cubicBezTo>
                <a:cubicBezTo>
                  <a:pt x="346" y="247"/>
                  <a:pt x="347" y="247"/>
                  <a:pt x="347" y="248"/>
                </a:cubicBezTo>
                <a:cubicBezTo>
                  <a:pt x="348" y="248"/>
                  <a:pt x="348" y="249"/>
                  <a:pt x="348" y="250"/>
                </a:cubicBezTo>
                <a:cubicBezTo>
                  <a:pt x="347" y="250"/>
                  <a:pt x="347" y="251"/>
                  <a:pt x="346" y="251"/>
                </a:cubicBezTo>
                <a:cubicBezTo>
                  <a:pt x="346" y="252"/>
                  <a:pt x="345" y="252"/>
                  <a:pt x="345" y="253"/>
                </a:cubicBezTo>
                <a:cubicBezTo>
                  <a:pt x="345" y="253"/>
                  <a:pt x="345" y="254"/>
                  <a:pt x="345" y="254"/>
                </a:cubicBezTo>
                <a:cubicBezTo>
                  <a:pt x="344" y="255"/>
                  <a:pt x="344" y="255"/>
                  <a:pt x="343" y="255"/>
                </a:cubicBezTo>
                <a:cubicBezTo>
                  <a:pt x="342" y="256"/>
                  <a:pt x="341" y="257"/>
                  <a:pt x="341" y="258"/>
                </a:cubicBezTo>
                <a:cubicBezTo>
                  <a:pt x="340" y="259"/>
                  <a:pt x="339" y="261"/>
                  <a:pt x="338" y="262"/>
                </a:cubicBezTo>
                <a:cubicBezTo>
                  <a:pt x="337" y="263"/>
                  <a:pt x="336" y="263"/>
                  <a:pt x="336" y="264"/>
                </a:cubicBezTo>
                <a:cubicBezTo>
                  <a:pt x="336" y="265"/>
                  <a:pt x="337" y="265"/>
                  <a:pt x="337" y="265"/>
                </a:cubicBezTo>
                <a:cubicBezTo>
                  <a:pt x="338" y="265"/>
                  <a:pt x="338" y="266"/>
                  <a:pt x="339" y="266"/>
                </a:cubicBezTo>
                <a:cubicBezTo>
                  <a:pt x="339" y="266"/>
                  <a:pt x="340" y="266"/>
                  <a:pt x="340" y="267"/>
                </a:cubicBezTo>
                <a:cubicBezTo>
                  <a:pt x="340" y="268"/>
                  <a:pt x="339" y="268"/>
                  <a:pt x="338" y="268"/>
                </a:cubicBezTo>
                <a:cubicBezTo>
                  <a:pt x="337" y="268"/>
                  <a:pt x="337" y="268"/>
                  <a:pt x="337" y="269"/>
                </a:cubicBezTo>
                <a:cubicBezTo>
                  <a:pt x="336" y="269"/>
                  <a:pt x="336" y="269"/>
                  <a:pt x="336" y="269"/>
                </a:cubicBezTo>
                <a:cubicBezTo>
                  <a:pt x="335" y="269"/>
                  <a:pt x="334" y="268"/>
                  <a:pt x="334" y="268"/>
                </a:cubicBezTo>
                <a:cubicBezTo>
                  <a:pt x="332" y="269"/>
                  <a:pt x="334" y="272"/>
                  <a:pt x="334" y="273"/>
                </a:cubicBezTo>
                <a:cubicBezTo>
                  <a:pt x="334" y="274"/>
                  <a:pt x="334" y="275"/>
                  <a:pt x="333" y="275"/>
                </a:cubicBezTo>
                <a:cubicBezTo>
                  <a:pt x="333" y="276"/>
                  <a:pt x="332" y="277"/>
                  <a:pt x="331" y="277"/>
                </a:cubicBezTo>
                <a:cubicBezTo>
                  <a:pt x="330" y="278"/>
                  <a:pt x="330" y="278"/>
                  <a:pt x="329" y="279"/>
                </a:cubicBezTo>
                <a:cubicBezTo>
                  <a:pt x="329" y="280"/>
                  <a:pt x="329" y="280"/>
                  <a:pt x="329" y="281"/>
                </a:cubicBezTo>
                <a:cubicBezTo>
                  <a:pt x="329" y="282"/>
                  <a:pt x="328" y="282"/>
                  <a:pt x="327" y="283"/>
                </a:cubicBezTo>
                <a:cubicBezTo>
                  <a:pt x="326" y="283"/>
                  <a:pt x="326" y="284"/>
                  <a:pt x="326" y="285"/>
                </a:cubicBezTo>
                <a:cubicBezTo>
                  <a:pt x="325" y="285"/>
                  <a:pt x="326" y="285"/>
                  <a:pt x="326" y="286"/>
                </a:cubicBezTo>
                <a:cubicBezTo>
                  <a:pt x="326" y="286"/>
                  <a:pt x="325" y="287"/>
                  <a:pt x="325" y="287"/>
                </a:cubicBezTo>
                <a:cubicBezTo>
                  <a:pt x="325" y="287"/>
                  <a:pt x="325" y="288"/>
                  <a:pt x="326" y="288"/>
                </a:cubicBezTo>
                <a:cubicBezTo>
                  <a:pt x="326" y="288"/>
                  <a:pt x="327" y="288"/>
                  <a:pt x="327" y="288"/>
                </a:cubicBezTo>
                <a:close/>
                <a:moveTo>
                  <a:pt x="499" y="153"/>
                </a:moveTo>
                <a:cubicBezTo>
                  <a:pt x="500" y="153"/>
                  <a:pt x="501" y="153"/>
                  <a:pt x="502" y="153"/>
                </a:cubicBezTo>
                <a:cubicBezTo>
                  <a:pt x="504" y="153"/>
                  <a:pt x="507" y="152"/>
                  <a:pt x="509" y="150"/>
                </a:cubicBezTo>
                <a:cubicBezTo>
                  <a:pt x="509" y="150"/>
                  <a:pt x="510" y="149"/>
                  <a:pt x="510" y="148"/>
                </a:cubicBezTo>
                <a:cubicBezTo>
                  <a:pt x="510" y="147"/>
                  <a:pt x="509" y="148"/>
                  <a:pt x="508" y="148"/>
                </a:cubicBezTo>
                <a:cubicBezTo>
                  <a:pt x="507" y="148"/>
                  <a:pt x="506" y="148"/>
                  <a:pt x="505" y="148"/>
                </a:cubicBezTo>
                <a:cubicBezTo>
                  <a:pt x="504" y="148"/>
                  <a:pt x="503" y="148"/>
                  <a:pt x="502" y="148"/>
                </a:cubicBezTo>
                <a:cubicBezTo>
                  <a:pt x="500" y="148"/>
                  <a:pt x="498" y="148"/>
                  <a:pt x="497" y="149"/>
                </a:cubicBezTo>
                <a:cubicBezTo>
                  <a:pt x="496" y="149"/>
                  <a:pt x="495" y="149"/>
                  <a:pt x="495" y="149"/>
                </a:cubicBezTo>
                <a:cubicBezTo>
                  <a:pt x="494" y="149"/>
                  <a:pt x="493" y="149"/>
                  <a:pt x="492" y="149"/>
                </a:cubicBezTo>
                <a:cubicBezTo>
                  <a:pt x="490" y="150"/>
                  <a:pt x="489" y="150"/>
                  <a:pt x="487" y="150"/>
                </a:cubicBezTo>
                <a:cubicBezTo>
                  <a:pt x="485" y="151"/>
                  <a:pt x="483" y="151"/>
                  <a:pt x="480" y="152"/>
                </a:cubicBezTo>
                <a:cubicBezTo>
                  <a:pt x="478" y="152"/>
                  <a:pt x="476" y="152"/>
                  <a:pt x="474" y="152"/>
                </a:cubicBezTo>
                <a:cubicBezTo>
                  <a:pt x="473" y="152"/>
                  <a:pt x="473" y="152"/>
                  <a:pt x="472" y="152"/>
                </a:cubicBezTo>
                <a:cubicBezTo>
                  <a:pt x="472" y="152"/>
                  <a:pt x="472" y="152"/>
                  <a:pt x="471" y="152"/>
                </a:cubicBezTo>
                <a:cubicBezTo>
                  <a:pt x="470" y="152"/>
                  <a:pt x="470" y="152"/>
                  <a:pt x="469" y="153"/>
                </a:cubicBezTo>
                <a:cubicBezTo>
                  <a:pt x="468" y="153"/>
                  <a:pt x="467" y="155"/>
                  <a:pt x="468" y="156"/>
                </a:cubicBezTo>
                <a:cubicBezTo>
                  <a:pt x="468" y="156"/>
                  <a:pt x="469" y="156"/>
                  <a:pt x="469" y="157"/>
                </a:cubicBezTo>
                <a:cubicBezTo>
                  <a:pt x="469" y="157"/>
                  <a:pt x="469" y="158"/>
                  <a:pt x="469" y="158"/>
                </a:cubicBezTo>
                <a:cubicBezTo>
                  <a:pt x="469" y="159"/>
                  <a:pt x="469" y="159"/>
                  <a:pt x="469" y="160"/>
                </a:cubicBezTo>
                <a:cubicBezTo>
                  <a:pt x="469" y="161"/>
                  <a:pt x="468" y="162"/>
                  <a:pt x="469" y="162"/>
                </a:cubicBezTo>
                <a:cubicBezTo>
                  <a:pt x="470" y="163"/>
                  <a:pt x="471" y="162"/>
                  <a:pt x="471" y="163"/>
                </a:cubicBezTo>
                <a:cubicBezTo>
                  <a:pt x="472" y="163"/>
                  <a:pt x="473" y="163"/>
                  <a:pt x="474" y="164"/>
                </a:cubicBezTo>
                <a:cubicBezTo>
                  <a:pt x="475" y="164"/>
                  <a:pt x="475" y="164"/>
                  <a:pt x="476" y="164"/>
                </a:cubicBezTo>
                <a:cubicBezTo>
                  <a:pt x="477" y="165"/>
                  <a:pt x="477" y="166"/>
                  <a:pt x="478" y="166"/>
                </a:cubicBezTo>
                <a:cubicBezTo>
                  <a:pt x="479" y="166"/>
                  <a:pt x="480" y="167"/>
                  <a:pt x="480" y="167"/>
                </a:cubicBezTo>
                <a:cubicBezTo>
                  <a:pt x="481" y="167"/>
                  <a:pt x="482" y="167"/>
                  <a:pt x="483" y="166"/>
                </a:cubicBezTo>
                <a:cubicBezTo>
                  <a:pt x="484" y="166"/>
                  <a:pt x="485" y="166"/>
                  <a:pt x="486" y="166"/>
                </a:cubicBezTo>
                <a:cubicBezTo>
                  <a:pt x="488" y="165"/>
                  <a:pt x="490" y="165"/>
                  <a:pt x="492" y="164"/>
                </a:cubicBezTo>
                <a:cubicBezTo>
                  <a:pt x="493" y="164"/>
                  <a:pt x="495" y="164"/>
                  <a:pt x="497" y="164"/>
                </a:cubicBezTo>
                <a:cubicBezTo>
                  <a:pt x="498" y="163"/>
                  <a:pt x="499" y="163"/>
                  <a:pt x="500" y="163"/>
                </a:cubicBezTo>
                <a:cubicBezTo>
                  <a:pt x="501" y="163"/>
                  <a:pt x="502" y="163"/>
                  <a:pt x="503" y="162"/>
                </a:cubicBezTo>
                <a:cubicBezTo>
                  <a:pt x="504" y="162"/>
                  <a:pt x="504" y="162"/>
                  <a:pt x="504" y="161"/>
                </a:cubicBezTo>
                <a:cubicBezTo>
                  <a:pt x="504" y="161"/>
                  <a:pt x="504" y="161"/>
                  <a:pt x="504" y="160"/>
                </a:cubicBezTo>
                <a:cubicBezTo>
                  <a:pt x="504" y="160"/>
                  <a:pt x="505" y="159"/>
                  <a:pt x="505" y="158"/>
                </a:cubicBezTo>
                <a:cubicBezTo>
                  <a:pt x="504" y="158"/>
                  <a:pt x="504" y="158"/>
                  <a:pt x="504" y="157"/>
                </a:cubicBezTo>
                <a:cubicBezTo>
                  <a:pt x="504" y="157"/>
                  <a:pt x="505" y="157"/>
                  <a:pt x="504" y="156"/>
                </a:cubicBezTo>
                <a:cubicBezTo>
                  <a:pt x="504" y="155"/>
                  <a:pt x="503" y="156"/>
                  <a:pt x="502" y="156"/>
                </a:cubicBezTo>
                <a:cubicBezTo>
                  <a:pt x="501" y="155"/>
                  <a:pt x="501" y="156"/>
                  <a:pt x="500" y="156"/>
                </a:cubicBezTo>
                <a:cubicBezTo>
                  <a:pt x="499" y="156"/>
                  <a:pt x="498" y="156"/>
                  <a:pt x="497" y="155"/>
                </a:cubicBezTo>
                <a:cubicBezTo>
                  <a:pt x="497" y="155"/>
                  <a:pt x="496" y="154"/>
                  <a:pt x="496" y="154"/>
                </a:cubicBezTo>
                <a:cubicBezTo>
                  <a:pt x="497" y="153"/>
                  <a:pt x="498" y="153"/>
                  <a:pt x="499" y="153"/>
                </a:cubicBezTo>
                <a:close/>
                <a:moveTo>
                  <a:pt x="358" y="196"/>
                </a:moveTo>
                <a:cubicBezTo>
                  <a:pt x="359" y="195"/>
                  <a:pt x="359" y="195"/>
                  <a:pt x="360" y="195"/>
                </a:cubicBezTo>
                <a:cubicBezTo>
                  <a:pt x="361" y="194"/>
                  <a:pt x="363" y="195"/>
                  <a:pt x="363" y="196"/>
                </a:cubicBezTo>
                <a:cubicBezTo>
                  <a:pt x="363" y="197"/>
                  <a:pt x="363" y="197"/>
                  <a:pt x="362" y="197"/>
                </a:cubicBezTo>
                <a:cubicBezTo>
                  <a:pt x="362" y="198"/>
                  <a:pt x="362" y="198"/>
                  <a:pt x="362" y="198"/>
                </a:cubicBezTo>
                <a:cubicBezTo>
                  <a:pt x="362" y="199"/>
                  <a:pt x="362" y="200"/>
                  <a:pt x="363" y="200"/>
                </a:cubicBezTo>
                <a:cubicBezTo>
                  <a:pt x="365" y="201"/>
                  <a:pt x="367" y="200"/>
                  <a:pt x="369" y="201"/>
                </a:cubicBezTo>
                <a:cubicBezTo>
                  <a:pt x="370" y="201"/>
                  <a:pt x="371" y="201"/>
                  <a:pt x="372" y="201"/>
                </a:cubicBezTo>
                <a:cubicBezTo>
                  <a:pt x="373" y="201"/>
                  <a:pt x="374" y="200"/>
                  <a:pt x="375" y="200"/>
                </a:cubicBezTo>
                <a:cubicBezTo>
                  <a:pt x="376" y="200"/>
                  <a:pt x="377" y="200"/>
                  <a:pt x="378" y="200"/>
                </a:cubicBezTo>
                <a:cubicBezTo>
                  <a:pt x="379" y="200"/>
                  <a:pt x="381" y="200"/>
                  <a:pt x="381" y="199"/>
                </a:cubicBezTo>
                <a:cubicBezTo>
                  <a:pt x="381" y="198"/>
                  <a:pt x="380" y="198"/>
                  <a:pt x="380" y="198"/>
                </a:cubicBezTo>
                <a:cubicBezTo>
                  <a:pt x="380" y="197"/>
                  <a:pt x="380" y="196"/>
                  <a:pt x="381" y="195"/>
                </a:cubicBezTo>
                <a:cubicBezTo>
                  <a:pt x="381" y="195"/>
                  <a:pt x="381" y="195"/>
                  <a:pt x="381" y="195"/>
                </a:cubicBezTo>
                <a:cubicBezTo>
                  <a:pt x="381" y="195"/>
                  <a:pt x="381" y="195"/>
                  <a:pt x="381" y="195"/>
                </a:cubicBezTo>
                <a:cubicBezTo>
                  <a:pt x="381" y="194"/>
                  <a:pt x="382" y="194"/>
                  <a:pt x="382" y="194"/>
                </a:cubicBezTo>
                <a:cubicBezTo>
                  <a:pt x="383" y="194"/>
                  <a:pt x="383" y="195"/>
                  <a:pt x="383" y="195"/>
                </a:cubicBezTo>
                <a:cubicBezTo>
                  <a:pt x="384" y="196"/>
                  <a:pt x="383" y="197"/>
                  <a:pt x="384" y="197"/>
                </a:cubicBezTo>
                <a:cubicBezTo>
                  <a:pt x="384" y="198"/>
                  <a:pt x="385" y="198"/>
                  <a:pt x="386" y="198"/>
                </a:cubicBezTo>
                <a:cubicBezTo>
                  <a:pt x="387" y="198"/>
                  <a:pt x="387" y="199"/>
                  <a:pt x="387" y="200"/>
                </a:cubicBezTo>
                <a:cubicBezTo>
                  <a:pt x="386" y="200"/>
                  <a:pt x="386" y="200"/>
                  <a:pt x="386" y="201"/>
                </a:cubicBezTo>
                <a:cubicBezTo>
                  <a:pt x="387" y="201"/>
                  <a:pt x="387" y="201"/>
                  <a:pt x="387" y="201"/>
                </a:cubicBezTo>
                <a:cubicBezTo>
                  <a:pt x="387" y="202"/>
                  <a:pt x="387" y="203"/>
                  <a:pt x="388" y="202"/>
                </a:cubicBezTo>
                <a:cubicBezTo>
                  <a:pt x="389" y="202"/>
                  <a:pt x="390" y="202"/>
                  <a:pt x="391" y="202"/>
                </a:cubicBezTo>
                <a:cubicBezTo>
                  <a:pt x="392" y="201"/>
                  <a:pt x="393" y="201"/>
                  <a:pt x="393" y="200"/>
                </a:cubicBezTo>
                <a:cubicBezTo>
                  <a:pt x="394" y="200"/>
                  <a:pt x="394" y="200"/>
                  <a:pt x="395" y="200"/>
                </a:cubicBezTo>
                <a:cubicBezTo>
                  <a:pt x="396" y="199"/>
                  <a:pt x="398" y="199"/>
                  <a:pt x="397" y="197"/>
                </a:cubicBezTo>
                <a:cubicBezTo>
                  <a:pt x="397" y="197"/>
                  <a:pt x="396" y="197"/>
                  <a:pt x="396" y="196"/>
                </a:cubicBezTo>
                <a:cubicBezTo>
                  <a:pt x="396" y="195"/>
                  <a:pt x="396" y="194"/>
                  <a:pt x="396" y="194"/>
                </a:cubicBezTo>
                <a:cubicBezTo>
                  <a:pt x="396" y="193"/>
                  <a:pt x="395" y="192"/>
                  <a:pt x="395" y="192"/>
                </a:cubicBezTo>
                <a:cubicBezTo>
                  <a:pt x="395" y="191"/>
                  <a:pt x="395" y="191"/>
                  <a:pt x="396" y="191"/>
                </a:cubicBezTo>
                <a:cubicBezTo>
                  <a:pt x="396" y="190"/>
                  <a:pt x="396" y="190"/>
                  <a:pt x="396" y="190"/>
                </a:cubicBezTo>
                <a:cubicBezTo>
                  <a:pt x="398" y="189"/>
                  <a:pt x="398" y="192"/>
                  <a:pt x="398" y="192"/>
                </a:cubicBezTo>
                <a:cubicBezTo>
                  <a:pt x="398" y="193"/>
                  <a:pt x="398" y="193"/>
                  <a:pt x="399" y="193"/>
                </a:cubicBezTo>
                <a:cubicBezTo>
                  <a:pt x="400" y="193"/>
                  <a:pt x="400" y="194"/>
                  <a:pt x="400" y="194"/>
                </a:cubicBezTo>
                <a:cubicBezTo>
                  <a:pt x="400" y="196"/>
                  <a:pt x="403" y="194"/>
                  <a:pt x="404" y="194"/>
                </a:cubicBezTo>
                <a:cubicBezTo>
                  <a:pt x="405" y="193"/>
                  <a:pt x="405" y="193"/>
                  <a:pt x="406" y="192"/>
                </a:cubicBezTo>
                <a:cubicBezTo>
                  <a:pt x="407" y="191"/>
                  <a:pt x="408" y="190"/>
                  <a:pt x="407" y="188"/>
                </a:cubicBezTo>
                <a:cubicBezTo>
                  <a:pt x="407" y="188"/>
                  <a:pt x="406" y="187"/>
                  <a:pt x="406" y="187"/>
                </a:cubicBezTo>
                <a:cubicBezTo>
                  <a:pt x="405" y="187"/>
                  <a:pt x="405" y="187"/>
                  <a:pt x="405" y="187"/>
                </a:cubicBezTo>
                <a:cubicBezTo>
                  <a:pt x="404" y="186"/>
                  <a:pt x="404" y="186"/>
                  <a:pt x="405" y="186"/>
                </a:cubicBezTo>
                <a:cubicBezTo>
                  <a:pt x="406" y="186"/>
                  <a:pt x="407" y="186"/>
                  <a:pt x="407" y="186"/>
                </a:cubicBezTo>
                <a:cubicBezTo>
                  <a:pt x="408" y="186"/>
                  <a:pt x="408" y="186"/>
                  <a:pt x="409" y="186"/>
                </a:cubicBezTo>
                <a:cubicBezTo>
                  <a:pt x="409" y="185"/>
                  <a:pt x="411" y="186"/>
                  <a:pt x="410" y="185"/>
                </a:cubicBezTo>
                <a:cubicBezTo>
                  <a:pt x="410" y="184"/>
                  <a:pt x="410" y="183"/>
                  <a:pt x="410" y="183"/>
                </a:cubicBezTo>
                <a:cubicBezTo>
                  <a:pt x="410" y="182"/>
                  <a:pt x="411" y="180"/>
                  <a:pt x="412" y="180"/>
                </a:cubicBezTo>
                <a:cubicBezTo>
                  <a:pt x="413" y="180"/>
                  <a:pt x="413" y="180"/>
                  <a:pt x="413" y="180"/>
                </a:cubicBezTo>
                <a:cubicBezTo>
                  <a:pt x="414" y="179"/>
                  <a:pt x="414" y="179"/>
                  <a:pt x="414" y="179"/>
                </a:cubicBezTo>
                <a:cubicBezTo>
                  <a:pt x="415" y="179"/>
                  <a:pt x="416" y="179"/>
                  <a:pt x="417" y="179"/>
                </a:cubicBezTo>
                <a:cubicBezTo>
                  <a:pt x="417" y="180"/>
                  <a:pt x="417" y="181"/>
                  <a:pt x="416" y="181"/>
                </a:cubicBezTo>
                <a:cubicBezTo>
                  <a:pt x="415" y="181"/>
                  <a:pt x="415" y="182"/>
                  <a:pt x="415" y="183"/>
                </a:cubicBezTo>
                <a:cubicBezTo>
                  <a:pt x="415" y="183"/>
                  <a:pt x="415" y="184"/>
                  <a:pt x="415" y="184"/>
                </a:cubicBezTo>
                <a:cubicBezTo>
                  <a:pt x="415" y="184"/>
                  <a:pt x="415" y="184"/>
                  <a:pt x="415" y="185"/>
                </a:cubicBezTo>
                <a:cubicBezTo>
                  <a:pt x="415" y="185"/>
                  <a:pt x="415" y="186"/>
                  <a:pt x="415" y="186"/>
                </a:cubicBezTo>
                <a:cubicBezTo>
                  <a:pt x="415" y="186"/>
                  <a:pt x="415" y="186"/>
                  <a:pt x="414" y="186"/>
                </a:cubicBezTo>
                <a:cubicBezTo>
                  <a:pt x="414" y="186"/>
                  <a:pt x="414" y="187"/>
                  <a:pt x="414" y="187"/>
                </a:cubicBezTo>
                <a:cubicBezTo>
                  <a:pt x="414" y="188"/>
                  <a:pt x="413" y="188"/>
                  <a:pt x="414" y="189"/>
                </a:cubicBezTo>
                <a:cubicBezTo>
                  <a:pt x="415" y="190"/>
                  <a:pt x="416" y="190"/>
                  <a:pt x="417" y="190"/>
                </a:cubicBezTo>
                <a:cubicBezTo>
                  <a:pt x="418" y="190"/>
                  <a:pt x="418" y="190"/>
                  <a:pt x="419" y="190"/>
                </a:cubicBezTo>
                <a:cubicBezTo>
                  <a:pt x="420" y="191"/>
                  <a:pt x="420" y="191"/>
                  <a:pt x="421" y="191"/>
                </a:cubicBezTo>
                <a:cubicBezTo>
                  <a:pt x="421" y="191"/>
                  <a:pt x="422" y="191"/>
                  <a:pt x="423" y="191"/>
                </a:cubicBezTo>
                <a:cubicBezTo>
                  <a:pt x="424" y="191"/>
                  <a:pt x="425" y="191"/>
                  <a:pt x="425" y="191"/>
                </a:cubicBezTo>
                <a:cubicBezTo>
                  <a:pt x="426" y="190"/>
                  <a:pt x="427" y="189"/>
                  <a:pt x="427" y="189"/>
                </a:cubicBezTo>
                <a:cubicBezTo>
                  <a:pt x="428" y="188"/>
                  <a:pt x="429" y="188"/>
                  <a:pt x="430" y="187"/>
                </a:cubicBezTo>
                <a:cubicBezTo>
                  <a:pt x="430" y="187"/>
                  <a:pt x="431" y="186"/>
                  <a:pt x="432" y="186"/>
                </a:cubicBezTo>
                <a:cubicBezTo>
                  <a:pt x="433" y="186"/>
                  <a:pt x="433" y="185"/>
                  <a:pt x="434" y="185"/>
                </a:cubicBezTo>
                <a:cubicBezTo>
                  <a:pt x="435" y="184"/>
                  <a:pt x="435" y="184"/>
                  <a:pt x="436" y="183"/>
                </a:cubicBezTo>
                <a:cubicBezTo>
                  <a:pt x="436" y="183"/>
                  <a:pt x="437" y="183"/>
                  <a:pt x="437" y="183"/>
                </a:cubicBezTo>
                <a:cubicBezTo>
                  <a:pt x="437" y="182"/>
                  <a:pt x="438" y="182"/>
                  <a:pt x="438" y="182"/>
                </a:cubicBezTo>
                <a:cubicBezTo>
                  <a:pt x="439" y="181"/>
                  <a:pt x="438" y="181"/>
                  <a:pt x="438" y="180"/>
                </a:cubicBezTo>
                <a:cubicBezTo>
                  <a:pt x="437" y="180"/>
                  <a:pt x="437" y="179"/>
                  <a:pt x="437" y="179"/>
                </a:cubicBezTo>
                <a:cubicBezTo>
                  <a:pt x="436" y="179"/>
                  <a:pt x="436" y="179"/>
                  <a:pt x="435" y="178"/>
                </a:cubicBezTo>
                <a:cubicBezTo>
                  <a:pt x="435" y="178"/>
                  <a:pt x="435" y="178"/>
                  <a:pt x="435" y="178"/>
                </a:cubicBezTo>
                <a:cubicBezTo>
                  <a:pt x="434" y="177"/>
                  <a:pt x="433" y="177"/>
                  <a:pt x="434" y="176"/>
                </a:cubicBezTo>
                <a:cubicBezTo>
                  <a:pt x="435" y="176"/>
                  <a:pt x="436" y="176"/>
                  <a:pt x="437" y="176"/>
                </a:cubicBezTo>
                <a:cubicBezTo>
                  <a:pt x="438" y="176"/>
                  <a:pt x="439" y="177"/>
                  <a:pt x="439" y="176"/>
                </a:cubicBezTo>
                <a:cubicBezTo>
                  <a:pt x="440" y="176"/>
                  <a:pt x="439" y="175"/>
                  <a:pt x="438" y="175"/>
                </a:cubicBezTo>
                <a:cubicBezTo>
                  <a:pt x="438" y="175"/>
                  <a:pt x="437" y="175"/>
                  <a:pt x="436" y="174"/>
                </a:cubicBezTo>
                <a:cubicBezTo>
                  <a:pt x="435" y="174"/>
                  <a:pt x="435" y="174"/>
                  <a:pt x="434" y="173"/>
                </a:cubicBezTo>
                <a:cubicBezTo>
                  <a:pt x="434" y="172"/>
                  <a:pt x="434" y="171"/>
                  <a:pt x="435" y="170"/>
                </a:cubicBezTo>
                <a:cubicBezTo>
                  <a:pt x="435" y="170"/>
                  <a:pt x="435" y="170"/>
                  <a:pt x="436" y="170"/>
                </a:cubicBezTo>
                <a:cubicBezTo>
                  <a:pt x="436" y="170"/>
                  <a:pt x="436" y="169"/>
                  <a:pt x="437" y="169"/>
                </a:cubicBezTo>
                <a:cubicBezTo>
                  <a:pt x="437" y="169"/>
                  <a:pt x="438" y="169"/>
                  <a:pt x="439" y="169"/>
                </a:cubicBezTo>
                <a:cubicBezTo>
                  <a:pt x="440" y="169"/>
                  <a:pt x="441" y="168"/>
                  <a:pt x="441" y="168"/>
                </a:cubicBezTo>
                <a:cubicBezTo>
                  <a:pt x="442" y="168"/>
                  <a:pt x="444" y="167"/>
                  <a:pt x="444" y="167"/>
                </a:cubicBezTo>
                <a:cubicBezTo>
                  <a:pt x="443" y="166"/>
                  <a:pt x="442" y="166"/>
                  <a:pt x="442" y="166"/>
                </a:cubicBezTo>
                <a:cubicBezTo>
                  <a:pt x="441" y="165"/>
                  <a:pt x="440" y="165"/>
                  <a:pt x="440" y="165"/>
                </a:cubicBezTo>
                <a:cubicBezTo>
                  <a:pt x="439" y="164"/>
                  <a:pt x="438" y="164"/>
                  <a:pt x="438" y="164"/>
                </a:cubicBezTo>
                <a:cubicBezTo>
                  <a:pt x="437" y="164"/>
                  <a:pt x="436" y="163"/>
                  <a:pt x="435" y="162"/>
                </a:cubicBezTo>
                <a:cubicBezTo>
                  <a:pt x="434" y="162"/>
                  <a:pt x="433" y="161"/>
                  <a:pt x="432" y="161"/>
                </a:cubicBezTo>
                <a:cubicBezTo>
                  <a:pt x="431" y="161"/>
                  <a:pt x="430" y="161"/>
                  <a:pt x="429" y="161"/>
                </a:cubicBezTo>
                <a:cubicBezTo>
                  <a:pt x="429" y="161"/>
                  <a:pt x="429" y="161"/>
                  <a:pt x="428" y="162"/>
                </a:cubicBezTo>
                <a:cubicBezTo>
                  <a:pt x="428" y="162"/>
                  <a:pt x="428" y="162"/>
                  <a:pt x="428" y="163"/>
                </a:cubicBezTo>
                <a:cubicBezTo>
                  <a:pt x="427" y="163"/>
                  <a:pt x="427" y="163"/>
                  <a:pt x="426" y="163"/>
                </a:cubicBezTo>
                <a:cubicBezTo>
                  <a:pt x="426" y="163"/>
                  <a:pt x="426" y="163"/>
                  <a:pt x="425" y="163"/>
                </a:cubicBezTo>
                <a:cubicBezTo>
                  <a:pt x="425" y="163"/>
                  <a:pt x="425" y="163"/>
                  <a:pt x="424" y="163"/>
                </a:cubicBezTo>
                <a:cubicBezTo>
                  <a:pt x="423" y="164"/>
                  <a:pt x="425" y="164"/>
                  <a:pt x="425" y="165"/>
                </a:cubicBezTo>
                <a:cubicBezTo>
                  <a:pt x="426" y="165"/>
                  <a:pt x="426" y="165"/>
                  <a:pt x="426" y="165"/>
                </a:cubicBezTo>
                <a:cubicBezTo>
                  <a:pt x="427" y="166"/>
                  <a:pt x="428" y="165"/>
                  <a:pt x="429" y="165"/>
                </a:cubicBezTo>
                <a:cubicBezTo>
                  <a:pt x="429" y="165"/>
                  <a:pt x="430" y="165"/>
                  <a:pt x="429" y="166"/>
                </a:cubicBezTo>
                <a:cubicBezTo>
                  <a:pt x="429" y="166"/>
                  <a:pt x="428" y="166"/>
                  <a:pt x="428" y="166"/>
                </a:cubicBezTo>
                <a:cubicBezTo>
                  <a:pt x="428" y="166"/>
                  <a:pt x="428" y="167"/>
                  <a:pt x="428" y="167"/>
                </a:cubicBezTo>
                <a:cubicBezTo>
                  <a:pt x="427" y="167"/>
                  <a:pt x="426" y="166"/>
                  <a:pt x="425" y="166"/>
                </a:cubicBezTo>
                <a:cubicBezTo>
                  <a:pt x="425" y="166"/>
                  <a:pt x="424" y="166"/>
                  <a:pt x="424" y="166"/>
                </a:cubicBezTo>
                <a:cubicBezTo>
                  <a:pt x="423" y="167"/>
                  <a:pt x="425" y="166"/>
                  <a:pt x="425" y="167"/>
                </a:cubicBezTo>
                <a:cubicBezTo>
                  <a:pt x="425" y="168"/>
                  <a:pt x="424" y="167"/>
                  <a:pt x="423" y="167"/>
                </a:cubicBezTo>
                <a:cubicBezTo>
                  <a:pt x="423" y="167"/>
                  <a:pt x="422" y="167"/>
                  <a:pt x="421" y="167"/>
                </a:cubicBezTo>
                <a:cubicBezTo>
                  <a:pt x="420" y="166"/>
                  <a:pt x="419" y="167"/>
                  <a:pt x="419" y="167"/>
                </a:cubicBezTo>
                <a:cubicBezTo>
                  <a:pt x="418" y="166"/>
                  <a:pt x="417" y="166"/>
                  <a:pt x="416" y="165"/>
                </a:cubicBezTo>
                <a:cubicBezTo>
                  <a:pt x="416" y="165"/>
                  <a:pt x="415" y="165"/>
                  <a:pt x="414" y="165"/>
                </a:cubicBezTo>
                <a:cubicBezTo>
                  <a:pt x="414" y="166"/>
                  <a:pt x="413" y="166"/>
                  <a:pt x="412" y="166"/>
                </a:cubicBezTo>
                <a:cubicBezTo>
                  <a:pt x="411" y="166"/>
                  <a:pt x="410" y="166"/>
                  <a:pt x="409" y="166"/>
                </a:cubicBezTo>
                <a:cubicBezTo>
                  <a:pt x="408" y="166"/>
                  <a:pt x="407" y="166"/>
                  <a:pt x="407" y="166"/>
                </a:cubicBezTo>
                <a:cubicBezTo>
                  <a:pt x="406" y="166"/>
                  <a:pt x="405" y="166"/>
                  <a:pt x="404" y="167"/>
                </a:cubicBezTo>
                <a:cubicBezTo>
                  <a:pt x="404" y="167"/>
                  <a:pt x="403" y="167"/>
                  <a:pt x="402" y="167"/>
                </a:cubicBezTo>
                <a:cubicBezTo>
                  <a:pt x="401" y="167"/>
                  <a:pt x="400" y="167"/>
                  <a:pt x="400" y="167"/>
                </a:cubicBezTo>
                <a:cubicBezTo>
                  <a:pt x="400" y="168"/>
                  <a:pt x="399" y="168"/>
                  <a:pt x="399" y="168"/>
                </a:cubicBezTo>
                <a:cubicBezTo>
                  <a:pt x="399" y="169"/>
                  <a:pt x="399" y="170"/>
                  <a:pt x="398" y="171"/>
                </a:cubicBezTo>
                <a:cubicBezTo>
                  <a:pt x="397" y="171"/>
                  <a:pt x="395" y="171"/>
                  <a:pt x="394" y="172"/>
                </a:cubicBezTo>
                <a:cubicBezTo>
                  <a:pt x="394" y="172"/>
                  <a:pt x="394" y="173"/>
                  <a:pt x="394" y="173"/>
                </a:cubicBezTo>
                <a:cubicBezTo>
                  <a:pt x="393" y="173"/>
                  <a:pt x="393" y="173"/>
                  <a:pt x="392" y="173"/>
                </a:cubicBezTo>
                <a:cubicBezTo>
                  <a:pt x="392" y="174"/>
                  <a:pt x="391" y="174"/>
                  <a:pt x="391" y="175"/>
                </a:cubicBezTo>
                <a:cubicBezTo>
                  <a:pt x="390" y="175"/>
                  <a:pt x="390" y="175"/>
                  <a:pt x="390" y="175"/>
                </a:cubicBezTo>
                <a:cubicBezTo>
                  <a:pt x="390" y="176"/>
                  <a:pt x="390" y="176"/>
                  <a:pt x="389" y="176"/>
                </a:cubicBezTo>
                <a:cubicBezTo>
                  <a:pt x="389" y="177"/>
                  <a:pt x="388" y="177"/>
                  <a:pt x="387" y="177"/>
                </a:cubicBezTo>
                <a:cubicBezTo>
                  <a:pt x="387" y="178"/>
                  <a:pt x="387" y="179"/>
                  <a:pt x="387" y="179"/>
                </a:cubicBezTo>
                <a:cubicBezTo>
                  <a:pt x="386" y="180"/>
                  <a:pt x="386" y="180"/>
                  <a:pt x="385" y="180"/>
                </a:cubicBezTo>
                <a:cubicBezTo>
                  <a:pt x="385" y="180"/>
                  <a:pt x="384" y="181"/>
                  <a:pt x="384" y="181"/>
                </a:cubicBezTo>
                <a:cubicBezTo>
                  <a:pt x="383" y="181"/>
                  <a:pt x="382" y="181"/>
                  <a:pt x="382" y="181"/>
                </a:cubicBezTo>
                <a:cubicBezTo>
                  <a:pt x="382" y="181"/>
                  <a:pt x="381" y="182"/>
                  <a:pt x="381" y="182"/>
                </a:cubicBezTo>
                <a:cubicBezTo>
                  <a:pt x="381" y="182"/>
                  <a:pt x="380" y="182"/>
                  <a:pt x="380" y="182"/>
                </a:cubicBezTo>
                <a:cubicBezTo>
                  <a:pt x="379" y="182"/>
                  <a:pt x="378" y="182"/>
                  <a:pt x="378" y="183"/>
                </a:cubicBezTo>
                <a:cubicBezTo>
                  <a:pt x="378" y="184"/>
                  <a:pt x="377" y="184"/>
                  <a:pt x="376" y="185"/>
                </a:cubicBezTo>
                <a:cubicBezTo>
                  <a:pt x="375" y="185"/>
                  <a:pt x="376" y="186"/>
                  <a:pt x="375" y="187"/>
                </a:cubicBezTo>
                <a:cubicBezTo>
                  <a:pt x="375" y="187"/>
                  <a:pt x="374" y="188"/>
                  <a:pt x="373" y="188"/>
                </a:cubicBezTo>
                <a:cubicBezTo>
                  <a:pt x="372" y="188"/>
                  <a:pt x="370" y="187"/>
                  <a:pt x="368" y="188"/>
                </a:cubicBezTo>
                <a:cubicBezTo>
                  <a:pt x="368" y="188"/>
                  <a:pt x="367" y="189"/>
                  <a:pt x="366" y="189"/>
                </a:cubicBezTo>
                <a:cubicBezTo>
                  <a:pt x="364" y="189"/>
                  <a:pt x="362" y="189"/>
                  <a:pt x="362" y="191"/>
                </a:cubicBezTo>
                <a:cubicBezTo>
                  <a:pt x="361" y="191"/>
                  <a:pt x="361" y="192"/>
                  <a:pt x="360" y="193"/>
                </a:cubicBezTo>
                <a:cubicBezTo>
                  <a:pt x="360" y="193"/>
                  <a:pt x="359" y="192"/>
                  <a:pt x="358" y="193"/>
                </a:cubicBezTo>
                <a:cubicBezTo>
                  <a:pt x="358" y="194"/>
                  <a:pt x="356" y="197"/>
                  <a:pt x="357" y="197"/>
                </a:cubicBezTo>
                <a:cubicBezTo>
                  <a:pt x="357" y="197"/>
                  <a:pt x="358" y="196"/>
                  <a:pt x="358" y="196"/>
                </a:cubicBezTo>
                <a:close/>
                <a:moveTo>
                  <a:pt x="420" y="199"/>
                </a:moveTo>
                <a:cubicBezTo>
                  <a:pt x="420" y="198"/>
                  <a:pt x="420" y="197"/>
                  <a:pt x="419" y="196"/>
                </a:cubicBezTo>
                <a:cubicBezTo>
                  <a:pt x="419" y="196"/>
                  <a:pt x="418" y="195"/>
                  <a:pt x="417" y="196"/>
                </a:cubicBezTo>
                <a:cubicBezTo>
                  <a:pt x="417" y="196"/>
                  <a:pt x="416" y="197"/>
                  <a:pt x="415" y="197"/>
                </a:cubicBezTo>
                <a:cubicBezTo>
                  <a:pt x="415" y="197"/>
                  <a:pt x="414" y="197"/>
                  <a:pt x="414" y="197"/>
                </a:cubicBezTo>
                <a:cubicBezTo>
                  <a:pt x="414" y="198"/>
                  <a:pt x="413" y="198"/>
                  <a:pt x="413" y="198"/>
                </a:cubicBezTo>
                <a:cubicBezTo>
                  <a:pt x="413" y="199"/>
                  <a:pt x="412" y="199"/>
                  <a:pt x="411" y="199"/>
                </a:cubicBezTo>
                <a:cubicBezTo>
                  <a:pt x="410" y="199"/>
                  <a:pt x="409" y="199"/>
                  <a:pt x="408" y="200"/>
                </a:cubicBezTo>
                <a:cubicBezTo>
                  <a:pt x="408" y="200"/>
                  <a:pt x="407" y="201"/>
                  <a:pt x="406" y="201"/>
                </a:cubicBezTo>
                <a:cubicBezTo>
                  <a:pt x="404" y="203"/>
                  <a:pt x="402" y="204"/>
                  <a:pt x="401" y="205"/>
                </a:cubicBezTo>
                <a:cubicBezTo>
                  <a:pt x="400" y="205"/>
                  <a:pt x="399" y="206"/>
                  <a:pt x="399" y="207"/>
                </a:cubicBezTo>
                <a:cubicBezTo>
                  <a:pt x="398" y="209"/>
                  <a:pt x="400" y="208"/>
                  <a:pt x="401" y="208"/>
                </a:cubicBezTo>
                <a:cubicBezTo>
                  <a:pt x="402" y="208"/>
                  <a:pt x="403" y="208"/>
                  <a:pt x="403" y="209"/>
                </a:cubicBezTo>
                <a:cubicBezTo>
                  <a:pt x="404" y="209"/>
                  <a:pt x="405" y="210"/>
                  <a:pt x="407" y="210"/>
                </a:cubicBezTo>
                <a:cubicBezTo>
                  <a:pt x="407" y="210"/>
                  <a:pt x="407" y="210"/>
                  <a:pt x="408" y="209"/>
                </a:cubicBezTo>
                <a:cubicBezTo>
                  <a:pt x="408" y="209"/>
                  <a:pt x="408" y="209"/>
                  <a:pt x="409" y="209"/>
                </a:cubicBezTo>
                <a:cubicBezTo>
                  <a:pt x="409" y="209"/>
                  <a:pt x="410" y="209"/>
                  <a:pt x="410" y="209"/>
                </a:cubicBezTo>
                <a:cubicBezTo>
                  <a:pt x="411" y="208"/>
                  <a:pt x="413" y="206"/>
                  <a:pt x="414" y="205"/>
                </a:cubicBezTo>
                <a:cubicBezTo>
                  <a:pt x="415" y="203"/>
                  <a:pt x="417" y="202"/>
                  <a:pt x="418" y="200"/>
                </a:cubicBezTo>
                <a:cubicBezTo>
                  <a:pt x="419" y="200"/>
                  <a:pt x="419" y="199"/>
                  <a:pt x="420" y="199"/>
                </a:cubicBezTo>
                <a:close/>
                <a:moveTo>
                  <a:pt x="456" y="177"/>
                </a:moveTo>
                <a:cubicBezTo>
                  <a:pt x="455" y="177"/>
                  <a:pt x="454" y="177"/>
                  <a:pt x="453" y="178"/>
                </a:cubicBezTo>
                <a:cubicBezTo>
                  <a:pt x="453" y="178"/>
                  <a:pt x="449" y="179"/>
                  <a:pt x="450" y="180"/>
                </a:cubicBezTo>
                <a:cubicBezTo>
                  <a:pt x="450" y="180"/>
                  <a:pt x="451" y="180"/>
                  <a:pt x="451" y="180"/>
                </a:cubicBezTo>
                <a:cubicBezTo>
                  <a:pt x="452" y="181"/>
                  <a:pt x="453" y="181"/>
                  <a:pt x="454" y="181"/>
                </a:cubicBezTo>
                <a:cubicBezTo>
                  <a:pt x="455" y="181"/>
                  <a:pt x="456" y="181"/>
                  <a:pt x="457" y="181"/>
                </a:cubicBezTo>
                <a:cubicBezTo>
                  <a:pt x="457" y="181"/>
                  <a:pt x="458" y="182"/>
                  <a:pt x="459" y="182"/>
                </a:cubicBezTo>
                <a:cubicBezTo>
                  <a:pt x="460" y="182"/>
                  <a:pt x="461" y="182"/>
                  <a:pt x="462" y="182"/>
                </a:cubicBezTo>
                <a:cubicBezTo>
                  <a:pt x="463" y="182"/>
                  <a:pt x="466" y="182"/>
                  <a:pt x="466" y="180"/>
                </a:cubicBezTo>
                <a:cubicBezTo>
                  <a:pt x="466" y="178"/>
                  <a:pt x="463" y="177"/>
                  <a:pt x="462" y="177"/>
                </a:cubicBezTo>
                <a:cubicBezTo>
                  <a:pt x="460" y="177"/>
                  <a:pt x="458" y="177"/>
                  <a:pt x="456" y="177"/>
                </a:cubicBezTo>
                <a:close/>
                <a:moveTo>
                  <a:pt x="439" y="190"/>
                </a:moveTo>
                <a:cubicBezTo>
                  <a:pt x="438" y="190"/>
                  <a:pt x="438" y="191"/>
                  <a:pt x="439" y="191"/>
                </a:cubicBezTo>
                <a:cubicBezTo>
                  <a:pt x="440" y="192"/>
                  <a:pt x="440" y="192"/>
                  <a:pt x="441" y="192"/>
                </a:cubicBezTo>
                <a:cubicBezTo>
                  <a:pt x="442" y="193"/>
                  <a:pt x="443" y="193"/>
                  <a:pt x="444" y="193"/>
                </a:cubicBezTo>
                <a:cubicBezTo>
                  <a:pt x="445" y="193"/>
                  <a:pt x="445" y="193"/>
                  <a:pt x="446" y="194"/>
                </a:cubicBezTo>
                <a:cubicBezTo>
                  <a:pt x="447" y="194"/>
                  <a:pt x="448" y="194"/>
                  <a:pt x="449" y="194"/>
                </a:cubicBezTo>
                <a:cubicBezTo>
                  <a:pt x="450" y="194"/>
                  <a:pt x="452" y="194"/>
                  <a:pt x="450" y="195"/>
                </a:cubicBezTo>
                <a:cubicBezTo>
                  <a:pt x="449" y="195"/>
                  <a:pt x="447" y="194"/>
                  <a:pt x="446" y="194"/>
                </a:cubicBezTo>
                <a:cubicBezTo>
                  <a:pt x="442" y="194"/>
                  <a:pt x="438" y="194"/>
                  <a:pt x="434" y="194"/>
                </a:cubicBezTo>
                <a:cubicBezTo>
                  <a:pt x="433" y="194"/>
                  <a:pt x="432" y="194"/>
                  <a:pt x="431" y="194"/>
                </a:cubicBezTo>
                <a:cubicBezTo>
                  <a:pt x="431" y="195"/>
                  <a:pt x="430" y="195"/>
                  <a:pt x="429" y="196"/>
                </a:cubicBezTo>
                <a:cubicBezTo>
                  <a:pt x="429" y="196"/>
                  <a:pt x="429" y="197"/>
                  <a:pt x="429" y="197"/>
                </a:cubicBezTo>
                <a:cubicBezTo>
                  <a:pt x="429" y="197"/>
                  <a:pt x="429" y="197"/>
                  <a:pt x="430" y="198"/>
                </a:cubicBezTo>
                <a:cubicBezTo>
                  <a:pt x="431" y="198"/>
                  <a:pt x="429" y="199"/>
                  <a:pt x="429" y="199"/>
                </a:cubicBezTo>
                <a:cubicBezTo>
                  <a:pt x="427" y="200"/>
                  <a:pt x="431" y="201"/>
                  <a:pt x="432" y="201"/>
                </a:cubicBezTo>
                <a:cubicBezTo>
                  <a:pt x="433" y="202"/>
                  <a:pt x="435" y="201"/>
                  <a:pt x="437" y="201"/>
                </a:cubicBezTo>
                <a:cubicBezTo>
                  <a:pt x="439" y="201"/>
                  <a:pt x="442" y="201"/>
                  <a:pt x="444" y="201"/>
                </a:cubicBezTo>
                <a:cubicBezTo>
                  <a:pt x="445" y="201"/>
                  <a:pt x="446" y="201"/>
                  <a:pt x="447" y="201"/>
                </a:cubicBezTo>
                <a:cubicBezTo>
                  <a:pt x="448" y="201"/>
                  <a:pt x="450" y="200"/>
                  <a:pt x="450" y="201"/>
                </a:cubicBezTo>
                <a:cubicBezTo>
                  <a:pt x="450" y="201"/>
                  <a:pt x="449" y="201"/>
                  <a:pt x="448" y="201"/>
                </a:cubicBezTo>
                <a:cubicBezTo>
                  <a:pt x="448" y="201"/>
                  <a:pt x="447" y="202"/>
                  <a:pt x="446" y="202"/>
                </a:cubicBezTo>
                <a:cubicBezTo>
                  <a:pt x="445" y="202"/>
                  <a:pt x="444" y="202"/>
                  <a:pt x="442" y="202"/>
                </a:cubicBezTo>
                <a:cubicBezTo>
                  <a:pt x="442" y="202"/>
                  <a:pt x="441" y="202"/>
                  <a:pt x="440" y="202"/>
                </a:cubicBezTo>
                <a:cubicBezTo>
                  <a:pt x="439" y="202"/>
                  <a:pt x="438" y="202"/>
                  <a:pt x="437" y="202"/>
                </a:cubicBezTo>
                <a:cubicBezTo>
                  <a:pt x="436" y="202"/>
                  <a:pt x="435" y="203"/>
                  <a:pt x="434" y="203"/>
                </a:cubicBezTo>
                <a:cubicBezTo>
                  <a:pt x="433" y="203"/>
                  <a:pt x="431" y="203"/>
                  <a:pt x="430" y="203"/>
                </a:cubicBezTo>
                <a:cubicBezTo>
                  <a:pt x="429" y="203"/>
                  <a:pt x="428" y="203"/>
                  <a:pt x="427" y="203"/>
                </a:cubicBezTo>
                <a:cubicBezTo>
                  <a:pt x="427" y="203"/>
                  <a:pt x="426" y="204"/>
                  <a:pt x="426" y="204"/>
                </a:cubicBezTo>
                <a:cubicBezTo>
                  <a:pt x="425" y="205"/>
                  <a:pt x="422" y="207"/>
                  <a:pt x="423" y="208"/>
                </a:cubicBezTo>
                <a:cubicBezTo>
                  <a:pt x="424" y="208"/>
                  <a:pt x="425" y="208"/>
                  <a:pt x="426" y="208"/>
                </a:cubicBezTo>
                <a:cubicBezTo>
                  <a:pt x="427" y="208"/>
                  <a:pt x="428" y="208"/>
                  <a:pt x="429" y="208"/>
                </a:cubicBezTo>
                <a:cubicBezTo>
                  <a:pt x="431" y="208"/>
                  <a:pt x="433" y="208"/>
                  <a:pt x="434" y="208"/>
                </a:cubicBezTo>
                <a:cubicBezTo>
                  <a:pt x="436" y="208"/>
                  <a:pt x="438" y="207"/>
                  <a:pt x="440" y="207"/>
                </a:cubicBezTo>
                <a:cubicBezTo>
                  <a:pt x="441" y="206"/>
                  <a:pt x="441" y="206"/>
                  <a:pt x="442" y="206"/>
                </a:cubicBezTo>
                <a:cubicBezTo>
                  <a:pt x="443" y="206"/>
                  <a:pt x="444" y="206"/>
                  <a:pt x="445" y="206"/>
                </a:cubicBezTo>
                <a:cubicBezTo>
                  <a:pt x="445" y="206"/>
                  <a:pt x="446" y="206"/>
                  <a:pt x="446" y="206"/>
                </a:cubicBezTo>
                <a:cubicBezTo>
                  <a:pt x="446" y="205"/>
                  <a:pt x="447" y="205"/>
                  <a:pt x="447" y="206"/>
                </a:cubicBezTo>
                <a:cubicBezTo>
                  <a:pt x="447" y="206"/>
                  <a:pt x="446" y="206"/>
                  <a:pt x="446" y="206"/>
                </a:cubicBezTo>
                <a:cubicBezTo>
                  <a:pt x="446" y="207"/>
                  <a:pt x="445" y="207"/>
                  <a:pt x="445" y="207"/>
                </a:cubicBezTo>
                <a:cubicBezTo>
                  <a:pt x="444" y="207"/>
                  <a:pt x="444" y="208"/>
                  <a:pt x="443" y="208"/>
                </a:cubicBezTo>
                <a:cubicBezTo>
                  <a:pt x="442" y="208"/>
                  <a:pt x="441" y="208"/>
                  <a:pt x="440" y="209"/>
                </a:cubicBezTo>
                <a:cubicBezTo>
                  <a:pt x="439" y="209"/>
                  <a:pt x="438" y="209"/>
                  <a:pt x="438" y="209"/>
                </a:cubicBezTo>
                <a:cubicBezTo>
                  <a:pt x="436" y="210"/>
                  <a:pt x="436" y="210"/>
                  <a:pt x="435" y="210"/>
                </a:cubicBezTo>
                <a:cubicBezTo>
                  <a:pt x="433" y="210"/>
                  <a:pt x="433" y="210"/>
                  <a:pt x="431" y="210"/>
                </a:cubicBezTo>
                <a:cubicBezTo>
                  <a:pt x="430" y="211"/>
                  <a:pt x="429" y="211"/>
                  <a:pt x="428" y="211"/>
                </a:cubicBezTo>
                <a:cubicBezTo>
                  <a:pt x="427" y="211"/>
                  <a:pt x="426" y="211"/>
                  <a:pt x="424" y="211"/>
                </a:cubicBezTo>
                <a:cubicBezTo>
                  <a:pt x="423" y="212"/>
                  <a:pt x="422" y="212"/>
                  <a:pt x="421" y="212"/>
                </a:cubicBezTo>
                <a:cubicBezTo>
                  <a:pt x="421" y="213"/>
                  <a:pt x="420" y="213"/>
                  <a:pt x="419" y="214"/>
                </a:cubicBezTo>
                <a:cubicBezTo>
                  <a:pt x="419" y="214"/>
                  <a:pt x="418" y="215"/>
                  <a:pt x="418" y="216"/>
                </a:cubicBezTo>
                <a:cubicBezTo>
                  <a:pt x="418" y="216"/>
                  <a:pt x="419" y="217"/>
                  <a:pt x="420" y="217"/>
                </a:cubicBezTo>
                <a:cubicBezTo>
                  <a:pt x="420" y="217"/>
                  <a:pt x="421" y="217"/>
                  <a:pt x="422" y="218"/>
                </a:cubicBezTo>
                <a:cubicBezTo>
                  <a:pt x="423" y="218"/>
                  <a:pt x="424" y="218"/>
                  <a:pt x="425" y="218"/>
                </a:cubicBezTo>
                <a:cubicBezTo>
                  <a:pt x="425" y="218"/>
                  <a:pt x="426" y="218"/>
                  <a:pt x="426" y="218"/>
                </a:cubicBezTo>
                <a:cubicBezTo>
                  <a:pt x="427" y="218"/>
                  <a:pt x="427" y="219"/>
                  <a:pt x="427" y="219"/>
                </a:cubicBezTo>
                <a:cubicBezTo>
                  <a:pt x="428" y="219"/>
                  <a:pt x="429" y="219"/>
                  <a:pt x="430" y="218"/>
                </a:cubicBezTo>
                <a:cubicBezTo>
                  <a:pt x="431" y="217"/>
                  <a:pt x="434" y="216"/>
                  <a:pt x="434" y="218"/>
                </a:cubicBezTo>
                <a:cubicBezTo>
                  <a:pt x="434" y="218"/>
                  <a:pt x="433" y="219"/>
                  <a:pt x="434" y="219"/>
                </a:cubicBezTo>
                <a:cubicBezTo>
                  <a:pt x="434" y="219"/>
                  <a:pt x="435" y="219"/>
                  <a:pt x="435" y="220"/>
                </a:cubicBezTo>
                <a:cubicBezTo>
                  <a:pt x="435" y="221"/>
                  <a:pt x="437" y="221"/>
                  <a:pt x="438" y="221"/>
                </a:cubicBezTo>
                <a:cubicBezTo>
                  <a:pt x="439" y="221"/>
                  <a:pt x="439" y="222"/>
                  <a:pt x="440" y="222"/>
                </a:cubicBezTo>
                <a:cubicBezTo>
                  <a:pt x="441" y="222"/>
                  <a:pt x="443" y="222"/>
                  <a:pt x="442" y="221"/>
                </a:cubicBezTo>
                <a:cubicBezTo>
                  <a:pt x="442" y="220"/>
                  <a:pt x="442" y="220"/>
                  <a:pt x="442" y="220"/>
                </a:cubicBezTo>
                <a:cubicBezTo>
                  <a:pt x="442" y="219"/>
                  <a:pt x="442" y="219"/>
                  <a:pt x="442" y="219"/>
                </a:cubicBezTo>
                <a:cubicBezTo>
                  <a:pt x="441" y="219"/>
                  <a:pt x="441" y="218"/>
                  <a:pt x="441" y="218"/>
                </a:cubicBezTo>
                <a:cubicBezTo>
                  <a:pt x="442" y="217"/>
                  <a:pt x="442" y="218"/>
                  <a:pt x="442" y="218"/>
                </a:cubicBezTo>
                <a:cubicBezTo>
                  <a:pt x="442" y="219"/>
                  <a:pt x="442" y="219"/>
                  <a:pt x="443" y="219"/>
                </a:cubicBezTo>
                <a:cubicBezTo>
                  <a:pt x="443" y="219"/>
                  <a:pt x="444" y="219"/>
                  <a:pt x="444" y="218"/>
                </a:cubicBezTo>
                <a:cubicBezTo>
                  <a:pt x="444" y="218"/>
                  <a:pt x="444" y="218"/>
                  <a:pt x="445" y="217"/>
                </a:cubicBezTo>
                <a:cubicBezTo>
                  <a:pt x="445" y="217"/>
                  <a:pt x="446" y="218"/>
                  <a:pt x="446" y="218"/>
                </a:cubicBezTo>
                <a:cubicBezTo>
                  <a:pt x="447" y="219"/>
                  <a:pt x="445" y="219"/>
                  <a:pt x="446" y="220"/>
                </a:cubicBezTo>
                <a:cubicBezTo>
                  <a:pt x="446" y="221"/>
                  <a:pt x="446" y="220"/>
                  <a:pt x="446" y="221"/>
                </a:cubicBezTo>
                <a:cubicBezTo>
                  <a:pt x="447" y="221"/>
                  <a:pt x="447" y="221"/>
                  <a:pt x="447" y="222"/>
                </a:cubicBezTo>
                <a:cubicBezTo>
                  <a:pt x="448" y="222"/>
                  <a:pt x="448" y="222"/>
                  <a:pt x="449" y="222"/>
                </a:cubicBezTo>
                <a:cubicBezTo>
                  <a:pt x="450" y="222"/>
                  <a:pt x="451" y="222"/>
                  <a:pt x="452" y="221"/>
                </a:cubicBezTo>
                <a:cubicBezTo>
                  <a:pt x="452" y="221"/>
                  <a:pt x="454" y="220"/>
                  <a:pt x="455" y="220"/>
                </a:cubicBezTo>
                <a:cubicBezTo>
                  <a:pt x="456" y="219"/>
                  <a:pt x="456" y="219"/>
                  <a:pt x="456" y="217"/>
                </a:cubicBezTo>
                <a:cubicBezTo>
                  <a:pt x="457" y="217"/>
                  <a:pt x="457" y="216"/>
                  <a:pt x="456" y="216"/>
                </a:cubicBezTo>
                <a:cubicBezTo>
                  <a:pt x="456" y="216"/>
                  <a:pt x="455" y="215"/>
                  <a:pt x="455" y="215"/>
                </a:cubicBezTo>
                <a:cubicBezTo>
                  <a:pt x="456" y="215"/>
                  <a:pt x="456" y="215"/>
                  <a:pt x="456" y="215"/>
                </a:cubicBezTo>
                <a:cubicBezTo>
                  <a:pt x="457" y="216"/>
                  <a:pt x="457" y="216"/>
                  <a:pt x="458" y="216"/>
                </a:cubicBezTo>
                <a:cubicBezTo>
                  <a:pt x="458" y="215"/>
                  <a:pt x="459" y="215"/>
                  <a:pt x="459" y="214"/>
                </a:cubicBezTo>
                <a:cubicBezTo>
                  <a:pt x="459" y="214"/>
                  <a:pt x="459" y="213"/>
                  <a:pt x="459" y="213"/>
                </a:cubicBezTo>
                <a:cubicBezTo>
                  <a:pt x="459" y="212"/>
                  <a:pt x="459" y="212"/>
                  <a:pt x="459" y="211"/>
                </a:cubicBezTo>
                <a:cubicBezTo>
                  <a:pt x="459" y="210"/>
                  <a:pt x="460" y="211"/>
                  <a:pt x="460" y="212"/>
                </a:cubicBezTo>
                <a:cubicBezTo>
                  <a:pt x="460" y="212"/>
                  <a:pt x="460" y="213"/>
                  <a:pt x="461" y="213"/>
                </a:cubicBezTo>
                <a:cubicBezTo>
                  <a:pt x="461" y="213"/>
                  <a:pt x="462" y="213"/>
                  <a:pt x="462" y="213"/>
                </a:cubicBezTo>
                <a:cubicBezTo>
                  <a:pt x="462" y="212"/>
                  <a:pt x="463" y="212"/>
                  <a:pt x="463" y="213"/>
                </a:cubicBezTo>
                <a:cubicBezTo>
                  <a:pt x="463" y="213"/>
                  <a:pt x="463" y="213"/>
                  <a:pt x="463" y="213"/>
                </a:cubicBezTo>
                <a:cubicBezTo>
                  <a:pt x="462" y="214"/>
                  <a:pt x="462" y="214"/>
                  <a:pt x="462" y="214"/>
                </a:cubicBezTo>
                <a:cubicBezTo>
                  <a:pt x="462" y="215"/>
                  <a:pt x="462" y="215"/>
                  <a:pt x="461" y="215"/>
                </a:cubicBezTo>
                <a:cubicBezTo>
                  <a:pt x="461" y="216"/>
                  <a:pt x="461" y="217"/>
                  <a:pt x="460" y="218"/>
                </a:cubicBezTo>
                <a:cubicBezTo>
                  <a:pt x="460" y="218"/>
                  <a:pt x="460" y="219"/>
                  <a:pt x="461" y="220"/>
                </a:cubicBezTo>
                <a:cubicBezTo>
                  <a:pt x="461" y="220"/>
                  <a:pt x="462" y="220"/>
                  <a:pt x="463" y="220"/>
                </a:cubicBezTo>
                <a:cubicBezTo>
                  <a:pt x="465" y="220"/>
                  <a:pt x="467" y="220"/>
                  <a:pt x="468" y="219"/>
                </a:cubicBezTo>
                <a:cubicBezTo>
                  <a:pt x="470" y="219"/>
                  <a:pt x="472" y="220"/>
                  <a:pt x="473" y="219"/>
                </a:cubicBezTo>
                <a:cubicBezTo>
                  <a:pt x="474" y="219"/>
                  <a:pt x="475" y="218"/>
                  <a:pt x="475" y="218"/>
                </a:cubicBezTo>
                <a:cubicBezTo>
                  <a:pt x="475" y="217"/>
                  <a:pt x="475" y="216"/>
                  <a:pt x="475" y="215"/>
                </a:cubicBezTo>
                <a:cubicBezTo>
                  <a:pt x="476" y="215"/>
                  <a:pt x="476" y="216"/>
                  <a:pt x="476" y="216"/>
                </a:cubicBezTo>
                <a:cubicBezTo>
                  <a:pt x="476" y="216"/>
                  <a:pt x="475" y="217"/>
                  <a:pt x="476" y="217"/>
                </a:cubicBezTo>
                <a:cubicBezTo>
                  <a:pt x="476" y="217"/>
                  <a:pt x="478" y="216"/>
                  <a:pt x="478" y="216"/>
                </a:cubicBezTo>
                <a:cubicBezTo>
                  <a:pt x="479" y="217"/>
                  <a:pt x="477" y="218"/>
                  <a:pt x="478" y="218"/>
                </a:cubicBezTo>
                <a:cubicBezTo>
                  <a:pt x="478" y="219"/>
                  <a:pt x="480" y="218"/>
                  <a:pt x="480" y="218"/>
                </a:cubicBezTo>
                <a:cubicBezTo>
                  <a:pt x="481" y="218"/>
                  <a:pt x="482" y="218"/>
                  <a:pt x="483" y="218"/>
                </a:cubicBezTo>
                <a:cubicBezTo>
                  <a:pt x="483" y="218"/>
                  <a:pt x="484" y="218"/>
                  <a:pt x="484" y="218"/>
                </a:cubicBezTo>
                <a:cubicBezTo>
                  <a:pt x="484" y="218"/>
                  <a:pt x="484" y="217"/>
                  <a:pt x="485" y="217"/>
                </a:cubicBezTo>
                <a:cubicBezTo>
                  <a:pt x="485" y="217"/>
                  <a:pt x="486" y="217"/>
                  <a:pt x="486" y="218"/>
                </a:cubicBezTo>
                <a:cubicBezTo>
                  <a:pt x="486" y="218"/>
                  <a:pt x="486" y="218"/>
                  <a:pt x="487" y="218"/>
                </a:cubicBezTo>
                <a:cubicBezTo>
                  <a:pt x="488" y="218"/>
                  <a:pt x="489" y="217"/>
                  <a:pt x="489" y="217"/>
                </a:cubicBezTo>
                <a:cubicBezTo>
                  <a:pt x="490" y="216"/>
                  <a:pt x="490" y="215"/>
                  <a:pt x="491" y="215"/>
                </a:cubicBezTo>
                <a:cubicBezTo>
                  <a:pt x="492" y="216"/>
                  <a:pt x="492" y="217"/>
                  <a:pt x="491" y="217"/>
                </a:cubicBezTo>
                <a:cubicBezTo>
                  <a:pt x="491" y="217"/>
                  <a:pt x="491" y="218"/>
                  <a:pt x="491" y="218"/>
                </a:cubicBezTo>
                <a:cubicBezTo>
                  <a:pt x="490" y="219"/>
                  <a:pt x="490" y="219"/>
                  <a:pt x="490" y="219"/>
                </a:cubicBezTo>
                <a:cubicBezTo>
                  <a:pt x="489" y="219"/>
                  <a:pt x="488" y="220"/>
                  <a:pt x="488" y="220"/>
                </a:cubicBezTo>
                <a:cubicBezTo>
                  <a:pt x="486" y="221"/>
                  <a:pt x="485" y="222"/>
                  <a:pt x="483" y="221"/>
                </a:cubicBezTo>
                <a:cubicBezTo>
                  <a:pt x="481" y="221"/>
                  <a:pt x="479" y="221"/>
                  <a:pt x="477" y="222"/>
                </a:cubicBezTo>
                <a:cubicBezTo>
                  <a:pt x="476" y="222"/>
                  <a:pt x="475" y="222"/>
                  <a:pt x="474" y="223"/>
                </a:cubicBezTo>
                <a:cubicBezTo>
                  <a:pt x="473" y="223"/>
                  <a:pt x="472" y="224"/>
                  <a:pt x="471" y="224"/>
                </a:cubicBezTo>
                <a:cubicBezTo>
                  <a:pt x="468" y="225"/>
                  <a:pt x="465" y="225"/>
                  <a:pt x="462" y="226"/>
                </a:cubicBezTo>
                <a:cubicBezTo>
                  <a:pt x="461" y="226"/>
                  <a:pt x="460" y="227"/>
                  <a:pt x="458" y="227"/>
                </a:cubicBezTo>
                <a:cubicBezTo>
                  <a:pt x="458" y="228"/>
                  <a:pt x="458" y="228"/>
                  <a:pt x="457" y="228"/>
                </a:cubicBezTo>
                <a:cubicBezTo>
                  <a:pt x="457" y="228"/>
                  <a:pt x="456" y="228"/>
                  <a:pt x="456" y="228"/>
                </a:cubicBezTo>
                <a:cubicBezTo>
                  <a:pt x="454" y="228"/>
                  <a:pt x="455" y="229"/>
                  <a:pt x="455" y="230"/>
                </a:cubicBezTo>
                <a:cubicBezTo>
                  <a:pt x="456" y="230"/>
                  <a:pt x="456" y="230"/>
                  <a:pt x="456" y="230"/>
                </a:cubicBezTo>
                <a:cubicBezTo>
                  <a:pt x="457" y="231"/>
                  <a:pt x="457" y="231"/>
                  <a:pt x="458" y="231"/>
                </a:cubicBezTo>
                <a:cubicBezTo>
                  <a:pt x="458" y="232"/>
                  <a:pt x="459" y="232"/>
                  <a:pt x="459" y="232"/>
                </a:cubicBezTo>
                <a:cubicBezTo>
                  <a:pt x="461" y="233"/>
                  <a:pt x="462" y="233"/>
                  <a:pt x="463" y="234"/>
                </a:cubicBezTo>
                <a:cubicBezTo>
                  <a:pt x="464" y="234"/>
                  <a:pt x="465" y="234"/>
                  <a:pt x="465" y="234"/>
                </a:cubicBezTo>
                <a:cubicBezTo>
                  <a:pt x="467" y="235"/>
                  <a:pt x="469" y="235"/>
                  <a:pt x="470" y="235"/>
                </a:cubicBezTo>
                <a:cubicBezTo>
                  <a:pt x="471" y="235"/>
                  <a:pt x="472" y="235"/>
                  <a:pt x="473" y="235"/>
                </a:cubicBezTo>
                <a:cubicBezTo>
                  <a:pt x="474" y="234"/>
                  <a:pt x="475" y="234"/>
                  <a:pt x="476" y="234"/>
                </a:cubicBezTo>
                <a:cubicBezTo>
                  <a:pt x="477" y="234"/>
                  <a:pt x="478" y="233"/>
                  <a:pt x="479" y="233"/>
                </a:cubicBezTo>
                <a:cubicBezTo>
                  <a:pt x="480" y="233"/>
                  <a:pt x="481" y="232"/>
                  <a:pt x="482" y="232"/>
                </a:cubicBezTo>
                <a:cubicBezTo>
                  <a:pt x="483" y="231"/>
                  <a:pt x="484" y="231"/>
                  <a:pt x="485" y="231"/>
                </a:cubicBezTo>
                <a:cubicBezTo>
                  <a:pt x="487" y="231"/>
                  <a:pt x="488" y="230"/>
                  <a:pt x="489" y="230"/>
                </a:cubicBezTo>
                <a:cubicBezTo>
                  <a:pt x="491" y="229"/>
                  <a:pt x="493" y="229"/>
                  <a:pt x="494" y="228"/>
                </a:cubicBezTo>
                <a:cubicBezTo>
                  <a:pt x="496" y="228"/>
                  <a:pt x="497" y="227"/>
                  <a:pt x="499" y="227"/>
                </a:cubicBezTo>
                <a:cubicBezTo>
                  <a:pt x="501" y="226"/>
                  <a:pt x="504" y="226"/>
                  <a:pt x="506" y="225"/>
                </a:cubicBezTo>
                <a:cubicBezTo>
                  <a:pt x="508" y="224"/>
                  <a:pt x="509" y="224"/>
                  <a:pt x="510" y="223"/>
                </a:cubicBezTo>
                <a:cubicBezTo>
                  <a:pt x="511" y="223"/>
                  <a:pt x="512" y="222"/>
                  <a:pt x="513" y="222"/>
                </a:cubicBezTo>
                <a:cubicBezTo>
                  <a:pt x="514" y="222"/>
                  <a:pt x="515" y="221"/>
                  <a:pt x="516" y="221"/>
                </a:cubicBezTo>
                <a:cubicBezTo>
                  <a:pt x="517" y="220"/>
                  <a:pt x="518" y="220"/>
                  <a:pt x="520" y="220"/>
                </a:cubicBezTo>
                <a:cubicBezTo>
                  <a:pt x="521" y="220"/>
                  <a:pt x="521" y="221"/>
                  <a:pt x="522" y="221"/>
                </a:cubicBezTo>
                <a:cubicBezTo>
                  <a:pt x="523" y="221"/>
                  <a:pt x="524" y="221"/>
                  <a:pt x="524" y="222"/>
                </a:cubicBezTo>
                <a:cubicBezTo>
                  <a:pt x="525" y="222"/>
                  <a:pt x="525" y="222"/>
                  <a:pt x="525" y="222"/>
                </a:cubicBezTo>
                <a:cubicBezTo>
                  <a:pt x="526" y="222"/>
                  <a:pt x="526" y="222"/>
                  <a:pt x="527" y="222"/>
                </a:cubicBezTo>
                <a:cubicBezTo>
                  <a:pt x="527" y="222"/>
                  <a:pt x="528" y="223"/>
                  <a:pt x="529" y="223"/>
                </a:cubicBezTo>
                <a:cubicBezTo>
                  <a:pt x="529" y="223"/>
                  <a:pt x="529" y="222"/>
                  <a:pt x="529" y="222"/>
                </a:cubicBezTo>
                <a:cubicBezTo>
                  <a:pt x="529" y="221"/>
                  <a:pt x="530" y="221"/>
                  <a:pt x="530" y="221"/>
                </a:cubicBezTo>
                <a:cubicBezTo>
                  <a:pt x="530" y="220"/>
                  <a:pt x="531" y="219"/>
                  <a:pt x="531" y="219"/>
                </a:cubicBezTo>
                <a:cubicBezTo>
                  <a:pt x="532" y="220"/>
                  <a:pt x="532" y="220"/>
                  <a:pt x="533" y="220"/>
                </a:cubicBezTo>
                <a:cubicBezTo>
                  <a:pt x="533" y="220"/>
                  <a:pt x="533" y="220"/>
                  <a:pt x="534" y="220"/>
                </a:cubicBezTo>
                <a:cubicBezTo>
                  <a:pt x="535" y="220"/>
                  <a:pt x="536" y="220"/>
                  <a:pt x="537" y="220"/>
                </a:cubicBezTo>
                <a:cubicBezTo>
                  <a:pt x="539" y="220"/>
                  <a:pt x="541" y="220"/>
                  <a:pt x="544" y="220"/>
                </a:cubicBezTo>
                <a:cubicBezTo>
                  <a:pt x="545" y="220"/>
                  <a:pt x="546" y="220"/>
                  <a:pt x="547" y="220"/>
                </a:cubicBezTo>
                <a:cubicBezTo>
                  <a:pt x="547" y="220"/>
                  <a:pt x="548" y="220"/>
                  <a:pt x="548" y="220"/>
                </a:cubicBezTo>
                <a:cubicBezTo>
                  <a:pt x="549" y="220"/>
                  <a:pt x="550" y="220"/>
                  <a:pt x="551" y="220"/>
                </a:cubicBezTo>
                <a:cubicBezTo>
                  <a:pt x="551" y="219"/>
                  <a:pt x="551" y="219"/>
                  <a:pt x="551" y="219"/>
                </a:cubicBezTo>
                <a:cubicBezTo>
                  <a:pt x="552" y="218"/>
                  <a:pt x="553" y="218"/>
                  <a:pt x="553" y="217"/>
                </a:cubicBezTo>
                <a:cubicBezTo>
                  <a:pt x="553" y="217"/>
                  <a:pt x="552" y="217"/>
                  <a:pt x="552" y="217"/>
                </a:cubicBezTo>
                <a:cubicBezTo>
                  <a:pt x="552" y="216"/>
                  <a:pt x="552" y="216"/>
                  <a:pt x="552" y="216"/>
                </a:cubicBezTo>
                <a:cubicBezTo>
                  <a:pt x="553" y="215"/>
                  <a:pt x="553" y="215"/>
                  <a:pt x="554" y="215"/>
                </a:cubicBezTo>
                <a:cubicBezTo>
                  <a:pt x="554" y="214"/>
                  <a:pt x="555" y="214"/>
                  <a:pt x="555" y="214"/>
                </a:cubicBezTo>
                <a:cubicBezTo>
                  <a:pt x="555" y="213"/>
                  <a:pt x="555" y="213"/>
                  <a:pt x="555" y="212"/>
                </a:cubicBezTo>
                <a:cubicBezTo>
                  <a:pt x="554" y="212"/>
                  <a:pt x="555" y="212"/>
                  <a:pt x="555" y="211"/>
                </a:cubicBezTo>
                <a:cubicBezTo>
                  <a:pt x="556" y="211"/>
                  <a:pt x="555" y="211"/>
                  <a:pt x="555" y="210"/>
                </a:cubicBezTo>
                <a:cubicBezTo>
                  <a:pt x="555" y="209"/>
                  <a:pt x="556" y="209"/>
                  <a:pt x="556" y="209"/>
                </a:cubicBezTo>
                <a:cubicBezTo>
                  <a:pt x="557" y="208"/>
                  <a:pt x="558" y="207"/>
                  <a:pt x="558" y="206"/>
                </a:cubicBezTo>
                <a:cubicBezTo>
                  <a:pt x="558" y="206"/>
                  <a:pt x="558" y="205"/>
                  <a:pt x="558" y="204"/>
                </a:cubicBezTo>
                <a:cubicBezTo>
                  <a:pt x="558" y="203"/>
                  <a:pt x="557" y="202"/>
                  <a:pt x="557" y="202"/>
                </a:cubicBezTo>
                <a:cubicBezTo>
                  <a:pt x="557" y="201"/>
                  <a:pt x="556" y="200"/>
                  <a:pt x="556" y="200"/>
                </a:cubicBezTo>
                <a:cubicBezTo>
                  <a:pt x="555" y="199"/>
                  <a:pt x="554" y="199"/>
                  <a:pt x="554" y="199"/>
                </a:cubicBezTo>
                <a:cubicBezTo>
                  <a:pt x="553" y="198"/>
                  <a:pt x="552" y="198"/>
                  <a:pt x="551" y="198"/>
                </a:cubicBezTo>
                <a:cubicBezTo>
                  <a:pt x="551" y="198"/>
                  <a:pt x="550" y="198"/>
                  <a:pt x="550" y="198"/>
                </a:cubicBezTo>
                <a:cubicBezTo>
                  <a:pt x="549" y="197"/>
                  <a:pt x="549" y="197"/>
                  <a:pt x="548" y="197"/>
                </a:cubicBezTo>
                <a:cubicBezTo>
                  <a:pt x="548" y="197"/>
                  <a:pt x="547" y="197"/>
                  <a:pt x="547" y="197"/>
                </a:cubicBezTo>
                <a:cubicBezTo>
                  <a:pt x="547" y="197"/>
                  <a:pt x="546" y="197"/>
                  <a:pt x="545" y="197"/>
                </a:cubicBezTo>
                <a:cubicBezTo>
                  <a:pt x="545" y="197"/>
                  <a:pt x="544" y="197"/>
                  <a:pt x="544" y="197"/>
                </a:cubicBezTo>
                <a:cubicBezTo>
                  <a:pt x="543" y="197"/>
                  <a:pt x="543" y="198"/>
                  <a:pt x="543" y="199"/>
                </a:cubicBezTo>
                <a:cubicBezTo>
                  <a:pt x="542" y="199"/>
                  <a:pt x="541" y="199"/>
                  <a:pt x="541" y="200"/>
                </a:cubicBezTo>
                <a:cubicBezTo>
                  <a:pt x="540" y="201"/>
                  <a:pt x="541" y="201"/>
                  <a:pt x="542" y="202"/>
                </a:cubicBezTo>
                <a:cubicBezTo>
                  <a:pt x="542" y="202"/>
                  <a:pt x="542" y="202"/>
                  <a:pt x="543" y="203"/>
                </a:cubicBezTo>
                <a:cubicBezTo>
                  <a:pt x="543" y="203"/>
                  <a:pt x="543" y="203"/>
                  <a:pt x="543" y="203"/>
                </a:cubicBezTo>
                <a:cubicBezTo>
                  <a:pt x="543" y="204"/>
                  <a:pt x="542" y="203"/>
                  <a:pt x="542" y="204"/>
                </a:cubicBezTo>
                <a:cubicBezTo>
                  <a:pt x="541" y="204"/>
                  <a:pt x="542" y="204"/>
                  <a:pt x="542" y="205"/>
                </a:cubicBezTo>
                <a:cubicBezTo>
                  <a:pt x="542" y="205"/>
                  <a:pt x="542" y="207"/>
                  <a:pt x="541" y="206"/>
                </a:cubicBezTo>
                <a:cubicBezTo>
                  <a:pt x="540" y="205"/>
                  <a:pt x="540" y="205"/>
                  <a:pt x="540" y="204"/>
                </a:cubicBezTo>
                <a:cubicBezTo>
                  <a:pt x="540" y="203"/>
                  <a:pt x="540" y="203"/>
                  <a:pt x="539" y="202"/>
                </a:cubicBezTo>
                <a:cubicBezTo>
                  <a:pt x="539" y="201"/>
                  <a:pt x="539" y="200"/>
                  <a:pt x="538" y="200"/>
                </a:cubicBezTo>
                <a:cubicBezTo>
                  <a:pt x="538" y="200"/>
                  <a:pt x="537" y="200"/>
                  <a:pt x="537" y="200"/>
                </a:cubicBezTo>
                <a:cubicBezTo>
                  <a:pt x="536" y="200"/>
                  <a:pt x="536" y="200"/>
                  <a:pt x="535" y="200"/>
                </a:cubicBezTo>
                <a:cubicBezTo>
                  <a:pt x="535" y="201"/>
                  <a:pt x="534" y="201"/>
                  <a:pt x="533" y="200"/>
                </a:cubicBezTo>
                <a:cubicBezTo>
                  <a:pt x="533" y="200"/>
                  <a:pt x="533" y="199"/>
                  <a:pt x="532" y="199"/>
                </a:cubicBezTo>
                <a:cubicBezTo>
                  <a:pt x="532" y="199"/>
                  <a:pt x="532" y="198"/>
                  <a:pt x="532" y="198"/>
                </a:cubicBezTo>
                <a:cubicBezTo>
                  <a:pt x="531" y="197"/>
                  <a:pt x="531" y="197"/>
                  <a:pt x="530" y="197"/>
                </a:cubicBezTo>
                <a:cubicBezTo>
                  <a:pt x="529" y="196"/>
                  <a:pt x="528" y="197"/>
                  <a:pt x="528" y="197"/>
                </a:cubicBezTo>
                <a:cubicBezTo>
                  <a:pt x="526" y="197"/>
                  <a:pt x="526" y="196"/>
                  <a:pt x="526" y="195"/>
                </a:cubicBezTo>
                <a:cubicBezTo>
                  <a:pt x="527" y="195"/>
                  <a:pt x="527" y="194"/>
                  <a:pt x="527" y="193"/>
                </a:cubicBezTo>
                <a:cubicBezTo>
                  <a:pt x="527" y="192"/>
                  <a:pt x="527" y="192"/>
                  <a:pt x="526" y="191"/>
                </a:cubicBezTo>
                <a:cubicBezTo>
                  <a:pt x="526" y="190"/>
                  <a:pt x="526" y="190"/>
                  <a:pt x="525" y="189"/>
                </a:cubicBezTo>
                <a:cubicBezTo>
                  <a:pt x="525" y="189"/>
                  <a:pt x="524" y="189"/>
                  <a:pt x="524" y="189"/>
                </a:cubicBezTo>
                <a:cubicBezTo>
                  <a:pt x="523" y="189"/>
                  <a:pt x="523" y="189"/>
                  <a:pt x="522" y="188"/>
                </a:cubicBezTo>
                <a:cubicBezTo>
                  <a:pt x="522" y="187"/>
                  <a:pt x="523" y="186"/>
                  <a:pt x="522" y="185"/>
                </a:cubicBezTo>
                <a:cubicBezTo>
                  <a:pt x="522" y="184"/>
                  <a:pt x="521" y="185"/>
                  <a:pt x="521" y="184"/>
                </a:cubicBezTo>
                <a:cubicBezTo>
                  <a:pt x="520" y="184"/>
                  <a:pt x="520" y="183"/>
                  <a:pt x="521" y="183"/>
                </a:cubicBezTo>
                <a:cubicBezTo>
                  <a:pt x="521" y="182"/>
                  <a:pt x="521" y="183"/>
                  <a:pt x="522" y="183"/>
                </a:cubicBezTo>
                <a:cubicBezTo>
                  <a:pt x="522" y="183"/>
                  <a:pt x="523" y="182"/>
                  <a:pt x="524" y="181"/>
                </a:cubicBezTo>
                <a:cubicBezTo>
                  <a:pt x="524" y="180"/>
                  <a:pt x="523" y="181"/>
                  <a:pt x="522" y="180"/>
                </a:cubicBezTo>
                <a:cubicBezTo>
                  <a:pt x="521" y="180"/>
                  <a:pt x="521" y="179"/>
                  <a:pt x="521" y="179"/>
                </a:cubicBezTo>
                <a:cubicBezTo>
                  <a:pt x="520" y="178"/>
                  <a:pt x="520" y="178"/>
                  <a:pt x="520" y="178"/>
                </a:cubicBezTo>
                <a:cubicBezTo>
                  <a:pt x="519" y="178"/>
                  <a:pt x="519" y="178"/>
                  <a:pt x="518" y="179"/>
                </a:cubicBezTo>
                <a:cubicBezTo>
                  <a:pt x="518" y="179"/>
                  <a:pt x="517" y="179"/>
                  <a:pt x="516" y="179"/>
                </a:cubicBezTo>
                <a:cubicBezTo>
                  <a:pt x="515" y="179"/>
                  <a:pt x="514" y="179"/>
                  <a:pt x="513" y="179"/>
                </a:cubicBezTo>
                <a:cubicBezTo>
                  <a:pt x="513" y="180"/>
                  <a:pt x="513" y="180"/>
                  <a:pt x="513" y="180"/>
                </a:cubicBezTo>
                <a:cubicBezTo>
                  <a:pt x="512" y="181"/>
                  <a:pt x="512" y="181"/>
                  <a:pt x="512" y="181"/>
                </a:cubicBezTo>
                <a:cubicBezTo>
                  <a:pt x="511" y="181"/>
                  <a:pt x="511" y="182"/>
                  <a:pt x="511" y="183"/>
                </a:cubicBezTo>
                <a:cubicBezTo>
                  <a:pt x="510" y="183"/>
                  <a:pt x="510" y="183"/>
                  <a:pt x="510" y="184"/>
                </a:cubicBezTo>
                <a:cubicBezTo>
                  <a:pt x="509" y="184"/>
                  <a:pt x="508" y="184"/>
                  <a:pt x="508" y="185"/>
                </a:cubicBezTo>
                <a:cubicBezTo>
                  <a:pt x="508" y="185"/>
                  <a:pt x="508" y="186"/>
                  <a:pt x="508" y="186"/>
                </a:cubicBezTo>
                <a:cubicBezTo>
                  <a:pt x="508" y="187"/>
                  <a:pt x="508" y="187"/>
                  <a:pt x="507" y="187"/>
                </a:cubicBezTo>
                <a:cubicBezTo>
                  <a:pt x="506" y="187"/>
                  <a:pt x="505" y="187"/>
                  <a:pt x="504" y="187"/>
                </a:cubicBezTo>
                <a:cubicBezTo>
                  <a:pt x="503" y="188"/>
                  <a:pt x="503" y="188"/>
                  <a:pt x="502" y="189"/>
                </a:cubicBezTo>
                <a:cubicBezTo>
                  <a:pt x="501" y="189"/>
                  <a:pt x="501" y="190"/>
                  <a:pt x="501" y="191"/>
                </a:cubicBezTo>
                <a:cubicBezTo>
                  <a:pt x="501" y="191"/>
                  <a:pt x="501" y="191"/>
                  <a:pt x="501" y="192"/>
                </a:cubicBezTo>
                <a:cubicBezTo>
                  <a:pt x="501" y="192"/>
                  <a:pt x="502" y="192"/>
                  <a:pt x="502" y="192"/>
                </a:cubicBezTo>
                <a:cubicBezTo>
                  <a:pt x="503" y="192"/>
                  <a:pt x="504" y="192"/>
                  <a:pt x="505" y="192"/>
                </a:cubicBezTo>
                <a:cubicBezTo>
                  <a:pt x="505" y="193"/>
                  <a:pt x="505" y="193"/>
                  <a:pt x="506" y="193"/>
                </a:cubicBezTo>
                <a:cubicBezTo>
                  <a:pt x="506" y="193"/>
                  <a:pt x="506" y="193"/>
                  <a:pt x="507" y="194"/>
                </a:cubicBezTo>
                <a:cubicBezTo>
                  <a:pt x="507" y="194"/>
                  <a:pt x="507" y="194"/>
                  <a:pt x="508" y="194"/>
                </a:cubicBezTo>
                <a:cubicBezTo>
                  <a:pt x="508" y="195"/>
                  <a:pt x="509" y="195"/>
                  <a:pt x="509" y="195"/>
                </a:cubicBezTo>
                <a:cubicBezTo>
                  <a:pt x="510" y="195"/>
                  <a:pt x="511" y="196"/>
                  <a:pt x="511" y="196"/>
                </a:cubicBezTo>
                <a:cubicBezTo>
                  <a:pt x="512" y="196"/>
                  <a:pt x="513" y="197"/>
                  <a:pt x="513" y="198"/>
                </a:cubicBezTo>
                <a:cubicBezTo>
                  <a:pt x="512" y="198"/>
                  <a:pt x="511" y="199"/>
                  <a:pt x="510" y="199"/>
                </a:cubicBezTo>
                <a:cubicBezTo>
                  <a:pt x="509" y="199"/>
                  <a:pt x="508" y="200"/>
                  <a:pt x="507" y="200"/>
                </a:cubicBezTo>
                <a:cubicBezTo>
                  <a:pt x="507" y="200"/>
                  <a:pt x="506" y="200"/>
                  <a:pt x="505" y="201"/>
                </a:cubicBezTo>
                <a:cubicBezTo>
                  <a:pt x="505" y="201"/>
                  <a:pt x="506" y="201"/>
                  <a:pt x="506" y="201"/>
                </a:cubicBezTo>
                <a:cubicBezTo>
                  <a:pt x="508" y="202"/>
                  <a:pt x="510" y="203"/>
                  <a:pt x="511" y="203"/>
                </a:cubicBezTo>
                <a:cubicBezTo>
                  <a:pt x="512" y="203"/>
                  <a:pt x="513" y="204"/>
                  <a:pt x="514" y="204"/>
                </a:cubicBezTo>
                <a:cubicBezTo>
                  <a:pt x="515" y="204"/>
                  <a:pt x="516" y="204"/>
                  <a:pt x="517" y="205"/>
                </a:cubicBezTo>
                <a:cubicBezTo>
                  <a:pt x="517" y="205"/>
                  <a:pt x="518" y="205"/>
                  <a:pt x="519" y="206"/>
                </a:cubicBezTo>
                <a:cubicBezTo>
                  <a:pt x="519" y="207"/>
                  <a:pt x="519" y="207"/>
                  <a:pt x="519" y="208"/>
                </a:cubicBezTo>
                <a:cubicBezTo>
                  <a:pt x="519" y="209"/>
                  <a:pt x="519" y="210"/>
                  <a:pt x="518" y="210"/>
                </a:cubicBezTo>
                <a:cubicBezTo>
                  <a:pt x="517" y="210"/>
                  <a:pt x="516" y="210"/>
                  <a:pt x="515" y="210"/>
                </a:cubicBezTo>
                <a:cubicBezTo>
                  <a:pt x="514" y="210"/>
                  <a:pt x="513" y="210"/>
                  <a:pt x="512" y="210"/>
                </a:cubicBezTo>
                <a:cubicBezTo>
                  <a:pt x="511" y="210"/>
                  <a:pt x="511" y="209"/>
                  <a:pt x="510" y="209"/>
                </a:cubicBezTo>
                <a:cubicBezTo>
                  <a:pt x="509" y="209"/>
                  <a:pt x="509" y="209"/>
                  <a:pt x="509" y="209"/>
                </a:cubicBezTo>
                <a:cubicBezTo>
                  <a:pt x="508" y="209"/>
                  <a:pt x="508" y="209"/>
                  <a:pt x="507" y="209"/>
                </a:cubicBezTo>
                <a:cubicBezTo>
                  <a:pt x="506" y="209"/>
                  <a:pt x="505" y="209"/>
                  <a:pt x="505" y="209"/>
                </a:cubicBezTo>
                <a:cubicBezTo>
                  <a:pt x="503" y="209"/>
                  <a:pt x="501" y="209"/>
                  <a:pt x="500" y="209"/>
                </a:cubicBezTo>
                <a:cubicBezTo>
                  <a:pt x="498" y="210"/>
                  <a:pt x="496" y="210"/>
                  <a:pt x="493" y="210"/>
                </a:cubicBezTo>
                <a:cubicBezTo>
                  <a:pt x="493" y="210"/>
                  <a:pt x="492" y="210"/>
                  <a:pt x="491" y="209"/>
                </a:cubicBezTo>
                <a:cubicBezTo>
                  <a:pt x="490" y="209"/>
                  <a:pt x="490" y="206"/>
                  <a:pt x="490" y="205"/>
                </a:cubicBezTo>
                <a:cubicBezTo>
                  <a:pt x="490" y="204"/>
                  <a:pt x="490" y="204"/>
                  <a:pt x="489" y="203"/>
                </a:cubicBezTo>
                <a:cubicBezTo>
                  <a:pt x="488" y="201"/>
                  <a:pt x="486" y="202"/>
                  <a:pt x="484" y="202"/>
                </a:cubicBezTo>
                <a:cubicBezTo>
                  <a:pt x="484" y="202"/>
                  <a:pt x="483" y="203"/>
                  <a:pt x="482" y="203"/>
                </a:cubicBezTo>
                <a:cubicBezTo>
                  <a:pt x="481" y="203"/>
                  <a:pt x="481" y="202"/>
                  <a:pt x="482" y="201"/>
                </a:cubicBezTo>
                <a:cubicBezTo>
                  <a:pt x="482" y="201"/>
                  <a:pt x="484" y="201"/>
                  <a:pt x="484" y="201"/>
                </a:cubicBezTo>
                <a:cubicBezTo>
                  <a:pt x="484" y="200"/>
                  <a:pt x="483" y="200"/>
                  <a:pt x="483" y="200"/>
                </a:cubicBezTo>
                <a:cubicBezTo>
                  <a:pt x="481" y="199"/>
                  <a:pt x="480" y="198"/>
                  <a:pt x="478" y="197"/>
                </a:cubicBezTo>
                <a:cubicBezTo>
                  <a:pt x="477" y="196"/>
                  <a:pt x="476" y="194"/>
                  <a:pt x="474" y="193"/>
                </a:cubicBezTo>
                <a:cubicBezTo>
                  <a:pt x="474" y="193"/>
                  <a:pt x="473" y="192"/>
                  <a:pt x="472" y="192"/>
                </a:cubicBezTo>
                <a:cubicBezTo>
                  <a:pt x="471" y="192"/>
                  <a:pt x="470" y="192"/>
                  <a:pt x="470" y="192"/>
                </a:cubicBezTo>
                <a:cubicBezTo>
                  <a:pt x="469" y="192"/>
                  <a:pt x="468" y="192"/>
                  <a:pt x="467" y="192"/>
                </a:cubicBezTo>
                <a:cubicBezTo>
                  <a:pt x="466" y="192"/>
                  <a:pt x="465" y="192"/>
                  <a:pt x="464" y="193"/>
                </a:cubicBezTo>
                <a:cubicBezTo>
                  <a:pt x="464" y="193"/>
                  <a:pt x="463" y="194"/>
                  <a:pt x="462" y="194"/>
                </a:cubicBezTo>
                <a:cubicBezTo>
                  <a:pt x="461" y="194"/>
                  <a:pt x="461" y="193"/>
                  <a:pt x="460" y="193"/>
                </a:cubicBezTo>
                <a:cubicBezTo>
                  <a:pt x="460" y="193"/>
                  <a:pt x="460" y="192"/>
                  <a:pt x="460" y="192"/>
                </a:cubicBezTo>
                <a:cubicBezTo>
                  <a:pt x="459" y="192"/>
                  <a:pt x="459" y="192"/>
                  <a:pt x="458" y="191"/>
                </a:cubicBezTo>
                <a:cubicBezTo>
                  <a:pt x="458" y="191"/>
                  <a:pt x="458" y="191"/>
                  <a:pt x="458" y="190"/>
                </a:cubicBezTo>
                <a:cubicBezTo>
                  <a:pt x="457" y="190"/>
                  <a:pt x="456" y="189"/>
                  <a:pt x="456" y="188"/>
                </a:cubicBezTo>
                <a:cubicBezTo>
                  <a:pt x="455" y="187"/>
                  <a:pt x="454" y="187"/>
                  <a:pt x="453" y="187"/>
                </a:cubicBezTo>
                <a:cubicBezTo>
                  <a:pt x="452" y="186"/>
                  <a:pt x="450" y="186"/>
                  <a:pt x="449" y="186"/>
                </a:cubicBezTo>
                <a:cubicBezTo>
                  <a:pt x="448" y="187"/>
                  <a:pt x="447" y="187"/>
                  <a:pt x="446" y="187"/>
                </a:cubicBezTo>
                <a:cubicBezTo>
                  <a:pt x="446" y="187"/>
                  <a:pt x="445" y="187"/>
                  <a:pt x="444" y="187"/>
                </a:cubicBezTo>
                <a:cubicBezTo>
                  <a:pt x="443" y="187"/>
                  <a:pt x="442" y="188"/>
                  <a:pt x="441" y="188"/>
                </a:cubicBezTo>
                <a:cubicBezTo>
                  <a:pt x="440" y="189"/>
                  <a:pt x="439" y="189"/>
                  <a:pt x="439" y="190"/>
                </a:cubicBezTo>
                <a:close/>
                <a:moveTo>
                  <a:pt x="449" y="153"/>
                </a:moveTo>
                <a:cubicBezTo>
                  <a:pt x="449" y="153"/>
                  <a:pt x="449" y="153"/>
                  <a:pt x="450" y="154"/>
                </a:cubicBezTo>
                <a:cubicBezTo>
                  <a:pt x="450" y="154"/>
                  <a:pt x="450" y="154"/>
                  <a:pt x="451" y="154"/>
                </a:cubicBezTo>
                <a:cubicBezTo>
                  <a:pt x="451" y="155"/>
                  <a:pt x="452" y="155"/>
                  <a:pt x="453" y="155"/>
                </a:cubicBezTo>
                <a:cubicBezTo>
                  <a:pt x="454" y="156"/>
                  <a:pt x="454" y="156"/>
                  <a:pt x="455" y="157"/>
                </a:cubicBezTo>
                <a:cubicBezTo>
                  <a:pt x="456" y="158"/>
                  <a:pt x="459" y="158"/>
                  <a:pt x="460" y="157"/>
                </a:cubicBezTo>
                <a:cubicBezTo>
                  <a:pt x="461" y="157"/>
                  <a:pt x="462" y="156"/>
                  <a:pt x="463" y="156"/>
                </a:cubicBezTo>
                <a:cubicBezTo>
                  <a:pt x="464" y="155"/>
                  <a:pt x="465" y="155"/>
                  <a:pt x="464" y="154"/>
                </a:cubicBezTo>
                <a:cubicBezTo>
                  <a:pt x="464" y="154"/>
                  <a:pt x="463" y="153"/>
                  <a:pt x="462" y="153"/>
                </a:cubicBezTo>
                <a:cubicBezTo>
                  <a:pt x="462" y="152"/>
                  <a:pt x="461" y="152"/>
                  <a:pt x="460" y="151"/>
                </a:cubicBezTo>
                <a:cubicBezTo>
                  <a:pt x="460" y="151"/>
                  <a:pt x="459" y="150"/>
                  <a:pt x="458" y="150"/>
                </a:cubicBezTo>
                <a:cubicBezTo>
                  <a:pt x="458" y="149"/>
                  <a:pt x="457" y="149"/>
                  <a:pt x="457" y="149"/>
                </a:cubicBezTo>
                <a:cubicBezTo>
                  <a:pt x="457" y="149"/>
                  <a:pt x="456" y="148"/>
                  <a:pt x="456" y="148"/>
                </a:cubicBezTo>
                <a:cubicBezTo>
                  <a:pt x="455" y="148"/>
                  <a:pt x="455" y="149"/>
                  <a:pt x="454" y="149"/>
                </a:cubicBezTo>
                <a:cubicBezTo>
                  <a:pt x="453" y="149"/>
                  <a:pt x="453" y="150"/>
                  <a:pt x="452" y="150"/>
                </a:cubicBezTo>
                <a:cubicBezTo>
                  <a:pt x="451" y="150"/>
                  <a:pt x="451" y="151"/>
                  <a:pt x="450" y="151"/>
                </a:cubicBezTo>
                <a:cubicBezTo>
                  <a:pt x="449" y="151"/>
                  <a:pt x="448" y="151"/>
                  <a:pt x="448" y="151"/>
                </a:cubicBezTo>
                <a:cubicBezTo>
                  <a:pt x="447" y="152"/>
                  <a:pt x="448" y="153"/>
                  <a:pt x="449" y="153"/>
                </a:cubicBezTo>
                <a:close/>
                <a:moveTo>
                  <a:pt x="22" y="555"/>
                </a:moveTo>
                <a:cubicBezTo>
                  <a:pt x="22" y="555"/>
                  <a:pt x="21" y="555"/>
                  <a:pt x="22" y="554"/>
                </a:cubicBezTo>
                <a:cubicBezTo>
                  <a:pt x="22" y="554"/>
                  <a:pt x="22" y="554"/>
                  <a:pt x="22" y="554"/>
                </a:cubicBezTo>
                <a:cubicBezTo>
                  <a:pt x="22" y="553"/>
                  <a:pt x="22" y="553"/>
                  <a:pt x="22" y="553"/>
                </a:cubicBezTo>
                <a:cubicBezTo>
                  <a:pt x="22" y="553"/>
                  <a:pt x="22" y="553"/>
                  <a:pt x="23" y="552"/>
                </a:cubicBezTo>
                <a:cubicBezTo>
                  <a:pt x="23" y="552"/>
                  <a:pt x="23" y="551"/>
                  <a:pt x="23" y="551"/>
                </a:cubicBezTo>
                <a:cubicBezTo>
                  <a:pt x="22" y="551"/>
                  <a:pt x="22" y="552"/>
                  <a:pt x="22" y="552"/>
                </a:cubicBezTo>
                <a:cubicBezTo>
                  <a:pt x="21" y="552"/>
                  <a:pt x="22" y="551"/>
                  <a:pt x="21" y="551"/>
                </a:cubicBezTo>
                <a:cubicBezTo>
                  <a:pt x="21" y="551"/>
                  <a:pt x="21" y="551"/>
                  <a:pt x="21" y="551"/>
                </a:cubicBezTo>
                <a:cubicBezTo>
                  <a:pt x="21" y="550"/>
                  <a:pt x="21" y="550"/>
                  <a:pt x="21" y="550"/>
                </a:cubicBezTo>
                <a:cubicBezTo>
                  <a:pt x="20" y="549"/>
                  <a:pt x="20" y="550"/>
                  <a:pt x="20" y="550"/>
                </a:cubicBezTo>
                <a:cubicBezTo>
                  <a:pt x="19" y="550"/>
                  <a:pt x="19" y="551"/>
                  <a:pt x="19" y="551"/>
                </a:cubicBezTo>
                <a:cubicBezTo>
                  <a:pt x="19" y="551"/>
                  <a:pt x="18" y="551"/>
                  <a:pt x="18" y="551"/>
                </a:cubicBezTo>
                <a:cubicBezTo>
                  <a:pt x="17" y="551"/>
                  <a:pt x="18" y="550"/>
                  <a:pt x="17" y="550"/>
                </a:cubicBezTo>
                <a:cubicBezTo>
                  <a:pt x="17" y="549"/>
                  <a:pt x="16" y="550"/>
                  <a:pt x="16" y="550"/>
                </a:cubicBezTo>
                <a:cubicBezTo>
                  <a:pt x="15" y="550"/>
                  <a:pt x="15" y="550"/>
                  <a:pt x="15" y="550"/>
                </a:cubicBezTo>
                <a:cubicBezTo>
                  <a:pt x="14" y="549"/>
                  <a:pt x="14" y="549"/>
                  <a:pt x="13" y="549"/>
                </a:cubicBezTo>
                <a:cubicBezTo>
                  <a:pt x="13" y="549"/>
                  <a:pt x="13" y="549"/>
                  <a:pt x="13" y="549"/>
                </a:cubicBezTo>
                <a:cubicBezTo>
                  <a:pt x="12" y="548"/>
                  <a:pt x="12" y="548"/>
                  <a:pt x="12" y="548"/>
                </a:cubicBezTo>
                <a:cubicBezTo>
                  <a:pt x="11" y="549"/>
                  <a:pt x="13" y="550"/>
                  <a:pt x="13" y="550"/>
                </a:cubicBezTo>
                <a:cubicBezTo>
                  <a:pt x="13" y="551"/>
                  <a:pt x="13" y="552"/>
                  <a:pt x="13" y="552"/>
                </a:cubicBezTo>
                <a:cubicBezTo>
                  <a:pt x="12" y="552"/>
                  <a:pt x="12" y="551"/>
                  <a:pt x="12" y="551"/>
                </a:cubicBezTo>
                <a:cubicBezTo>
                  <a:pt x="12" y="551"/>
                  <a:pt x="12" y="551"/>
                  <a:pt x="11" y="550"/>
                </a:cubicBezTo>
                <a:cubicBezTo>
                  <a:pt x="11" y="550"/>
                  <a:pt x="11" y="549"/>
                  <a:pt x="11" y="549"/>
                </a:cubicBezTo>
                <a:cubicBezTo>
                  <a:pt x="10" y="549"/>
                  <a:pt x="10" y="549"/>
                  <a:pt x="10" y="549"/>
                </a:cubicBezTo>
                <a:cubicBezTo>
                  <a:pt x="10" y="550"/>
                  <a:pt x="10" y="550"/>
                  <a:pt x="11" y="550"/>
                </a:cubicBezTo>
                <a:cubicBezTo>
                  <a:pt x="11" y="551"/>
                  <a:pt x="11" y="551"/>
                  <a:pt x="11" y="551"/>
                </a:cubicBezTo>
                <a:cubicBezTo>
                  <a:pt x="10" y="551"/>
                  <a:pt x="10" y="551"/>
                  <a:pt x="10" y="552"/>
                </a:cubicBezTo>
                <a:cubicBezTo>
                  <a:pt x="10" y="552"/>
                  <a:pt x="10" y="552"/>
                  <a:pt x="10" y="552"/>
                </a:cubicBezTo>
                <a:cubicBezTo>
                  <a:pt x="10" y="553"/>
                  <a:pt x="10" y="553"/>
                  <a:pt x="10" y="553"/>
                </a:cubicBezTo>
                <a:cubicBezTo>
                  <a:pt x="10" y="553"/>
                  <a:pt x="10" y="553"/>
                  <a:pt x="9" y="552"/>
                </a:cubicBezTo>
                <a:cubicBezTo>
                  <a:pt x="9" y="552"/>
                  <a:pt x="9" y="552"/>
                  <a:pt x="9" y="552"/>
                </a:cubicBezTo>
                <a:cubicBezTo>
                  <a:pt x="8" y="552"/>
                  <a:pt x="8" y="551"/>
                  <a:pt x="8" y="550"/>
                </a:cubicBezTo>
                <a:cubicBezTo>
                  <a:pt x="7" y="550"/>
                  <a:pt x="5" y="550"/>
                  <a:pt x="5" y="551"/>
                </a:cubicBezTo>
                <a:cubicBezTo>
                  <a:pt x="5" y="551"/>
                  <a:pt x="5" y="551"/>
                  <a:pt x="5" y="552"/>
                </a:cubicBezTo>
                <a:cubicBezTo>
                  <a:pt x="5" y="552"/>
                  <a:pt x="5" y="552"/>
                  <a:pt x="4" y="552"/>
                </a:cubicBezTo>
                <a:cubicBezTo>
                  <a:pt x="4" y="552"/>
                  <a:pt x="4" y="553"/>
                  <a:pt x="5" y="553"/>
                </a:cubicBezTo>
                <a:cubicBezTo>
                  <a:pt x="5" y="554"/>
                  <a:pt x="5" y="553"/>
                  <a:pt x="6" y="553"/>
                </a:cubicBezTo>
                <a:cubicBezTo>
                  <a:pt x="6" y="553"/>
                  <a:pt x="6" y="554"/>
                  <a:pt x="6" y="554"/>
                </a:cubicBezTo>
                <a:cubicBezTo>
                  <a:pt x="5" y="554"/>
                  <a:pt x="5" y="554"/>
                  <a:pt x="5" y="555"/>
                </a:cubicBezTo>
                <a:cubicBezTo>
                  <a:pt x="5" y="555"/>
                  <a:pt x="6" y="556"/>
                  <a:pt x="6" y="556"/>
                </a:cubicBezTo>
                <a:cubicBezTo>
                  <a:pt x="5" y="557"/>
                  <a:pt x="4" y="556"/>
                  <a:pt x="3" y="556"/>
                </a:cubicBezTo>
                <a:cubicBezTo>
                  <a:pt x="3" y="555"/>
                  <a:pt x="3" y="555"/>
                  <a:pt x="3" y="555"/>
                </a:cubicBezTo>
                <a:cubicBezTo>
                  <a:pt x="3" y="554"/>
                  <a:pt x="2" y="554"/>
                  <a:pt x="2" y="554"/>
                </a:cubicBezTo>
                <a:cubicBezTo>
                  <a:pt x="1" y="554"/>
                  <a:pt x="1" y="554"/>
                  <a:pt x="0" y="555"/>
                </a:cubicBezTo>
                <a:cubicBezTo>
                  <a:pt x="1" y="563"/>
                  <a:pt x="1" y="563"/>
                  <a:pt x="1" y="563"/>
                </a:cubicBezTo>
                <a:cubicBezTo>
                  <a:pt x="1" y="563"/>
                  <a:pt x="2" y="563"/>
                  <a:pt x="2" y="563"/>
                </a:cubicBezTo>
                <a:cubicBezTo>
                  <a:pt x="3" y="563"/>
                  <a:pt x="3" y="563"/>
                  <a:pt x="3" y="563"/>
                </a:cubicBezTo>
                <a:cubicBezTo>
                  <a:pt x="3" y="564"/>
                  <a:pt x="3" y="564"/>
                  <a:pt x="2" y="564"/>
                </a:cubicBezTo>
                <a:cubicBezTo>
                  <a:pt x="2" y="565"/>
                  <a:pt x="2" y="565"/>
                  <a:pt x="3" y="565"/>
                </a:cubicBezTo>
                <a:cubicBezTo>
                  <a:pt x="3" y="565"/>
                  <a:pt x="3" y="565"/>
                  <a:pt x="4" y="565"/>
                </a:cubicBezTo>
                <a:cubicBezTo>
                  <a:pt x="4" y="564"/>
                  <a:pt x="4" y="565"/>
                  <a:pt x="4" y="565"/>
                </a:cubicBezTo>
                <a:cubicBezTo>
                  <a:pt x="4" y="566"/>
                  <a:pt x="4" y="566"/>
                  <a:pt x="3" y="566"/>
                </a:cubicBezTo>
                <a:cubicBezTo>
                  <a:pt x="3" y="566"/>
                  <a:pt x="3" y="567"/>
                  <a:pt x="3" y="568"/>
                </a:cubicBezTo>
                <a:cubicBezTo>
                  <a:pt x="2" y="568"/>
                  <a:pt x="1" y="568"/>
                  <a:pt x="2" y="569"/>
                </a:cubicBezTo>
                <a:cubicBezTo>
                  <a:pt x="2" y="569"/>
                  <a:pt x="2" y="569"/>
                  <a:pt x="3" y="569"/>
                </a:cubicBezTo>
                <a:cubicBezTo>
                  <a:pt x="3" y="569"/>
                  <a:pt x="4" y="569"/>
                  <a:pt x="4" y="569"/>
                </a:cubicBezTo>
                <a:cubicBezTo>
                  <a:pt x="5" y="569"/>
                  <a:pt x="5" y="568"/>
                  <a:pt x="6" y="567"/>
                </a:cubicBezTo>
                <a:cubicBezTo>
                  <a:pt x="7" y="566"/>
                  <a:pt x="8" y="566"/>
                  <a:pt x="8" y="565"/>
                </a:cubicBezTo>
                <a:cubicBezTo>
                  <a:pt x="8" y="565"/>
                  <a:pt x="8" y="565"/>
                  <a:pt x="8" y="565"/>
                </a:cubicBezTo>
                <a:cubicBezTo>
                  <a:pt x="7" y="565"/>
                  <a:pt x="7" y="564"/>
                  <a:pt x="8" y="564"/>
                </a:cubicBezTo>
                <a:cubicBezTo>
                  <a:pt x="8" y="564"/>
                  <a:pt x="9" y="564"/>
                  <a:pt x="9" y="564"/>
                </a:cubicBezTo>
                <a:cubicBezTo>
                  <a:pt x="9" y="564"/>
                  <a:pt x="9" y="563"/>
                  <a:pt x="9" y="563"/>
                </a:cubicBezTo>
                <a:cubicBezTo>
                  <a:pt x="9" y="562"/>
                  <a:pt x="9" y="562"/>
                  <a:pt x="10" y="562"/>
                </a:cubicBezTo>
                <a:cubicBezTo>
                  <a:pt x="10" y="562"/>
                  <a:pt x="11" y="563"/>
                  <a:pt x="11" y="563"/>
                </a:cubicBezTo>
                <a:cubicBezTo>
                  <a:pt x="11" y="563"/>
                  <a:pt x="10" y="563"/>
                  <a:pt x="10" y="564"/>
                </a:cubicBezTo>
                <a:cubicBezTo>
                  <a:pt x="10" y="564"/>
                  <a:pt x="13" y="564"/>
                  <a:pt x="13" y="563"/>
                </a:cubicBezTo>
                <a:cubicBezTo>
                  <a:pt x="13" y="563"/>
                  <a:pt x="13" y="563"/>
                  <a:pt x="14" y="563"/>
                </a:cubicBezTo>
                <a:cubicBezTo>
                  <a:pt x="14" y="563"/>
                  <a:pt x="15" y="563"/>
                  <a:pt x="15" y="563"/>
                </a:cubicBezTo>
                <a:cubicBezTo>
                  <a:pt x="16" y="563"/>
                  <a:pt x="16" y="563"/>
                  <a:pt x="16" y="562"/>
                </a:cubicBezTo>
                <a:cubicBezTo>
                  <a:pt x="15" y="562"/>
                  <a:pt x="15" y="562"/>
                  <a:pt x="15" y="562"/>
                </a:cubicBezTo>
                <a:cubicBezTo>
                  <a:pt x="14" y="562"/>
                  <a:pt x="14" y="562"/>
                  <a:pt x="13" y="562"/>
                </a:cubicBezTo>
                <a:cubicBezTo>
                  <a:pt x="12" y="562"/>
                  <a:pt x="14" y="561"/>
                  <a:pt x="14" y="561"/>
                </a:cubicBezTo>
                <a:cubicBezTo>
                  <a:pt x="15" y="561"/>
                  <a:pt x="15" y="561"/>
                  <a:pt x="15" y="561"/>
                </a:cubicBezTo>
                <a:cubicBezTo>
                  <a:pt x="16" y="560"/>
                  <a:pt x="15" y="560"/>
                  <a:pt x="15" y="560"/>
                </a:cubicBezTo>
                <a:cubicBezTo>
                  <a:pt x="14" y="560"/>
                  <a:pt x="15" y="560"/>
                  <a:pt x="15" y="559"/>
                </a:cubicBezTo>
                <a:cubicBezTo>
                  <a:pt x="15" y="559"/>
                  <a:pt x="16" y="560"/>
                  <a:pt x="16" y="560"/>
                </a:cubicBezTo>
                <a:cubicBezTo>
                  <a:pt x="17" y="560"/>
                  <a:pt x="18" y="560"/>
                  <a:pt x="19" y="560"/>
                </a:cubicBezTo>
                <a:cubicBezTo>
                  <a:pt x="19" y="559"/>
                  <a:pt x="19" y="558"/>
                  <a:pt x="19" y="558"/>
                </a:cubicBezTo>
                <a:cubicBezTo>
                  <a:pt x="19" y="558"/>
                  <a:pt x="18" y="558"/>
                  <a:pt x="18" y="557"/>
                </a:cubicBezTo>
                <a:cubicBezTo>
                  <a:pt x="18" y="557"/>
                  <a:pt x="18" y="557"/>
                  <a:pt x="18" y="557"/>
                </a:cubicBezTo>
                <a:cubicBezTo>
                  <a:pt x="18" y="557"/>
                  <a:pt x="18" y="557"/>
                  <a:pt x="18" y="557"/>
                </a:cubicBezTo>
                <a:cubicBezTo>
                  <a:pt x="19" y="557"/>
                  <a:pt x="19" y="557"/>
                  <a:pt x="19" y="557"/>
                </a:cubicBezTo>
                <a:cubicBezTo>
                  <a:pt x="20" y="558"/>
                  <a:pt x="20" y="558"/>
                  <a:pt x="21" y="558"/>
                </a:cubicBezTo>
                <a:cubicBezTo>
                  <a:pt x="21" y="558"/>
                  <a:pt x="21" y="558"/>
                  <a:pt x="22" y="558"/>
                </a:cubicBezTo>
                <a:cubicBezTo>
                  <a:pt x="22" y="558"/>
                  <a:pt x="23" y="557"/>
                  <a:pt x="23" y="557"/>
                </a:cubicBezTo>
                <a:cubicBezTo>
                  <a:pt x="23" y="557"/>
                  <a:pt x="23" y="556"/>
                  <a:pt x="24" y="556"/>
                </a:cubicBezTo>
                <a:cubicBezTo>
                  <a:pt x="24" y="556"/>
                  <a:pt x="25" y="556"/>
                  <a:pt x="25" y="556"/>
                </a:cubicBezTo>
                <a:cubicBezTo>
                  <a:pt x="25" y="555"/>
                  <a:pt x="25" y="555"/>
                  <a:pt x="25" y="555"/>
                </a:cubicBezTo>
                <a:cubicBezTo>
                  <a:pt x="24" y="554"/>
                  <a:pt x="23" y="554"/>
                  <a:pt x="22" y="555"/>
                </a:cubicBezTo>
                <a:close/>
                <a:moveTo>
                  <a:pt x="391" y="894"/>
                </a:moveTo>
                <a:cubicBezTo>
                  <a:pt x="391" y="894"/>
                  <a:pt x="390" y="893"/>
                  <a:pt x="389" y="894"/>
                </a:cubicBezTo>
                <a:cubicBezTo>
                  <a:pt x="389" y="894"/>
                  <a:pt x="390" y="894"/>
                  <a:pt x="390" y="895"/>
                </a:cubicBezTo>
                <a:cubicBezTo>
                  <a:pt x="390" y="895"/>
                  <a:pt x="390" y="895"/>
                  <a:pt x="390" y="895"/>
                </a:cubicBezTo>
                <a:cubicBezTo>
                  <a:pt x="391" y="895"/>
                  <a:pt x="391" y="895"/>
                  <a:pt x="391" y="895"/>
                </a:cubicBezTo>
                <a:cubicBezTo>
                  <a:pt x="391" y="895"/>
                  <a:pt x="391" y="895"/>
                  <a:pt x="391" y="894"/>
                </a:cubicBezTo>
                <a:cubicBezTo>
                  <a:pt x="392" y="894"/>
                  <a:pt x="391" y="894"/>
                  <a:pt x="391" y="894"/>
                </a:cubicBezTo>
                <a:close/>
                <a:moveTo>
                  <a:pt x="387" y="893"/>
                </a:moveTo>
                <a:cubicBezTo>
                  <a:pt x="387" y="893"/>
                  <a:pt x="388" y="893"/>
                  <a:pt x="388" y="893"/>
                </a:cubicBezTo>
                <a:cubicBezTo>
                  <a:pt x="388" y="892"/>
                  <a:pt x="386" y="893"/>
                  <a:pt x="387" y="893"/>
                </a:cubicBezTo>
                <a:close/>
                <a:moveTo>
                  <a:pt x="396" y="893"/>
                </a:moveTo>
                <a:cubicBezTo>
                  <a:pt x="395" y="893"/>
                  <a:pt x="395" y="893"/>
                  <a:pt x="395" y="893"/>
                </a:cubicBezTo>
                <a:cubicBezTo>
                  <a:pt x="394" y="893"/>
                  <a:pt x="393" y="892"/>
                  <a:pt x="393" y="892"/>
                </a:cubicBezTo>
                <a:cubicBezTo>
                  <a:pt x="393" y="893"/>
                  <a:pt x="393" y="893"/>
                  <a:pt x="393" y="893"/>
                </a:cubicBezTo>
                <a:cubicBezTo>
                  <a:pt x="393" y="893"/>
                  <a:pt x="393" y="893"/>
                  <a:pt x="394" y="894"/>
                </a:cubicBezTo>
                <a:cubicBezTo>
                  <a:pt x="394" y="894"/>
                  <a:pt x="394" y="894"/>
                  <a:pt x="394" y="894"/>
                </a:cubicBezTo>
                <a:cubicBezTo>
                  <a:pt x="395" y="895"/>
                  <a:pt x="396" y="894"/>
                  <a:pt x="397" y="894"/>
                </a:cubicBezTo>
                <a:cubicBezTo>
                  <a:pt x="397" y="894"/>
                  <a:pt x="397" y="893"/>
                  <a:pt x="397" y="893"/>
                </a:cubicBezTo>
                <a:cubicBezTo>
                  <a:pt x="397" y="893"/>
                  <a:pt x="396" y="893"/>
                  <a:pt x="396" y="893"/>
                </a:cubicBezTo>
                <a:close/>
                <a:moveTo>
                  <a:pt x="409" y="907"/>
                </a:moveTo>
                <a:cubicBezTo>
                  <a:pt x="409" y="907"/>
                  <a:pt x="408" y="906"/>
                  <a:pt x="408" y="907"/>
                </a:cubicBezTo>
                <a:cubicBezTo>
                  <a:pt x="408" y="908"/>
                  <a:pt x="408" y="908"/>
                  <a:pt x="409" y="908"/>
                </a:cubicBezTo>
                <a:cubicBezTo>
                  <a:pt x="409" y="908"/>
                  <a:pt x="409" y="909"/>
                  <a:pt x="410" y="909"/>
                </a:cubicBezTo>
                <a:cubicBezTo>
                  <a:pt x="410" y="908"/>
                  <a:pt x="410" y="908"/>
                  <a:pt x="409" y="907"/>
                </a:cubicBezTo>
                <a:close/>
                <a:moveTo>
                  <a:pt x="341" y="680"/>
                </a:moveTo>
                <a:cubicBezTo>
                  <a:pt x="341" y="680"/>
                  <a:pt x="342" y="680"/>
                  <a:pt x="342" y="680"/>
                </a:cubicBezTo>
                <a:cubicBezTo>
                  <a:pt x="343" y="680"/>
                  <a:pt x="343" y="681"/>
                  <a:pt x="343" y="681"/>
                </a:cubicBezTo>
                <a:cubicBezTo>
                  <a:pt x="343" y="681"/>
                  <a:pt x="344" y="682"/>
                  <a:pt x="344" y="681"/>
                </a:cubicBezTo>
                <a:cubicBezTo>
                  <a:pt x="344" y="681"/>
                  <a:pt x="344" y="680"/>
                  <a:pt x="344" y="680"/>
                </a:cubicBezTo>
                <a:cubicBezTo>
                  <a:pt x="343" y="680"/>
                  <a:pt x="343" y="679"/>
                  <a:pt x="342" y="679"/>
                </a:cubicBezTo>
                <a:cubicBezTo>
                  <a:pt x="341" y="678"/>
                  <a:pt x="340" y="678"/>
                  <a:pt x="339" y="677"/>
                </a:cubicBezTo>
                <a:cubicBezTo>
                  <a:pt x="339" y="677"/>
                  <a:pt x="339" y="676"/>
                  <a:pt x="338" y="677"/>
                </a:cubicBezTo>
                <a:cubicBezTo>
                  <a:pt x="338" y="677"/>
                  <a:pt x="338" y="678"/>
                  <a:pt x="339" y="678"/>
                </a:cubicBezTo>
                <a:cubicBezTo>
                  <a:pt x="339" y="679"/>
                  <a:pt x="339" y="678"/>
                  <a:pt x="340" y="679"/>
                </a:cubicBezTo>
                <a:cubicBezTo>
                  <a:pt x="341" y="679"/>
                  <a:pt x="341" y="679"/>
                  <a:pt x="341" y="680"/>
                </a:cubicBezTo>
                <a:close/>
                <a:moveTo>
                  <a:pt x="335" y="674"/>
                </a:moveTo>
                <a:cubicBezTo>
                  <a:pt x="336" y="673"/>
                  <a:pt x="336" y="673"/>
                  <a:pt x="336" y="672"/>
                </a:cubicBezTo>
                <a:cubicBezTo>
                  <a:pt x="336" y="672"/>
                  <a:pt x="335" y="671"/>
                  <a:pt x="335" y="671"/>
                </a:cubicBezTo>
                <a:cubicBezTo>
                  <a:pt x="334" y="671"/>
                  <a:pt x="334" y="672"/>
                  <a:pt x="334" y="672"/>
                </a:cubicBezTo>
                <a:cubicBezTo>
                  <a:pt x="334" y="672"/>
                  <a:pt x="335" y="673"/>
                  <a:pt x="335" y="673"/>
                </a:cubicBezTo>
                <a:cubicBezTo>
                  <a:pt x="335" y="673"/>
                  <a:pt x="335" y="674"/>
                  <a:pt x="335" y="674"/>
                </a:cubicBezTo>
                <a:close/>
                <a:moveTo>
                  <a:pt x="410" y="902"/>
                </a:moveTo>
                <a:cubicBezTo>
                  <a:pt x="409" y="901"/>
                  <a:pt x="409" y="901"/>
                  <a:pt x="408" y="900"/>
                </a:cubicBezTo>
                <a:cubicBezTo>
                  <a:pt x="408" y="900"/>
                  <a:pt x="407" y="900"/>
                  <a:pt x="408" y="901"/>
                </a:cubicBezTo>
                <a:cubicBezTo>
                  <a:pt x="408" y="901"/>
                  <a:pt x="408" y="901"/>
                  <a:pt x="409" y="901"/>
                </a:cubicBezTo>
                <a:cubicBezTo>
                  <a:pt x="409" y="902"/>
                  <a:pt x="409" y="902"/>
                  <a:pt x="409" y="902"/>
                </a:cubicBezTo>
                <a:cubicBezTo>
                  <a:pt x="410" y="902"/>
                  <a:pt x="410" y="902"/>
                  <a:pt x="410" y="902"/>
                </a:cubicBezTo>
                <a:cubicBezTo>
                  <a:pt x="411" y="902"/>
                  <a:pt x="411" y="903"/>
                  <a:pt x="411" y="903"/>
                </a:cubicBezTo>
                <a:cubicBezTo>
                  <a:pt x="412" y="902"/>
                  <a:pt x="410" y="902"/>
                  <a:pt x="410" y="902"/>
                </a:cubicBezTo>
                <a:close/>
                <a:moveTo>
                  <a:pt x="331" y="670"/>
                </a:moveTo>
                <a:cubicBezTo>
                  <a:pt x="331" y="670"/>
                  <a:pt x="331" y="670"/>
                  <a:pt x="331" y="671"/>
                </a:cubicBezTo>
                <a:cubicBezTo>
                  <a:pt x="331" y="671"/>
                  <a:pt x="331" y="671"/>
                  <a:pt x="332" y="672"/>
                </a:cubicBezTo>
                <a:cubicBezTo>
                  <a:pt x="332" y="672"/>
                  <a:pt x="332" y="674"/>
                  <a:pt x="333" y="672"/>
                </a:cubicBezTo>
                <a:cubicBezTo>
                  <a:pt x="333" y="672"/>
                  <a:pt x="333" y="672"/>
                  <a:pt x="333" y="672"/>
                </a:cubicBezTo>
                <a:cubicBezTo>
                  <a:pt x="334" y="671"/>
                  <a:pt x="334" y="671"/>
                  <a:pt x="334" y="671"/>
                </a:cubicBezTo>
                <a:cubicBezTo>
                  <a:pt x="334" y="670"/>
                  <a:pt x="334" y="670"/>
                  <a:pt x="333" y="670"/>
                </a:cubicBezTo>
                <a:cubicBezTo>
                  <a:pt x="333" y="669"/>
                  <a:pt x="333" y="669"/>
                  <a:pt x="333" y="669"/>
                </a:cubicBezTo>
                <a:cubicBezTo>
                  <a:pt x="332" y="668"/>
                  <a:pt x="332" y="667"/>
                  <a:pt x="331" y="668"/>
                </a:cubicBezTo>
                <a:cubicBezTo>
                  <a:pt x="331" y="668"/>
                  <a:pt x="331" y="668"/>
                  <a:pt x="331" y="668"/>
                </a:cubicBezTo>
                <a:cubicBezTo>
                  <a:pt x="331" y="669"/>
                  <a:pt x="330" y="669"/>
                  <a:pt x="330" y="669"/>
                </a:cubicBezTo>
                <a:cubicBezTo>
                  <a:pt x="330" y="669"/>
                  <a:pt x="330" y="669"/>
                  <a:pt x="331" y="670"/>
                </a:cubicBezTo>
                <a:close/>
                <a:moveTo>
                  <a:pt x="450" y="1084"/>
                </a:moveTo>
                <a:cubicBezTo>
                  <a:pt x="450" y="1085"/>
                  <a:pt x="450" y="1085"/>
                  <a:pt x="450" y="1085"/>
                </a:cubicBezTo>
                <a:cubicBezTo>
                  <a:pt x="451" y="1086"/>
                  <a:pt x="451" y="1085"/>
                  <a:pt x="451" y="1085"/>
                </a:cubicBezTo>
                <a:cubicBezTo>
                  <a:pt x="452" y="1084"/>
                  <a:pt x="452" y="1083"/>
                  <a:pt x="452" y="1083"/>
                </a:cubicBezTo>
                <a:cubicBezTo>
                  <a:pt x="451" y="1083"/>
                  <a:pt x="451" y="1083"/>
                  <a:pt x="450" y="1084"/>
                </a:cubicBezTo>
                <a:close/>
                <a:moveTo>
                  <a:pt x="543" y="1046"/>
                </a:moveTo>
                <a:cubicBezTo>
                  <a:pt x="543" y="1046"/>
                  <a:pt x="543" y="1046"/>
                  <a:pt x="544" y="1046"/>
                </a:cubicBezTo>
                <a:cubicBezTo>
                  <a:pt x="544" y="1047"/>
                  <a:pt x="544" y="1047"/>
                  <a:pt x="544" y="1047"/>
                </a:cubicBezTo>
                <a:cubicBezTo>
                  <a:pt x="545" y="1047"/>
                  <a:pt x="544" y="1046"/>
                  <a:pt x="544" y="1046"/>
                </a:cubicBezTo>
                <a:cubicBezTo>
                  <a:pt x="544" y="1046"/>
                  <a:pt x="543" y="1045"/>
                  <a:pt x="543" y="1046"/>
                </a:cubicBezTo>
                <a:close/>
                <a:moveTo>
                  <a:pt x="259" y="596"/>
                </a:moveTo>
                <a:cubicBezTo>
                  <a:pt x="259" y="596"/>
                  <a:pt x="259" y="597"/>
                  <a:pt x="260" y="597"/>
                </a:cubicBezTo>
                <a:cubicBezTo>
                  <a:pt x="260" y="597"/>
                  <a:pt x="260" y="597"/>
                  <a:pt x="261" y="597"/>
                </a:cubicBezTo>
                <a:cubicBezTo>
                  <a:pt x="261" y="597"/>
                  <a:pt x="262" y="597"/>
                  <a:pt x="262" y="597"/>
                </a:cubicBezTo>
                <a:cubicBezTo>
                  <a:pt x="262" y="596"/>
                  <a:pt x="262" y="596"/>
                  <a:pt x="262" y="596"/>
                </a:cubicBezTo>
                <a:cubicBezTo>
                  <a:pt x="261" y="595"/>
                  <a:pt x="261" y="595"/>
                  <a:pt x="261" y="595"/>
                </a:cubicBezTo>
                <a:cubicBezTo>
                  <a:pt x="261" y="594"/>
                  <a:pt x="261" y="594"/>
                  <a:pt x="261" y="593"/>
                </a:cubicBezTo>
                <a:cubicBezTo>
                  <a:pt x="261" y="593"/>
                  <a:pt x="261" y="592"/>
                  <a:pt x="260" y="593"/>
                </a:cubicBezTo>
                <a:cubicBezTo>
                  <a:pt x="260" y="593"/>
                  <a:pt x="260" y="594"/>
                  <a:pt x="260" y="594"/>
                </a:cubicBezTo>
                <a:cubicBezTo>
                  <a:pt x="260" y="594"/>
                  <a:pt x="260" y="595"/>
                  <a:pt x="260" y="595"/>
                </a:cubicBezTo>
                <a:cubicBezTo>
                  <a:pt x="260" y="596"/>
                  <a:pt x="259" y="595"/>
                  <a:pt x="259" y="596"/>
                </a:cubicBezTo>
                <a:close/>
                <a:moveTo>
                  <a:pt x="446" y="965"/>
                </a:moveTo>
                <a:cubicBezTo>
                  <a:pt x="446" y="965"/>
                  <a:pt x="446" y="965"/>
                  <a:pt x="446" y="965"/>
                </a:cubicBezTo>
                <a:cubicBezTo>
                  <a:pt x="446" y="964"/>
                  <a:pt x="446" y="965"/>
                  <a:pt x="446" y="965"/>
                </a:cubicBezTo>
                <a:cubicBezTo>
                  <a:pt x="446" y="965"/>
                  <a:pt x="446" y="966"/>
                  <a:pt x="446" y="966"/>
                </a:cubicBezTo>
                <a:cubicBezTo>
                  <a:pt x="446" y="967"/>
                  <a:pt x="445" y="967"/>
                  <a:pt x="445" y="967"/>
                </a:cubicBezTo>
                <a:cubicBezTo>
                  <a:pt x="445" y="968"/>
                  <a:pt x="445" y="968"/>
                  <a:pt x="445" y="968"/>
                </a:cubicBezTo>
                <a:cubicBezTo>
                  <a:pt x="445" y="969"/>
                  <a:pt x="445" y="969"/>
                  <a:pt x="446" y="969"/>
                </a:cubicBezTo>
                <a:cubicBezTo>
                  <a:pt x="446" y="970"/>
                  <a:pt x="446" y="969"/>
                  <a:pt x="446" y="968"/>
                </a:cubicBezTo>
                <a:cubicBezTo>
                  <a:pt x="446" y="968"/>
                  <a:pt x="446" y="968"/>
                  <a:pt x="446" y="967"/>
                </a:cubicBezTo>
                <a:cubicBezTo>
                  <a:pt x="447" y="967"/>
                  <a:pt x="446" y="966"/>
                  <a:pt x="446" y="966"/>
                </a:cubicBezTo>
                <a:cubicBezTo>
                  <a:pt x="446" y="966"/>
                  <a:pt x="446" y="965"/>
                  <a:pt x="446" y="965"/>
                </a:cubicBezTo>
                <a:close/>
                <a:moveTo>
                  <a:pt x="439" y="1005"/>
                </a:moveTo>
                <a:cubicBezTo>
                  <a:pt x="439" y="1005"/>
                  <a:pt x="439" y="1006"/>
                  <a:pt x="439" y="1006"/>
                </a:cubicBezTo>
                <a:cubicBezTo>
                  <a:pt x="439" y="1007"/>
                  <a:pt x="440" y="1007"/>
                  <a:pt x="440" y="1007"/>
                </a:cubicBezTo>
                <a:cubicBezTo>
                  <a:pt x="440" y="1007"/>
                  <a:pt x="440" y="1007"/>
                  <a:pt x="440" y="1006"/>
                </a:cubicBezTo>
                <a:cubicBezTo>
                  <a:pt x="440" y="1005"/>
                  <a:pt x="439" y="1005"/>
                  <a:pt x="439" y="1005"/>
                </a:cubicBezTo>
                <a:close/>
                <a:moveTo>
                  <a:pt x="275" y="599"/>
                </a:moveTo>
                <a:cubicBezTo>
                  <a:pt x="275" y="599"/>
                  <a:pt x="275" y="598"/>
                  <a:pt x="274" y="598"/>
                </a:cubicBezTo>
                <a:cubicBezTo>
                  <a:pt x="274" y="598"/>
                  <a:pt x="273" y="598"/>
                  <a:pt x="273" y="599"/>
                </a:cubicBezTo>
                <a:cubicBezTo>
                  <a:pt x="273" y="599"/>
                  <a:pt x="273" y="599"/>
                  <a:pt x="273" y="599"/>
                </a:cubicBezTo>
                <a:cubicBezTo>
                  <a:pt x="272" y="600"/>
                  <a:pt x="271" y="600"/>
                  <a:pt x="272" y="601"/>
                </a:cubicBezTo>
                <a:cubicBezTo>
                  <a:pt x="272" y="601"/>
                  <a:pt x="272" y="600"/>
                  <a:pt x="273" y="600"/>
                </a:cubicBezTo>
                <a:cubicBezTo>
                  <a:pt x="273" y="600"/>
                  <a:pt x="274" y="600"/>
                  <a:pt x="275" y="599"/>
                </a:cubicBezTo>
                <a:close/>
                <a:moveTo>
                  <a:pt x="288" y="633"/>
                </a:moveTo>
                <a:cubicBezTo>
                  <a:pt x="287" y="632"/>
                  <a:pt x="287" y="632"/>
                  <a:pt x="287" y="631"/>
                </a:cubicBezTo>
                <a:cubicBezTo>
                  <a:pt x="286" y="631"/>
                  <a:pt x="286" y="631"/>
                  <a:pt x="286" y="632"/>
                </a:cubicBezTo>
                <a:cubicBezTo>
                  <a:pt x="286" y="632"/>
                  <a:pt x="286" y="633"/>
                  <a:pt x="286" y="634"/>
                </a:cubicBezTo>
                <a:cubicBezTo>
                  <a:pt x="287" y="634"/>
                  <a:pt x="287" y="634"/>
                  <a:pt x="288" y="635"/>
                </a:cubicBezTo>
                <a:cubicBezTo>
                  <a:pt x="288" y="635"/>
                  <a:pt x="288" y="635"/>
                  <a:pt x="288" y="636"/>
                </a:cubicBezTo>
                <a:cubicBezTo>
                  <a:pt x="289" y="636"/>
                  <a:pt x="289" y="636"/>
                  <a:pt x="289" y="636"/>
                </a:cubicBezTo>
                <a:cubicBezTo>
                  <a:pt x="289" y="637"/>
                  <a:pt x="290" y="636"/>
                  <a:pt x="290" y="636"/>
                </a:cubicBezTo>
                <a:cubicBezTo>
                  <a:pt x="290" y="635"/>
                  <a:pt x="289" y="635"/>
                  <a:pt x="289" y="634"/>
                </a:cubicBezTo>
                <a:cubicBezTo>
                  <a:pt x="289" y="634"/>
                  <a:pt x="289" y="633"/>
                  <a:pt x="288" y="633"/>
                </a:cubicBezTo>
                <a:close/>
                <a:moveTo>
                  <a:pt x="825" y="629"/>
                </a:moveTo>
                <a:cubicBezTo>
                  <a:pt x="826" y="629"/>
                  <a:pt x="826" y="629"/>
                  <a:pt x="826" y="629"/>
                </a:cubicBezTo>
                <a:cubicBezTo>
                  <a:pt x="827" y="629"/>
                  <a:pt x="827" y="630"/>
                  <a:pt x="828" y="630"/>
                </a:cubicBezTo>
                <a:cubicBezTo>
                  <a:pt x="828" y="630"/>
                  <a:pt x="829" y="630"/>
                  <a:pt x="830" y="630"/>
                </a:cubicBezTo>
                <a:cubicBezTo>
                  <a:pt x="831" y="631"/>
                  <a:pt x="833" y="631"/>
                  <a:pt x="834" y="631"/>
                </a:cubicBezTo>
                <a:cubicBezTo>
                  <a:pt x="834" y="632"/>
                  <a:pt x="835" y="632"/>
                  <a:pt x="836" y="632"/>
                </a:cubicBezTo>
                <a:cubicBezTo>
                  <a:pt x="836" y="632"/>
                  <a:pt x="836" y="632"/>
                  <a:pt x="836" y="633"/>
                </a:cubicBezTo>
                <a:cubicBezTo>
                  <a:pt x="837" y="633"/>
                  <a:pt x="837" y="633"/>
                  <a:pt x="837" y="633"/>
                </a:cubicBezTo>
                <a:cubicBezTo>
                  <a:pt x="838" y="633"/>
                  <a:pt x="839" y="633"/>
                  <a:pt x="839" y="634"/>
                </a:cubicBezTo>
                <a:cubicBezTo>
                  <a:pt x="839" y="634"/>
                  <a:pt x="839" y="634"/>
                  <a:pt x="839" y="634"/>
                </a:cubicBezTo>
                <a:cubicBezTo>
                  <a:pt x="840" y="633"/>
                  <a:pt x="839" y="631"/>
                  <a:pt x="839" y="631"/>
                </a:cubicBezTo>
                <a:cubicBezTo>
                  <a:pt x="839" y="630"/>
                  <a:pt x="839" y="629"/>
                  <a:pt x="838" y="629"/>
                </a:cubicBezTo>
                <a:cubicBezTo>
                  <a:pt x="837" y="628"/>
                  <a:pt x="837" y="627"/>
                  <a:pt x="836" y="627"/>
                </a:cubicBezTo>
                <a:cubicBezTo>
                  <a:pt x="835" y="626"/>
                  <a:pt x="834" y="625"/>
                  <a:pt x="833" y="625"/>
                </a:cubicBezTo>
                <a:cubicBezTo>
                  <a:pt x="832" y="625"/>
                  <a:pt x="831" y="625"/>
                  <a:pt x="830" y="625"/>
                </a:cubicBezTo>
                <a:cubicBezTo>
                  <a:pt x="830" y="625"/>
                  <a:pt x="829" y="625"/>
                  <a:pt x="828" y="625"/>
                </a:cubicBezTo>
                <a:cubicBezTo>
                  <a:pt x="828" y="626"/>
                  <a:pt x="827" y="626"/>
                  <a:pt x="826" y="626"/>
                </a:cubicBezTo>
                <a:cubicBezTo>
                  <a:pt x="826" y="626"/>
                  <a:pt x="826" y="626"/>
                  <a:pt x="825" y="626"/>
                </a:cubicBezTo>
                <a:cubicBezTo>
                  <a:pt x="824" y="627"/>
                  <a:pt x="824" y="628"/>
                  <a:pt x="825" y="629"/>
                </a:cubicBezTo>
                <a:close/>
                <a:moveTo>
                  <a:pt x="261" y="598"/>
                </a:moveTo>
                <a:cubicBezTo>
                  <a:pt x="261" y="599"/>
                  <a:pt x="261" y="599"/>
                  <a:pt x="262" y="599"/>
                </a:cubicBezTo>
                <a:cubicBezTo>
                  <a:pt x="262" y="599"/>
                  <a:pt x="263" y="598"/>
                  <a:pt x="263" y="598"/>
                </a:cubicBezTo>
                <a:cubicBezTo>
                  <a:pt x="263" y="598"/>
                  <a:pt x="260" y="598"/>
                  <a:pt x="260" y="598"/>
                </a:cubicBezTo>
                <a:cubicBezTo>
                  <a:pt x="260" y="598"/>
                  <a:pt x="260" y="598"/>
                  <a:pt x="261" y="598"/>
                </a:cubicBezTo>
                <a:close/>
                <a:moveTo>
                  <a:pt x="274" y="615"/>
                </a:moveTo>
                <a:cubicBezTo>
                  <a:pt x="274" y="615"/>
                  <a:pt x="274" y="614"/>
                  <a:pt x="274" y="614"/>
                </a:cubicBezTo>
                <a:cubicBezTo>
                  <a:pt x="275" y="613"/>
                  <a:pt x="275" y="613"/>
                  <a:pt x="274" y="613"/>
                </a:cubicBezTo>
                <a:cubicBezTo>
                  <a:pt x="274" y="612"/>
                  <a:pt x="274" y="612"/>
                  <a:pt x="274" y="612"/>
                </a:cubicBezTo>
                <a:cubicBezTo>
                  <a:pt x="274" y="611"/>
                  <a:pt x="273" y="611"/>
                  <a:pt x="272" y="612"/>
                </a:cubicBezTo>
                <a:cubicBezTo>
                  <a:pt x="272" y="612"/>
                  <a:pt x="271" y="612"/>
                  <a:pt x="271" y="612"/>
                </a:cubicBezTo>
                <a:cubicBezTo>
                  <a:pt x="270" y="613"/>
                  <a:pt x="269" y="613"/>
                  <a:pt x="269" y="614"/>
                </a:cubicBezTo>
                <a:cubicBezTo>
                  <a:pt x="269" y="615"/>
                  <a:pt x="270" y="615"/>
                  <a:pt x="270" y="615"/>
                </a:cubicBezTo>
                <a:cubicBezTo>
                  <a:pt x="271" y="615"/>
                  <a:pt x="271" y="615"/>
                  <a:pt x="272" y="615"/>
                </a:cubicBezTo>
                <a:cubicBezTo>
                  <a:pt x="272" y="615"/>
                  <a:pt x="273" y="616"/>
                  <a:pt x="274" y="615"/>
                </a:cubicBezTo>
                <a:close/>
                <a:moveTo>
                  <a:pt x="298" y="641"/>
                </a:moveTo>
                <a:cubicBezTo>
                  <a:pt x="297" y="641"/>
                  <a:pt x="297" y="642"/>
                  <a:pt x="297" y="642"/>
                </a:cubicBezTo>
                <a:cubicBezTo>
                  <a:pt x="297" y="643"/>
                  <a:pt x="298" y="643"/>
                  <a:pt x="298" y="642"/>
                </a:cubicBezTo>
                <a:cubicBezTo>
                  <a:pt x="298" y="642"/>
                  <a:pt x="298" y="642"/>
                  <a:pt x="298" y="642"/>
                </a:cubicBezTo>
                <a:cubicBezTo>
                  <a:pt x="298" y="641"/>
                  <a:pt x="299" y="641"/>
                  <a:pt x="299" y="641"/>
                </a:cubicBezTo>
                <a:cubicBezTo>
                  <a:pt x="299" y="641"/>
                  <a:pt x="298" y="640"/>
                  <a:pt x="298" y="641"/>
                </a:cubicBezTo>
                <a:close/>
                <a:moveTo>
                  <a:pt x="300" y="648"/>
                </a:moveTo>
                <a:cubicBezTo>
                  <a:pt x="299" y="648"/>
                  <a:pt x="299" y="649"/>
                  <a:pt x="299" y="649"/>
                </a:cubicBezTo>
                <a:cubicBezTo>
                  <a:pt x="298" y="650"/>
                  <a:pt x="299" y="650"/>
                  <a:pt x="300" y="651"/>
                </a:cubicBezTo>
                <a:cubicBezTo>
                  <a:pt x="300" y="651"/>
                  <a:pt x="300" y="651"/>
                  <a:pt x="300" y="652"/>
                </a:cubicBezTo>
                <a:cubicBezTo>
                  <a:pt x="300" y="652"/>
                  <a:pt x="301" y="653"/>
                  <a:pt x="301" y="652"/>
                </a:cubicBezTo>
                <a:cubicBezTo>
                  <a:pt x="302" y="652"/>
                  <a:pt x="301" y="650"/>
                  <a:pt x="300" y="650"/>
                </a:cubicBezTo>
                <a:cubicBezTo>
                  <a:pt x="300" y="649"/>
                  <a:pt x="301" y="648"/>
                  <a:pt x="300" y="648"/>
                </a:cubicBezTo>
                <a:close/>
                <a:moveTo>
                  <a:pt x="318" y="664"/>
                </a:moveTo>
                <a:cubicBezTo>
                  <a:pt x="319" y="664"/>
                  <a:pt x="319" y="664"/>
                  <a:pt x="319" y="664"/>
                </a:cubicBezTo>
                <a:cubicBezTo>
                  <a:pt x="320" y="664"/>
                  <a:pt x="320" y="664"/>
                  <a:pt x="320" y="663"/>
                </a:cubicBezTo>
                <a:cubicBezTo>
                  <a:pt x="320" y="663"/>
                  <a:pt x="320" y="662"/>
                  <a:pt x="320" y="662"/>
                </a:cubicBezTo>
                <a:cubicBezTo>
                  <a:pt x="320" y="661"/>
                  <a:pt x="319" y="662"/>
                  <a:pt x="318" y="662"/>
                </a:cubicBezTo>
                <a:cubicBezTo>
                  <a:pt x="318" y="662"/>
                  <a:pt x="317" y="662"/>
                  <a:pt x="317" y="663"/>
                </a:cubicBezTo>
                <a:cubicBezTo>
                  <a:pt x="317" y="663"/>
                  <a:pt x="317" y="663"/>
                  <a:pt x="317" y="663"/>
                </a:cubicBezTo>
                <a:cubicBezTo>
                  <a:pt x="316" y="664"/>
                  <a:pt x="316" y="664"/>
                  <a:pt x="316" y="664"/>
                </a:cubicBezTo>
                <a:cubicBezTo>
                  <a:pt x="316" y="664"/>
                  <a:pt x="317" y="664"/>
                  <a:pt x="317" y="664"/>
                </a:cubicBezTo>
                <a:cubicBezTo>
                  <a:pt x="317" y="664"/>
                  <a:pt x="318" y="664"/>
                  <a:pt x="318" y="664"/>
                </a:cubicBezTo>
                <a:close/>
                <a:moveTo>
                  <a:pt x="320" y="683"/>
                </a:moveTo>
                <a:cubicBezTo>
                  <a:pt x="320" y="683"/>
                  <a:pt x="320" y="684"/>
                  <a:pt x="321" y="684"/>
                </a:cubicBezTo>
                <a:cubicBezTo>
                  <a:pt x="321" y="685"/>
                  <a:pt x="321" y="685"/>
                  <a:pt x="321" y="685"/>
                </a:cubicBezTo>
                <a:cubicBezTo>
                  <a:pt x="321" y="686"/>
                  <a:pt x="322" y="685"/>
                  <a:pt x="322" y="685"/>
                </a:cubicBezTo>
                <a:cubicBezTo>
                  <a:pt x="322" y="685"/>
                  <a:pt x="322" y="684"/>
                  <a:pt x="322" y="684"/>
                </a:cubicBezTo>
                <a:cubicBezTo>
                  <a:pt x="322" y="684"/>
                  <a:pt x="322" y="683"/>
                  <a:pt x="322" y="683"/>
                </a:cubicBezTo>
                <a:cubicBezTo>
                  <a:pt x="322" y="683"/>
                  <a:pt x="321" y="683"/>
                  <a:pt x="320" y="683"/>
                </a:cubicBezTo>
                <a:close/>
                <a:moveTo>
                  <a:pt x="300" y="643"/>
                </a:moveTo>
                <a:cubicBezTo>
                  <a:pt x="300" y="643"/>
                  <a:pt x="299" y="643"/>
                  <a:pt x="299" y="643"/>
                </a:cubicBezTo>
                <a:cubicBezTo>
                  <a:pt x="298" y="644"/>
                  <a:pt x="297" y="645"/>
                  <a:pt x="298" y="645"/>
                </a:cubicBezTo>
                <a:cubicBezTo>
                  <a:pt x="299" y="646"/>
                  <a:pt x="299" y="646"/>
                  <a:pt x="299" y="646"/>
                </a:cubicBezTo>
                <a:cubicBezTo>
                  <a:pt x="299" y="647"/>
                  <a:pt x="299" y="647"/>
                  <a:pt x="299" y="648"/>
                </a:cubicBezTo>
                <a:cubicBezTo>
                  <a:pt x="300" y="648"/>
                  <a:pt x="300" y="646"/>
                  <a:pt x="300" y="645"/>
                </a:cubicBezTo>
                <a:cubicBezTo>
                  <a:pt x="300" y="645"/>
                  <a:pt x="301" y="645"/>
                  <a:pt x="301" y="645"/>
                </a:cubicBezTo>
                <a:cubicBezTo>
                  <a:pt x="301" y="644"/>
                  <a:pt x="301" y="644"/>
                  <a:pt x="300" y="643"/>
                </a:cubicBezTo>
                <a:cubicBezTo>
                  <a:pt x="300" y="643"/>
                  <a:pt x="300" y="642"/>
                  <a:pt x="300" y="643"/>
                </a:cubicBezTo>
                <a:close/>
                <a:moveTo>
                  <a:pt x="344" y="696"/>
                </a:moveTo>
                <a:cubicBezTo>
                  <a:pt x="345" y="697"/>
                  <a:pt x="345" y="697"/>
                  <a:pt x="346" y="697"/>
                </a:cubicBezTo>
                <a:cubicBezTo>
                  <a:pt x="347" y="698"/>
                  <a:pt x="348" y="698"/>
                  <a:pt x="348" y="698"/>
                </a:cubicBezTo>
                <a:cubicBezTo>
                  <a:pt x="349" y="698"/>
                  <a:pt x="349" y="698"/>
                  <a:pt x="349" y="699"/>
                </a:cubicBezTo>
                <a:cubicBezTo>
                  <a:pt x="350" y="699"/>
                  <a:pt x="350" y="699"/>
                  <a:pt x="350" y="699"/>
                </a:cubicBezTo>
                <a:cubicBezTo>
                  <a:pt x="351" y="699"/>
                  <a:pt x="351" y="698"/>
                  <a:pt x="352" y="697"/>
                </a:cubicBezTo>
                <a:cubicBezTo>
                  <a:pt x="353" y="697"/>
                  <a:pt x="353" y="698"/>
                  <a:pt x="353" y="698"/>
                </a:cubicBezTo>
                <a:cubicBezTo>
                  <a:pt x="354" y="697"/>
                  <a:pt x="354" y="697"/>
                  <a:pt x="354" y="696"/>
                </a:cubicBezTo>
                <a:cubicBezTo>
                  <a:pt x="354" y="696"/>
                  <a:pt x="354" y="695"/>
                  <a:pt x="353" y="695"/>
                </a:cubicBezTo>
                <a:cubicBezTo>
                  <a:pt x="353" y="695"/>
                  <a:pt x="353" y="694"/>
                  <a:pt x="353" y="694"/>
                </a:cubicBezTo>
                <a:cubicBezTo>
                  <a:pt x="353" y="694"/>
                  <a:pt x="352" y="694"/>
                  <a:pt x="352" y="694"/>
                </a:cubicBezTo>
                <a:cubicBezTo>
                  <a:pt x="352" y="694"/>
                  <a:pt x="352" y="694"/>
                  <a:pt x="352" y="693"/>
                </a:cubicBezTo>
                <a:cubicBezTo>
                  <a:pt x="352" y="693"/>
                  <a:pt x="350" y="692"/>
                  <a:pt x="351" y="692"/>
                </a:cubicBezTo>
                <a:cubicBezTo>
                  <a:pt x="351" y="692"/>
                  <a:pt x="351" y="692"/>
                  <a:pt x="351" y="693"/>
                </a:cubicBezTo>
                <a:cubicBezTo>
                  <a:pt x="352" y="693"/>
                  <a:pt x="352" y="693"/>
                  <a:pt x="353" y="693"/>
                </a:cubicBezTo>
                <a:cubicBezTo>
                  <a:pt x="354" y="692"/>
                  <a:pt x="352" y="692"/>
                  <a:pt x="352" y="691"/>
                </a:cubicBezTo>
                <a:cubicBezTo>
                  <a:pt x="352" y="690"/>
                  <a:pt x="354" y="691"/>
                  <a:pt x="354" y="690"/>
                </a:cubicBezTo>
                <a:cubicBezTo>
                  <a:pt x="353" y="690"/>
                  <a:pt x="352" y="690"/>
                  <a:pt x="352" y="690"/>
                </a:cubicBezTo>
                <a:cubicBezTo>
                  <a:pt x="351" y="689"/>
                  <a:pt x="351" y="687"/>
                  <a:pt x="350" y="688"/>
                </a:cubicBezTo>
                <a:cubicBezTo>
                  <a:pt x="350" y="689"/>
                  <a:pt x="351" y="689"/>
                  <a:pt x="351" y="690"/>
                </a:cubicBezTo>
                <a:cubicBezTo>
                  <a:pt x="351" y="690"/>
                  <a:pt x="351" y="690"/>
                  <a:pt x="351" y="691"/>
                </a:cubicBezTo>
                <a:cubicBezTo>
                  <a:pt x="350" y="691"/>
                  <a:pt x="350" y="690"/>
                  <a:pt x="350" y="690"/>
                </a:cubicBezTo>
                <a:cubicBezTo>
                  <a:pt x="349" y="690"/>
                  <a:pt x="349" y="690"/>
                  <a:pt x="348" y="689"/>
                </a:cubicBezTo>
                <a:cubicBezTo>
                  <a:pt x="348" y="688"/>
                  <a:pt x="349" y="689"/>
                  <a:pt x="349" y="688"/>
                </a:cubicBezTo>
                <a:cubicBezTo>
                  <a:pt x="349" y="688"/>
                  <a:pt x="348" y="687"/>
                  <a:pt x="347" y="686"/>
                </a:cubicBezTo>
                <a:cubicBezTo>
                  <a:pt x="347" y="686"/>
                  <a:pt x="346" y="685"/>
                  <a:pt x="345" y="685"/>
                </a:cubicBezTo>
                <a:cubicBezTo>
                  <a:pt x="344" y="685"/>
                  <a:pt x="344" y="684"/>
                  <a:pt x="343" y="684"/>
                </a:cubicBezTo>
                <a:cubicBezTo>
                  <a:pt x="342" y="684"/>
                  <a:pt x="342" y="683"/>
                  <a:pt x="341" y="683"/>
                </a:cubicBezTo>
                <a:cubicBezTo>
                  <a:pt x="341" y="683"/>
                  <a:pt x="341" y="683"/>
                  <a:pt x="340" y="683"/>
                </a:cubicBezTo>
                <a:cubicBezTo>
                  <a:pt x="338" y="682"/>
                  <a:pt x="337" y="682"/>
                  <a:pt x="336" y="680"/>
                </a:cubicBezTo>
                <a:cubicBezTo>
                  <a:pt x="335" y="679"/>
                  <a:pt x="335" y="679"/>
                  <a:pt x="335" y="678"/>
                </a:cubicBezTo>
                <a:cubicBezTo>
                  <a:pt x="335" y="677"/>
                  <a:pt x="334" y="677"/>
                  <a:pt x="333" y="676"/>
                </a:cubicBezTo>
                <a:cubicBezTo>
                  <a:pt x="332" y="675"/>
                  <a:pt x="332" y="673"/>
                  <a:pt x="331" y="672"/>
                </a:cubicBezTo>
                <a:cubicBezTo>
                  <a:pt x="330" y="672"/>
                  <a:pt x="330" y="671"/>
                  <a:pt x="330" y="671"/>
                </a:cubicBezTo>
                <a:cubicBezTo>
                  <a:pt x="330" y="671"/>
                  <a:pt x="330" y="670"/>
                  <a:pt x="330" y="670"/>
                </a:cubicBezTo>
                <a:cubicBezTo>
                  <a:pt x="329" y="669"/>
                  <a:pt x="329" y="669"/>
                  <a:pt x="328" y="669"/>
                </a:cubicBezTo>
                <a:cubicBezTo>
                  <a:pt x="327" y="669"/>
                  <a:pt x="326" y="669"/>
                  <a:pt x="325" y="669"/>
                </a:cubicBezTo>
                <a:cubicBezTo>
                  <a:pt x="325" y="668"/>
                  <a:pt x="325" y="668"/>
                  <a:pt x="324" y="668"/>
                </a:cubicBezTo>
                <a:cubicBezTo>
                  <a:pt x="324" y="668"/>
                  <a:pt x="324" y="668"/>
                  <a:pt x="323" y="668"/>
                </a:cubicBezTo>
                <a:cubicBezTo>
                  <a:pt x="322" y="667"/>
                  <a:pt x="322" y="667"/>
                  <a:pt x="321" y="667"/>
                </a:cubicBezTo>
                <a:cubicBezTo>
                  <a:pt x="320" y="667"/>
                  <a:pt x="319" y="667"/>
                  <a:pt x="318" y="667"/>
                </a:cubicBezTo>
                <a:cubicBezTo>
                  <a:pt x="318" y="667"/>
                  <a:pt x="317" y="666"/>
                  <a:pt x="316" y="666"/>
                </a:cubicBezTo>
                <a:cubicBezTo>
                  <a:pt x="315" y="666"/>
                  <a:pt x="314" y="666"/>
                  <a:pt x="313" y="666"/>
                </a:cubicBezTo>
                <a:cubicBezTo>
                  <a:pt x="313" y="665"/>
                  <a:pt x="312" y="665"/>
                  <a:pt x="311" y="665"/>
                </a:cubicBezTo>
                <a:cubicBezTo>
                  <a:pt x="311" y="665"/>
                  <a:pt x="310" y="665"/>
                  <a:pt x="309" y="664"/>
                </a:cubicBezTo>
                <a:cubicBezTo>
                  <a:pt x="308" y="664"/>
                  <a:pt x="308" y="664"/>
                  <a:pt x="307" y="663"/>
                </a:cubicBezTo>
                <a:cubicBezTo>
                  <a:pt x="306" y="662"/>
                  <a:pt x="306" y="662"/>
                  <a:pt x="305" y="662"/>
                </a:cubicBezTo>
                <a:cubicBezTo>
                  <a:pt x="304" y="662"/>
                  <a:pt x="304" y="661"/>
                  <a:pt x="303" y="661"/>
                </a:cubicBezTo>
                <a:cubicBezTo>
                  <a:pt x="301" y="660"/>
                  <a:pt x="299" y="661"/>
                  <a:pt x="298" y="661"/>
                </a:cubicBezTo>
                <a:cubicBezTo>
                  <a:pt x="297" y="662"/>
                  <a:pt x="296" y="661"/>
                  <a:pt x="296" y="662"/>
                </a:cubicBezTo>
                <a:cubicBezTo>
                  <a:pt x="295" y="663"/>
                  <a:pt x="296" y="663"/>
                  <a:pt x="296" y="664"/>
                </a:cubicBezTo>
                <a:cubicBezTo>
                  <a:pt x="297" y="665"/>
                  <a:pt x="297" y="665"/>
                  <a:pt x="297" y="666"/>
                </a:cubicBezTo>
                <a:cubicBezTo>
                  <a:pt x="298" y="667"/>
                  <a:pt x="300" y="667"/>
                  <a:pt x="300" y="667"/>
                </a:cubicBezTo>
                <a:cubicBezTo>
                  <a:pt x="301" y="667"/>
                  <a:pt x="302" y="666"/>
                  <a:pt x="303" y="666"/>
                </a:cubicBezTo>
                <a:cubicBezTo>
                  <a:pt x="304" y="666"/>
                  <a:pt x="304" y="666"/>
                  <a:pt x="305" y="666"/>
                </a:cubicBezTo>
                <a:cubicBezTo>
                  <a:pt x="305" y="665"/>
                  <a:pt x="305" y="665"/>
                  <a:pt x="306" y="665"/>
                </a:cubicBezTo>
                <a:cubicBezTo>
                  <a:pt x="306" y="665"/>
                  <a:pt x="306" y="666"/>
                  <a:pt x="305" y="666"/>
                </a:cubicBezTo>
                <a:cubicBezTo>
                  <a:pt x="305" y="666"/>
                  <a:pt x="305" y="667"/>
                  <a:pt x="305" y="667"/>
                </a:cubicBezTo>
                <a:cubicBezTo>
                  <a:pt x="305" y="667"/>
                  <a:pt x="306" y="667"/>
                  <a:pt x="306" y="668"/>
                </a:cubicBezTo>
                <a:cubicBezTo>
                  <a:pt x="306" y="668"/>
                  <a:pt x="306" y="668"/>
                  <a:pt x="305" y="668"/>
                </a:cubicBezTo>
                <a:cubicBezTo>
                  <a:pt x="305" y="668"/>
                  <a:pt x="305" y="667"/>
                  <a:pt x="305" y="667"/>
                </a:cubicBezTo>
                <a:cubicBezTo>
                  <a:pt x="304" y="666"/>
                  <a:pt x="303" y="666"/>
                  <a:pt x="302" y="667"/>
                </a:cubicBezTo>
                <a:cubicBezTo>
                  <a:pt x="302" y="667"/>
                  <a:pt x="301" y="667"/>
                  <a:pt x="301" y="668"/>
                </a:cubicBezTo>
                <a:cubicBezTo>
                  <a:pt x="301" y="669"/>
                  <a:pt x="301" y="670"/>
                  <a:pt x="302" y="670"/>
                </a:cubicBezTo>
                <a:cubicBezTo>
                  <a:pt x="302" y="670"/>
                  <a:pt x="302" y="670"/>
                  <a:pt x="302" y="671"/>
                </a:cubicBezTo>
                <a:cubicBezTo>
                  <a:pt x="303" y="671"/>
                  <a:pt x="302" y="671"/>
                  <a:pt x="302" y="671"/>
                </a:cubicBezTo>
                <a:cubicBezTo>
                  <a:pt x="302" y="672"/>
                  <a:pt x="301" y="672"/>
                  <a:pt x="301" y="672"/>
                </a:cubicBezTo>
                <a:cubicBezTo>
                  <a:pt x="301" y="673"/>
                  <a:pt x="302" y="672"/>
                  <a:pt x="302" y="672"/>
                </a:cubicBezTo>
                <a:cubicBezTo>
                  <a:pt x="302" y="672"/>
                  <a:pt x="303" y="672"/>
                  <a:pt x="303" y="672"/>
                </a:cubicBezTo>
                <a:cubicBezTo>
                  <a:pt x="303" y="672"/>
                  <a:pt x="303" y="671"/>
                  <a:pt x="304" y="671"/>
                </a:cubicBezTo>
                <a:cubicBezTo>
                  <a:pt x="304" y="671"/>
                  <a:pt x="305" y="671"/>
                  <a:pt x="305" y="671"/>
                </a:cubicBezTo>
                <a:cubicBezTo>
                  <a:pt x="306" y="672"/>
                  <a:pt x="306" y="672"/>
                  <a:pt x="307" y="672"/>
                </a:cubicBezTo>
                <a:cubicBezTo>
                  <a:pt x="307" y="673"/>
                  <a:pt x="307" y="673"/>
                  <a:pt x="307" y="673"/>
                </a:cubicBezTo>
                <a:cubicBezTo>
                  <a:pt x="307" y="673"/>
                  <a:pt x="308" y="673"/>
                  <a:pt x="308" y="673"/>
                </a:cubicBezTo>
                <a:cubicBezTo>
                  <a:pt x="308" y="672"/>
                  <a:pt x="308" y="672"/>
                  <a:pt x="308" y="672"/>
                </a:cubicBezTo>
                <a:cubicBezTo>
                  <a:pt x="309" y="672"/>
                  <a:pt x="309" y="672"/>
                  <a:pt x="309" y="672"/>
                </a:cubicBezTo>
                <a:cubicBezTo>
                  <a:pt x="310" y="673"/>
                  <a:pt x="310" y="673"/>
                  <a:pt x="309" y="673"/>
                </a:cubicBezTo>
                <a:cubicBezTo>
                  <a:pt x="309" y="674"/>
                  <a:pt x="309" y="674"/>
                  <a:pt x="309" y="674"/>
                </a:cubicBezTo>
                <a:cubicBezTo>
                  <a:pt x="309" y="675"/>
                  <a:pt x="309" y="675"/>
                  <a:pt x="309" y="675"/>
                </a:cubicBezTo>
                <a:cubicBezTo>
                  <a:pt x="309" y="675"/>
                  <a:pt x="310" y="675"/>
                  <a:pt x="310" y="675"/>
                </a:cubicBezTo>
                <a:cubicBezTo>
                  <a:pt x="310" y="676"/>
                  <a:pt x="310" y="676"/>
                  <a:pt x="310" y="676"/>
                </a:cubicBezTo>
                <a:cubicBezTo>
                  <a:pt x="311" y="676"/>
                  <a:pt x="311" y="676"/>
                  <a:pt x="312" y="676"/>
                </a:cubicBezTo>
                <a:cubicBezTo>
                  <a:pt x="312" y="676"/>
                  <a:pt x="312" y="675"/>
                  <a:pt x="313" y="675"/>
                </a:cubicBezTo>
                <a:cubicBezTo>
                  <a:pt x="313" y="675"/>
                  <a:pt x="315" y="675"/>
                  <a:pt x="315" y="675"/>
                </a:cubicBezTo>
                <a:cubicBezTo>
                  <a:pt x="315" y="676"/>
                  <a:pt x="315" y="676"/>
                  <a:pt x="315" y="676"/>
                </a:cubicBezTo>
                <a:cubicBezTo>
                  <a:pt x="316" y="677"/>
                  <a:pt x="316" y="677"/>
                  <a:pt x="316" y="677"/>
                </a:cubicBezTo>
                <a:cubicBezTo>
                  <a:pt x="316" y="678"/>
                  <a:pt x="316" y="678"/>
                  <a:pt x="316" y="678"/>
                </a:cubicBezTo>
                <a:cubicBezTo>
                  <a:pt x="317" y="678"/>
                  <a:pt x="317" y="678"/>
                  <a:pt x="317" y="678"/>
                </a:cubicBezTo>
                <a:cubicBezTo>
                  <a:pt x="317" y="677"/>
                  <a:pt x="318" y="677"/>
                  <a:pt x="318" y="678"/>
                </a:cubicBezTo>
                <a:cubicBezTo>
                  <a:pt x="318" y="678"/>
                  <a:pt x="317" y="678"/>
                  <a:pt x="318" y="679"/>
                </a:cubicBezTo>
                <a:cubicBezTo>
                  <a:pt x="318" y="679"/>
                  <a:pt x="319" y="679"/>
                  <a:pt x="318" y="679"/>
                </a:cubicBezTo>
                <a:cubicBezTo>
                  <a:pt x="318" y="679"/>
                  <a:pt x="317" y="679"/>
                  <a:pt x="317" y="680"/>
                </a:cubicBezTo>
                <a:cubicBezTo>
                  <a:pt x="316" y="680"/>
                  <a:pt x="316" y="684"/>
                  <a:pt x="317" y="684"/>
                </a:cubicBezTo>
                <a:cubicBezTo>
                  <a:pt x="317" y="684"/>
                  <a:pt x="317" y="683"/>
                  <a:pt x="317" y="683"/>
                </a:cubicBezTo>
                <a:cubicBezTo>
                  <a:pt x="317" y="683"/>
                  <a:pt x="317" y="682"/>
                  <a:pt x="318" y="682"/>
                </a:cubicBezTo>
                <a:cubicBezTo>
                  <a:pt x="318" y="682"/>
                  <a:pt x="318" y="682"/>
                  <a:pt x="319" y="682"/>
                </a:cubicBezTo>
                <a:cubicBezTo>
                  <a:pt x="320" y="682"/>
                  <a:pt x="320" y="682"/>
                  <a:pt x="321" y="682"/>
                </a:cubicBezTo>
                <a:cubicBezTo>
                  <a:pt x="322" y="682"/>
                  <a:pt x="323" y="682"/>
                  <a:pt x="324" y="682"/>
                </a:cubicBezTo>
                <a:cubicBezTo>
                  <a:pt x="324" y="683"/>
                  <a:pt x="323" y="683"/>
                  <a:pt x="323" y="683"/>
                </a:cubicBezTo>
                <a:cubicBezTo>
                  <a:pt x="323" y="684"/>
                  <a:pt x="323" y="686"/>
                  <a:pt x="324" y="685"/>
                </a:cubicBezTo>
                <a:cubicBezTo>
                  <a:pt x="324" y="685"/>
                  <a:pt x="324" y="685"/>
                  <a:pt x="324" y="685"/>
                </a:cubicBezTo>
                <a:cubicBezTo>
                  <a:pt x="325" y="684"/>
                  <a:pt x="325" y="685"/>
                  <a:pt x="325" y="686"/>
                </a:cubicBezTo>
                <a:cubicBezTo>
                  <a:pt x="325" y="687"/>
                  <a:pt x="326" y="686"/>
                  <a:pt x="327" y="686"/>
                </a:cubicBezTo>
                <a:cubicBezTo>
                  <a:pt x="327" y="687"/>
                  <a:pt x="326" y="687"/>
                  <a:pt x="326" y="687"/>
                </a:cubicBezTo>
                <a:cubicBezTo>
                  <a:pt x="325" y="687"/>
                  <a:pt x="325" y="686"/>
                  <a:pt x="324" y="687"/>
                </a:cubicBezTo>
                <a:cubicBezTo>
                  <a:pt x="324" y="688"/>
                  <a:pt x="326" y="688"/>
                  <a:pt x="327" y="688"/>
                </a:cubicBezTo>
                <a:cubicBezTo>
                  <a:pt x="328" y="688"/>
                  <a:pt x="330" y="688"/>
                  <a:pt x="331" y="689"/>
                </a:cubicBezTo>
                <a:cubicBezTo>
                  <a:pt x="332" y="689"/>
                  <a:pt x="333" y="689"/>
                  <a:pt x="334" y="689"/>
                </a:cubicBezTo>
                <a:cubicBezTo>
                  <a:pt x="334" y="689"/>
                  <a:pt x="334" y="689"/>
                  <a:pt x="335" y="689"/>
                </a:cubicBezTo>
                <a:cubicBezTo>
                  <a:pt x="335" y="689"/>
                  <a:pt x="335" y="689"/>
                  <a:pt x="336" y="689"/>
                </a:cubicBezTo>
                <a:cubicBezTo>
                  <a:pt x="336" y="689"/>
                  <a:pt x="336" y="689"/>
                  <a:pt x="336" y="689"/>
                </a:cubicBezTo>
                <a:cubicBezTo>
                  <a:pt x="336" y="689"/>
                  <a:pt x="335" y="690"/>
                  <a:pt x="335" y="690"/>
                </a:cubicBezTo>
                <a:cubicBezTo>
                  <a:pt x="335" y="690"/>
                  <a:pt x="335" y="690"/>
                  <a:pt x="334" y="690"/>
                </a:cubicBezTo>
                <a:cubicBezTo>
                  <a:pt x="334" y="691"/>
                  <a:pt x="334" y="691"/>
                  <a:pt x="333" y="691"/>
                </a:cubicBezTo>
                <a:cubicBezTo>
                  <a:pt x="333" y="691"/>
                  <a:pt x="332" y="691"/>
                  <a:pt x="332" y="692"/>
                </a:cubicBezTo>
                <a:cubicBezTo>
                  <a:pt x="332" y="692"/>
                  <a:pt x="333" y="693"/>
                  <a:pt x="334" y="693"/>
                </a:cubicBezTo>
                <a:cubicBezTo>
                  <a:pt x="335" y="693"/>
                  <a:pt x="336" y="694"/>
                  <a:pt x="336" y="694"/>
                </a:cubicBezTo>
                <a:cubicBezTo>
                  <a:pt x="338" y="694"/>
                  <a:pt x="340" y="695"/>
                  <a:pt x="341" y="695"/>
                </a:cubicBezTo>
                <a:cubicBezTo>
                  <a:pt x="342" y="696"/>
                  <a:pt x="343" y="696"/>
                  <a:pt x="344" y="696"/>
                </a:cubicBezTo>
                <a:close/>
                <a:moveTo>
                  <a:pt x="315" y="677"/>
                </a:moveTo>
                <a:cubicBezTo>
                  <a:pt x="315" y="676"/>
                  <a:pt x="314" y="675"/>
                  <a:pt x="313" y="676"/>
                </a:cubicBezTo>
                <a:cubicBezTo>
                  <a:pt x="313" y="676"/>
                  <a:pt x="311" y="677"/>
                  <a:pt x="312" y="678"/>
                </a:cubicBezTo>
                <a:cubicBezTo>
                  <a:pt x="313" y="679"/>
                  <a:pt x="314" y="678"/>
                  <a:pt x="314" y="679"/>
                </a:cubicBezTo>
                <a:cubicBezTo>
                  <a:pt x="314" y="680"/>
                  <a:pt x="315" y="680"/>
                  <a:pt x="315" y="680"/>
                </a:cubicBezTo>
                <a:cubicBezTo>
                  <a:pt x="315" y="680"/>
                  <a:pt x="315" y="679"/>
                  <a:pt x="315" y="679"/>
                </a:cubicBezTo>
                <a:cubicBezTo>
                  <a:pt x="316" y="678"/>
                  <a:pt x="316" y="679"/>
                  <a:pt x="315" y="678"/>
                </a:cubicBezTo>
                <a:cubicBezTo>
                  <a:pt x="315" y="678"/>
                  <a:pt x="315" y="677"/>
                  <a:pt x="315" y="677"/>
                </a:cubicBezTo>
                <a:close/>
                <a:moveTo>
                  <a:pt x="907" y="371"/>
                </a:moveTo>
                <a:cubicBezTo>
                  <a:pt x="908" y="371"/>
                  <a:pt x="908" y="371"/>
                  <a:pt x="909" y="372"/>
                </a:cubicBezTo>
                <a:cubicBezTo>
                  <a:pt x="909" y="372"/>
                  <a:pt x="909" y="372"/>
                  <a:pt x="909" y="373"/>
                </a:cubicBezTo>
                <a:cubicBezTo>
                  <a:pt x="910" y="373"/>
                  <a:pt x="911" y="373"/>
                  <a:pt x="911" y="373"/>
                </a:cubicBezTo>
                <a:cubicBezTo>
                  <a:pt x="912" y="373"/>
                  <a:pt x="913" y="373"/>
                  <a:pt x="914" y="373"/>
                </a:cubicBezTo>
                <a:cubicBezTo>
                  <a:pt x="914" y="373"/>
                  <a:pt x="915" y="374"/>
                  <a:pt x="915" y="374"/>
                </a:cubicBezTo>
                <a:cubicBezTo>
                  <a:pt x="916" y="374"/>
                  <a:pt x="916" y="374"/>
                  <a:pt x="917" y="374"/>
                </a:cubicBezTo>
                <a:cubicBezTo>
                  <a:pt x="918" y="374"/>
                  <a:pt x="918" y="374"/>
                  <a:pt x="919" y="374"/>
                </a:cubicBezTo>
                <a:cubicBezTo>
                  <a:pt x="920" y="374"/>
                  <a:pt x="922" y="374"/>
                  <a:pt x="923" y="373"/>
                </a:cubicBezTo>
                <a:cubicBezTo>
                  <a:pt x="923" y="373"/>
                  <a:pt x="923" y="372"/>
                  <a:pt x="923" y="371"/>
                </a:cubicBezTo>
                <a:cubicBezTo>
                  <a:pt x="923" y="371"/>
                  <a:pt x="923" y="370"/>
                  <a:pt x="922" y="369"/>
                </a:cubicBezTo>
                <a:cubicBezTo>
                  <a:pt x="922" y="369"/>
                  <a:pt x="921" y="369"/>
                  <a:pt x="920" y="369"/>
                </a:cubicBezTo>
                <a:cubicBezTo>
                  <a:pt x="919" y="369"/>
                  <a:pt x="918" y="368"/>
                  <a:pt x="917" y="367"/>
                </a:cubicBezTo>
                <a:cubicBezTo>
                  <a:pt x="916" y="367"/>
                  <a:pt x="915" y="367"/>
                  <a:pt x="914" y="366"/>
                </a:cubicBezTo>
                <a:cubicBezTo>
                  <a:pt x="914" y="366"/>
                  <a:pt x="913" y="365"/>
                  <a:pt x="912" y="366"/>
                </a:cubicBezTo>
                <a:cubicBezTo>
                  <a:pt x="912" y="366"/>
                  <a:pt x="911" y="367"/>
                  <a:pt x="911" y="367"/>
                </a:cubicBezTo>
                <a:cubicBezTo>
                  <a:pt x="910" y="368"/>
                  <a:pt x="909" y="368"/>
                  <a:pt x="909" y="368"/>
                </a:cubicBezTo>
                <a:cubicBezTo>
                  <a:pt x="908" y="369"/>
                  <a:pt x="907" y="369"/>
                  <a:pt x="907" y="369"/>
                </a:cubicBezTo>
                <a:cubicBezTo>
                  <a:pt x="907" y="369"/>
                  <a:pt x="907" y="370"/>
                  <a:pt x="907" y="371"/>
                </a:cubicBezTo>
                <a:close/>
                <a:moveTo>
                  <a:pt x="897" y="363"/>
                </a:moveTo>
                <a:cubicBezTo>
                  <a:pt x="897" y="363"/>
                  <a:pt x="896" y="363"/>
                  <a:pt x="895" y="363"/>
                </a:cubicBezTo>
                <a:cubicBezTo>
                  <a:pt x="894" y="363"/>
                  <a:pt x="894" y="363"/>
                  <a:pt x="894" y="363"/>
                </a:cubicBezTo>
                <a:cubicBezTo>
                  <a:pt x="893" y="363"/>
                  <a:pt x="893" y="363"/>
                  <a:pt x="892" y="363"/>
                </a:cubicBezTo>
                <a:cubicBezTo>
                  <a:pt x="892" y="363"/>
                  <a:pt x="891" y="362"/>
                  <a:pt x="890" y="362"/>
                </a:cubicBezTo>
                <a:cubicBezTo>
                  <a:pt x="889" y="362"/>
                  <a:pt x="889" y="363"/>
                  <a:pt x="888" y="363"/>
                </a:cubicBezTo>
                <a:cubicBezTo>
                  <a:pt x="887" y="364"/>
                  <a:pt x="886" y="363"/>
                  <a:pt x="886" y="364"/>
                </a:cubicBezTo>
                <a:cubicBezTo>
                  <a:pt x="885" y="364"/>
                  <a:pt x="884" y="365"/>
                  <a:pt x="884" y="366"/>
                </a:cubicBezTo>
                <a:cubicBezTo>
                  <a:pt x="883" y="367"/>
                  <a:pt x="882" y="367"/>
                  <a:pt x="882" y="368"/>
                </a:cubicBezTo>
                <a:cubicBezTo>
                  <a:pt x="881" y="369"/>
                  <a:pt x="881" y="369"/>
                  <a:pt x="881" y="370"/>
                </a:cubicBezTo>
                <a:cubicBezTo>
                  <a:pt x="880" y="370"/>
                  <a:pt x="880" y="371"/>
                  <a:pt x="879" y="372"/>
                </a:cubicBezTo>
                <a:cubicBezTo>
                  <a:pt x="878" y="373"/>
                  <a:pt x="878" y="374"/>
                  <a:pt x="878" y="375"/>
                </a:cubicBezTo>
                <a:cubicBezTo>
                  <a:pt x="879" y="376"/>
                  <a:pt x="879" y="377"/>
                  <a:pt x="879" y="378"/>
                </a:cubicBezTo>
                <a:cubicBezTo>
                  <a:pt x="879" y="379"/>
                  <a:pt x="880" y="381"/>
                  <a:pt x="881" y="382"/>
                </a:cubicBezTo>
                <a:cubicBezTo>
                  <a:pt x="882" y="382"/>
                  <a:pt x="883" y="383"/>
                  <a:pt x="884" y="383"/>
                </a:cubicBezTo>
                <a:cubicBezTo>
                  <a:pt x="885" y="384"/>
                  <a:pt x="885" y="384"/>
                  <a:pt x="886" y="384"/>
                </a:cubicBezTo>
                <a:cubicBezTo>
                  <a:pt x="888" y="384"/>
                  <a:pt x="890" y="384"/>
                  <a:pt x="892" y="384"/>
                </a:cubicBezTo>
                <a:cubicBezTo>
                  <a:pt x="893" y="384"/>
                  <a:pt x="894" y="383"/>
                  <a:pt x="896" y="383"/>
                </a:cubicBezTo>
                <a:cubicBezTo>
                  <a:pt x="897" y="383"/>
                  <a:pt x="898" y="383"/>
                  <a:pt x="899" y="382"/>
                </a:cubicBezTo>
                <a:cubicBezTo>
                  <a:pt x="900" y="382"/>
                  <a:pt x="901" y="381"/>
                  <a:pt x="902" y="380"/>
                </a:cubicBezTo>
                <a:cubicBezTo>
                  <a:pt x="903" y="380"/>
                  <a:pt x="904" y="378"/>
                  <a:pt x="904" y="377"/>
                </a:cubicBezTo>
                <a:cubicBezTo>
                  <a:pt x="904" y="377"/>
                  <a:pt x="904" y="376"/>
                  <a:pt x="904" y="376"/>
                </a:cubicBezTo>
                <a:cubicBezTo>
                  <a:pt x="904" y="374"/>
                  <a:pt x="904" y="373"/>
                  <a:pt x="903" y="372"/>
                </a:cubicBezTo>
                <a:cubicBezTo>
                  <a:pt x="903" y="371"/>
                  <a:pt x="903" y="370"/>
                  <a:pt x="903" y="369"/>
                </a:cubicBezTo>
                <a:cubicBezTo>
                  <a:pt x="903" y="368"/>
                  <a:pt x="904" y="368"/>
                  <a:pt x="904" y="367"/>
                </a:cubicBezTo>
                <a:cubicBezTo>
                  <a:pt x="904" y="366"/>
                  <a:pt x="904" y="365"/>
                  <a:pt x="903" y="365"/>
                </a:cubicBezTo>
                <a:cubicBezTo>
                  <a:pt x="903" y="364"/>
                  <a:pt x="902" y="364"/>
                  <a:pt x="901" y="364"/>
                </a:cubicBezTo>
                <a:cubicBezTo>
                  <a:pt x="901" y="364"/>
                  <a:pt x="900" y="364"/>
                  <a:pt x="899" y="364"/>
                </a:cubicBezTo>
                <a:cubicBezTo>
                  <a:pt x="899" y="363"/>
                  <a:pt x="898" y="363"/>
                  <a:pt x="897" y="363"/>
                </a:cubicBezTo>
                <a:close/>
                <a:moveTo>
                  <a:pt x="884" y="342"/>
                </a:moveTo>
                <a:cubicBezTo>
                  <a:pt x="884" y="342"/>
                  <a:pt x="883" y="342"/>
                  <a:pt x="883" y="341"/>
                </a:cubicBezTo>
                <a:cubicBezTo>
                  <a:pt x="883" y="341"/>
                  <a:pt x="882" y="341"/>
                  <a:pt x="882" y="341"/>
                </a:cubicBezTo>
                <a:cubicBezTo>
                  <a:pt x="881" y="341"/>
                  <a:pt x="881" y="340"/>
                  <a:pt x="880" y="340"/>
                </a:cubicBezTo>
                <a:cubicBezTo>
                  <a:pt x="878" y="340"/>
                  <a:pt x="878" y="342"/>
                  <a:pt x="878" y="344"/>
                </a:cubicBezTo>
                <a:cubicBezTo>
                  <a:pt x="878" y="345"/>
                  <a:pt x="878" y="346"/>
                  <a:pt x="879" y="346"/>
                </a:cubicBezTo>
                <a:cubicBezTo>
                  <a:pt x="879" y="347"/>
                  <a:pt x="880" y="347"/>
                  <a:pt x="881" y="347"/>
                </a:cubicBezTo>
                <a:cubicBezTo>
                  <a:pt x="882" y="347"/>
                  <a:pt x="882" y="348"/>
                  <a:pt x="883" y="347"/>
                </a:cubicBezTo>
                <a:cubicBezTo>
                  <a:pt x="883" y="347"/>
                  <a:pt x="883" y="346"/>
                  <a:pt x="883" y="346"/>
                </a:cubicBezTo>
                <a:cubicBezTo>
                  <a:pt x="883" y="345"/>
                  <a:pt x="883" y="345"/>
                  <a:pt x="884" y="345"/>
                </a:cubicBezTo>
                <a:cubicBezTo>
                  <a:pt x="884" y="344"/>
                  <a:pt x="884" y="344"/>
                  <a:pt x="885" y="344"/>
                </a:cubicBezTo>
                <a:cubicBezTo>
                  <a:pt x="885" y="344"/>
                  <a:pt x="885" y="344"/>
                  <a:pt x="885" y="343"/>
                </a:cubicBezTo>
                <a:cubicBezTo>
                  <a:pt x="886" y="342"/>
                  <a:pt x="885" y="342"/>
                  <a:pt x="884" y="342"/>
                </a:cubicBezTo>
                <a:close/>
                <a:moveTo>
                  <a:pt x="640" y="137"/>
                </a:moveTo>
                <a:cubicBezTo>
                  <a:pt x="640" y="137"/>
                  <a:pt x="638" y="137"/>
                  <a:pt x="638" y="138"/>
                </a:cubicBezTo>
                <a:cubicBezTo>
                  <a:pt x="638" y="139"/>
                  <a:pt x="639" y="139"/>
                  <a:pt x="640" y="140"/>
                </a:cubicBezTo>
                <a:cubicBezTo>
                  <a:pt x="640" y="140"/>
                  <a:pt x="641" y="140"/>
                  <a:pt x="641" y="141"/>
                </a:cubicBezTo>
                <a:cubicBezTo>
                  <a:pt x="642" y="142"/>
                  <a:pt x="642" y="142"/>
                  <a:pt x="643" y="143"/>
                </a:cubicBezTo>
                <a:cubicBezTo>
                  <a:pt x="643" y="144"/>
                  <a:pt x="643" y="144"/>
                  <a:pt x="643" y="144"/>
                </a:cubicBezTo>
                <a:cubicBezTo>
                  <a:pt x="643" y="145"/>
                  <a:pt x="644" y="145"/>
                  <a:pt x="644" y="145"/>
                </a:cubicBezTo>
                <a:cubicBezTo>
                  <a:pt x="645" y="146"/>
                  <a:pt x="646" y="145"/>
                  <a:pt x="647" y="145"/>
                </a:cubicBezTo>
                <a:cubicBezTo>
                  <a:pt x="648" y="145"/>
                  <a:pt x="649" y="145"/>
                  <a:pt x="650" y="146"/>
                </a:cubicBezTo>
                <a:cubicBezTo>
                  <a:pt x="651" y="146"/>
                  <a:pt x="652" y="146"/>
                  <a:pt x="653" y="146"/>
                </a:cubicBezTo>
                <a:cubicBezTo>
                  <a:pt x="654" y="146"/>
                  <a:pt x="655" y="146"/>
                  <a:pt x="655" y="147"/>
                </a:cubicBezTo>
                <a:cubicBezTo>
                  <a:pt x="655" y="147"/>
                  <a:pt x="656" y="148"/>
                  <a:pt x="655" y="148"/>
                </a:cubicBezTo>
                <a:cubicBezTo>
                  <a:pt x="655" y="148"/>
                  <a:pt x="655" y="148"/>
                  <a:pt x="655" y="148"/>
                </a:cubicBezTo>
                <a:cubicBezTo>
                  <a:pt x="654" y="148"/>
                  <a:pt x="654" y="148"/>
                  <a:pt x="653" y="148"/>
                </a:cubicBezTo>
                <a:cubicBezTo>
                  <a:pt x="652" y="148"/>
                  <a:pt x="650" y="148"/>
                  <a:pt x="649" y="148"/>
                </a:cubicBezTo>
                <a:cubicBezTo>
                  <a:pt x="648" y="148"/>
                  <a:pt x="646" y="148"/>
                  <a:pt x="645" y="149"/>
                </a:cubicBezTo>
                <a:cubicBezTo>
                  <a:pt x="645" y="150"/>
                  <a:pt x="647" y="151"/>
                  <a:pt x="648" y="151"/>
                </a:cubicBezTo>
                <a:cubicBezTo>
                  <a:pt x="649" y="151"/>
                  <a:pt x="650" y="151"/>
                  <a:pt x="651" y="151"/>
                </a:cubicBezTo>
                <a:cubicBezTo>
                  <a:pt x="652" y="152"/>
                  <a:pt x="652" y="153"/>
                  <a:pt x="653" y="153"/>
                </a:cubicBezTo>
                <a:cubicBezTo>
                  <a:pt x="653" y="154"/>
                  <a:pt x="652" y="155"/>
                  <a:pt x="653" y="155"/>
                </a:cubicBezTo>
                <a:cubicBezTo>
                  <a:pt x="654" y="156"/>
                  <a:pt x="655" y="156"/>
                  <a:pt x="656" y="155"/>
                </a:cubicBezTo>
                <a:cubicBezTo>
                  <a:pt x="659" y="155"/>
                  <a:pt x="661" y="154"/>
                  <a:pt x="664" y="154"/>
                </a:cubicBezTo>
                <a:cubicBezTo>
                  <a:pt x="666" y="153"/>
                  <a:pt x="668" y="153"/>
                  <a:pt x="669" y="153"/>
                </a:cubicBezTo>
                <a:cubicBezTo>
                  <a:pt x="671" y="152"/>
                  <a:pt x="673" y="152"/>
                  <a:pt x="675" y="151"/>
                </a:cubicBezTo>
                <a:cubicBezTo>
                  <a:pt x="677" y="151"/>
                  <a:pt x="679" y="148"/>
                  <a:pt x="677" y="147"/>
                </a:cubicBezTo>
                <a:cubicBezTo>
                  <a:pt x="676" y="147"/>
                  <a:pt x="675" y="146"/>
                  <a:pt x="675" y="145"/>
                </a:cubicBezTo>
                <a:cubicBezTo>
                  <a:pt x="675" y="145"/>
                  <a:pt x="676" y="145"/>
                  <a:pt x="676" y="144"/>
                </a:cubicBezTo>
                <a:cubicBezTo>
                  <a:pt x="677" y="144"/>
                  <a:pt x="677" y="143"/>
                  <a:pt x="677" y="143"/>
                </a:cubicBezTo>
                <a:cubicBezTo>
                  <a:pt x="678" y="142"/>
                  <a:pt x="679" y="141"/>
                  <a:pt x="678" y="141"/>
                </a:cubicBezTo>
                <a:cubicBezTo>
                  <a:pt x="678" y="140"/>
                  <a:pt x="677" y="139"/>
                  <a:pt x="676" y="139"/>
                </a:cubicBezTo>
                <a:cubicBezTo>
                  <a:pt x="675" y="139"/>
                  <a:pt x="674" y="139"/>
                  <a:pt x="673" y="138"/>
                </a:cubicBezTo>
                <a:cubicBezTo>
                  <a:pt x="673" y="138"/>
                  <a:pt x="672" y="138"/>
                  <a:pt x="671" y="137"/>
                </a:cubicBezTo>
                <a:cubicBezTo>
                  <a:pt x="670" y="137"/>
                  <a:pt x="669" y="137"/>
                  <a:pt x="668" y="138"/>
                </a:cubicBezTo>
                <a:cubicBezTo>
                  <a:pt x="667" y="138"/>
                  <a:pt x="666" y="138"/>
                  <a:pt x="665" y="138"/>
                </a:cubicBezTo>
                <a:cubicBezTo>
                  <a:pt x="664" y="138"/>
                  <a:pt x="664" y="137"/>
                  <a:pt x="664" y="136"/>
                </a:cubicBezTo>
                <a:cubicBezTo>
                  <a:pt x="663" y="135"/>
                  <a:pt x="662" y="135"/>
                  <a:pt x="662" y="135"/>
                </a:cubicBezTo>
                <a:cubicBezTo>
                  <a:pt x="661" y="135"/>
                  <a:pt x="661" y="135"/>
                  <a:pt x="660" y="134"/>
                </a:cubicBezTo>
                <a:cubicBezTo>
                  <a:pt x="660" y="134"/>
                  <a:pt x="660" y="134"/>
                  <a:pt x="659" y="134"/>
                </a:cubicBezTo>
                <a:cubicBezTo>
                  <a:pt x="658" y="133"/>
                  <a:pt x="657" y="134"/>
                  <a:pt x="657" y="134"/>
                </a:cubicBezTo>
                <a:cubicBezTo>
                  <a:pt x="656" y="134"/>
                  <a:pt x="655" y="133"/>
                  <a:pt x="654" y="133"/>
                </a:cubicBezTo>
                <a:cubicBezTo>
                  <a:pt x="653" y="132"/>
                  <a:pt x="653" y="132"/>
                  <a:pt x="652" y="131"/>
                </a:cubicBezTo>
                <a:cubicBezTo>
                  <a:pt x="651" y="131"/>
                  <a:pt x="650" y="131"/>
                  <a:pt x="649" y="131"/>
                </a:cubicBezTo>
                <a:cubicBezTo>
                  <a:pt x="648" y="130"/>
                  <a:pt x="647" y="130"/>
                  <a:pt x="645" y="130"/>
                </a:cubicBezTo>
                <a:cubicBezTo>
                  <a:pt x="644" y="130"/>
                  <a:pt x="642" y="129"/>
                  <a:pt x="641" y="130"/>
                </a:cubicBezTo>
                <a:cubicBezTo>
                  <a:pt x="640" y="131"/>
                  <a:pt x="638" y="131"/>
                  <a:pt x="638" y="132"/>
                </a:cubicBezTo>
                <a:cubicBezTo>
                  <a:pt x="639" y="133"/>
                  <a:pt x="639" y="134"/>
                  <a:pt x="639" y="134"/>
                </a:cubicBezTo>
                <a:cubicBezTo>
                  <a:pt x="640" y="135"/>
                  <a:pt x="641" y="135"/>
                  <a:pt x="641" y="136"/>
                </a:cubicBezTo>
                <a:cubicBezTo>
                  <a:pt x="642" y="137"/>
                  <a:pt x="641" y="137"/>
                  <a:pt x="640" y="137"/>
                </a:cubicBezTo>
                <a:close/>
                <a:moveTo>
                  <a:pt x="905" y="358"/>
                </a:moveTo>
                <a:cubicBezTo>
                  <a:pt x="905" y="357"/>
                  <a:pt x="905" y="356"/>
                  <a:pt x="904" y="356"/>
                </a:cubicBezTo>
                <a:cubicBezTo>
                  <a:pt x="904" y="356"/>
                  <a:pt x="903" y="356"/>
                  <a:pt x="903" y="355"/>
                </a:cubicBezTo>
                <a:cubicBezTo>
                  <a:pt x="903" y="355"/>
                  <a:pt x="902" y="355"/>
                  <a:pt x="902" y="355"/>
                </a:cubicBezTo>
                <a:cubicBezTo>
                  <a:pt x="901" y="354"/>
                  <a:pt x="901" y="355"/>
                  <a:pt x="901" y="356"/>
                </a:cubicBezTo>
                <a:cubicBezTo>
                  <a:pt x="900" y="357"/>
                  <a:pt x="901" y="359"/>
                  <a:pt x="902" y="360"/>
                </a:cubicBezTo>
                <a:cubicBezTo>
                  <a:pt x="903" y="361"/>
                  <a:pt x="903" y="361"/>
                  <a:pt x="904" y="362"/>
                </a:cubicBezTo>
                <a:cubicBezTo>
                  <a:pt x="904" y="363"/>
                  <a:pt x="905" y="363"/>
                  <a:pt x="906" y="363"/>
                </a:cubicBezTo>
                <a:cubicBezTo>
                  <a:pt x="907" y="363"/>
                  <a:pt x="907" y="362"/>
                  <a:pt x="907" y="361"/>
                </a:cubicBezTo>
                <a:cubicBezTo>
                  <a:pt x="907" y="361"/>
                  <a:pt x="907" y="361"/>
                  <a:pt x="907" y="360"/>
                </a:cubicBezTo>
                <a:cubicBezTo>
                  <a:pt x="907" y="360"/>
                  <a:pt x="907" y="359"/>
                  <a:pt x="907" y="359"/>
                </a:cubicBezTo>
                <a:cubicBezTo>
                  <a:pt x="906" y="359"/>
                  <a:pt x="905" y="359"/>
                  <a:pt x="905" y="358"/>
                </a:cubicBezTo>
                <a:close/>
                <a:moveTo>
                  <a:pt x="873" y="445"/>
                </a:moveTo>
                <a:cubicBezTo>
                  <a:pt x="873" y="445"/>
                  <a:pt x="874" y="445"/>
                  <a:pt x="873" y="444"/>
                </a:cubicBezTo>
                <a:cubicBezTo>
                  <a:pt x="873" y="444"/>
                  <a:pt x="871" y="444"/>
                  <a:pt x="871" y="445"/>
                </a:cubicBezTo>
                <a:cubicBezTo>
                  <a:pt x="871" y="445"/>
                  <a:pt x="872" y="445"/>
                  <a:pt x="873" y="445"/>
                </a:cubicBezTo>
                <a:close/>
                <a:moveTo>
                  <a:pt x="694" y="222"/>
                </a:moveTo>
                <a:cubicBezTo>
                  <a:pt x="693" y="221"/>
                  <a:pt x="693" y="221"/>
                  <a:pt x="692" y="220"/>
                </a:cubicBezTo>
                <a:cubicBezTo>
                  <a:pt x="692" y="220"/>
                  <a:pt x="693" y="220"/>
                  <a:pt x="694" y="219"/>
                </a:cubicBezTo>
                <a:cubicBezTo>
                  <a:pt x="694" y="218"/>
                  <a:pt x="694" y="217"/>
                  <a:pt x="694" y="216"/>
                </a:cubicBezTo>
                <a:cubicBezTo>
                  <a:pt x="694" y="215"/>
                  <a:pt x="694" y="215"/>
                  <a:pt x="693" y="215"/>
                </a:cubicBezTo>
                <a:cubicBezTo>
                  <a:pt x="692" y="214"/>
                  <a:pt x="692" y="213"/>
                  <a:pt x="691" y="213"/>
                </a:cubicBezTo>
                <a:cubicBezTo>
                  <a:pt x="691" y="212"/>
                  <a:pt x="690" y="213"/>
                  <a:pt x="689" y="212"/>
                </a:cubicBezTo>
                <a:cubicBezTo>
                  <a:pt x="688" y="212"/>
                  <a:pt x="688" y="212"/>
                  <a:pt x="688" y="211"/>
                </a:cubicBezTo>
                <a:cubicBezTo>
                  <a:pt x="687" y="210"/>
                  <a:pt x="686" y="210"/>
                  <a:pt x="685" y="209"/>
                </a:cubicBezTo>
                <a:cubicBezTo>
                  <a:pt x="685" y="209"/>
                  <a:pt x="684" y="208"/>
                  <a:pt x="683" y="208"/>
                </a:cubicBezTo>
                <a:cubicBezTo>
                  <a:pt x="682" y="208"/>
                  <a:pt x="681" y="207"/>
                  <a:pt x="680" y="207"/>
                </a:cubicBezTo>
                <a:cubicBezTo>
                  <a:pt x="679" y="207"/>
                  <a:pt x="678" y="207"/>
                  <a:pt x="677" y="207"/>
                </a:cubicBezTo>
                <a:cubicBezTo>
                  <a:pt x="676" y="207"/>
                  <a:pt x="675" y="208"/>
                  <a:pt x="674" y="208"/>
                </a:cubicBezTo>
                <a:cubicBezTo>
                  <a:pt x="673" y="209"/>
                  <a:pt x="672" y="209"/>
                  <a:pt x="671" y="209"/>
                </a:cubicBezTo>
                <a:cubicBezTo>
                  <a:pt x="670" y="210"/>
                  <a:pt x="669" y="210"/>
                  <a:pt x="668" y="211"/>
                </a:cubicBezTo>
                <a:cubicBezTo>
                  <a:pt x="668" y="211"/>
                  <a:pt x="668" y="211"/>
                  <a:pt x="667" y="211"/>
                </a:cubicBezTo>
                <a:cubicBezTo>
                  <a:pt x="667" y="211"/>
                  <a:pt x="666" y="211"/>
                  <a:pt x="666" y="211"/>
                </a:cubicBezTo>
                <a:cubicBezTo>
                  <a:pt x="665" y="211"/>
                  <a:pt x="665" y="212"/>
                  <a:pt x="664" y="212"/>
                </a:cubicBezTo>
                <a:cubicBezTo>
                  <a:pt x="664" y="212"/>
                  <a:pt x="662" y="212"/>
                  <a:pt x="663" y="213"/>
                </a:cubicBezTo>
                <a:cubicBezTo>
                  <a:pt x="663" y="213"/>
                  <a:pt x="664" y="213"/>
                  <a:pt x="665" y="213"/>
                </a:cubicBezTo>
                <a:cubicBezTo>
                  <a:pt x="665" y="214"/>
                  <a:pt x="663" y="214"/>
                  <a:pt x="662" y="215"/>
                </a:cubicBezTo>
                <a:cubicBezTo>
                  <a:pt x="662" y="215"/>
                  <a:pt x="661" y="216"/>
                  <a:pt x="660" y="216"/>
                </a:cubicBezTo>
                <a:cubicBezTo>
                  <a:pt x="660" y="217"/>
                  <a:pt x="659" y="217"/>
                  <a:pt x="659" y="218"/>
                </a:cubicBezTo>
                <a:cubicBezTo>
                  <a:pt x="659" y="218"/>
                  <a:pt x="659" y="219"/>
                  <a:pt x="659" y="219"/>
                </a:cubicBezTo>
                <a:cubicBezTo>
                  <a:pt x="659" y="220"/>
                  <a:pt x="659" y="220"/>
                  <a:pt x="659" y="221"/>
                </a:cubicBezTo>
                <a:cubicBezTo>
                  <a:pt x="658" y="222"/>
                  <a:pt x="659" y="222"/>
                  <a:pt x="659" y="222"/>
                </a:cubicBezTo>
                <a:cubicBezTo>
                  <a:pt x="660" y="222"/>
                  <a:pt x="660" y="222"/>
                  <a:pt x="660" y="223"/>
                </a:cubicBezTo>
                <a:cubicBezTo>
                  <a:pt x="661" y="223"/>
                  <a:pt x="661" y="224"/>
                  <a:pt x="662" y="224"/>
                </a:cubicBezTo>
                <a:cubicBezTo>
                  <a:pt x="662" y="223"/>
                  <a:pt x="663" y="222"/>
                  <a:pt x="663" y="223"/>
                </a:cubicBezTo>
                <a:cubicBezTo>
                  <a:pt x="664" y="223"/>
                  <a:pt x="665" y="224"/>
                  <a:pt x="665" y="225"/>
                </a:cubicBezTo>
                <a:cubicBezTo>
                  <a:pt x="666" y="225"/>
                  <a:pt x="666" y="225"/>
                  <a:pt x="668" y="225"/>
                </a:cubicBezTo>
                <a:cubicBezTo>
                  <a:pt x="668" y="226"/>
                  <a:pt x="669" y="225"/>
                  <a:pt x="670" y="226"/>
                </a:cubicBezTo>
                <a:cubicBezTo>
                  <a:pt x="670" y="227"/>
                  <a:pt x="670" y="227"/>
                  <a:pt x="670" y="227"/>
                </a:cubicBezTo>
                <a:cubicBezTo>
                  <a:pt x="671" y="227"/>
                  <a:pt x="671" y="227"/>
                  <a:pt x="672" y="227"/>
                </a:cubicBezTo>
                <a:cubicBezTo>
                  <a:pt x="672" y="226"/>
                  <a:pt x="673" y="226"/>
                  <a:pt x="674" y="226"/>
                </a:cubicBezTo>
                <a:cubicBezTo>
                  <a:pt x="675" y="227"/>
                  <a:pt x="675" y="227"/>
                  <a:pt x="676" y="228"/>
                </a:cubicBezTo>
                <a:cubicBezTo>
                  <a:pt x="676" y="229"/>
                  <a:pt x="677" y="229"/>
                  <a:pt x="678" y="229"/>
                </a:cubicBezTo>
                <a:cubicBezTo>
                  <a:pt x="679" y="229"/>
                  <a:pt x="679" y="229"/>
                  <a:pt x="680" y="230"/>
                </a:cubicBezTo>
                <a:cubicBezTo>
                  <a:pt x="681" y="230"/>
                  <a:pt x="683" y="230"/>
                  <a:pt x="684" y="230"/>
                </a:cubicBezTo>
                <a:cubicBezTo>
                  <a:pt x="685" y="230"/>
                  <a:pt x="687" y="230"/>
                  <a:pt x="688" y="230"/>
                </a:cubicBezTo>
                <a:cubicBezTo>
                  <a:pt x="689" y="230"/>
                  <a:pt x="690" y="230"/>
                  <a:pt x="691" y="229"/>
                </a:cubicBezTo>
                <a:cubicBezTo>
                  <a:pt x="691" y="229"/>
                  <a:pt x="691" y="229"/>
                  <a:pt x="692" y="229"/>
                </a:cubicBezTo>
                <a:cubicBezTo>
                  <a:pt x="693" y="229"/>
                  <a:pt x="693" y="228"/>
                  <a:pt x="694" y="228"/>
                </a:cubicBezTo>
                <a:cubicBezTo>
                  <a:pt x="694" y="227"/>
                  <a:pt x="694" y="226"/>
                  <a:pt x="694" y="225"/>
                </a:cubicBezTo>
                <a:cubicBezTo>
                  <a:pt x="694" y="225"/>
                  <a:pt x="694" y="225"/>
                  <a:pt x="694" y="224"/>
                </a:cubicBezTo>
                <a:cubicBezTo>
                  <a:pt x="694" y="224"/>
                  <a:pt x="695" y="224"/>
                  <a:pt x="695" y="223"/>
                </a:cubicBezTo>
                <a:cubicBezTo>
                  <a:pt x="695" y="223"/>
                  <a:pt x="694" y="222"/>
                  <a:pt x="694" y="222"/>
                </a:cubicBezTo>
                <a:close/>
                <a:moveTo>
                  <a:pt x="669" y="342"/>
                </a:moveTo>
                <a:cubicBezTo>
                  <a:pt x="668" y="342"/>
                  <a:pt x="668" y="343"/>
                  <a:pt x="668" y="343"/>
                </a:cubicBezTo>
                <a:cubicBezTo>
                  <a:pt x="669" y="343"/>
                  <a:pt x="669" y="343"/>
                  <a:pt x="669" y="343"/>
                </a:cubicBezTo>
                <a:cubicBezTo>
                  <a:pt x="670" y="343"/>
                  <a:pt x="671" y="342"/>
                  <a:pt x="671" y="342"/>
                </a:cubicBezTo>
                <a:cubicBezTo>
                  <a:pt x="673" y="341"/>
                  <a:pt x="673" y="339"/>
                  <a:pt x="672" y="338"/>
                </a:cubicBezTo>
                <a:cubicBezTo>
                  <a:pt x="671" y="337"/>
                  <a:pt x="670" y="337"/>
                  <a:pt x="669" y="337"/>
                </a:cubicBezTo>
                <a:cubicBezTo>
                  <a:pt x="669" y="337"/>
                  <a:pt x="668" y="336"/>
                  <a:pt x="667" y="337"/>
                </a:cubicBezTo>
                <a:cubicBezTo>
                  <a:pt x="666" y="337"/>
                  <a:pt x="666" y="337"/>
                  <a:pt x="666" y="338"/>
                </a:cubicBezTo>
                <a:cubicBezTo>
                  <a:pt x="665" y="339"/>
                  <a:pt x="665" y="339"/>
                  <a:pt x="665" y="340"/>
                </a:cubicBezTo>
                <a:cubicBezTo>
                  <a:pt x="665" y="340"/>
                  <a:pt x="665" y="342"/>
                  <a:pt x="665" y="342"/>
                </a:cubicBezTo>
                <a:cubicBezTo>
                  <a:pt x="666" y="342"/>
                  <a:pt x="666" y="341"/>
                  <a:pt x="666" y="341"/>
                </a:cubicBezTo>
                <a:cubicBezTo>
                  <a:pt x="667" y="340"/>
                  <a:pt x="667" y="340"/>
                  <a:pt x="667" y="339"/>
                </a:cubicBezTo>
                <a:cubicBezTo>
                  <a:pt x="667" y="339"/>
                  <a:pt x="667" y="338"/>
                  <a:pt x="667" y="338"/>
                </a:cubicBezTo>
                <a:cubicBezTo>
                  <a:pt x="667" y="338"/>
                  <a:pt x="668" y="339"/>
                  <a:pt x="668" y="339"/>
                </a:cubicBezTo>
                <a:cubicBezTo>
                  <a:pt x="668" y="339"/>
                  <a:pt x="669" y="340"/>
                  <a:pt x="669" y="340"/>
                </a:cubicBezTo>
                <a:cubicBezTo>
                  <a:pt x="669" y="340"/>
                  <a:pt x="669" y="341"/>
                  <a:pt x="669" y="341"/>
                </a:cubicBezTo>
                <a:cubicBezTo>
                  <a:pt x="669" y="341"/>
                  <a:pt x="669" y="342"/>
                  <a:pt x="669" y="342"/>
                </a:cubicBezTo>
                <a:close/>
                <a:moveTo>
                  <a:pt x="663" y="344"/>
                </a:moveTo>
                <a:cubicBezTo>
                  <a:pt x="663" y="343"/>
                  <a:pt x="661" y="342"/>
                  <a:pt x="660" y="341"/>
                </a:cubicBezTo>
                <a:cubicBezTo>
                  <a:pt x="658" y="340"/>
                  <a:pt x="656" y="340"/>
                  <a:pt x="655" y="339"/>
                </a:cubicBezTo>
                <a:cubicBezTo>
                  <a:pt x="653" y="338"/>
                  <a:pt x="651" y="337"/>
                  <a:pt x="649" y="335"/>
                </a:cubicBezTo>
                <a:cubicBezTo>
                  <a:pt x="649" y="335"/>
                  <a:pt x="648" y="334"/>
                  <a:pt x="647" y="334"/>
                </a:cubicBezTo>
                <a:cubicBezTo>
                  <a:pt x="646" y="333"/>
                  <a:pt x="645" y="333"/>
                  <a:pt x="645" y="332"/>
                </a:cubicBezTo>
                <a:cubicBezTo>
                  <a:pt x="644" y="332"/>
                  <a:pt x="643" y="331"/>
                  <a:pt x="643" y="331"/>
                </a:cubicBezTo>
                <a:cubicBezTo>
                  <a:pt x="642" y="332"/>
                  <a:pt x="641" y="332"/>
                  <a:pt x="640" y="333"/>
                </a:cubicBezTo>
                <a:cubicBezTo>
                  <a:pt x="640" y="334"/>
                  <a:pt x="639" y="334"/>
                  <a:pt x="639" y="335"/>
                </a:cubicBezTo>
                <a:cubicBezTo>
                  <a:pt x="639" y="335"/>
                  <a:pt x="639" y="336"/>
                  <a:pt x="638" y="336"/>
                </a:cubicBezTo>
                <a:cubicBezTo>
                  <a:pt x="638" y="337"/>
                  <a:pt x="637" y="337"/>
                  <a:pt x="636" y="337"/>
                </a:cubicBezTo>
                <a:cubicBezTo>
                  <a:pt x="636" y="337"/>
                  <a:pt x="635" y="338"/>
                  <a:pt x="636" y="338"/>
                </a:cubicBezTo>
                <a:cubicBezTo>
                  <a:pt x="636" y="339"/>
                  <a:pt x="636" y="339"/>
                  <a:pt x="635" y="339"/>
                </a:cubicBezTo>
                <a:cubicBezTo>
                  <a:pt x="635" y="340"/>
                  <a:pt x="635" y="340"/>
                  <a:pt x="636" y="340"/>
                </a:cubicBezTo>
                <a:cubicBezTo>
                  <a:pt x="636" y="341"/>
                  <a:pt x="636" y="341"/>
                  <a:pt x="636" y="341"/>
                </a:cubicBezTo>
                <a:cubicBezTo>
                  <a:pt x="636" y="342"/>
                  <a:pt x="637" y="342"/>
                  <a:pt x="637" y="342"/>
                </a:cubicBezTo>
                <a:cubicBezTo>
                  <a:pt x="638" y="342"/>
                  <a:pt x="638" y="343"/>
                  <a:pt x="638" y="343"/>
                </a:cubicBezTo>
                <a:cubicBezTo>
                  <a:pt x="637" y="343"/>
                  <a:pt x="636" y="343"/>
                  <a:pt x="635" y="343"/>
                </a:cubicBezTo>
                <a:cubicBezTo>
                  <a:pt x="634" y="343"/>
                  <a:pt x="635" y="345"/>
                  <a:pt x="634" y="345"/>
                </a:cubicBezTo>
                <a:cubicBezTo>
                  <a:pt x="634" y="346"/>
                  <a:pt x="633" y="346"/>
                  <a:pt x="632" y="346"/>
                </a:cubicBezTo>
                <a:cubicBezTo>
                  <a:pt x="631" y="346"/>
                  <a:pt x="631" y="346"/>
                  <a:pt x="630" y="346"/>
                </a:cubicBezTo>
                <a:cubicBezTo>
                  <a:pt x="628" y="346"/>
                  <a:pt x="627" y="346"/>
                  <a:pt x="625" y="347"/>
                </a:cubicBezTo>
                <a:cubicBezTo>
                  <a:pt x="624" y="347"/>
                  <a:pt x="624" y="348"/>
                  <a:pt x="624" y="348"/>
                </a:cubicBezTo>
                <a:cubicBezTo>
                  <a:pt x="625" y="349"/>
                  <a:pt x="625" y="350"/>
                  <a:pt x="625" y="350"/>
                </a:cubicBezTo>
                <a:cubicBezTo>
                  <a:pt x="626" y="351"/>
                  <a:pt x="627" y="351"/>
                  <a:pt x="627" y="352"/>
                </a:cubicBezTo>
                <a:cubicBezTo>
                  <a:pt x="628" y="352"/>
                  <a:pt x="628" y="353"/>
                  <a:pt x="629" y="353"/>
                </a:cubicBezTo>
                <a:cubicBezTo>
                  <a:pt x="630" y="353"/>
                  <a:pt x="629" y="352"/>
                  <a:pt x="629" y="351"/>
                </a:cubicBezTo>
                <a:cubicBezTo>
                  <a:pt x="630" y="351"/>
                  <a:pt x="631" y="350"/>
                  <a:pt x="631" y="351"/>
                </a:cubicBezTo>
                <a:cubicBezTo>
                  <a:pt x="632" y="351"/>
                  <a:pt x="632" y="351"/>
                  <a:pt x="632" y="352"/>
                </a:cubicBezTo>
                <a:cubicBezTo>
                  <a:pt x="632" y="354"/>
                  <a:pt x="634" y="353"/>
                  <a:pt x="635" y="353"/>
                </a:cubicBezTo>
                <a:cubicBezTo>
                  <a:pt x="635" y="353"/>
                  <a:pt x="635" y="353"/>
                  <a:pt x="636" y="354"/>
                </a:cubicBezTo>
                <a:cubicBezTo>
                  <a:pt x="636" y="354"/>
                  <a:pt x="637" y="354"/>
                  <a:pt x="637" y="353"/>
                </a:cubicBezTo>
                <a:cubicBezTo>
                  <a:pt x="637" y="352"/>
                  <a:pt x="637" y="352"/>
                  <a:pt x="638" y="352"/>
                </a:cubicBezTo>
                <a:cubicBezTo>
                  <a:pt x="638" y="353"/>
                  <a:pt x="639" y="353"/>
                  <a:pt x="639" y="354"/>
                </a:cubicBezTo>
                <a:cubicBezTo>
                  <a:pt x="639" y="354"/>
                  <a:pt x="640" y="355"/>
                  <a:pt x="640" y="355"/>
                </a:cubicBezTo>
                <a:cubicBezTo>
                  <a:pt x="641" y="356"/>
                  <a:pt x="643" y="355"/>
                  <a:pt x="644" y="356"/>
                </a:cubicBezTo>
                <a:cubicBezTo>
                  <a:pt x="646" y="357"/>
                  <a:pt x="647" y="358"/>
                  <a:pt x="649" y="358"/>
                </a:cubicBezTo>
                <a:cubicBezTo>
                  <a:pt x="650" y="359"/>
                  <a:pt x="651" y="359"/>
                  <a:pt x="651" y="359"/>
                </a:cubicBezTo>
                <a:cubicBezTo>
                  <a:pt x="652" y="358"/>
                  <a:pt x="653" y="358"/>
                  <a:pt x="654" y="358"/>
                </a:cubicBezTo>
                <a:cubicBezTo>
                  <a:pt x="655" y="359"/>
                  <a:pt x="656" y="360"/>
                  <a:pt x="658" y="360"/>
                </a:cubicBezTo>
                <a:cubicBezTo>
                  <a:pt x="659" y="360"/>
                  <a:pt x="660" y="360"/>
                  <a:pt x="661" y="360"/>
                </a:cubicBezTo>
                <a:cubicBezTo>
                  <a:pt x="662" y="359"/>
                  <a:pt x="662" y="359"/>
                  <a:pt x="663" y="359"/>
                </a:cubicBezTo>
                <a:cubicBezTo>
                  <a:pt x="664" y="359"/>
                  <a:pt x="665" y="360"/>
                  <a:pt x="665" y="360"/>
                </a:cubicBezTo>
                <a:cubicBezTo>
                  <a:pt x="666" y="360"/>
                  <a:pt x="667" y="360"/>
                  <a:pt x="668" y="359"/>
                </a:cubicBezTo>
                <a:cubicBezTo>
                  <a:pt x="669" y="359"/>
                  <a:pt x="670" y="358"/>
                  <a:pt x="670" y="358"/>
                </a:cubicBezTo>
                <a:cubicBezTo>
                  <a:pt x="671" y="357"/>
                  <a:pt x="671" y="356"/>
                  <a:pt x="672" y="355"/>
                </a:cubicBezTo>
                <a:cubicBezTo>
                  <a:pt x="672" y="354"/>
                  <a:pt x="672" y="353"/>
                  <a:pt x="673" y="353"/>
                </a:cubicBezTo>
                <a:cubicBezTo>
                  <a:pt x="674" y="352"/>
                  <a:pt x="674" y="352"/>
                  <a:pt x="674" y="352"/>
                </a:cubicBezTo>
                <a:cubicBezTo>
                  <a:pt x="674" y="351"/>
                  <a:pt x="673" y="352"/>
                  <a:pt x="673" y="351"/>
                </a:cubicBezTo>
                <a:cubicBezTo>
                  <a:pt x="672" y="351"/>
                  <a:pt x="672" y="351"/>
                  <a:pt x="672" y="350"/>
                </a:cubicBezTo>
                <a:cubicBezTo>
                  <a:pt x="671" y="349"/>
                  <a:pt x="671" y="348"/>
                  <a:pt x="671" y="348"/>
                </a:cubicBezTo>
                <a:cubicBezTo>
                  <a:pt x="670" y="347"/>
                  <a:pt x="669" y="346"/>
                  <a:pt x="668" y="346"/>
                </a:cubicBezTo>
                <a:cubicBezTo>
                  <a:pt x="668" y="346"/>
                  <a:pt x="667" y="346"/>
                  <a:pt x="667" y="346"/>
                </a:cubicBezTo>
                <a:cubicBezTo>
                  <a:pt x="666" y="346"/>
                  <a:pt x="666" y="346"/>
                  <a:pt x="665" y="345"/>
                </a:cubicBezTo>
                <a:cubicBezTo>
                  <a:pt x="665" y="345"/>
                  <a:pt x="665" y="345"/>
                  <a:pt x="665" y="345"/>
                </a:cubicBezTo>
                <a:cubicBezTo>
                  <a:pt x="664" y="345"/>
                  <a:pt x="664" y="345"/>
                  <a:pt x="664" y="345"/>
                </a:cubicBezTo>
                <a:cubicBezTo>
                  <a:pt x="663" y="346"/>
                  <a:pt x="662" y="346"/>
                  <a:pt x="662" y="345"/>
                </a:cubicBezTo>
                <a:cubicBezTo>
                  <a:pt x="662" y="345"/>
                  <a:pt x="663" y="345"/>
                  <a:pt x="663" y="344"/>
                </a:cubicBezTo>
                <a:close/>
                <a:moveTo>
                  <a:pt x="869" y="459"/>
                </a:moveTo>
                <a:cubicBezTo>
                  <a:pt x="869" y="460"/>
                  <a:pt x="869" y="460"/>
                  <a:pt x="870" y="460"/>
                </a:cubicBezTo>
                <a:cubicBezTo>
                  <a:pt x="870" y="460"/>
                  <a:pt x="870" y="461"/>
                  <a:pt x="870" y="461"/>
                </a:cubicBezTo>
                <a:cubicBezTo>
                  <a:pt x="871" y="462"/>
                  <a:pt x="872" y="461"/>
                  <a:pt x="873" y="461"/>
                </a:cubicBezTo>
                <a:cubicBezTo>
                  <a:pt x="873" y="460"/>
                  <a:pt x="874" y="460"/>
                  <a:pt x="874" y="459"/>
                </a:cubicBezTo>
                <a:cubicBezTo>
                  <a:pt x="875" y="459"/>
                  <a:pt x="876" y="459"/>
                  <a:pt x="876" y="458"/>
                </a:cubicBezTo>
                <a:cubicBezTo>
                  <a:pt x="875" y="457"/>
                  <a:pt x="875" y="456"/>
                  <a:pt x="874" y="456"/>
                </a:cubicBezTo>
                <a:cubicBezTo>
                  <a:pt x="874" y="455"/>
                  <a:pt x="873" y="454"/>
                  <a:pt x="872" y="454"/>
                </a:cubicBezTo>
                <a:cubicBezTo>
                  <a:pt x="871" y="454"/>
                  <a:pt x="871" y="454"/>
                  <a:pt x="870" y="454"/>
                </a:cubicBezTo>
                <a:cubicBezTo>
                  <a:pt x="870" y="454"/>
                  <a:pt x="869" y="454"/>
                  <a:pt x="869" y="454"/>
                </a:cubicBezTo>
                <a:cubicBezTo>
                  <a:pt x="868" y="453"/>
                  <a:pt x="867" y="454"/>
                  <a:pt x="867" y="454"/>
                </a:cubicBezTo>
                <a:cubicBezTo>
                  <a:pt x="866" y="455"/>
                  <a:pt x="866" y="455"/>
                  <a:pt x="865" y="455"/>
                </a:cubicBezTo>
                <a:cubicBezTo>
                  <a:pt x="865" y="455"/>
                  <a:pt x="864" y="455"/>
                  <a:pt x="864" y="456"/>
                </a:cubicBezTo>
                <a:cubicBezTo>
                  <a:pt x="864" y="456"/>
                  <a:pt x="864" y="456"/>
                  <a:pt x="865" y="456"/>
                </a:cubicBezTo>
                <a:cubicBezTo>
                  <a:pt x="866" y="457"/>
                  <a:pt x="866" y="457"/>
                  <a:pt x="867" y="458"/>
                </a:cubicBezTo>
                <a:cubicBezTo>
                  <a:pt x="868" y="458"/>
                  <a:pt x="868" y="459"/>
                  <a:pt x="869" y="459"/>
                </a:cubicBezTo>
                <a:close/>
                <a:moveTo>
                  <a:pt x="657" y="280"/>
                </a:moveTo>
                <a:cubicBezTo>
                  <a:pt x="658" y="280"/>
                  <a:pt x="659" y="280"/>
                  <a:pt x="660" y="280"/>
                </a:cubicBezTo>
                <a:cubicBezTo>
                  <a:pt x="661" y="279"/>
                  <a:pt x="661" y="279"/>
                  <a:pt x="661" y="278"/>
                </a:cubicBezTo>
                <a:cubicBezTo>
                  <a:pt x="662" y="277"/>
                  <a:pt x="661" y="276"/>
                  <a:pt x="661" y="276"/>
                </a:cubicBezTo>
                <a:cubicBezTo>
                  <a:pt x="661" y="275"/>
                  <a:pt x="660" y="275"/>
                  <a:pt x="660" y="274"/>
                </a:cubicBezTo>
                <a:cubicBezTo>
                  <a:pt x="659" y="273"/>
                  <a:pt x="659" y="273"/>
                  <a:pt x="659" y="272"/>
                </a:cubicBezTo>
                <a:cubicBezTo>
                  <a:pt x="659" y="271"/>
                  <a:pt x="658" y="271"/>
                  <a:pt x="657" y="272"/>
                </a:cubicBezTo>
                <a:cubicBezTo>
                  <a:pt x="657" y="272"/>
                  <a:pt x="656" y="272"/>
                  <a:pt x="655" y="272"/>
                </a:cubicBezTo>
                <a:cubicBezTo>
                  <a:pt x="655" y="273"/>
                  <a:pt x="653" y="274"/>
                  <a:pt x="653" y="273"/>
                </a:cubicBezTo>
                <a:cubicBezTo>
                  <a:pt x="653" y="272"/>
                  <a:pt x="653" y="272"/>
                  <a:pt x="653" y="272"/>
                </a:cubicBezTo>
                <a:cubicBezTo>
                  <a:pt x="653" y="271"/>
                  <a:pt x="652" y="271"/>
                  <a:pt x="652" y="270"/>
                </a:cubicBezTo>
                <a:cubicBezTo>
                  <a:pt x="651" y="269"/>
                  <a:pt x="651" y="268"/>
                  <a:pt x="651" y="268"/>
                </a:cubicBezTo>
                <a:cubicBezTo>
                  <a:pt x="651" y="267"/>
                  <a:pt x="650" y="266"/>
                  <a:pt x="649" y="266"/>
                </a:cubicBezTo>
                <a:cubicBezTo>
                  <a:pt x="648" y="266"/>
                  <a:pt x="647" y="265"/>
                  <a:pt x="645" y="265"/>
                </a:cubicBezTo>
                <a:cubicBezTo>
                  <a:pt x="643" y="265"/>
                  <a:pt x="641" y="265"/>
                  <a:pt x="640" y="266"/>
                </a:cubicBezTo>
                <a:cubicBezTo>
                  <a:pt x="639" y="267"/>
                  <a:pt x="639" y="267"/>
                  <a:pt x="638" y="268"/>
                </a:cubicBezTo>
                <a:cubicBezTo>
                  <a:pt x="637" y="268"/>
                  <a:pt x="637" y="268"/>
                  <a:pt x="637" y="268"/>
                </a:cubicBezTo>
                <a:cubicBezTo>
                  <a:pt x="636" y="268"/>
                  <a:pt x="637" y="267"/>
                  <a:pt x="637" y="267"/>
                </a:cubicBezTo>
                <a:cubicBezTo>
                  <a:pt x="637" y="266"/>
                  <a:pt x="637" y="266"/>
                  <a:pt x="637" y="266"/>
                </a:cubicBezTo>
                <a:cubicBezTo>
                  <a:pt x="637" y="265"/>
                  <a:pt x="638" y="265"/>
                  <a:pt x="638" y="265"/>
                </a:cubicBezTo>
                <a:cubicBezTo>
                  <a:pt x="639" y="265"/>
                  <a:pt x="640" y="264"/>
                  <a:pt x="640" y="264"/>
                </a:cubicBezTo>
                <a:cubicBezTo>
                  <a:pt x="641" y="263"/>
                  <a:pt x="642" y="262"/>
                  <a:pt x="643" y="261"/>
                </a:cubicBezTo>
                <a:cubicBezTo>
                  <a:pt x="644" y="261"/>
                  <a:pt x="645" y="260"/>
                  <a:pt x="647" y="259"/>
                </a:cubicBezTo>
                <a:cubicBezTo>
                  <a:pt x="648" y="259"/>
                  <a:pt x="649" y="259"/>
                  <a:pt x="650" y="258"/>
                </a:cubicBezTo>
                <a:cubicBezTo>
                  <a:pt x="651" y="258"/>
                  <a:pt x="652" y="258"/>
                  <a:pt x="652" y="257"/>
                </a:cubicBezTo>
                <a:cubicBezTo>
                  <a:pt x="652" y="255"/>
                  <a:pt x="651" y="256"/>
                  <a:pt x="650" y="255"/>
                </a:cubicBezTo>
                <a:cubicBezTo>
                  <a:pt x="650" y="255"/>
                  <a:pt x="650" y="255"/>
                  <a:pt x="649" y="255"/>
                </a:cubicBezTo>
                <a:cubicBezTo>
                  <a:pt x="649" y="255"/>
                  <a:pt x="649" y="255"/>
                  <a:pt x="648" y="255"/>
                </a:cubicBezTo>
                <a:cubicBezTo>
                  <a:pt x="648" y="255"/>
                  <a:pt x="647" y="255"/>
                  <a:pt x="647" y="254"/>
                </a:cubicBezTo>
                <a:cubicBezTo>
                  <a:pt x="648" y="254"/>
                  <a:pt x="648" y="254"/>
                  <a:pt x="648" y="254"/>
                </a:cubicBezTo>
                <a:cubicBezTo>
                  <a:pt x="649" y="254"/>
                  <a:pt x="649" y="253"/>
                  <a:pt x="649" y="253"/>
                </a:cubicBezTo>
                <a:cubicBezTo>
                  <a:pt x="650" y="253"/>
                  <a:pt x="650" y="253"/>
                  <a:pt x="651" y="253"/>
                </a:cubicBezTo>
                <a:cubicBezTo>
                  <a:pt x="651" y="254"/>
                  <a:pt x="652" y="253"/>
                  <a:pt x="653" y="253"/>
                </a:cubicBezTo>
                <a:cubicBezTo>
                  <a:pt x="654" y="252"/>
                  <a:pt x="654" y="252"/>
                  <a:pt x="654" y="251"/>
                </a:cubicBezTo>
                <a:cubicBezTo>
                  <a:pt x="655" y="249"/>
                  <a:pt x="653" y="249"/>
                  <a:pt x="652" y="248"/>
                </a:cubicBezTo>
                <a:cubicBezTo>
                  <a:pt x="651" y="247"/>
                  <a:pt x="651" y="247"/>
                  <a:pt x="650" y="247"/>
                </a:cubicBezTo>
                <a:cubicBezTo>
                  <a:pt x="649" y="247"/>
                  <a:pt x="648" y="247"/>
                  <a:pt x="647" y="246"/>
                </a:cubicBezTo>
                <a:cubicBezTo>
                  <a:pt x="646" y="246"/>
                  <a:pt x="646" y="246"/>
                  <a:pt x="645" y="246"/>
                </a:cubicBezTo>
                <a:cubicBezTo>
                  <a:pt x="644" y="246"/>
                  <a:pt x="644" y="247"/>
                  <a:pt x="643" y="247"/>
                </a:cubicBezTo>
                <a:cubicBezTo>
                  <a:pt x="641" y="248"/>
                  <a:pt x="640" y="248"/>
                  <a:pt x="638" y="248"/>
                </a:cubicBezTo>
                <a:cubicBezTo>
                  <a:pt x="636" y="249"/>
                  <a:pt x="635" y="249"/>
                  <a:pt x="633" y="249"/>
                </a:cubicBezTo>
                <a:cubicBezTo>
                  <a:pt x="632" y="249"/>
                  <a:pt x="631" y="249"/>
                  <a:pt x="630" y="250"/>
                </a:cubicBezTo>
                <a:cubicBezTo>
                  <a:pt x="629" y="250"/>
                  <a:pt x="628" y="250"/>
                  <a:pt x="627" y="249"/>
                </a:cubicBezTo>
                <a:cubicBezTo>
                  <a:pt x="627" y="249"/>
                  <a:pt x="627" y="249"/>
                  <a:pt x="626" y="249"/>
                </a:cubicBezTo>
                <a:cubicBezTo>
                  <a:pt x="626" y="248"/>
                  <a:pt x="625" y="248"/>
                  <a:pt x="624" y="247"/>
                </a:cubicBezTo>
                <a:cubicBezTo>
                  <a:pt x="623" y="247"/>
                  <a:pt x="622" y="246"/>
                  <a:pt x="620" y="245"/>
                </a:cubicBezTo>
                <a:cubicBezTo>
                  <a:pt x="619" y="245"/>
                  <a:pt x="617" y="245"/>
                  <a:pt x="616" y="247"/>
                </a:cubicBezTo>
                <a:cubicBezTo>
                  <a:pt x="616" y="248"/>
                  <a:pt x="618" y="248"/>
                  <a:pt x="618" y="248"/>
                </a:cubicBezTo>
                <a:cubicBezTo>
                  <a:pt x="619" y="248"/>
                  <a:pt x="619" y="248"/>
                  <a:pt x="619" y="247"/>
                </a:cubicBezTo>
                <a:cubicBezTo>
                  <a:pt x="620" y="247"/>
                  <a:pt x="620" y="247"/>
                  <a:pt x="620" y="247"/>
                </a:cubicBezTo>
                <a:cubicBezTo>
                  <a:pt x="620" y="247"/>
                  <a:pt x="621" y="246"/>
                  <a:pt x="621" y="246"/>
                </a:cubicBezTo>
                <a:cubicBezTo>
                  <a:pt x="621" y="247"/>
                  <a:pt x="621" y="247"/>
                  <a:pt x="621" y="248"/>
                </a:cubicBezTo>
                <a:cubicBezTo>
                  <a:pt x="621" y="248"/>
                  <a:pt x="620" y="248"/>
                  <a:pt x="620" y="248"/>
                </a:cubicBezTo>
                <a:cubicBezTo>
                  <a:pt x="619" y="249"/>
                  <a:pt x="619" y="249"/>
                  <a:pt x="618" y="249"/>
                </a:cubicBezTo>
                <a:cubicBezTo>
                  <a:pt x="618" y="248"/>
                  <a:pt x="617" y="248"/>
                  <a:pt x="617" y="248"/>
                </a:cubicBezTo>
                <a:cubicBezTo>
                  <a:pt x="617" y="248"/>
                  <a:pt x="616" y="248"/>
                  <a:pt x="616" y="248"/>
                </a:cubicBezTo>
                <a:cubicBezTo>
                  <a:pt x="615" y="248"/>
                  <a:pt x="615" y="248"/>
                  <a:pt x="615" y="248"/>
                </a:cubicBezTo>
                <a:cubicBezTo>
                  <a:pt x="614" y="247"/>
                  <a:pt x="613" y="247"/>
                  <a:pt x="612" y="248"/>
                </a:cubicBezTo>
                <a:cubicBezTo>
                  <a:pt x="612" y="248"/>
                  <a:pt x="611" y="248"/>
                  <a:pt x="611" y="248"/>
                </a:cubicBezTo>
                <a:cubicBezTo>
                  <a:pt x="610" y="248"/>
                  <a:pt x="609" y="248"/>
                  <a:pt x="608" y="248"/>
                </a:cubicBezTo>
                <a:cubicBezTo>
                  <a:pt x="608" y="248"/>
                  <a:pt x="607" y="249"/>
                  <a:pt x="607" y="250"/>
                </a:cubicBezTo>
                <a:cubicBezTo>
                  <a:pt x="607" y="251"/>
                  <a:pt x="608" y="251"/>
                  <a:pt x="609" y="251"/>
                </a:cubicBezTo>
                <a:cubicBezTo>
                  <a:pt x="609" y="252"/>
                  <a:pt x="610" y="252"/>
                  <a:pt x="611" y="252"/>
                </a:cubicBezTo>
                <a:cubicBezTo>
                  <a:pt x="611" y="252"/>
                  <a:pt x="612" y="252"/>
                  <a:pt x="613" y="253"/>
                </a:cubicBezTo>
                <a:cubicBezTo>
                  <a:pt x="613" y="253"/>
                  <a:pt x="613" y="254"/>
                  <a:pt x="613" y="255"/>
                </a:cubicBezTo>
                <a:cubicBezTo>
                  <a:pt x="613" y="256"/>
                  <a:pt x="614" y="256"/>
                  <a:pt x="614" y="257"/>
                </a:cubicBezTo>
                <a:cubicBezTo>
                  <a:pt x="613" y="257"/>
                  <a:pt x="613" y="256"/>
                  <a:pt x="612" y="256"/>
                </a:cubicBezTo>
                <a:cubicBezTo>
                  <a:pt x="612" y="255"/>
                  <a:pt x="611" y="254"/>
                  <a:pt x="611" y="254"/>
                </a:cubicBezTo>
                <a:cubicBezTo>
                  <a:pt x="610" y="253"/>
                  <a:pt x="609" y="253"/>
                  <a:pt x="608" y="253"/>
                </a:cubicBezTo>
                <a:cubicBezTo>
                  <a:pt x="608" y="252"/>
                  <a:pt x="607" y="252"/>
                  <a:pt x="607" y="253"/>
                </a:cubicBezTo>
                <a:cubicBezTo>
                  <a:pt x="606" y="253"/>
                  <a:pt x="605" y="253"/>
                  <a:pt x="605" y="254"/>
                </a:cubicBezTo>
                <a:cubicBezTo>
                  <a:pt x="604" y="254"/>
                  <a:pt x="603" y="253"/>
                  <a:pt x="602" y="254"/>
                </a:cubicBezTo>
                <a:cubicBezTo>
                  <a:pt x="602" y="255"/>
                  <a:pt x="601" y="255"/>
                  <a:pt x="602" y="256"/>
                </a:cubicBezTo>
                <a:cubicBezTo>
                  <a:pt x="602" y="256"/>
                  <a:pt x="603" y="257"/>
                  <a:pt x="604" y="257"/>
                </a:cubicBezTo>
                <a:cubicBezTo>
                  <a:pt x="605" y="258"/>
                  <a:pt x="605" y="258"/>
                  <a:pt x="606" y="258"/>
                </a:cubicBezTo>
                <a:cubicBezTo>
                  <a:pt x="607" y="259"/>
                  <a:pt x="607" y="259"/>
                  <a:pt x="608" y="259"/>
                </a:cubicBezTo>
                <a:cubicBezTo>
                  <a:pt x="609" y="259"/>
                  <a:pt x="609" y="260"/>
                  <a:pt x="610" y="260"/>
                </a:cubicBezTo>
                <a:cubicBezTo>
                  <a:pt x="611" y="260"/>
                  <a:pt x="612" y="260"/>
                  <a:pt x="614" y="259"/>
                </a:cubicBezTo>
                <a:cubicBezTo>
                  <a:pt x="614" y="259"/>
                  <a:pt x="614" y="259"/>
                  <a:pt x="615" y="259"/>
                </a:cubicBezTo>
                <a:cubicBezTo>
                  <a:pt x="615" y="259"/>
                  <a:pt x="615" y="258"/>
                  <a:pt x="615" y="258"/>
                </a:cubicBezTo>
                <a:cubicBezTo>
                  <a:pt x="615" y="258"/>
                  <a:pt x="615" y="257"/>
                  <a:pt x="616" y="257"/>
                </a:cubicBezTo>
                <a:cubicBezTo>
                  <a:pt x="616" y="257"/>
                  <a:pt x="616" y="258"/>
                  <a:pt x="617" y="258"/>
                </a:cubicBezTo>
                <a:cubicBezTo>
                  <a:pt x="617" y="259"/>
                  <a:pt x="617" y="259"/>
                  <a:pt x="618" y="260"/>
                </a:cubicBezTo>
                <a:cubicBezTo>
                  <a:pt x="619" y="260"/>
                  <a:pt x="619" y="261"/>
                  <a:pt x="619" y="261"/>
                </a:cubicBezTo>
                <a:cubicBezTo>
                  <a:pt x="620" y="261"/>
                  <a:pt x="621" y="261"/>
                  <a:pt x="621" y="261"/>
                </a:cubicBezTo>
                <a:cubicBezTo>
                  <a:pt x="620" y="262"/>
                  <a:pt x="619" y="261"/>
                  <a:pt x="619" y="261"/>
                </a:cubicBezTo>
                <a:cubicBezTo>
                  <a:pt x="618" y="261"/>
                  <a:pt x="618" y="260"/>
                  <a:pt x="617" y="260"/>
                </a:cubicBezTo>
                <a:cubicBezTo>
                  <a:pt x="617" y="260"/>
                  <a:pt x="615" y="259"/>
                  <a:pt x="615" y="260"/>
                </a:cubicBezTo>
                <a:cubicBezTo>
                  <a:pt x="614" y="261"/>
                  <a:pt x="615" y="261"/>
                  <a:pt x="614" y="262"/>
                </a:cubicBezTo>
                <a:cubicBezTo>
                  <a:pt x="613" y="262"/>
                  <a:pt x="612" y="263"/>
                  <a:pt x="613" y="263"/>
                </a:cubicBezTo>
                <a:cubicBezTo>
                  <a:pt x="613" y="264"/>
                  <a:pt x="614" y="264"/>
                  <a:pt x="615" y="264"/>
                </a:cubicBezTo>
                <a:cubicBezTo>
                  <a:pt x="616" y="264"/>
                  <a:pt x="616" y="263"/>
                  <a:pt x="617" y="263"/>
                </a:cubicBezTo>
                <a:cubicBezTo>
                  <a:pt x="618" y="264"/>
                  <a:pt x="617" y="265"/>
                  <a:pt x="618" y="265"/>
                </a:cubicBezTo>
                <a:cubicBezTo>
                  <a:pt x="618" y="266"/>
                  <a:pt x="618" y="266"/>
                  <a:pt x="618" y="267"/>
                </a:cubicBezTo>
                <a:cubicBezTo>
                  <a:pt x="619" y="267"/>
                  <a:pt x="619" y="268"/>
                  <a:pt x="618" y="268"/>
                </a:cubicBezTo>
                <a:cubicBezTo>
                  <a:pt x="618" y="268"/>
                  <a:pt x="617" y="269"/>
                  <a:pt x="616" y="268"/>
                </a:cubicBezTo>
                <a:cubicBezTo>
                  <a:pt x="616" y="268"/>
                  <a:pt x="616" y="267"/>
                  <a:pt x="616" y="267"/>
                </a:cubicBezTo>
                <a:cubicBezTo>
                  <a:pt x="616" y="267"/>
                  <a:pt x="615" y="266"/>
                  <a:pt x="615" y="266"/>
                </a:cubicBezTo>
                <a:cubicBezTo>
                  <a:pt x="615" y="266"/>
                  <a:pt x="615" y="266"/>
                  <a:pt x="615" y="265"/>
                </a:cubicBezTo>
                <a:cubicBezTo>
                  <a:pt x="615" y="265"/>
                  <a:pt x="615" y="265"/>
                  <a:pt x="615" y="265"/>
                </a:cubicBezTo>
                <a:cubicBezTo>
                  <a:pt x="614" y="266"/>
                  <a:pt x="615" y="267"/>
                  <a:pt x="615" y="267"/>
                </a:cubicBezTo>
                <a:cubicBezTo>
                  <a:pt x="615" y="268"/>
                  <a:pt x="615" y="269"/>
                  <a:pt x="615" y="269"/>
                </a:cubicBezTo>
                <a:cubicBezTo>
                  <a:pt x="616" y="270"/>
                  <a:pt x="616" y="270"/>
                  <a:pt x="615" y="271"/>
                </a:cubicBezTo>
                <a:cubicBezTo>
                  <a:pt x="615" y="271"/>
                  <a:pt x="614" y="271"/>
                  <a:pt x="613" y="271"/>
                </a:cubicBezTo>
                <a:cubicBezTo>
                  <a:pt x="613" y="271"/>
                  <a:pt x="612" y="272"/>
                  <a:pt x="611" y="271"/>
                </a:cubicBezTo>
                <a:cubicBezTo>
                  <a:pt x="611" y="271"/>
                  <a:pt x="610" y="271"/>
                  <a:pt x="610" y="271"/>
                </a:cubicBezTo>
                <a:cubicBezTo>
                  <a:pt x="610" y="272"/>
                  <a:pt x="610" y="272"/>
                  <a:pt x="610" y="272"/>
                </a:cubicBezTo>
                <a:cubicBezTo>
                  <a:pt x="610" y="273"/>
                  <a:pt x="609" y="273"/>
                  <a:pt x="608" y="272"/>
                </a:cubicBezTo>
                <a:cubicBezTo>
                  <a:pt x="608" y="272"/>
                  <a:pt x="607" y="272"/>
                  <a:pt x="607" y="271"/>
                </a:cubicBezTo>
                <a:cubicBezTo>
                  <a:pt x="606" y="271"/>
                  <a:pt x="606" y="270"/>
                  <a:pt x="605" y="270"/>
                </a:cubicBezTo>
                <a:cubicBezTo>
                  <a:pt x="604" y="269"/>
                  <a:pt x="603" y="268"/>
                  <a:pt x="602" y="267"/>
                </a:cubicBezTo>
                <a:cubicBezTo>
                  <a:pt x="600" y="266"/>
                  <a:pt x="599" y="265"/>
                  <a:pt x="598" y="264"/>
                </a:cubicBezTo>
                <a:cubicBezTo>
                  <a:pt x="597" y="264"/>
                  <a:pt x="595" y="264"/>
                  <a:pt x="593" y="264"/>
                </a:cubicBezTo>
                <a:cubicBezTo>
                  <a:pt x="592" y="265"/>
                  <a:pt x="592" y="265"/>
                  <a:pt x="591" y="266"/>
                </a:cubicBezTo>
                <a:cubicBezTo>
                  <a:pt x="590" y="266"/>
                  <a:pt x="590" y="267"/>
                  <a:pt x="590" y="268"/>
                </a:cubicBezTo>
                <a:cubicBezTo>
                  <a:pt x="590" y="268"/>
                  <a:pt x="589" y="269"/>
                  <a:pt x="589" y="270"/>
                </a:cubicBezTo>
                <a:cubicBezTo>
                  <a:pt x="588" y="271"/>
                  <a:pt x="588" y="271"/>
                  <a:pt x="589" y="272"/>
                </a:cubicBezTo>
                <a:cubicBezTo>
                  <a:pt x="589" y="273"/>
                  <a:pt x="591" y="274"/>
                  <a:pt x="592" y="275"/>
                </a:cubicBezTo>
                <a:cubicBezTo>
                  <a:pt x="592" y="275"/>
                  <a:pt x="593" y="276"/>
                  <a:pt x="594" y="276"/>
                </a:cubicBezTo>
                <a:cubicBezTo>
                  <a:pt x="595" y="277"/>
                  <a:pt x="596" y="276"/>
                  <a:pt x="596" y="277"/>
                </a:cubicBezTo>
                <a:cubicBezTo>
                  <a:pt x="597" y="277"/>
                  <a:pt x="598" y="278"/>
                  <a:pt x="598" y="279"/>
                </a:cubicBezTo>
                <a:cubicBezTo>
                  <a:pt x="598" y="279"/>
                  <a:pt x="598" y="280"/>
                  <a:pt x="598" y="281"/>
                </a:cubicBezTo>
                <a:cubicBezTo>
                  <a:pt x="599" y="281"/>
                  <a:pt x="599" y="281"/>
                  <a:pt x="600" y="281"/>
                </a:cubicBezTo>
                <a:cubicBezTo>
                  <a:pt x="601" y="281"/>
                  <a:pt x="601" y="281"/>
                  <a:pt x="602" y="282"/>
                </a:cubicBezTo>
                <a:cubicBezTo>
                  <a:pt x="603" y="283"/>
                  <a:pt x="604" y="281"/>
                  <a:pt x="605" y="281"/>
                </a:cubicBezTo>
                <a:cubicBezTo>
                  <a:pt x="606" y="280"/>
                  <a:pt x="606" y="281"/>
                  <a:pt x="607" y="281"/>
                </a:cubicBezTo>
                <a:cubicBezTo>
                  <a:pt x="608" y="282"/>
                  <a:pt x="608" y="283"/>
                  <a:pt x="608" y="283"/>
                </a:cubicBezTo>
                <a:cubicBezTo>
                  <a:pt x="609" y="284"/>
                  <a:pt x="610" y="283"/>
                  <a:pt x="611" y="283"/>
                </a:cubicBezTo>
                <a:cubicBezTo>
                  <a:pt x="612" y="283"/>
                  <a:pt x="612" y="284"/>
                  <a:pt x="613" y="284"/>
                </a:cubicBezTo>
                <a:cubicBezTo>
                  <a:pt x="613" y="285"/>
                  <a:pt x="613" y="285"/>
                  <a:pt x="614" y="286"/>
                </a:cubicBezTo>
                <a:cubicBezTo>
                  <a:pt x="614" y="286"/>
                  <a:pt x="615" y="287"/>
                  <a:pt x="615" y="287"/>
                </a:cubicBezTo>
                <a:cubicBezTo>
                  <a:pt x="616" y="289"/>
                  <a:pt x="618" y="290"/>
                  <a:pt x="620" y="290"/>
                </a:cubicBezTo>
                <a:cubicBezTo>
                  <a:pt x="620" y="291"/>
                  <a:pt x="621" y="291"/>
                  <a:pt x="622" y="291"/>
                </a:cubicBezTo>
                <a:cubicBezTo>
                  <a:pt x="623" y="292"/>
                  <a:pt x="623" y="293"/>
                  <a:pt x="623" y="294"/>
                </a:cubicBezTo>
                <a:cubicBezTo>
                  <a:pt x="624" y="295"/>
                  <a:pt x="624" y="295"/>
                  <a:pt x="624" y="296"/>
                </a:cubicBezTo>
                <a:cubicBezTo>
                  <a:pt x="625" y="296"/>
                  <a:pt x="625" y="296"/>
                  <a:pt x="626" y="296"/>
                </a:cubicBezTo>
                <a:cubicBezTo>
                  <a:pt x="626" y="296"/>
                  <a:pt x="626" y="297"/>
                  <a:pt x="626" y="297"/>
                </a:cubicBezTo>
                <a:cubicBezTo>
                  <a:pt x="627" y="298"/>
                  <a:pt x="627" y="299"/>
                  <a:pt x="627" y="300"/>
                </a:cubicBezTo>
                <a:cubicBezTo>
                  <a:pt x="627" y="300"/>
                  <a:pt x="628" y="301"/>
                  <a:pt x="629" y="301"/>
                </a:cubicBezTo>
                <a:cubicBezTo>
                  <a:pt x="629" y="301"/>
                  <a:pt x="630" y="301"/>
                  <a:pt x="631" y="301"/>
                </a:cubicBezTo>
                <a:cubicBezTo>
                  <a:pt x="632" y="301"/>
                  <a:pt x="632" y="302"/>
                  <a:pt x="633" y="303"/>
                </a:cubicBezTo>
                <a:cubicBezTo>
                  <a:pt x="634" y="303"/>
                  <a:pt x="636" y="302"/>
                  <a:pt x="637" y="301"/>
                </a:cubicBezTo>
                <a:cubicBezTo>
                  <a:pt x="637" y="301"/>
                  <a:pt x="638" y="301"/>
                  <a:pt x="638" y="300"/>
                </a:cubicBezTo>
                <a:cubicBezTo>
                  <a:pt x="639" y="300"/>
                  <a:pt x="639" y="299"/>
                  <a:pt x="640" y="299"/>
                </a:cubicBezTo>
                <a:cubicBezTo>
                  <a:pt x="640" y="299"/>
                  <a:pt x="642" y="298"/>
                  <a:pt x="642" y="297"/>
                </a:cubicBezTo>
                <a:cubicBezTo>
                  <a:pt x="642" y="297"/>
                  <a:pt x="641" y="297"/>
                  <a:pt x="641" y="297"/>
                </a:cubicBezTo>
                <a:cubicBezTo>
                  <a:pt x="640" y="297"/>
                  <a:pt x="640" y="296"/>
                  <a:pt x="640" y="296"/>
                </a:cubicBezTo>
                <a:cubicBezTo>
                  <a:pt x="640" y="296"/>
                  <a:pt x="639" y="296"/>
                  <a:pt x="639" y="295"/>
                </a:cubicBezTo>
                <a:cubicBezTo>
                  <a:pt x="639" y="295"/>
                  <a:pt x="639" y="294"/>
                  <a:pt x="639" y="294"/>
                </a:cubicBezTo>
                <a:cubicBezTo>
                  <a:pt x="639" y="294"/>
                  <a:pt x="640" y="295"/>
                  <a:pt x="640" y="295"/>
                </a:cubicBezTo>
                <a:cubicBezTo>
                  <a:pt x="640" y="295"/>
                  <a:pt x="641" y="295"/>
                  <a:pt x="641" y="295"/>
                </a:cubicBezTo>
                <a:cubicBezTo>
                  <a:pt x="642" y="296"/>
                  <a:pt x="643" y="295"/>
                  <a:pt x="643" y="295"/>
                </a:cubicBezTo>
                <a:cubicBezTo>
                  <a:pt x="644" y="295"/>
                  <a:pt x="645" y="295"/>
                  <a:pt x="646" y="295"/>
                </a:cubicBezTo>
                <a:cubicBezTo>
                  <a:pt x="647" y="295"/>
                  <a:pt x="647" y="294"/>
                  <a:pt x="648" y="294"/>
                </a:cubicBezTo>
                <a:cubicBezTo>
                  <a:pt x="649" y="293"/>
                  <a:pt x="649" y="293"/>
                  <a:pt x="650" y="293"/>
                </a:cubicBezTo>
                <a:cubicBezTo>
                  <a:pt x="651" y="292"/>
                  <a:pt x="652" y="292"/>
                  <a:pt x="654" y="292"/>
                </a:cubicBezTo>
                <a:cubicBezTo>
                  <a:pt x="655" y="291"/>
                  <a:pt x="657" y="291"/>
                  <a:pt x="659" y="290"/>
                </a:cubicBezTo>
                <a:cubicBezTo>
                  <a:pt x="659" y="289"/>
                  <a:pt x="660" y="288"/>
                  <a:pt x="660" y="287"/>
                </a:cubicBezTo>
                <a:cubicBezTo>
                  <a:pt x="660" y="287"/>
                  <a:pt x="659" y="286"/>
                  <a:pt x="659" y="285"/>
                </a:cubicBezTo>
                <a:cubicBezTo>
                  <a:pt x="660" y="285"/>
                  <a:pt x="660" y="285"/>
                  <a:pt x="660" y="284"/>
                </a:cubicBezTo>
                <a:cubicBezTo>
                  <a:pt x="660" y="284"/>
                  <a:pt x="660" y="284"/>
                  <a:pt x="659" y="283"/>
                </a:cubicBezTo>
                <a:cubicBezTo>
                  <a:pt x="659" y="283"/>
                  <a:pt x="659" y="282"/>
                  <a:pt x="658" y="281"/>
                </a:cubicBezTo>
                <a:cubicBezTo>
                  <a:pt x="658" y="281"/>
                  <a:pt x="657" y="281"/>
                  <a:pt x="657" y="281"/>
                </a:cubicBezTo>
                <a:cubicBezTo>
                  <a:pt x="656" y="281"/>
                  <a:pt x="657" y="280"/>
                  <a:pt x="657" y="280"/>
                </a:cubicBezTo>
                <a:close/>
                <a:moveTo>
                  <a:pt x="722" y="228"/>
                </a:moveTo>
                <a:cubicBezTo>
                  <a:pt x="722" y="229"/>
                  <a:pt x="723" y="229"/>
                  <a:pt x="723" y="229"/>
                </a:cubicBezTo>
                <a:cubicBezTo>
                  <a:pt x="723" y="228"/>
                  <a:pt x="724" y="228"/>
                  <a:pt x="724" y="228"/>
                </a:cubicBezTo>
                <a:cubicBezTo>
                  <a:pt x="724" y="227"/>
                  <a:pt x="725" y="227"/>
                  <a:pt x="725" y="227"/>
                </a:cubicBezTo>
                <a:cubicBezTo>
                  <a:pt x="725" y="228"/>
                  <a:pt x="725" y="228"/>
                  <a:pt x="725" y="229"/>
                </a:cubicBezTo>
                <a:cubicBezTo>
                  <a:pt x="725" y="230"/>
                  <a:pt x="727" y="230"/>
                  <a:pt x="728" y="230"/>
                </a:cubicBezTo>
                <a:cubicBezTo>
                  <a:pt x="728" y="231"/>
                  <a:pt x="729" y="231"/>
                  <a:pt x="729" y="231"/>
                </a:cubicBezTo>
                <a:cubicBezTo>
                  <a:pt x="730" y="231"/>
                  <a:pt x="731" y="231"/>
                  <a:pt x="731" y="231"/>
                </a:cubicBezTo>
                <a:cubicBezTo>
                  <a:pt x="732" y="232"/>
                  <a:pt x="732" y="232"/>
                  <a:pt x="733" y="231"/>
                </a:cubicBezTo>
                <a:cubicBezTo>
                  <a:pt x="733" y="231"/>
                  <a:pt x="733" y="231"/>
                  <a:pt x="734" y="231"/>
                </a:cubicBezTo>
                <a:cubicBezTo>
                  <a:pt x="734" y="231"/>
                  <a:pt x="735" y="232"/>
                  <a:pt x="736" y="232"/>
                </a:cubicBezTo>
                <a:cubicBezTo>
                  <a:pt x="737" y="232"/>
                  <a:pt x="738" y="232"/>
                  <a:pt x="739" y="232"/>
                </a:cubicBezTo>
                <a:cubicBezTo>
                  <a:pt x="740" y="232"/>
                  <a:pt x="741" y="231"/>
                  <a:pt x="742" y="231"/>
                </a:cubicBezTo>
                <a:cubicBezTo>
                  <a:pt x="742" y="231"/>
                  <a:pt x="744" y="231"/>
                  <a:pt x="744" y="230"/>
                </a:cubicBezTo>
                <a:cubicBezTo>
                  <a:pt x="744" y="229"/>
                  <a:pt x="743" y="229"/>
                  <a:pt x="743" y="228"/>
                </a:cubicBezTo>
                <a:cubicBezTo>
                  <a:pt x="743" y="227"/>
                  <a:pt x="744" y="229"/>
                  <a:pt x="745" y="227"/>
                </a:cubicBezTo>
                <a:cubicBezTo>
                  <a:pt x="745" y="227"/>
                  <a:pt x="744" y="225"/>
                  <a:pt x="746" y="226"/>
                </a:cubicBezTo>
                <a:cubicBezTo>
                  <a:pt x="746" y="226"/>
                  <a:pt x="746" y="228"/>
                  <a:pt x="746" y="228"/>
                </a:cubicBezTo>
                <a:cubicBezTo>
                  <a:pt x="747" y="229"/>
                  <a:pt x="747" y="229"/>
                  <a:pt x="747" y="229"/>
                </a:cubicBezTo>
                <a:cubicBezTo>
                  <a:pt x="748" y="228"/>
                  <a:pt x="748" y="228"/>
                  <a:pt x="748" y="228"/>
                </a:cubicBezTo>
                <a:cubicBezTo>
                  <a:pt x="748" y="227"/>
                  <a:pt x="748" y="226"/>
                  <a:pt x="749" y="226"/>
                </a:cubicBezTo>
                <a:cubicBezTo>
                  <a:pt x="749" y="225"/>
                  <a:pt x="750" y="225"/>
                  <a:pt x="750" y="225"/>
                </a:cubicBezTo>
                <a:cubicBezTo>
                  <a:pt x="750" y="225"/>
                  <a:pt x="750" y="224"/>
                  <a:pt x="750" y="224"/>
                </a:cubicBezTo>
                <a:cubicBezTo>
                  <a:pt x="751" y="223"/>
                  <a:pt x="751" y="226"/>
                  <a:pt x="751" y="226"/>
                </a:cubicBezTo>
                <a:cubicBezTo>
                  <a:pt x="751" y="227"/>
                  <a:pt x="752" y="228"/>
                  <a:pt x="751" y="229"/>
                </a:cubicBezTo>
                <a:cubicBezTo>
                  <a:pt x="751" y="230"/>
                  <a:pt x="750" y="231"/>
                  <a:pt x="750" y="232"/>
                </a:cubicBezTo>
                <a:cubicBezTo>
                  <a:pt x="750" y="232"/>
                  <a:pt x="751" y="233"/>
                  <a:pt x="752" y="233"/>
                </a:cubicBezTo>
                <a:cubicBezTo>
                  <a:pt x="753" y="234"/>
                  <a:pt x="753" y="233"/>
                  <a:pt x="754" y="233"/>
                </a:cubicBezTo>
                <a:cubicBezTo>
                  <a:pt x="755" y="233"/>
                  <a:pt x="756" y="233"/>
                  <a:pt x="756" y="233"/>
                </a:cubicBezTo>
                <a:cubicBezTo>
                  <a:pt x="757" y="233"/>
                  <a:pt x="757" y="233"/>
                  <a:pt x="758" y="233"/>
                </a:cubicBezTo>
                <a:cubicBezTo>
                  <a:pt x="758" y="233"/>
                  <a:pt x="758" y="233"/>
                  <a:pt x="759" y="233"/>
                </a:cubicBezTo>
                <a:cubicBezTo>
                  <a:pt x="759" y="233"/>
                  <a:pt x="759" y="233"/>
                  <a:pt x="760" y="233"/>
                </a:cubicBezTo>
                <a:cubicBezTo>
                  <a:pt x="760" y="234"/>
                  <a:pt x="761" y="234"/>
                  <a:pt x="761" y="234"/>
                </a:cubicBezTo>
                <a:cubicBezTo>
                  <a:pt x="762" y="233"/>
                  <a:pt x="762" y="233"/>
                  <a:pt x="763" y="233"/>
                </a:cubicBezTo>
                <a:cubicBezTo>
                  <a:pt x="764" y="233"/>
                  <a:pt x="764" y="233"/>
                  <a:pt x="765" y="234"/>
                </a:cubicBezTo>
                <a:cubicBezTo>
                  <a:pt x="766" y="234"/>
                  <a:pt x="766" y="234"/>
                  <a:pt x="766" y="234"/>
                </a:cubicBezTo>
                <a:cubicBezTo>
                  <a:pt x="767" y="233"/>
                  <a:pt x="767" y="233"/>
                  <a:pt x="767" y="233"/>
                </a:cubicBezTo>
                <a:cubicBezTo>
                  <a:pt x="768" y="233"/>
                  <a:pt x="769" y="233"/>
                  <a:pt x="770" y="234"/>
                </a:cubicBezTo>
                <a:cubicBezTo>
                  <a:pt x="770" y="234"/>
                  <a:pt x="771" y="233"/>
                  <a:pt x="771" y="233"/>
                </a:cubicBezTo>
                <a:cubicBezTo>
                  <a:pt x="771" y="233"/>
                  <a:pt x="772" y="234"/>
                  <a:pt x="772" y="233"/>
                </a:cubicBezTo>
                <a:cubicBezTo>
                  <a:pt x="773" y="233"/>
                  <a:pt x="771" y="232"/>
                  <a:pt x="771" y="232"/>
                </a:cubicBezTo>
                <a:cubicBezTo>
                  <a:pt x="770" y="231"/>
                  <a:pt x="772" y="231"/>
                  <a:pt x="772" y="232"/>
                </a:cubicBezTo>
                <a:cubicBezTo>
                  <a:pt x="772" y="232"/>
                  <a:pt x="772" y="233"/>
                  <a:pt x="773" y="233"/>
                </a:cubicBezTo>
                <a:cubicBezTo>
                  <a:pt x="774" y="234"/>
                  <a:pt x="775" y="234"/>
                  <a:pt x="776" y="233"/>
                </a:cubicBezTo>
                <a:cubicBezTo>
                  <a:pt x="776" y="232"/>
                  <a:pt x="776" y="231"/>
                  <a:pt x="777" y="231"/>
                </a:cubicBezTo>
                <a:cubicBezTo>
                  <a:pt x="778" y="231"/>
                  <a:pt x="777" y="232"/>
                  <a:pt x="778" y="232"/>
                </a:cubicBezTo>
                <a:cubicBezTo>
                  <a:pt x="778" y="233"/>
                  <a:pt x="779" y="233"/>
                  <a:pt x="780" y="233"/>
                </a:cubicBezTo>
                <a:cubicBezTo>
                  <a:pt x="781" y="233"/>
                  <a:pt x="783" y="233"/>
                  <a:pt x="784" y="233"/>
                </a:cubicBezTo>
                <a:cubicBezTo>
                  <a:pt x="785" y="233"/>
                  <a:pt x="785" y="232"/>
                  <a:pt x="785" y="231"/>
                </a:cubicBezTo>
                <a:cubicBezTo>
                  <a:pt x="785" y="231"/>
                  <a:pt x="784" y="229"/>
                  <a:pt x="785" y="229"/>
                </a:cubicBezTo>
                <a:cubicBezTo>
                  <a:pt x="785" y="229"/>
                  <a:pt x="786" y="231"/>
                  <a:pt x="786" y="231"/>
                </a:cubicBezTo>
                <a:cubicBezTo>
                  <a:pt x="786" y="232"/>
                  <a:pt x="786" y="232"/>
                  <a:pt x="786" y="232"/>
                </a:cubicBezTo>
                <a:cubicBezTo>
                  <a:pt x="786" y="233"/>
                  <a:pt x="787" y="233"/>
                  <a:pt x="787" y="233"/>
                </a:cubicBezTo>
                <a:cubicBezTo>
                  <a:pt x="788" y="233"/>
                  <a:pt x="789" y="233"/>
                  <a:pt x="789" y="233"/>
                </a:cubicBezTo>
                <a:cubicBezTo>
                  <a:pt x="790" y="232"/>
                  <a:pt x="790" y="231"/>
                  <a:pt x="790" y="230"/>
                </a:cubicBezTo>
                <a:cubicBezTo>
                  <a:pt x="790" y="230"/>
                  <a:pt x="790" y="229"/>
                  <a:pt x="790" y="229"/>
                </a:cubicBezTo>
                <a:cubicBezTo>
                  <a:pt x="791" y="229"/>
                  <a:pt x="791" y="230"/>
                  <a:pt x="791" y="230"/>
                </a:cubicBezTo>
                <a:cubicBezTo>
                  <a:pt x="791" y="231"/>
                  <a:pt x="791" y="233"/>
                  <a:pt x="791" y="233"/>
                </a:cubicBezTo>
                <a:cubicBezTo>
                  <a:pt x="792" y="233"/>
                  <a:pt x="793" y="232"/>
                  <a:pt x="794" y="232"/>
                </a:cubicBezTo>
                <a:cubicBezTo>
                  <a:pt x="795" y="233"/>
                  <a:pt x="795" y="233"/>
                  <a:pt x="796" y="233"/>
                </a:cubicBezTo>
                <a:cubicBezTo>
                  <a:pt x="797" y="233"/>
                  <a:pt x="797" y="232"/>
                  <a:pt x="798" y="232"/>
                </a:cubicBezTo>
                <a:cubicBezTo>
                  <a:pt x="799" y="232"/>
                  <a:pt x="799" y="233"/>
                  <a:pt x="800" y="232"/>
                </a:cubicBezTo>
                <a:cubicBezTo>
                  <a:pt x="801" y="232"/>
                  <a:pt x="801" y="232"/>
                  <a:pt x="802" y="232"/>
                </a:cubicBezTo>
                <a:cubicBezTo>
                  <a:pt x="803" y="232"/>
                  <a:pt x="804" y="232"/>
                  <a:pt x="804" y="232"/>
                </a:cubicBezTo>
                <a:cubicBezTo>
                  <a:pt x="806" y="232"/>
                  <a:pt x="808" y="231"/>
                  <a:pt x="809" y="230"/>
                </a:cubicBezTo>
                <a:cubicBezTo>
                  <a:pt x="809" y="229"/>
                  <a:pt x="809" y="229"/>
                  <a:pt x="809" y="228"/>
                </a:cubicBezTo>
                <a:cubicBezTo>
                  <a:pt x="809" y="228"/>
                  <a:pt x="809" y="227"/>
                  <a:pt x="809" y="227"/>
                </a:cubicBezTo>
                <a:cubicBezTo>
                  <a:pt x="809" y="226"/>
                  <a:pt x="809" y="226"/>
                  <a:pt x="808" y="225"/>
                </a:cubicBezTo>
                <a:cubicBezTo>
                  <a:pt x="807" y="224"/>
                  <a:pt x="807" y="223"/>
                  <a:pt x="808" y="224"/>
                </a:cubicBezTo>
                <a:cubicBezTo>
                  <a:pt x="809" y="225"/>
                  <a:pt x="809" y="225"/>
                  <a:pt x="810" y="225"/>
                </a:cubicBezTo>
                <a:cubicBezTo>
                  <a:pt x="811" y="226"/>
                  <a:pt x="812" y="225"/>
                  <a:pt x="812" y="226"/>
                </a:cubicBezTo>
                <a:cubicBezTo>
                  <a:pt x="812" y="226"/>
                  <a:pt x="813" y="227"/>
                  <a:pt x="812" y="227"/>
                </a:cubicBezTo>
                <a:cubicBezTo>
                  <a:pt x="812" y="228"/>
                  <a:pt x="812" y="228"/>
                  <a:pt x="812" y="229"/>
                </a:cubicBezTo>
                <a:cubicBezTo>
                  <a:pt x="812" y="230"/>
                  <a:pt x="814" y="231"/>
                  <a:pt x="815" y="232"/>
                </a:cubicBezTo>
                <a:cubicBezTo>
                  <a:pt x="816" y="232"/>
                  <a:pt x="817" y="233"/>
                  <a:pt x="817" y="233"/>
                </a:cubicBezTo>
                <a:cubicBezTo>
                  <a:pt x="818" y="233"/>
                  <a:pt x="819" y="232"/>
                  <a:pt x="820" y="232"/>
                </a:cubicBezTo>
                <a:cubicBezTo>
                  <a:pt x="820" y="232"/>
                  <a:pt x="821" y="233"/>
                  <a:pt x="822" y="233"/>
                </a:cubicBezTo>
                <a:cubicBezTo>
                  <a:pt x="823" y="233"/>
                  <a:pt x="824" y="233"/>
                  <a:pt x="825" y="233"/>
                </a:cubicBezTo>
                <a:cubicBezTo>
                  <a:pt x="826" y="233"/>
                  <a:pt x="827" y="234"/>
                  <a:pt x="827" y="234"/>
                </a:cubicBezTo>
                <a:cubicBezTo>
                  <a:pt x="829" y="234"/>
                  <a:pt x="831" y="233"/>
                  <a:pt x="833" y="233"/>
                </a:cubicBezTo>
                <a:cubicBezTo>
                  <a:pt x="834" y="233"/>
                  <a:pt x="835" y="233"/>
                  <a:pt x="836" y="233"/>
                </a:cubicBezTo>
                <a:cubicBezTo>
                  <a:pt x="837" y="232"/>
                  <a:pt x="837" y="232"/>
                  <a:pt x="838" y="232"/>
                </a:cubicBezTo>
                <a:cubicBezTo>
                  <a:pt x="840" y="232"/>
                  <a:pt x="843" y="232"/>
                  <a:pt x="844" y="231"/>
                </a:cubicBezTo>
                <a:cubicBezTo>
                  <a:pt x="845" y="231"/>
                  <a:pt x="846" y="231"/>
                  <a:pt x="846" y="230"/>
                </a:cubicBezTo>
                <a:cubicBezTo>
                  <a:pt x="846" y="229"/>
                  <a:pt x="846" y="229"/>
                  <a:pt x="846" y="228"/>
                </a:cubicBezTo>
                <a:cubicBezTo>
                  <a:pt x="846" y="228"/>
                  <a:pt x="846" y="228"/>
                  <a:pt x="846" y="227"/>
                </a:cubicBezTo>
                <a:cubicBezTo>
                  <a:pt x="846" y="226"/>
                  <a:pt x="847" y="226"/>
                  <a:pt x="846" y="225"/>
                </a:cubicBezTo>
                <a:cubicBezTo>
                  <a:pt x="846" y="225"/>
                  <a:pt x="845" y="225"/>
                  <a:pt x="845" y="225"/>
                </a:cubicBezTo>
                <a:cubicBezTo>
                  <a:pt x="845" y="225"/>
                  <a:pt x="845" y="224"/>
                  <a:pt x="845" y="224"/>
                </a:cubicBezTo>
                <a:cubicBezTo>
                  <a:pt x="845" y="224"/>
                  <a:pt x="844" y="223"/>
                  <a:pt x="845" y="223"/>
                </a:cubicBezTo>
                <a:cubicBezTo>
                  <a:pt x="845" y="223"/>
                  <a:pt x="846" y="223"/>
                  <a:pt x="846" y="224"/>
                </a:cubicBezTo>
                <a:cubicBezTo>
                  <a:pt x="846" y="224"/>
                  <a:pt x="846" y="224"/>
                  <a:pt x="846" y="225"/>
                </a:cubicBezTo>
                <a:cubicBezTo>
                  <a:pt x="846" y="225"/>
                  <a:pt x="847" y="225"/>
                  <a:pt x="847" y="225"/>
                </a:cubicBezTo>
                <a:cubicBezTo>
                  <a:pt x="849" y="225"/>
                  <a:pt x="850" y="224"/>
                  <a:pt x="852" y="224"/>
                </a:cubicBezTo>
                <a:cubicBezTo>
                  <a:pt x="853" y="224"/>
                  <a:pt x="853" y="224"/>
                  <a:pt x="854" y="224"/>
                </a:cubicBezTo>
                <a:cubicBezTo>
                  <a:pt x="855" y="224"/>
                  <a:pt x="855" y="224"/>
                  <a:pt x="855" y="224"/>
                </a:cubicBezTo>
                <a:cubicBezTo>
                  <a:pt x="855" y="223"/>
                  <a:pt x="854" y="223"/>
                  <a:pt x="854" y="223"/>
                </a:cubicBezTo>
                <a:cubicBezTo>
                  <a:pt x="854" y="222"/>
                  <a:pt x="853" y="222"/>
                  <a:pt x="852" y="221"/>
                </a:cubicBezTo>
                <a:cubicBezTo>
                  <a:pt x="852" y="220"/>
                  <a:pt x="851" y="220"/>
                  <a:pt x="850" y="220"/>
                </a:cubicBezTo>
                <a:cubicBezTo>
                  <a:pt x="849" y="220"/>
                  <a:pt x="849" y="221"/>
                  <a:pt x="848" y="221"/>
                </a:cubicBezTo>
                <a:cubicBezTo>
                  <a:pt x="848" y="222"/>
                  <a:pt x="847" y="222"/>
                  <a:pt x="846" y="222"/>
                </a:cubicBezTo>
                <a:cubicBezTo>
                  <a:pt x="845" y="222"/>
                  <a:pt x="845" y="221"/>
                  <a:pt x="844" y="221"/>
                </a:cubicBezTo>
                <a:cubicBezTo>
                  <a:pt x="844" y="220"/>
                  <a:pt x="844" y="221"/>
                  <a:pt x="843" y="220"/>
                </a:cubicBezTo>
                <a:cubicBezTo>
                  <a:pt x="843" y="220"/>
                  <a:pt x="844" y="220"/>
                  <a:pt x="844" y="219"/>
                </a:cubicBezTo>
                <a:cubicBezTo>
                  <a:pt x="845" y="219"/>
                  <a:pt x="845" y="219"/>
                  <a:pt x="846" y="219"/>
                </a:cubicBezTo>
                <a:cubicBezTo>
                  <a:pt x="847" y="219"/>
                  <a:pt x="847" y="218"/>
                  <a:pt x="848" y="218"/>
                </a:cubicBezTo>
                <a:cubicBezTo>
                  <a:pt x="848" y="218"/>
                  <a:pt x="849" y="218"/>
                  <a:pt x="850" y="217"/>
                </a:cubicBezTo>
                <a:cubicBezTo>
                  <a:pt x="851" y="217"/>
                  <a:pt x="851" y="216"/>
                  <a:pt x="852" y="216"/>
                </a:cubicBezTo>
                <a:cubicBezTo>
                  <a:pt x="852" y="216"/>
                  <a:pt x="852" y="216"/>
                  <a:pt x="853" y="215"/>
                </a:cubicBezTo>
                <a:cubicBezTo>
                  <a:pt x="853" y="215"/>
                  <a:pt x="854" y="215"/>
                  <a:pt x="854" y="215"/>
                </a:cubicBezTo>
                <a:cubicBezTo>
                  <a:pt x="854" y="215"/>
                  <a:pt x="854" y="214"/>
                  <a:pt x="854" y="214"/>
                </a:cubicBezTo>
                <a:cubicBezTo>
                  <a:pt x="853" y="213"/>
                  <a:pt x="852" y="211"/>
                  <a:pt x="850" y="210"/>
                </a:cubicBezTo>
                <a:cubicBezTo>
                  <a:pt x="850" y="210"/>
                  <a:pt x="845" y="211"/>
                  <a:pt x="845" y="210"/>
                </a:cubicBezTo>
                <a:cubicBezTo>
                  <a:pt x="845" y="210"/>
                  <a:pt x="848" y="210"/>
                  <a:pt x="848" y="209"/>
                </a:cubicBezTo>
                <a:cubicBezTo>
                  <a:pt x="848" y="209"/>
                  <a:pt x="847" y="208"/>
                  <a:pt x="847" y="208"/>
                </a:cubicBezTo>
                <a:cubicBezTo>
                  <a:pt x="846" y="208"/>
                  <a:pt x="846" y="208"/>
                  <a:pt x="845" y="207"/>
                </a:cubicBezTo>
                <a:cubicBezTo>
                  <a:pt x="844" y="206"/>
                  <a:pt x="842" y="206"/>
                  <a:pt x="841" y="206"/>
                </a:cubicBezTo>
                <a:cubicBezTo>
                  <a:pt x="840" y="206"/>
                  <a:pt x="839" y="206"/>
                  <a:pt x="838" y="206"/>
                </a:cubicBezTo>
                <a:cubicBezTo>
                  <a:pt x="837" y="207"/>
                  <a:pt x="837" y="207"/>
                  <a:pt x="836" y="206"/>
                </a:cubicBezTo>
                <a:cubicBezTo>
                  <a:pt x="835" y="205"/>
                  <a:pt x="835" y="205"/>
                  <a:pt x="834" y="204"/>
                </a:cubicBezTo>
                <a:cubicBezTo>
                  <a:pt x="834" y="203"/>
                  <a:pt x="833" y="203"/>
                  <a:pt x="832" y="203"/>
                </a:cubicBezTo>
                <a:cubicBezTo>
                  <a:pt x="831" y="203"/>
                  <a:pt x="830" y="202"/>
                  <a:pt x="828" y="202"/>
                </a:cubicBezTo>
                <a:cubicBezTo>
                  <a:pt x="826" y="202"/>
                  <a:pt x="824" y="202"/>
                  <a:pt x="822" y="202"/>
                </a:cubicBezTo>
                <a:cubicBezTo>
                  <a:pt x="822" y="202"/>
                  <a:pt x="821" y="202"/>
                  <a:pt x="820" y="202"/>
                </a:cubicBezTo>
                <a:cubicBezTo>
                  <a:pt x="819" y="202"/>
                  <a:pt x="818" y="203"/>
                  <a:pt x="817" y="203"/>
                </a:cubicBezTo>
                <a:cubicBezTo>
                  <a:pt x="816" y="203"/>
                  <a:pt x="815" y="203"/>
                  <a:pt x="814" y="203"/>
                </a:cubicBezTo>
                <a:cubicBezTo>
                  <a:pt x="813" y="204"/>
                  <a:pt x="812" y="204"/>
                  <a:pt x="811" y="204"/>
                </a:cubicBezTo>
                <a:cubicBezTo>
                  <a:pt x="810" y="204"/>
                  <a:pt x="810" y="204"/>
                  <a:pt x="809" y="204"/>
                </a:cubicBezTo>
                <a:cubicBezTo>
                  <a:pt x="807" y="203"/>
                  <a:pt x="806" y="203"/>
                  <a:pt x="805" y="203"/>
                </a:cubicBezTo>
                <a:cubicBezTo>
                  <a:pt x="804" y="202"/>
                  <a:pt x="803" y="202"/>
                  <a:pt x="802" y="203"/>
                </a:cubicBezTo>
                <a:cubicBezTo>
                  <a:pt x="802" y="204"/>
                  <a:pt x="801" y="204"/>
                  <a:pt x="801" y="204"/>
                </a:cubicBezTo>
                <a:cubicBezTo>
                  <a:pt x="800" y="204"/>
                  <a:pt x="800" y="204"/>
                  <a:pt x="799" y="204"/>
                </a:cubicBezTo>
                <a:cubicBezTo>
                  <a:pt x="799" y="204"/>
                  <a:pt x="799" y="205"/>
                  <a:pt x="798" y="205"/>
                </a:cubicBezTo>
                <a:cubicBezTo>
                  <a:pt x="797" y="205"/>
                  <a:pt x="796" y="205"/>
                  <a:pt x="795" y="205"/>
                </a:cubicBezTo>
                <a:cubicBezTo>
                  <a:pt x="795" y="205"/>
                  <a:pt x="795" y="206"/>
                  <a:pt x="795" y="207"/>
                </a:cubicBezTo>
                <a:cubicBezTo>
                  <a:pt x="795" y="208"/>
                  <a:pt x="793" y="207"/>
                  <a:pt x="793" y="207"/>
                </a:cubicBezTo>
                <a:cubicBezTo>
                  <a:pt x="792" y="206"/>
                  <a:pt x="791" y="206"/>
                  <a:pt x="790" y="206"/>
                </a:cubicBezTo>
                <a:cubicBezTo>
                  <a:pt x="789" y="207"/>
                  <a:pt x="789" y="207"/>
                  <a:pt x="788" y="208"/>
                </a:cubicBezTo>
                <a:cubicBezTo>
                  <a:pt x="787" y="208"/>
                  <a:pt x="786" y="208"/>
                  <a:pt x="785" y="208"/>
                </a:cubicBezTo>
                <a:cubicBezTo>
                  <a:pt x="785" y="208"/>
                  <a:pt x="784" y="208"/>
                  <a:pt x="783" y="208"/>
                </a:cubicBezTo>
                <a:cubicBezTo>
                  <a:pt x="782" y="209"/>
                  <a:pt x="782" y="209"/>
                  <a:pt x="781" y="209"/>
                </a:cubicBezTo>
                <a:cubicBezTo>
                  <a:pt x="780" y="209"/>
                  <a:pt x="779" y="209"/>
                  <a:pt x="778" y="209"/>
                </a:cubicBezTo>
                <a:cubicBezTo>
                  <a:pt x="778" y="210"/>
                  <a:pt x="779" y="210"/>
                  <a:pt x="780" y="210"/>
                </a:cubicBezTo>
                <a:cubicBezTo>
                  <a:pt x="780" y="211"/>
                  <a:pt x="780" y="211"/>
                  <a:pt x="781" y="211"/>
                </a:cubicBezTo>
                <a:cubicBezTo>
                  <a:pt x="781" y="211"/>
                  <a:pt x="782" y="211"/>
                  <a:pt x="783" y="211"/>
                </a:cubicBezTo>
                <a:cubicBezTo>
                  <a:pt x="783" y="212"/>
                  <a:pt x="781" y="212"/>
                  <a:pt x="781" y="212"/>
                </a:cubicBezTo>
                <a:cubicBezTo>
                  <a:pt x="780" y="212"/>
                  <a:pt x="780" y="212"/>
                  <a:pt x="779" y="212"/>
                </a:cubicBezTo>
                <a:cubicBezTo>
                  <a:pt x="777" y="212"/>
                  <a:pt x="774" y="213"/>
                  <a:pt x="772" y="212"/>
                </a:cubicBezTo>
                <a:cubicBezTo>
                  <a:pt x="771" y="212"/>
                  <a:pt x="771" y="211"/>
                  <a:pt x="770" y="210"/>
                </a:cubicBezTo>
                <a:cubicBezTo>
                  <a:pt x="769" y="210"/>
                  <a:pt x="769" y="209"/>
                  <a:pt x="768" y="209"/>
                </a:cubicBezTo>
                <a:cubicBezTo>
                  <a:pt x="767" y="208"/>
                  <a:pt x="765" y="207"/>
                  <a:pt x="764" y="207"/>
                </a:cubicBezTo>
                <a:cubicBezTo>
                  <a:pt x="763" y="208"/>
                  <a:pt x="762" y="208"/>
                  <a:pt x="762" y="209"/>
                </a:cubicBezTo>
                <a:cubicBezTo>
                  <a:pt x="762" y="209"/>
                  <a:pt x="762" y="210"/>
                  <a:pt x="761" y="210"/>
                </a:cubicBezTo>
                <a:cubicBezTo>
                  <a:pt x="761" y="210"/>
                  <a:pt x="760" y="210"/>
                  <a:pt x="760" y="209"/>
                </a:cubicBezTo>
                <a:cubicBezTo>
                  <a:pt x="760" y="209"/>
                  <a:pt x="760" y="208"/>
                  <a:pt x="759" y="208"/>
                </a:cubicBezTo>
                <a:cubicBezTo>
                  <a:pt x="758" y="208"/>
                  <a:pt x="758" y="209"/>
                  <a:pt x="757" y="209"/>
                </a:cubicBezTo>
                <a:cubicBezTo>
                  <a:pt x="757" y="209"/>
                  <a:pt x="756" y="210"/>
                  <a:pt x="755" y="210"/>
                </a:cubicBezTo>
                <a:cubicBezTo>
                  <a:pt x="755" y="210"/>
                  <a:pt x="754" y="210"/>
                  <a:pt x="754" y="210"/>
                </a:cubicBezTo>
                <a:cubicBezTo>
                  <a:pt x="753" y="210"/>
                  <a:pt x="752" y="209"/>
                  <a:pt x="752" y="208"/>
                </a:cubicBezTo>
                <a:cubicBezTo>
                  <a:pt x="751" y="208"/>
                  <a:pt x="751" y="207"/>
                  <a:pt x="750" y="207"/>
                </a:cubicBezTo>
                <a:cubicBezTo>
                  <a:pt x="750" y="206"/>
                  <a:pt x="749" y="206"/>
                  <a:pt x="749" y="206"/>
                </a:cubicBezTo>
                <a:cubicBezTo>
                  <a:pt x="748" y="206"/>
                  <a:pt x="748" y="206"/>
                  <a:pt x="747" y="207"/>
                </a:cubicBezTo>
                <a:cubicBezTo>
                  <a:pt x="747" y="207"/>
                  <a:pt x="746" y="207"/>
                  <a:pt x="746" y="208"/>
                </a:cubicBezTo>
                <a:cubicBezTo>
                  <a:pt x="746" y="208"/>
                  <a:pt x="747" y="208"/>
                  <a:pt x="747" y="208"/>
                </a:cubicBezTo>
                <a:cubicBezTo>
                  <a:pt x="747" y="209"/>
                  <a:pt x="746" y="209"/>
                  <a:pt x="745" y="209"/>
                </a:cubicBezTo>
                <a:cubicBezTo>
                  <a:pt x="745" y="209"/>
                  <a:pt x="744" y="209"/>
                  <a:pt x="744" y="209"/>
                </a:cubicBezTo>
                <a:cubicBezTo>
                  <a:pt x="743" y="209"/>
                  <a:pt x="742" y="209"/>
                  <a:pt x="742" y="209"/>
                </a:cubicBezTo>
                <a:cubicBezTo>
                  <a:pt x="741" y="209"/>
                  <a:pt x="737" y="209"/>
                  <a:pt x="737" y="208"/>
                </a:cubicBezTo>
                <a:cubicBezTo>
                  <a:pt x="737" y="208"/>
                  <a:pt x="737" y="208"/>
                  <a:pt x="737" y="208"/>
                </a:cubicBezTo>
                <a:cubicBezTo>
                  <a:pt x="738" y="207"/>
                  <a:pt x="738" y="207"/>
                  <a:pt x="738" y="207"/>
                </a:cubicBezTo>
                <a:cubicBezTo>
                  <a:pt x="739" y="207"/>
                  <a:pt x="739" y="207"/>
                  <a:pt x="739" y="207"/>
                </a:cubicBezTo>
                <a:cubicBezTo>
                  <a:pt x="740" y="208"/>
                  <a:pt x="740" y="207"/>
                  <a:pt x="740" y="207"/>
                </a:cubicBezTo>
                <a:cubicBezTo>
                  <a:pt x="741" y="207"/>
                  <a:pt x="742" y="207"/>
                  <a:pt x="742" y="206"/>
                </a:cubicBezTo>
                <a:cubicBezTo>
                  <a:pt x="743" y="206"/>
                  <a:pt x="743" y="205"/>
                  <a:pt x="742" y="204"/>
                </a:cubicBezTo>
                <a:cubicBezTo>
                  <a:pt x="742" y="204"/>
                  <a:pt x="741" y="203"/>
                  <a:pt x="741" y="203"/>
                </a:cubicBezTo>
                <a:cubicBezTo>
                  <a:pt x="741" y="203"/>
                  <a:pt x="740" y="203"/>
                  <a:pt x="740" y="202"/>
                </a:cubicBezTo>
                <a:cubicBezTo>
                  <a:pt x="740" y="202"/>
                  <a:pt x="739" y="202"/>
                  <a:pt x="739" y="202"/>
                </a:cubicBezTo>
                <a:cubicBezTo>
                  <a:pt x="738" y="201"/>
                  <a:pt x="738" y="202"/>
                  <a:pt x="737" y="202"/>
                </a:cubicBezTo>
                <a:cubicBezTo>
                  <a:pt x="737" y="203"/>
                  <a:pt x="736" y="203"/>
                  <a:pt x="736" y="202"/>
                </a:cubicBezTo>
                <a:cubicBezTo>
                  <a:pt x="736" y="201"/>
                  <a:pt x="736" y="200"/>
                  <a:pt x="735" y="199"/>
                </a:cubicBezTo>
                <a:cubicBezTo>
                  <a:pt x="735" y="198"/>
                  <a:pt x="734" y="198"/>
                  <a:pt x="733" y="198"/>
                </a:cubicBezTo>
                <a:cubicBezTo>
                  <a:pt x="733" y="198"/>
                  <a:pt x="733" y="199"/>
                  <a:pt x="733" y="199"/>
                </a:cubicBezTo>
                <a:cubicBezTo>
                  <a:pt x="732" y="199"/>
                  <a:pt x="732" y="199"/>
                  <a:pt x="731" y="199"/>
                </a:cubicBezTo>
                <a:cubicBezTo>
                  <a:pt x="731" y="199"/>
                  <a:pt x="730" y="199"/>
                  <a:pt x="729" y="199"/>
                </a:cubicBezTo>
                <a:cubicBezTo>
                  <a:pt x="728" y="199"/>
                  <a:pt x="728" y="198"/>
                  <a:pt x="727" y="198"/>
                </a:cubicBezTo>
                <a:cubicBezTo>
                  <a:pt x="726" y="198"/>
                  <a:pt x="725" y="198"/>
                  <a:pt x="724" y="199"/>
                </a:cubicBezTo>
                <a:cubicBezTo>
                  <a:pt x="724" y="199"/>
                  <a:pt x="724" y="200"/>
                  <a:pt x="723" y="200"/>
                </a:cubicBezTo>
                <a:cubicBezTo>
                  <a:pt x="722" y="200"/>
                  <a:pt x="722" y="201"/>
                  <a:pt x="722" y="201"/>
                </a:cubicBezTo>
                <a:cubicBezTo>
                  <a:pt x="722" y="201"/>
                  <a:pt x="721" y="202"/>
                  <a:pt x="721" y="201"/>
                </a:cubicBezTo>
                <a:cubicBezTo>
                  <a:pt x="720" y="201"/>
                  <a:pt x="722" y="200"/>
                  <a:pt x="722" y="200"/>
                </a:cubicBezTo>
                <a:cubicBezTo>
                  <a:pt x="723" y="199"/>
                  <a:pt x="723" y="199"/>
                  <a:pt x="722" y="199"/>
                </a:cubicBezTo>
                <a:cubicBezTo>
                  <a:pt x="722" y="199"/>
                  <a:pt x="721" y="199"/>
                  <a:pt x="721" y="198"/>
                </a:cubicBezTo>
                <a:cubicBezTo>
                  <a:pt x="721" y="198"/>
                  <a:pt x="721" y="198"/>
                  <a:pt x="722" y="198"/>
                </a:cubicBezTo>
                <a:cubicBezTo>
                  <a:pt x="722" y="198"/>
                  <a:pt x="722" y="198"/>
                  <a:pt x="723" y="198"/>
                </a:cubicBezTo>
                <a:cubicBezTo>
                  <a:pt x="723" y="198"/>
                  <a:pt x="724" y="198"/>
                  <a:pt x="724" y="198"/>
                </a:cubicBezTo>
                <a:cubicBezTo>
                  <a:pt x="725" y="198"/>
                  <a:pt x="725" y="198"/>
                  <a:pt x="725" y="198"/>
                </a:cubicBezTo>
                <a:cubicBezTo>
                  <a:pt x="726" y="198"/>
                  <a:pt x="726" y="198"/>
                  <a:pt x="727" y="198"/>
                </a:cubicBezTo>
                <a:cubicBezTo>
                  <a:pt x="727" y="198"/>
                  <a:pt x="727" y="198"/>
                  <a:pt x="728" y="198"/>
                </a:cubicBezTo>
                <a:cubicBezTo>
                  <a:pt x="728" y="197"/>
                  <a:pt x="729" y="197"/>
                  <a:pt x="729" y="197"/>
                </a:cubicBezTo>
                <a:cubicBezTo>
                  <a:pt x="729" y="197"/>
                  <a:pt x="730" y="197"/>
                  <a:pt x="730" y="197"/>
                </a:cubicBezTo>
                <a:cubicBezTo>
                  <a:pt x="731" y="197"/>
                  <a:pt x="731" y="197"/>
                  <a:pt x="731" y="196"/>
                </a:cubicBezTo>
                <a:cubicBezTo>
                  <a:pt x="730" y="196"/>
                  <a:pt x="729" y="196"/>
                  <a:pt x="729" y="196"/>
                </a:cubicBezTo>
                <a:cubicBezTo>
                  <a:pt x="729" y="196"/>
                  <a:pt x="728" y="196"/>
                  <a:pt x="728" y="196"/>
                </a:cubicBezTo>
                <a:cubicBezTo>
                  <a:pt x="727" y="196"/>
                  <a:pt x="726" y="196"/>
                  <a:pt x="725" y="196"/>
                </a:cubicBezTo>
                <a:cubicBezTo>
                  <a:pt x="724" y="196"/>
                  <a:pt x="723" y="196"/>
                  <a:pt x="723" y="195"/>
                </a:cubicBezTo>
                <a:cubicBezTo>
                  <a:pt x="722" y="195"/>
                  <a:pt x="721" y="195"/>
                  <a:pt x="720" y="195"/>
                </a:cubicBezTo>
                <a:cubicBezTo>
                  <a:pt x="720" y="195"/>
                  <a:pt x="718" y="195"/>
                  <a:pt x="718" y="194"/>
                </a:cubicBezTo>
                <a:cubicBezTo>
                  <a:pt x="718" y="194"/>
                  <a:pt x="719" y="194"/>
                  <a:pt x="719" y="194"/>
                </a:cubicBezTo>
                <a:cubicBezTo>
                  <a:pt x="718" y="193"/>
                  <a:pt x="718" y="193"/>
                  <a:pt x="717" y="193"/>
                </a:cubicBezTo>
                <a:cubicBezTo>
                  <a:pt x="717" y="193"/>
                  <a:pt x="716" y="193"/>
                  <a:pt x="717" y="192"/>
                </a:cubicBezTo>
                <a:cubicBezTo>
                  <a:pt x="717" y="192"/>
                  <a:pt x="717" y="193"/>
                  <a:pt x="718" y="193"/>
                </a:cubicBezTo>
                <a:cubicBezTo>
                  <a:pt x="718" y="193"/>
                  <a:pt x="719" y="193"/>
                  <a:pt x="720" y="194"/>
                </a:cubicBezTo>
                <a:cubicBezTo>
                  <a:pt x="721" y="194"/>
                  <a:pt x="722" y="194"/>
                  <a:pt x="723" y="194"/>
                </a:cubicBezTo>
                <a:cubicBezTo>
                  <a:pt x="723" y="194"/>
                  <a:pt x="724" y="194"/>
                  <a:pt x="725" y="194"/>
                </a:cubicBezTo>
                <a:cubicBezTo>
                  <a:pt x="725" y="194"/>
                  <a:pt x="726" y="194"/>
                  <a:pt x="726" y="194"/>
                </a:cubicBezTo>
                <a:cubicBezTo>
                  <a:pt x="728" y="195"/>
                  <a:pt x="729" y="194"/>
                  <a:pt x="730" y="194"/>
                </a:cubicBezTo>
                <a:cubicBezTo>
                  <a:pt x="731" y="194"/>
                  <a:pt x="732" y="194"/>
                  <a:pt x="733" y="194"/>
                </a:cubicBezTo>
                <a:cubicBezTo>
                  <a:pt x="735" y="194"/>
                  <a:pt x="737" y="195"/>
                  <a:pt x="740" y="195"/>
                </a:cubicBezTo>
                <a:cubicBezTo>
                  <a:pt x="740" y="194"/>
                  <a:pt x="741" y="194"/>
                  <a:pt x="742" y="193"/>
                </a:cubicBezTo>
                <a:cubicBezTo>
                  <a:pt x="742" y="193"/>
                  <a:pt x="742" y="192"/>
                  <a:pt x="742" y="192"/>
                </a:cubicBezTo>
                <a:cubicBezTo>
                  <a:pt x="742" y="192"/>
                  <a:pt x="741" y="192"/>
                  <a:pt x="741" y="191"/>
                </a:cubicBezTo>
                <a:cubicBezTo>
                  <a:pt x="740" y="191"/>
                  <a:pt x="739" y="191"/>
                  <a:pt x="738" y="191"/>
                </a:cubicBezTo>
                <a:cubicBezTo>
                  <a:pt x="737" y="190"/>
                  <a:pt x="736" y="191"/>
                  <a:pt x="735" y="190"/>
                </a:cubicBezTo>
                <a:cubicBezTo>
                  <a:pt x="734" y="190"/>
                  <a:pt x="733" y="190"/>
                  <a:pt x="732" y="189"/>
                </a:cubicBezTo>
                <a:cubicBezTo>
                  <a:pt x="731" y="189"/>
                  <a:pt x="730" y="189"/>
                  <a:pt x="729" y="189"/>
                </a:cubicBezTo>
                <a:cubicBezTo>
                  <a:pt x="728" y="189"/>
                  <a:pt x="725" y="189"/>
                  <a:pt x="724" y="188"/>
                </a:cubicBezTo>
                <a:cubicBezTo>
                  <a:pt x="722" y="188"/>
                  <a:pt x="721" y="188"/>
                  <a:pt x="720" y="188"/>
                </a:cubicBezTo>
                <a:cubicBezTo>
                  <a:pt x="720" y="187"/>
                  <a:pt x="719" y="187"/>
                  <a:pt x="719" y="187"/>
                </a:cubicBezTo>
                <a:cubicBezTo>
                  <a:pt x="718" y="187"/>
                  <a:pt x="717" y="187"/>
                  <a:pt x="718" y="187"/>
                </a:cubicBezTo>
                <a:cubicBezTo>
                  <a:pt x="718" y="186"/>
                  <a:pt x="718" y="187"/>
                  <a:pt x="719" y="187"/>
                </a:cubicBezTo>
                <a:cubicBezTo>
                  <a:pt x="719" y="187"/>
                  <a:pt x="720" y="187"/>
                  <a:pt x="720" y="187"/>
                </a:cubicBezTo>
                <a:cubicBezTo>
                  <a:pt x="721" y="187"/>
                  <a:pt x="722" y="187"/>
                  <a:pt x="723" y="187"/>
                </a:cubicBezTo>
                <a:cubicBezTo>
                  <a:pt x="724" y="187"/>
                  <a:pt x="725" y="188"/>
                  <a:pt x="725" y="187"/>
                </a:cubicBezTo>
                <a:cubicBezTo>
                  <a:pt x="727" y="187"/>
                  <a:pt x="724" y="185"/>
                  <a:pt x="724" y="185"/>
                </a:cubicBezTo>
                <a:cubicBezTo>
                  <a:pt x="724" y="184"/>
                  <a:pt x="723" y="183"/>
                  <a:pt x="722" y="183"/>
                </a:cubicBezTo>
                <a:cubicBezTo>
                  <a:pt x="721" y="182"/>
                  <a:pt x="719" y="182"/>
                  <a:pt x="717" y="182"/>
                </a:cubicBezTo>
                <a:cubicBezTo>
                  <a:pt x="715" y="182"/>
                  <a:pt x="713" y="182"/>
                  <a:pt x="711" y="182"/>
                </a:cubicBezTo>
                <a:cubicBezTo>
                  <a:pt x="711" y="183"/>
                  <a:pt x="710" y="183"/>
                  <a:pt x="709" y="183"/>
                </a:cubicBezTo>
                <a:cubicBezTo>
                  <a:pt x="708" y="184"/>
                  <a:pt x="707" y="184"/>
                  <a:pt x="706" y="184"/>
                </a:cubicBezTo>
                <a:cubicBezTo>
                  <a:pt x="705" y="184"/>
                  <a:pt x="705" y="184"/>
                  <a:pt x="704" y="184"/>
                </a:cubicBezTo>
                <a:cubicBezTo>
                  <a:pt x="704" y="184"/>
                  <a:pt x="704" y="184"/>
                  <a:pt x="703" y="184"/>
                </a:cubicBezTo>
                <a:cubicBezTo>
                  <a:pt x="702" y="184"/>
                  <a:pt x="702" y="184"/>
                  <a:pt x="701" y="184"/>
                </a:cubicBezTo>
                <a:cubicBezTo>
                  <a:pt x="699" y="183"/>
                  <a:pt x="698" y="184"/>
                  <a:pt x="697" y="186"/>
                </a:cubicBezTo>
                <a:cubicBezTo>
                  <a:pt x="696" y="187"/>
                  <a:pt x="694" y="188"/>
                  <a:pt x="693" y="189"/>
                </a:cubicBezTo>
                <a:cubicBezTo>
                  <a:pt x="693" y="189"/>
                  <a:pt x="692" y="188"/>
                  <a:pt x="692" y="188"/>
                </a:cubicBezTo>
                <a:cubicBezTo>
                  <a:pt x="692" y="188"/>
                  <a:pt x="693" y="188"/>
                  <a:pt x="693" y="187"/>
                </a:cubicBezTo>
                <a:cubicBezTo>
                  <a:pt x="694" y="187"/>
                  <a:pt x="695" y="187"/>
                  <a:pt x="695" y="186"/>
                </a:cubicBezTo>
                <a:cubicBezTo>
                  <a:pt x="696" y="186"/>
                  <a:pt x="696" y="185"/>
                  <a:pt x="696" y="184"/>
                </a:cubicBezTo>
                <a:cubicBezTo>
                  <a:pt x="697" y="184"/>
                  <a:pt x="698" y="183"/>
                  <a:pt x="698" y="182"/>
                </a:cubicBezTo>
                <a:cubicBezTo>
                  <a:pt x="698" y="182"/>
                  <a:pt x="697" y="181"/>
                  <a:pt x="696" y="181"/>
                </a:cubicBezTo>
                <a:cubicBezTo>
                  <a:pt x="695" y="180"/>
                  <a:pt x="695" y="180"/>
                  <a:pt x="695" y="179"/>
                </a:cubicBezTo>
                <a:cubicBezTo>
                  <a:pt x="694" y="178"/>
                  <a:pt x="692" y="177"/>
                  <a:pt x="691" y="176"/>
                </a:cubicBezTo>
                <a:cubicBezTo>
                  <a:pt x="689" y="176"/>
                  <a:pt x="688" y="176"/>
                  <a:pt x="686" y="176"/>
                </a:cubicBezTo>
                <a:cubicBezTo>
                  <a:pt x="685" y="176"/>
                  <a:pt x="684" y="176"/>
                  <a:pt x="683" y="176"/>
                </a:cubicBezTo>
                <a:cubicBezTo>
                  <a:pt x="682" y="176"/>
                  <a:pt x="681" y="175"/>
                  <a:pt x="680" y="175"/>
                </a:cubicBezTo>
                <a:cubicBezTo>
                  <a:pt x="679" y="175"/>
                  <a:pt x="679" y="175"/>
                  <a:pt x="678" y="175"/>
                </a:cubicBezTo>
                <a:cubicBezTo>
                  <a:pt x="677" y="175"/>
                  <a:pt x="676" y="174"/>
                  <a:pt x="675" y="174"/>
                </a:cubicBezTo>
                <a:cubicBezTo>
                  <a:pt x="675" y="174"/>
                  <a:pt x="674" y="174"/>
                  <a:pt x="673" y="173"/>
                </a:cubicBezTo>
                <a:cubicBezTo>
                  <a:pt x="671" y="173"/>
                  <a:pt x="669" y="173"/>
                  <a:pt x="667" y="173"/>
                </a:cubicBezTo>
                <a:cubicBezTo>
                  <a:pt x="666" y="173"/>
                  <a:pt x="664" y="173"/>
                  <a:pt x="663" y="173"/>
                </a:cubicBezTo>
                <a:cubicBezTo>
                  <a:pt x="663" y="173"/>
                  <a:pt x="662" y="173"/>
                  <a:pt x="661" y="174"/>
                </a:cubicBezTo>
                <a:cubicBezTo>
                  <a:pt x="661" y="174"/>
                  <a:pt x="661" y="174"/>
                  <a:pt x="661" y="175"/>
                </a:cubicBezTo>
                <a:cubicBezTo>
                  <a:pt x="661" y="175"/>
                  <a:pt x="660" y="175"/>
                  <a:pt x="660" y="175"/>
                </a:cubicBezTo>
                <a:cubicBezTo>
                  <a:pt x="659" y="175"/>
                  <a:pt x="658" y="175"/>
                  <a:pt x="658" y="175"/>
                </a:cubicBezTo>
                <a:cubicBezTo>
                  <a:pt x="657" y="175"/>
                  <a:pt x="657" y="174"/>
                  <a:pt x="657" y="175"/>
                </a:cubicBezTo>
                <a:cubicBezTo>
                  <a:pt x="656" y="175"/>
                  <a:pt x="657" y="175"/>
                  <a:pt x="657" y="176"/>
                </a:cubicBezTo>
                <a:cubicBezTo>
                  <a:pt x="656" y="176"/>
                  <a:pt x="654" y="176"/>
                  <a:pt x="656" y="177"/>
                </a:cubicBezTo>
                <a:cubicBezTo>
                  <a:pt x="656" y="178"/>
                  <a:pt x="657" y="178"/>
                  <a:pt x="658" y="178"/>
                </a:cubicBezTo>
                <a:cubicBezTo>
                  <a:pt x="658" y="178"/>
                  <a:pt x="658" y="178"/>
                  <a:pt x="659" y="179"/>
                </a:cubicBezTo>
                <a:cubicBezTo>
                  <a:pt x="659" y="179"/>
                  <a:pt x="660" y="179"/>
                  <a:pt x="660" y="179"/>
                </a:cubicBezTo>
                <a:cubicBezTo>
                  <a:pt x="660" y="179"/>
                  <a:pt x="661" y="179"/>
                  <a:pt x="661" y="179"/>
                </a:cubicBezTo>
                <a:cubicBezTo>
                  <a:pt x="661" y="180"/>
                  <a:pt x="660" y="179"/>
                  <a:pt x="660" y="179"/>
                </a:cubicBezTo>
                <a:cubicBezTo>
                  <a:pt x="659" y="179"/>
                  <a:pt x="659" y="180"/>
                  <a:pt x="659" y="180"/>
                </a:cubicBezTo>
                <a:cubicBezTo>
                  <a:pt x="659" y="180"/>
                  <a:pt x="660" y="180"/>
                  <a:pt x="660" y="181"/>
                </a:cubicBezTo>
                <a:cubicBezTo>
                  <a:pt x="660" y="181"/>
                  <a:pt x="658" y="181"/>
                  <a:pt x="657" y="181"/>
                </a:cubicBezTo>
                <a:cubicBezTo>
                  <a:pt x="657" y="181"/>
                  <a:pt x="656" y="180"/>
                  <a:pt x="655" y="181"/>
                </a:cubicBezTo>
                <a:cubicBezTo>
                  <a:pt x="654" y="182"/>
                  <a:pt x="657" y="182"/>
                  <a:pt x="657" y="182"/>
                </a:cubicBezTo>
                <a:cubicBezTo>
                  <a:pt x="658" y="182"/>
                  <a:pt x="659" y="182"/>
                  <a:pt x="660" y="182"/>
                </a:cubicBezTo>
                <a:cubicBezTo>
                  <a:pt x="660" y="183"/>
                  <a:pt x="661" y="183"/>
                  <a:pt x="661" y="183"/>
                </a:cubicBezTo>
                <a:cubicBezTo>
                  <a:pt x="662" y="183"/>
                  <a:pt x="662" y="183"/>
                  <a:pt x="662" y="184"/>
                </a:cubicBezTo>
                <a:cubicBezTo>
                  <a:pt x="663" y="184"/>
                  <a:pt x="663" y="184"/>
                  <a:pt x="663" y="184"/>
                </a:cubicBezTo>
                <a:cubicBezTo>
                  <a:pt x="663" y="185"/>
                  <a:pt x="664" y="185"/>
                  <a:pt x="664" y="185"/>
                </a:cubicBezTo>
                <a:cubicBezTo>
                  <a:pt x="665" y="185"/>
                  <a:pt x="665" y="185"/>
                  <a:pt x="665" y="185"/>
                </a:cubicBezTo>
                <a:cubicBezTo>
                  <a:pt x="666" y="185"/>
                  <a:pt x="669" y="184"/>
                  <a:pt x="669" y="185"/>
                </a:cubicBezTo>
                <a:cubicBezTo>
                  <a:pt x="668" y="186"/>
                  <a:pt x="667" y="185"/>
                  <a:pt x="666" y="185"/>
                </a:cubicBezTo>
                <a:cubicBezTo>
                  <a:pt x="666" y="186"/>
                  <a:pt x="666" y="186"/>
                  <a:pt x="665" y="186"/>
                </a:cubicBezTo>
                <a:cubicBezTo>
                  <a:pt x="665" y="186"/>
                  <a:pt x="664" y="186"/>
                  <a:pt x="664" y="186"/>
                </a:cubicBezTo>
                <a:cubicBezTo>
                  <a:pt x="663" y="187"/>
                  <a:pt x="665" y="188"/>
                  <a:pt x="666" y="188"/>
                </a:cubicBezTo>
                <a:cubicBezTo>
                  <a:pt x="666" y="188"/>
                  <a:pt x="666" y="189"/>
                  <a:pt x="667" y="189"/>
                </a:cubicBezTo>
                <a:cubicBezTo>
                  <a:pt x="667" y="189"/>
                  <a:pt x="667" y="189"/>
                  <a:pt x="668" y="189"/>
                </a:cubicBezTo>
                <a:cubicBezTo>
                  <a:pt x="669" y="189"/>
                  <a:pt x="670" y="189"/>
                  <a:pt x="670" y="189"/>
                </a:cubicBezTo>
                <a:cubicBezTo>
                  <a:pt x="672" y="190"/>
                  <a:pt x="673" y="190"/>
                  <a:pt x="674" y="190"/>
                </a:cubicBezTo>
                <a:cubicBezTo>
                  <a:pt x="674" y="190"/>
                  <a:pt x="676" y="190"/>
                  <a:pt x="675" y="191"/>
                </a:cubicBezTo>
                <a:cubicBezTo>
                  <a:pt x="674" y="191"/>
                  <a:pt x="674" y="191"/>
                  <a:pt x="673" y="191"/>
                </a:cubicBezTo>
                <a:cubicBezTo>
                  <a:pt x="673" y="191"/>
                  <a:pt x="672" y="192"/>
                  <a:pt x="672" y="192"/>
                </a:cubicBezTo>
                <a:cubicBezTo>
                  <a:pt x="672" y="193"/>
                  <a:pt x="674" y="192"/>
                  <a:pt x="674" y="192"/>
                </a:cubicBezTo>
                <a:cubicBezTo>
                  <a:pt x="675" y="192"/>
                  <a:pt x="676" y="192"/>
                  <a:pt x="677" y="193"/>
                </a:cubicBezTo>
                <a:cubicBezTo>
                  <a:pt x="678" y="193"/>
                  <a:pt x="678" y="192"/>
                  <a:pt x="679" y="192"/>
                </a:cubicBezTo>
                <a:cubicBezTo>
                  <a:pt x="680" y="191"/>
                  <a:pt x="681" y="192"/>
                  <a:pt x="682" y="192"/>
                </a:cubicBezTo>
                <a:cubicBezTo>
                  <a:pt x="683" y="192"/>
                  <a:pt x="684" y="192"/>
                  <a:pt x="685" y="192"/>
                </a:cubicBezTo>
                <a:cubicBezTo>
                  <a:pt x="686" y="192"/>
                  <a:pt x="687" y="192"/>
                  <a:pt x="689" y="192"/>
                </a:cubicBezTo>
                <a:cubicBezTo>
                  <a:pt x="689" y="192"/>
                  <a:pt x="690" y="192"/>
                  <a:pt x="690" y="192"/>
                </a:cubicBezTo>
                <a:cubicBezTo>
                  <a:pt x="691" y="192"/>
                  <a:pt x="691" y="191"/>
                  <a:pt x="691" y="191"/>
                </a:cubicBezTo>
                <a:cubicBezTo>
                  <a:pt x="692" y="191"/>
                  <a:pt x="692" y="191"/>
                  <a:pt x="693" y="191"/>
                </a:cubicBezTo>
                <a:cubicBezTo>
                  <a:pt x="693" y="191"/>
                  <a:pt x="694" y="191"/>
                  <a:pt x="695" y="190"/>
                </a:cubicBezTo>
                <a:cubicBezTo>
                  <a:pt x="696" y="190"/>
                  <a:pt x="696" y="189"/>
                  <a:pt x="697" y="190"/>
                </a:cubicBezTo>
                <a:cubicBezTo>
                  <a:pt x="698" y="190"/>
                  <a:pt x="698" y="190"/>
                  <a:pt x="698" y="190"/>
                </a:cubicBezTo>
                <a:cubicBezTo>
                  <a:pt x="699" y="191"/>
                  <a:pt x="699" y="191"/>
                  <a:pt x="699" y="192"/>
                </a:cubicBezTo>
                <a:cubicBezTo>
                  <a:pt x="699" y="192"/>
                  <a:pt x="700" y="193"/>
                  <a:pt x="700" y="193"/>
                </a:cubicBezTo>
                <a:cubicBezTo>
                  <a:pt x="701" y="193"/>
                  <a:pt x="702" y="194"/>
                  <a:pt x="702" y="194"/>
                </a:cubicBezTo>
                <a:cubicBezTo>
                  <a:pt x="703" y="195"/>
                  <a:pt x="703" y="195"/>
                  <a:pt x="703" y="196"/>
                </a:cubicBezTo>
                <a:cubicBezTo>
                  <a:pt x="703" y="197"/>
                  <a:pt x="703" y="198"/>
                  <a:pt x="704" y="198"/>
                </a:cubicBezTo>
                <a:cubicBezTo>
                  <a:pt x="704" y="199"/>
                  <a:pt x="705" y="199"/>
                  <a:pt x="705" y="199"/>
                </a:cubicBezTo>
                <a:cubicBezTo>
                  <a:pt x="706" y="199"/>
                  <a:pt x="706" y="200"/>
                  <a:pt x="706" y="200"/>
                </a:cubicBezTo>
                <a:cubicBezTo>
                  <a:pt x="707" y="201"/>
                  <a:pt x="709" y="201"/>
                  <a:pt x="709" y="203"/>
                </a:cubicBezTo>
                <a:cubicBezTo>
                  <a:pt x="709" y="203"/>
                  <a:pt x="709" y="203"/>
                  <a:pt x="709" y="204"/>
                </a:cubicBezTo>
                <a:cubicBezTo>
                  <a:pt x="709" y="204"/>
                  <a:pt x="709" y="205"/>
                  <a:pt x="709" y="205"/>
                </a:cubicBezTo>
                <a:cubicBezTo>
                  <a:pt x="710" y="206"/>
                  <a:pt x="710" y="206"/>
                  <a:pt x="710" y="207"/>
                </a:cubicBezTo>
                <a:cubicBezTo>
                  <a:pt x="710" y="208"/>
                  <a:pt x="710" y="208"/>
                  <a:pt x="709" y="209"/>
                </a:cubicBezTo>
                <a:cubicBezTo>
                  <a:pt x="709" y="209"/>
                  <a:pt x="708" y="209"/>
                  <a:pt x="708" y="209"/>
                </a:cubicBezTo>
                <a:cubicBezTo>
                  <a:pt x="707" y="209"/>
                  <a:pt x="707" y="210"/>
                  <a:pt x="706" y="211"/>
                </a:cubicBezTo>
                <a:cubicBezTo>
                  <a:pt x="706" y="211"/>
                  <a:pt x="706" y="211"/>
                  <a:pt x="706" y="212"/>
                </a:cubicBezTo>
                <a:cubicBezTo>
                  <a:pt x="706" y="212"/>
                  <a:pt x="706" y="212"/>
                  <a:pt x="706" y="213"/>
                </a:cubicBezTo>
                <a:cubicBezTo>
                  <a:pt x="707" y="214"/>
                  <a:pt x="705" y="214"/>
                  <a:pt x="705" y="215"/>
                </a:cubicBezTo>
                <a:cubicBezTo>
                  <a:pt x="705" y="216"/>
                  <a:pt x="705" y="217"/>
                  <a:pt x="706" y="217"/>
                </a:cubicBezTo>
                <a:cubicBezTo>
                  <a:pt x="707" y="218"/>
                  <a:pt x="708" y="219"/>
                  <a:pt x="709" y="221"/>
                </a:cubicBezTo>
                <a:cubicBezTo>
                  <a:pt x="709" y="221"/>
                  <a:pt x="709" y="222"/>
                  <a:pt x="709" y="222"/>
                </a:cubicBezTo>
                <a:cubicBezTo>
                  <a:pt x="710" y="223"/>
                  <a:pt x="710" y="224"/>
                  <a:pt x="710" y="225"/>
                </a:cubicBezTo>
                <a:cubicBezTo>
                  <a:pt x="710" y="226"/>
                  <a:pt x="711" y="226"/>
                  <a:pt x="711" y="227"/>
                </a:cubicBezTo>
                <a:cubicBezTo>
                  <a:pt x="712" y="228"/>
                  <a:pt x="712" y="229"/>
                  <a:pt x="713" y="229"/>
                </a:cubicBezTo>
                <a:cubicBezTo>
                  <a:pt x="713" y="228"/>
                  <a:pt x="714" y="228"/>
                  <a:pt x="714" y="228"/>
                </a:cubicBezTo>
                <a:cubicBezTo>
                  <a:pt x="714" y="228"/>
                  <a:pt x="715" y="229"/>
                  <a:pt x="715" y="229"/>
                </a:cubicBezTo>
                <a:cubicBezTo>
                  <a:pt x="715" y="230"/>
                  <a:pt x="716" y="230"/>
                  <a:pt x="717" y="230"/>
                </a:cubicBezTo>
                <a:cubicBezTo>
                  <a:pt x="718" y="229"/>
                  <a:pt x="718" y="228"/>
                  <a:pt x="719" y="229"/>
                </a:cubicBezTo>
                <a:cubicBezTo>
                  <a:pt x="719" y="229"/>
                  <a:pt x="719" y="230"/>
                  <a:pt x="720" y="229"/>
                </a:cubicBezTo>
                <a:cubicBezTo>
                  <a:pt x="720" y="229"/>
                  <a:pt x="720" y="228"/>
                  <a:pt x="720" y="227"/>
                </a:cubicBezTo>
                <a:cubicBezTo>
                  <a:pt x="720" y="227"/>
                  <a:pt x="721" y="227"/>
                  <a:pt x="721" y="227"/>
                </a:cubicBezTo>
                <a:cubicBezTo>
                  <a:pt x="722" y="226"/>
                  <a:pt x="722" y="226"/>
                  <a:pt x="722" y="226"/>
                </a:cubicBezTo>
                <a:cubicBezTo>
                  <a:pt x="723" y="226"/>
                  <a:pt x="724" y="225"/>
                  <a:pt x="724" y="225"/>
                </a:cubicBezTo>
                <a:cubicBezTo>
                  <a:pt x="726" y="224"/>
                  <a:pt x="724" y="226"/>
                  <a:pt x="724" y="227"/>
                </a:cubicBezTo>
                <a:cubicBezTo>
                  <a:pt x="723" y="227"/>
                  <a:pt x="722" y="228"/>
                  <a:pt x="722" y="228"/>
                </a:cubicBezTo>
                <a:close/>
                <a:moveTo>
                  <a:pt x="841" y="335"/>
                </a:moveTo>
                <a:cubicBezTo>
                  <a:pt x="841" y="335"/>
                  <a:pt x="840" y="335"/>
                  <a:pt x="840" y="335"/>
                </a:cubicBezTo>
                <a:cubicBezTo>
                  <a:pt x="840" y="335"/>
                  <a:pt x="839" y="335"/>
                  <a:pt x="839" y="335"/>
                </a:cubicBezTo>
                <a:cubicBezTo>
                  <a:pt x="838" y="336"/>
                  <a:pt x="838" y="336"/>
                  <a:pt x="839" y="336"/>
                </a:cubicBezTo>
                <a:cubicBezTo>
                  <a:pt x="840" y="336"/>
                  <a:pt x="842" y="336"/>
                  <a:pt x="843" y="336"/>
                </a:cubicBezTo>
                <a:cubicBezTo>
                  <a:pt x="844" y="337"/>
                  <a:pt x="843" y="337"/>
                  <a:pt x="843" y="338"/>
                </a:cubicBezTo>
                <a:cubicBezTo>
                  <a:pt x="844" y="338"/>
                  <a:pt x="844" y="338"/>
                  <a:pt x="844" y="337"/>
                </a:cubicBezTo>
                <a:cubicBezTo>
                  <a:pt x="844" y="337"/>
                  <a:pt x="845" y="337"/>
                  <a:pt x="845" y="337"/>
                </a:cubicBezTo>
                <a:cubicBezTo>
                  <a:pt x="845" y="337"/>
                  <a:pt x="845" y="337"/>
                  <a:pt x="845" y="337"/>
                </a:cubicBezTo>
                <a:cubicBezTo>
                  <a:pt x="845" y="338"/>
                  <a:pt x="845" y="338"/>
                  <a:pt x="845" y="338"/>
                </a:cubicBezTo>
                <a:cubicBezTo>
                  <a:pt x="845" y="338"/>
                  <a:pt x="846" y="338"/>
                  <a:pt x="846" y="339"/>
                </a:cubicBezTo>
                <a:cubicBezTo>
                  <a:pt x="846" y="339"/>
                  <a:pt x="846" y="339"/>
                  <a:pt x="847" y="339"/>
                </a:cubicBezTo>
                <a:cubicBezTo>
                  <a:pt x="847" y="339"/>
                  <a:pt x="848" y="339"/>
                  <a:pt x="848" y="339"/>
                </a:cubicBezTo>
                <a:cubicBezTo>
                  <a:pt x="848" y="339"/>
                  <a:pt x="847" y="338"/>
                  <a:pt x="847" y="338"/>
                </a:cubicBezTo>
                <a:cubicBezTo>
                  <a:pt x="847" y="338"/>
                  <a:pt x="846" y="337"/>
                  <a:pt x="846" y="337"/>
                </a:cubicBezTo>
                <a:cubicBezTo>
                  <a:pt x="847" y="336"/>
                  <a:pt x="847" y="336"/>
                  <a:pt x="848" y="336"/>
                </a:cubicBezTo>
                <a:cubicBezTo>
                  <a:pt x="848" y="336"/>
                  <a:pt x="848" y="337"/>
                  <a:pt x="849" y="337"/>
                </a:cubicBezTo>
                <a:cubicBezTo>
                  <a:pt x="849" y="337"/>
                  <a:pt x="850" y="337"/>
                  <a:pt x="850" y="336"/>
                </a:cubicBezTo>
                <a:cubicBezTo>
                  <a:pt x="851" y="336"/>
                  <a:pt x="852" y="336"/>
                  <a:pt x="853" y="336"/>
                </a:cubicBezTo>
                <a:cubicBezTo>
                  <a:pt x="854" y="336"/>
                  <a:pt x="855" y="336"/>
                  <a:pt x="855" y="335"/>
                </a:cubicBezTo>
                <a:cubicBezTo>
                  <a:pt x="856" y="334"/>
                  <a:pt x="855" y="334"/>
                  <a:pt x="854" y="333"/>
                </a:cubicBezTo>
                <a:cubicBezTo>
                  <a:pt x="854" y="333"/>
                  <a:pt x="852" y="333"/>
                  <a:pt x="852" y="333"/>
                </a:cubicBezTo>
                <a:cubicBezTo>
                  <a:pt x="850" y="333"/>
                  <a:pt x="849" y="335"/>
                  <a:pt x="847" y="334"/>
                </a:cubicBezTo>
                <a:cubicBezTo>
                  <a:pt x="847" y="334"/>
                  <a:pt x="846" y="334"/>
                  <a:pt x="845" y="333"/>
                </a:cubicBezTo>
                <a:cubicBezTo>
                  <a:pt x="844" y="333"/>
                  <a:pt x="844" y="333"/>
                  <a:pt x="843" y="333"/>
                </a:cubicBezTo>
                <a:cubicBezTo>
                  <a:pt x="842" y="333"/>
                  <a:pt x="842" y="333"/>
                  <a:pt x="842" y="334"/>
                </a:cubicBezTo>
                <a:cubicBezTo>
                  <a:pt x="842" y="334"/>
                  <a:pt x="842" y="334"/>
                  <a:pt x="842" y="335"/>
                </a:cubicBezTo>
                <a:cubicBezTo>
                  <a:pt x="842" y="335"/>
                  <a:pt x="842" y="335"/>
                  <a:pt x="841" y="335"/>
                </a:cubicBezTo>
                <a:close/>
                <a:moveTo>
                  <a:pt x="804" y="413"/>
                </a:moveTo>
                <a:cubicBezTo>
                  <a:pt x="804" y="413"/>
                  <a:pt x="804" y="413"/>
                  <a:pt x="804" y="414"/>
                </a:cubicBezTo>
                <a:cubicBezTo>
                  <a:pt x="804" y="414"/>
                  <a:pt x="804" y="414"/>
                  <a:pt x="805" y="414"/>
                </a:cubicBezTo>
                <a:cubicBezTo>
                  <a:pt x="805" y="414"/>
                  <a:pt x="805" y="414"/>
                  <a:pt x="806" y="414"/>
                </a:cubicBezTo>
                <a:cubicBezTo>
                  <a:pt x="806" y="414"/>
                  <a:pt x="806" y="413"/>
                  <a:pt x="807" y="413"/>
                </a:cubicBezTo>
                <a:cubicBezTo>
                  <a:pt x="807" y="414"/>
                  <a:pt x="808" y="414"/>
                  <a:pt x="808" y="415"/>
                </a:cubicBezTo>
                <a:cubicBezTo>
                  <a:pt x="809" y="415"/>
                  <a:pt x="809" y="415"/>
                  <a:pt x="810" y="414"/>
                </a:cubicBezTo>
                <a:cubicBezTo>
                  <a:pt x="810" y="414"/>
                  <a:pt x="811" y="413"/>
                  <a:pt x="810" y="413"/>
                </a:cubicBezTo>
                <a:cubicBezTo>
                  <a:pt x="810" y="413"/>
                  <a:pt x="809" y="413"/>
                  <a:pt x="809" y="413"/>
                </a:cubicBezTo>
                <a:cubicBezTo>
                  <a:pt x="809" y="413"/>
                  <a:pt x="808" y="413"/>
                  <a:pt x="808" y="413"/>
                </a:cubicBezTo>
                <a:cubicBezTo>
                  <a:pt x="807" y="413"/>
                  <a:pt x="807" y="413"/>
                  <a:pt x="807" y="413"/>
                </a:cubicBezTo>
                <a:cubicBezTo>
                  <a:pt x="806" y="412"/>
                  <a:pt x="807" y="412"/>
                  <a:pt x="806" y="412"/>
                </a:cubicBezTo>
                <a:cubicBezTo>
                  <a:pt x="805" y="412"/>
                  <a:pt x="805" y="413"/>
                  <a:pt x="804" y="413"/>
                </a:cubicBezTo>
                <a:close/>
                <a:moveTo>
                  <a:pt x="804" y="408"/>
                </a:moveTo>
                <a:cubicBezTo>
                  <a:pt x="803" y="408"/>
                  <a:pt x="803" y="407"/>
                  <a:pt x="803" y="407"/>
                </a:cubicBezTo>
                <a:cubicBezTo>
                  <a:pt x="802" y="406"/>
                  <a:pt x="801" y="406"/>
                  <a:pt x="800" y="406"/>
                </a:cubicBezTo>
                <a:cubicBezTo>
                  <a:pt x="799" y="405"/>
                  <a:pt x="797" y="404"/>
                  <a:pt x="797" y="405"/>
                </a:cubicBezTo>
                <a:cubicBezTo>
                  <a:pt x="797" y="406"/>
                  <a:pt x="797" y="406"/>
                  <a:pt x="797" y="406"/>
                </a:cubicBezTo>
                <a:cubicBezTo>
                  <a:pt x="797" y="407"/>
                  <a:pt x="797" y="407"/>
                  <a:pt x="797" y="407"/>
                </a:cubicBezTo>
                <a:cubicBezTo>
                  <a:pt x="797" y="408"/>
                  <a:pt x="798" y="408"/>
                  <a:pt x="798" y="408"/>
                </a:cubicBezTo>
                <a:cubicBezTo>
                  <a:pt x="799" y="408"/>
                  <a:pt x="800" y="409"/>
                  <a:pt x="800" y="409"/>
                </a:cubicBezTo>
                <a:cubicBezTo>
                  <a:pt x="800" y="410"/>
                  <a:pt x="800" y="411"/>
                  <a:pt x="801" y="412"/>
                </a:cubicBezTo>
                <a:cubicBezTo>
                  <a:pt x="801" y="413"/>
                  <a:pt x="802" y="413"/>
                  <a:pt x="802" y="413"/>
                </a:cubicBezTo>
                <a:cubicBezTo>
                  <a:pt x="803" y="412"/>
                  <a:pt x="803" y="412"/>
                  <a:pt x="803" y="412"/>
                </a:cubicBezTo>
                <a:cubicBezTo>
                  <a:pt x="804" y="412"/>
                  <a:pt x="804" y="412"/>
                  <a:pt x="804" y="412"/>
                </a:cubicBezTo>
                <a:cubicBezTo>
                  <a:pt x="805" y="412"/>
                  <a:pt x="805" y="411"/>
                  <a:pt x="805" y="411"/>
                </a:cubicBezTo>
                <a:cubicBezTo>
                  <a:pt x="805" y="411"/>
                  <a:pt x="805" y="410"/>
                  <a:pt x="806" y="410"/>
                </a:cubicBezTo>
                <a:cubicBezTo>
                  <a:pt x="806" y="409"/>
                  <a:pt x="805" y="409"/>
                  <a:pt x="804" y="408"/>
                </a:cubicBezTo>
                <a:close/>
                <a:moveTo>
                  <a:pt x="614" y="354"/>
                </a:moveTo>
                <a:cubicBezTo>
                  <a:pt x="614" y="354"/>
                  <a:pt x="615" y="355"/>
                  <a:pt x="615" y="355"/>
                </a:cubicBezTo>
                <a:cubicBezTo>
                  <a:pt x="616" y="355"/>
                  <a:pt x="616" y="355"/>
                  <a:pt x="616" y="354"/>
                </a:cubicBezTo>
                <a:cubicBezTo>
                  <a:pt x="616" y="354"/>
                  <a:pt x="616" y="354"/>
                  <a:pt x="617" y="354"/>
                </a:cubicBezTo>
                <a:cubicBezTo>
                  <a:pt x="618" y="352"/>
                  <a:pt x="618" y="351"/>
                  <a:pt x="616" y="350"/>
                </a:cubicBezTo>
                <a:cubicBezTo>
                  <a:pt x="616" y="350"/>
                  <a:pt x="615" y="349"/>
                  <a:pt x="615" y="349"/>
                </a:cubicBezTo>
                <a:cubicBezTo>
                  <a:pt x="613" y="348"/>
                  <a:pt x="612" y="351"/>
                  <a:pt x="612" y="352"/>
                </a:cubicBezTo>
                <a:cubicBezTo>
                  <a:pt x="612" y="353"/>
                  <a:pt x="613" y="353"/>
                  <a:pt x="614" y="354"/>
                </a:cubicBezTo>
                <a:close/>
                <a:moveTo>
                  <a:pt x="843" y="450"/>
                </a:moveTo>
                <a:cubicBezTo>
                  <a:pt x="844" y="450"/>
                  <a:pt x="845" y="450"/>
                  <a:pt x="845" y="449"/>
                </a:cubicBezTo>
                <a:cubicBezTo>
                  <a:pt x="846" y="448"/>
                  <a:pt x="845" y="448"/>
                  <a:pt x="844" y="448"/>
                </a:cubicBezTo>
                <a:cubicBezTo>
                  <a:pt x="843" y="448"/>
                  <a:pt x="843" y="448"/>
                  <a:pt x="842" y="448"/>
                </a:cubicBezTo>
                <a:cubicBezTo>
                  <a:pt x="841" y="447"/>
                  <a:pt x="841" y="447"/>
                  <a:pt x="840" y="446"/>
                </a:cubicBezTo>
                <a:cubicBezTo>
                  <a:pt x="839" y="446"/>
                  <a:pt x="839" y="446"/>
                  <a:pt x="838" y="445"/>
                </a:cubicBezTo>
                <a:cubicBezTo>
                  <a:pt x="838" y="444"/>
                  <a:pt x="838" y="443"/>
                  <a:pt x="837" y="443"/>
                </a:cubicBezTo>
                <a:cubicBezTo>
                  <a:pt x="837" y="442"/>
                  <a:pt x="837" y="443"/>
                  <a:pt x="836" y="443"/>
                </a:cubicBezTo>
                <a:cubicBezTo>
                  <a:pt x="836" y="444"/>
                  <a:pt x="835" y="443"/>
                  <a:pt x="835" y="443"/>
                </a:cubicBezTo>
                <a:cubicBezTo>
                  <a:pt x="834" y="443"/>
                  <a:pt x="834" y="443"/>
                  <a:pt x="833" y="443"/>
                </a:cubicBezTo>
                <a:cubicBezTo>
                  <a:pt x="833" y="443"/>
                  <a:pt x="833" y="442"/>
                  <a:pt x="832" y="442"/>
                </a:cubicBezTo>
                <a:cubicBezTo>
                  <a:pt x="832" y="442"/>
                  <a:pt x="832" y="443"/>
                  <a:pt x="831" y="443"/>
                </a:cubicBezTo>
                <a:cubicBezTo>
                  <a:pt x="831" y="444"/>
                  <a:pt x="830" y="444"/>
                  <a:pt x="829" y="444"/>
                </a:cubicBezTo>
                <a:cubicBezTo>
                  <a:pt x="829" y="444"/>
                  <a:pt x="828" y="444"/>
                  <a:pt x="827" y="444"/>
                </a:cubicBezTo>
                <a:cubicBezTo>
                  <a:pt x="827" y="444"/>
                  <a:pt x="825" y="445"/>
                  <a:pt x="825" y="444"/>
                </a:cubicBezTo>
                <a:cubicBezTo>
                  <a:pt x="825" y="443"/>
                  <a:pt x="826" y="443"/>
                  <a:pt x="827" y="443"/>
                </a:cubicBezTo>
                <a:cubicBezTo>
                  <a:pt x="827" y="443"/>
                  <a:pt x="827" y="443"/>
                  <a:pt x="828" y="443"/>
                </a:cubicBezTo>
                <a:cubicBezTo>
                  <a:pt x="828" y="443"/>
                  <a:pt x="829" y="443"/>
                  <a:pt x="829" y="442"/>
                </a:cubicBezTo>
                <a:cubicBezTo>
                  <a:pt x="830" y="442"/>
                  <a:pt x="830" y="441"/>
                  <a:pt x="829" y="440"/>
                </a:cubicBezTo>
                <a:cubicBezTo>
                  <a:pt x="829" y="440"/>
                  <a:pt x="828" y="440"/>
                  <a:pt x="828" y="440"/>
                </a:cubicBezTo>
                <a:cubicBezTo>
                  <a:pt x="827" y="440"/>
                  <a:pt x="828" y="438"/>
                  <a:pt x="827" y="438"/>
                </a:cubicBezTo>
                <a:cubicBezTo>
                  <a:pt x="827" y="437"/>
                  <a:pt x="827" y="436"/>
                  <a:pt x="827" y="436"/>
                </a:cubicBezTo>
                <a:cubicBezTo>
                  <a:pt x="826" y="435"/>
                  <a:pt x="826" y="434"/>
                  <a:pt x="825" y="434"/>
                </a:cubicBezTo>
                <a:cubicBezTo>
                  <a:pt x="825" y="433"/>
                  <a:pt x="824" y="432"/>
                  <a:pt x="823" y="432"/>
                </a:cubicBezTo>
                <a:cubicBezTo>
                  <a:pt x="823" y="432"/>
                  <a:pt x="822" y="431"/>
                  <a:pt x="821" y="431"/>
                </a:cubicBezTo>
                <a:cubicBezTo>
                  <a:pt x="820" y="430"/>
                  <a:pt x="819" y="429"/>
                  <a:pt x="817" y="429"/>
                </a:cubicBezTo>
                <a:cubicBezTo>
                  <a:pt x="816" y="428"/>
                  <a:pt x="815" y="427"/>
                  <a:pt x="813" y="426"/>
                </a:cubicBezTo>
                <a:cubicBezTo>
                  <a:pt x="811" y="425"/>
                  <a:pt x="810" y="424"/>
                  <a:pt x="808" y="423"/>
                </a:cubicBezTo>
                <a:cubicBezTo>
                  <a:pt x="807" y="423"/>
                  <a:pt x="805" y="423"/>
                  <a:pt x="803" y="423"/>
                </a:cubicBezTo>
                <a:cubicBezTo>
                  <a:pt x="802" y="422"/>
                  <a:pt x="800" y="422"/>
                  <a:pt x="799" y="420"/>
                </a:cubicBezTo>
                <a:cubicBezTo>
                  <a:pt x="799" y="420"/>
                  <a:pt x="798" y="419"/>
                  <a:pt x="798" y="418"/>
                </a:cubicBezTo>
                <a:cubicBezTo>
                  <a:pt x="798" y="418"/>
                  <a:pt x="797" y="418"/>
                  <a:pt x="797" y="418"/>
                </a:cubicBezTo>
                <a:cubicBezTo>
                  <a:pt x="796" y="417"/>
                  <a:pt x="795" y="417"/>
                  <a:pt x="795" y="418"/>
                </a:cubicBezTo>
                <a:cubicBezTo>
                  <a:pt x="794" y="419"/>
                  <a:pt x="794" y="420"/>
                  <a:pt x="794" y="420"/>
                </a:cubicBezTo>
                <a:cubicBezTo>
                  <a:pt x="793" y="421"/>
                  <a:pt x="793" y="422"/>
                  <a:pt x="792" y="422"/>
                </a:cubicBezTo>
                <a:cubicBezTo>
                  <a:pt x="791" y="422"/>
                  <a:pt x="791" y="421"/>
                  <a:pt x="790" y="420"/>
                </a:cubicBezTo>
                <a:cubicBezTo>
                  <a:pt x="790" y="419"/>
                  <a:pt x="791" y="418"/>
                  <a:pt x="790" y="418"/>
                </a:cubicBezTo>
                <a:cubicBezTo>
                  <a:pt x="789" y="418"/>
                  <a:pt x="788" y="418"/>
                  <a:pt x="788" y="417"/>
                </a:cubicBezTo>
                <a:cubicBezTo>
                  <a:pt x="787" y="416"/>
                  <a:pt x="788" y="416"/>
                  <a:pt x="789" y="416"/>
                </a:cubicBezTo>
                <a:cubicBezTo>
                  <a:pt x="790" y="415"/>
                  <a:pt x="790" y="415"/>
                  <a:pt x="790" y="414"/>
                </a:cubicBezTo>
                <a:cubicBezTo>
                  <a:pt x="790" y="413"/>
                  <a:pt x="789" y="412"/>
                  <a:pt x="789" y="412"/>
                </a:cubicBezTo>
                <a:cubicBezTo>
                  <a:pt x="788" y="411"/>
                  <a:pt x="788" y="411"/>
                  <a:pt x="787" y="411"/>
                </a:cubicBezTo>
                <a:cubicBezTo>
                  <a:pt x="787" y="411"/>
                  <a:pt x="786" y="412"/>
                  <a:pt x="785" y="411"/>
                </a:cubicBezTo>
                <a:cubicBezTo>
                  <a:pt x="784" y="411"/>
                  <a:pt x="785" y="410"/>
                  <a:pt x="785" y="409"/>
                </a:cubicBezTo>
                <a:cubicBezTo>
                  <a:pt x="785" y="408"/>
                  <a:pt x="784" y="409"/>
                  <a:pt x="783" y="409"/>
                </a:cubicBezTo>
                <a:cubicBezTo>
                  <a:pt x="782" y="409"/>
                  <a:pt x="782" y="410"/>
                  <a:pt x="781" y="411"/>
                </a:cubicBezTo>
                <a:cubicBezTo>
                  <a:pt x="780" y="411"/>
                  <a:pt x="780" y="412"/>
                  <a:pt x="780" y="413"/>
                </a:cubicBezTo>
                <a:cubicBezTo>
                  <a:pt x="779" y="414"/>
                  <a:pt x="779" y="414"/>
                  <a:pt x="778" y="415"/>
                </a:cubicBezTo>
                <a:cubicBezTo>
                  <a:pt x="778" y="416"/>
                  <a:pt x="778" y="417"/>
                  <a:pt x="778" y="418"/>
                </a:cubicBezTo>
                <a:cubicBezTo>
                  <a:pt x="778" y="419"/>
                  <a:pt x="778" y="419"/>
                  <a:pt x="778" y="420"/>
                </a:cubicBezTo>
                <a:cubicBezTo>
                  <a:pt x="777" y="421"/>
                  <a:pt x="778" y="422"/>
                  <a:pt x="778" y="423"/>
                </a:cubicBezTo>
                <a:cubicBezTo>
                  <a:pt x="778" y="424"/>
                  <a:pt x="777" y="425"/>
                  <a:pt x="777" y="426"/>
                </a:cubicBezTo>
                <a:cubicBezTo>
                  <a:pt x="777" y="427"/>
                  <a:pt x="777" y="427"/>
                  <a:pt x="777" y="428"/>
                </a:cubicBezTo>
                <a:cubicBezTo>
                  <a:pt x="777" y="428"/>
                  <a:pt x="777" y="429"/>
                  <a:pt x="777" y="429"/>
                </a:cubicBezTo>
                <a:cubicBezTo>
                  <a:pt x="776" y="430"/>
                  <a:pt x="776" y="431"/>
                  <a:pt x="775" y="431"/>
                </a:cubicBezTo>
                <a:cubicBezTo>
                  <a:pt x="775" y="432"/>
                  <a:pt x="775" y="433"/>
                  <a:pt x="775" y="434"/>
                </a:cubicBezTo>
                <a:cubicBezTo>
                  <a:pt x="775" y="435"/>
                  <a:pt x="775" y="436"/>
                  <a:pt x="775" y="437"/>
                </a:cubicBezTo>
                <a:cubicBezTo>
                  <a:pt x="775" y="438"/>
                  <a:pt x="775" y="438"/>
                  <a:pt x="775" y="439"/>
                </a:cubicBezTo>
                <a:cubicBezTo>
                  <a:pt x="775" y="441"/>
                  <a:pt x="778" y="442"/>
                  <a:pt x="776" y="443"/>
                </a:cubicBezTo>
                <a:cubicBezTo>
                  <a:pt x="775" y="444"/>
                  <a:pt x="774" y="444"/>
                  <a:pt x="773" y="444"/>
                </a:cubicBezTo>
                <a:cubicBezTo>
                  <a:pt x="773" y="445"/>
                  <a:pt x="772" y="445"/>
                  <a:pt x="771" y="445"/>
                </a:cubicBezTo>
                <a:cubicBezTo>
                  <a:pt x="769" y="446"/>
                  <a:pt x="768" y="446"/>
                  <a:pt x="767" y="448"/>
                </a:cubicBezTo>
                <a:cubicBezTo>
                  <a:pt x="767" y="449"/>
                  <a:pt x="767" y="449"/>
                  <a:pt x="766" y="450"/>
                </a:cubicBezTo>
                <a:cubicBezTo>
                  <a:pt x="766" y="450"/>
                  <a:pt x="765" y="452"/>
                  <a:pt x="766" y="452"/>
                </a:cubicBezTo>
                <a:cubicBezTo>
                  <a:pt x="766" y="452"/>
                  <a:pt x="767" y="451"/>
                  <a:pt x="768" y="451"/>
                </a:cubicBezTo>
                <a:cubicBezTo>
                  <a:pt x="769" y="451"/>
                  <a:pt x="769" y="450"/>
                  <a:pt x="770" y="450"/>
                </a:cubicBezTo>
                <a:cubicBezTo>
                  <a:pt x="771" y="450"/>
                  <a:pt x="772" y="450"/>
                  <a:pt x="773" y="450"/>
                </a:cubicBezTo>
                <a:cubicBezTo>
                  <a:pt x="774" y="450"/>
                  <a:pt x="775" y="450"/>
                  <a:pt x="776" y="450"/>
                </a:cubicBezTo>
                <a:cubicBezTo>
                  <a:pt x="777" y="450"/>
                  <a:pt x="778" y="449"/>
                  <a:pt x="778" y="449"/>
                </a:cubicBezTo>
                <a:cubicBezTo>
                  <a:pt x="779" y="449"/>
                  <a:pt x="780" y="450"/>
                  <a:pt x="780" y="449"/>
                </a:cubicBezTo>
                <a:cubicBezTo>
                  <a:pt x="781" y="449"/>
                  <a:pt x="781" y="449"/>
                  <a:pt x="782" y="449"/>
                </a:cubicBezTo>
                <a:cubicBezTo>
                  <a:pt x="783" y="449"/>
                  <a:pt x="782" y="449"/>
                  <a:pt x="782" y="450"/>
                </a:cubicBezTo>
                <a:cubicBezTo>
                  <a:pt x="782" y="450"/>
                  <a:pt x="783" y="450"/>
                  <a:pt x="783" y="451"/>
                </a:cubicBezTo>
                <a:cubicBezTo>
                  <a:pt x="784" y="451"/>
                  <a:pt x="784" y="452"/>
                  <a:pt x="784" y="453"/>
                </a:cubicBezTo>
                <a:cubicBezTo>
                  <a:pt x="784" y="454"/>
                  <a:pt x="783" y="455"/>
                  <a:pt x="783" y="455"/>
                </a:cubicBezTo>
                <a:cubicBezTo>
                  <a:pt x="783" y="456"/>
                  <a:pt x="783" y="457"/>
                  <a:pt x="784" y="457"/>
                </a:cubicBezTo>
                <a:cubicBezTo>
                  <a:pt x="785" y="458"/>
                  <a:pt x="786" y="460"/>
                  <a:pt x="787" y="460"/>
                </a:cubicBezTo>
                <a:cubicBezTo>
                  <a:pt x="788" y="461"/>
                  <a:pt x="788" y="461"/>
                  <a:pt x="789" y="460"/>
                </a:cubicBezTo>
                <a:cubicBezTo>
                  <a:pt x="790" y="460"/>
                  <a:pt x="790" y="460"/>
                  <a:pt x="791" y="460"/>
                </a:cubicBezTo>
                <a:cubicBezTo>
                  <a:pt x="791" y="459"/>
                  <a:pt x="792" y="459"/>
                  <a:pt x="792" y="459"/>
                </a:cubicBezTo>
                <a:cubicBezTo>
                  <a:pt x="793" y="458"/>
                  <a:pt x="793" y="458"/>
                  <a:pt x="794" y="457"/>
                </a:cubicBezTo>
                <a:cubicBezTo>
                  <a:pt x="795" y="457"/>
                  <a:pt x="796" y="456"/>
                  <a:pt x="797" y="455"/>
                </a:cubicBezTo>
                <a:cubicBezTo>
                  <a:pt x="797" y="454"/>
                  <a:pt x="797" y="453"/>
                  <a:pt x="799" y="452"/>
                </a:cubicBezTo>
                <a:cubicBezTo>
                  <a:pt x="799" y="452"/>
                  <a:pt x="800" y="452"/>
                  <a:pt x="801" y="452"/>
                </a:cubicBezTo>
                <a:cubicBezTo>
                  <a:pt x="802" y="451"/>
                  <a:pt x="802" y="451"/>
                  <a:pt x="803" y="450"/>
                </a:cubicBezTo>
                <a:cubicBezTo>
                  <a:pt x="803" y="450"/>
                  <a:pt x="804" y="450"/>
                  <a:pt x="805" y="449"/>
                </a:cubicBezTo>
                <a:cubicBezTo>
                  <a:pt x="806" y="449"/>
                  <a:pt x="807" y="447"/>
                  <a:pt x="807" y="446"/>
                </a:cubicBezTo>
                <a:cubicBezTo>
                  <a:pt x="806" y="446"/>
                  <a:pt x="806" y="445"/>
                  <a:pt x="806" y="445"/>
                </a:cubicBezTo>
                <a:cubicBezTo>
                  <a:pt x="806" y="444"/>
                  <a:pt x="808" y="444"/>
                  <a:pt x="809" y="443"/>
                </a:cubicBezTo>
                <a:cubicBezTo>
                  <a:pt x="809" y="443"/>
                  <a:pt x="810" y="442"/>
                  <a:pt x="811" y="442"/>
                </a:cubicBezTo>
                <a:cubicBezTo>
                  <a:pt x="811" y="442"/>
                  <a:pt x="812" y="442"/>
                  <a:pt x="812" y="442"/>
                </a:cubicBezTo>
                <a:cubicBezTo>
                  <a:pt x="812" y="442"/>
                  <a:pt x="812" y="441"/>
                  <a:pt x="813" y="441"/>
                </a:cubicBezTo>
                <a:cubicBezTo>
                  <a:pt x="814" y="441"/>
                  <a:pt x="814" y="442"/>
                  <a:pt x="813" y="443"/>
                </a:cubicBezTo>
                <a:cubicBezTo>
                  <a:pt x="813" y="443"/>
                  <a:pt x="812" y="444"/>
                  <a:pt x="812" y="445"/>
                </a:cubicBezTo>
                <a:cubicBezTo>
                  <a:pt x="813" y="445"/>
                  <a:pt x="815" y="445"/>
                  <a:pt x="816" y="445"/>
                </a:cubicBezTo>
                <a:cubicBezTo>
                  <a:pt x="817" y="445"/>
                  <a:pt x="820" y="445"/>
                  <a:pt x="820" y="446"/>
                </a:cubicBezTo>
                <a:cubicBezTo>
                  <a:pt x="821" y="447"/>
                  <a:pt x="820" y="447"/>
                  <a:pt x="820" y="448"/>
                </a:cubicBezTo>
                <a:cubicBezTo>
                  <a:pt x="819" y="448"/>
                  <a:pt x="819" y="448"/>
                  <a:pt x="819" y="449"/>
                </a:cubicBezTo>
                <a:cubicBezTo>
                  <a:pt x="819" y="449"/>
                  <a:pt x="818" y="449"/>
                  <a:pt x="818" y="449"/>
                </a:cubicBezTo>
                <a:cubicBezTo>
                  <a:pt x="821" y="450"/>
                  <a:pt x="823" y="450"/>
                  <a:pt x="825" y="451"/>
                </a:cubicBezTo>
                <a:cubicBezTo>
                  <a:pt x="827" y="451"/>
                  <a:pt x="829" y="451"/>
                  <a:pt x="830" y="452"/>
                </a:cubicBezTo>
                <a:cubicBezTo>
                  <a:pt x="832" y="453"/>
                  <a:pt x="833" y="453"/>
                  <a:pt x="834" y="454"/>
                </a:cubicBezTo>
                <a:cubicBezTo>
                  <a:pt x="835" y="454"/>
                  <a:pt x="836" y="455"/>
                  <a:pt x="836" y="454"/>
                </a:cubicBezTo>
                <a:cubicBezTo>
                  <a:pt x="837" y="454"/>
                  <a:pt x="837" y="453"/>
                  <a:pt x="838" y="453"/>
                </a:cubicBezTo>
                <a:cubicBezTo>
                  <a:pt x="839" y="452"/>
                  <a:pt x="839" y="452"/>
                  <a:pt x="840" y="451"/>
                </a:cubicBezTo>
                <a:cubicBezTo>
                  <a:pt x="841" y="451"/>
                  <a:pt x="842" y="450"/>
                  <a:pt x="843" y="450"/>
                </a:cubicBezTo>
                <a:close/>
                <a:moveTo>
                  <a:pt x="867" y="501"/>
                </a:moveTo>
                <a:cubicBezTo>
                  <a:pt x="866" y="501"/>
                  <a:pt x="865" y="502"/>
                  <a:pt x="864" y="502"/>
                </a:cubicBezTo>
                <a:cubicBezTo>
                  <a:pt x="864" y="502"/>
                  <a:pt x="863" y="502"/>
                  <a:pt x="863" y="503"/>
                </a:cubicBezTo>
                <a:cubicBezTo>
                  <a:pt x="864" y="503"/>
                  <a:pt x="864" y="502"/>
                  <a:pt x="865" y="502"/>
                </a:cubicBezTo>
                <a:cubicBezTo>
                  <a:pt x="866" y="502"/>
                  <a:pt x="867" y="502"/>
                  <a:pt x="867" y="501"/>
                </a:cubicBezTo>
                <a:close/>
                <a:moveTo>
                  <a:pt x="791" y="413"/>
                </a:moveTo>
                <a:cubicBezTo>
                  <a:pt x="792" y="414"/>
                  <a:pt x="792" y="414"/>
                  <a:pt x="793" y="415"/>
                </a:cubicBezTo>
                <a:cubicBezTo>
                  <a:pt x="793" y="416"/>
                  <a:pt x="793" y="417"/>
                  <a:pt x="794" y="416"/>
                </a:cubicBezTo>
                <a:cubicBezTo>
                  <a:pt x="795" y="416"/>
                  <a:pt x="795" y="415"/>
                  <a:pt x="795" y="414"/>
                </a:cubicBezTo>
                <a:cubicBezTo>
                  <a:pt x="795" y="413"/>
                  <a:pt x="794" y="411"/>
                  <a:pt x="793" y="410"/>
                </a:cubicBezTo>
                <a:cubicBezTo>
                  <a:pt x="793" y="409"/>
                  <a:pt x="792" y="408"/>
                  <a:pt x="792" y="408"/>
                </a:cubicBezTo>
                <a:cubicBezTo>
                  <a:pt x="791" y="408"/>
                  <a:pt x="790" y="407"/>
                  <a:pt x="790" y="407"/>
                </a:cubicBezTo>
                <a:cubicBezTo>
                  <a:pt x="789" y="407"/>
                  <a:pt x="788" y="407"/>
                  <a:pt x="788" y="407"/>
                </a:cubicBezTo>
                <a:cubicBezTo>
                  <a:pt x="788" y="408"/>
                  <a:pt x="788" y="409"/>
                  <a:pt x="788" y="409"/>
                </a:cubicBezTo>
                <a:cubicBezTo>
                  <a:pt x="788" y="410"/>
                  <a:pt x="789" y="411"/>
                  <a:pt x="789" y="412"/>
                </a:cubicBezTo>
                <a:cubicBezTo>
                  <a:pt x="789" y="412"/>
                  <a:pt x="790" y="413"/>
                  <a:pt x="791" y="413"/>
                </a:cubicBezTo>
                <a:close/>
                <a:moveTo>
                  <a:pt x="864" y="339"/>
                </a:moveTo>
                <a:cubicBezTo>
                  <a:pt x="864" y="339"/>
                  <a:pt x="865" y="339"/>
                  <a:pt x="865" y="339"/>
                </a:cubicBezTo>
                <a:cubicBezTo>
                  <a:pt x="866" y="339"/>
                  <a:pt x="866" y="338"/>
                  <a:pt x="867" y="338"/>
                </a:cubicBezTo>
                <a:cubicBezTo>
                  <a:pt x="868" y="338"/>
                  <a:pt x="868" y="338"/>
                  <a:pt x="868" y="338"/>
                </a:cubicBezTo>
                <a:cubicBezTo>
                  <a:pt x="869" y="338"/>
                  <a:pt x="869" y="337"/>
                  <a:pt x="869" y="337"/>
                </a:cubicBezTo>
                <a:cubicBezTo>
                  <a:pt x="870" y="337"/>
                  <a:pt x="870" y="337"/>
                  <a:pt x="871" y="337"/>
                </a:cubicBezTo>
                <a:cubicBezTo>
                  <a:pt x="871" y="336"/>
                  <a:pt x="871" y="336"/>
                  <a:pt x="871" y="335"/>
                </a:cubicBezTo>
                <a:cubicBezTo>
                  <a:pt x="870" y="335"/>
                  <a:pt x="870" y="335"/>
                  <a:pt x="870" y="335"/>
                </a:cubicBezTo>
                <a:cubicBezTo>
                  <a:pt x="870" y="335"/>
                  <a:pt x="870" y="334"/>
                  <a:pt x="869" y="334"/>
                </a:cubicBezTo>
                <a:cubicBezTo>
                  <a:pt x="869" y="334"/>
                  <a:pt x="868" y="334"/>
                  <a:pt x="868" y="334"/>
                </a:cubicBezTo>
                <a:cubicBezTo>
                  <a:pt x="867" y="335"/>
                  <a:pt x="866" y="336"/>
                  <a:pt x="865" y="337"/>
                </a:cubicBezTo>
                <a:cubicBezTo>
                  <a:pt x="864" y="337"/>
                  <a:pt x="863" y="338"/>
                  <a:pt x="862" y="339"/>
                </a:cubicBezTo>
                <a:cubicBezTo>
                  <a:pt x="862" y="339"/>
                  <a:pt x="861" y="339"/>
                  <a:pt x="860" y="340"/>
                </a:cubicBezTo>
                <a:cubicBezTo>
                  <a:pt x="860" y="341"/>
                  <a:pt x="862" y="340"/>
                  <a:pt x="863" y="339"/>
                </a:cubicBezTo>
                <a:cubicBezTo>
                  <a:pt x="863" y="339"/>
                  <a:pt x="863" y="339"/>
                  <a:pt x="864" y="339"/>
                </a:cubicBezTo>
                <a:close/>
                <a:moveTo>
                  <a:pt x="864" y="346"/>
                </a:moveTo>
                <a:cubicBezTo>
                  <a:pt x="865" y="345"/>
                  <a:pt x="865" y="345"/>
                  <a:pt x="866" y="345"/>
                </a:cubicBezTo>
                <a:cubicBezTo>
                  <a:pt x="867" y="345"/>
                  <a:pt x="867" y="344"/>
                  <a:pt x="868" y="343"/>
                </a:cubicBezTo>
                <a:cubicBezTo>
                  <a:pt x="868" y="343"/>
                  <a:pt x="867" y="342"/>
                  <a:pt x="866" y="342"/>
                </a:cubicBezTo>
                <a:cubicBezTo>
                  <a:pt x="866" y="341"/>
                  <a:pt x="865" y="342"/>
                  <a:pt x="864" y="342"/>
                </a:cubicBezTo>
                <a:cubicBezTo>
                  <a:pt x="863" y="343"/>
                  <a:pt x="862" y="345"/>
                  <a:pt x="861" y="346"/>
                </a:cubicBezTo>
                <a:cubicBezTo>
                  <a:pt x="860" y="346"/>
                  <a:pt x="859" y="347"/>
                  <a:pt x="858" y="348"/>
                </a:cubicBezTo>
                <a:cubicBezTo>
                  <a:pt x="858" y="349"/>
                  <a:pt x="857" y="349"/>
                  <a:pt x="856" y="350"/>
                </a:cubicBezTo>
                <a:cubicBezTo>
                  <a:pt x="856" y="350"/>
                  <a:pt x="854" y="351"/>
                  <a:pt x="854" y="352"/>
                </a:cubicBezTo>
                <a:cubicBezTo>
                  <a:pt x="854" y="354"/>
                  <a:pt x="858" y="351"/>
                  <a:pt x="859" y="351"/>
                </a:cubicBezTo>
                <a:cubicBezTo>
                  <a:pt x="859" y="351"/>
                  <a:pt x="860" y="351"/>
                  <a:pt x="861" y="351"/>
                </a:cubicBezTo>
                <a:cubicBezTo>
                  <a:pt x="862" y="350"/>
                  <a:pt x="863" y="349"/>
                  <a:pt x="863" y="349"/>
                </a:cubicBezTo>
                <a:cubicBezTo>
                  <a:pt x="864" y="348"/>
                  <a:pt x="864" y="347"/>
                  <a:pt x="864" y="346"/>
                </a:cubicBezTo>
                <a:close/>
                <a:moveTo>
                  <a:pt x="861" y="579"/>
                </a:moveTo>
                <a:cubicBezTo>
                  <a:pt x="862" y="578"/>
                  <a:pt x="863" y="579"/>
                  <a:pt x="863" y="578"/>
                </a:cubicBezTo>
                <a:cubicBezTo>
                  <a:pt x="863" y="577"/>
                  <a:pt x="863" y="576"/>
                  <a:pt x="863" y="575"/>
                </a:cubicBezTo>
                <a:cubicBezTo>
                  <a:pt x="863" y="574"/>
                  <a:pt x="862" y="574"/>
                  <a:pt x="862" y="574"/>
                </a:cubicBezTo>
                <a:cubicBezTo>
                  <a:pt x="861" y="575"/>
                  <a:pt x="861" y="576"/>
                  <a:pt x="861" y="576"/>
                </a:cubicBezTo>
                <a:cubicBezTo>
                  <a:pt x="861" y="577"/>
                  <a:pt x="860" y="577"/>
                  <a:pt x="860" y="578"/>
                </a:cubicBezTo>
                <a:cubicBezTo>
                  <a:pt x="860" y="579"/>
                  <a:pt x="860" y="579"/>
                  <a:pt x="860" y="579"/>
                </a:cubicBezTo>
                <a:cubicBezTo>
                  <a:pt x="861" y="579"/>
                  <a:pt x="861" y="579"/>
                  <a:pt x="861" y="579"/>
                </a:cubicBezTo>
                <a:close/>
                <a:moveTo>
                  <a:pt x="846" y="484"/>
                </a:moveTo>
                <a:cubicBezTo>
                  <a:pt x="846" y="485"/>
                  <a:pt x="846" y="486"/>
                  <a:pt x="847" y="486"/>
                </a:cubicBezTo>
                <a:cubicBezTo>
                  <a:pt x="847" y="487"/>
                  <a:pt x="848" y="487"/>
                  <a:pt x="849" y="487"/>
                </a:cubicBezTo>
                <a:cubicBezTo>
                  <a:pt x="849" y="488"/>
                  <a:pt x="849" y="488"/>
                  <a:pt x="849" y="488"/>
                </a:cubicBezTo>
                <a:cubicBezTo>
                  <a:pt x="850" y="489"/>
                  <a:pt x="851" y="487"/>
                  <a:pt x="851" y="487"/>
                </a:cubicBezTo>
                <a:cubicBezTo>
                  <a:pt x="851" y="487"/>
                  <a:pt x="852" y="487"/>
                  <a:pt x="852" y="486"/>
                </a:cubicBezTo>
                <a:cubicBezTo>
                  <a:pt x="852" y="486"/>
                  <a:pt x="852" y="485"/>
                  <a:pt x="852" y="485"/>
                </a:cubicBezTo>
                <a:cubicBezTo>
                  <a:pt x="853" y="483"/>
                  <a:pt x="853" y="482"/>
                  <a:pt x="854" y="481"/>
                </a:cubicBezTo>
                <a:cubicBezTo>
                  <a:pt x="855" y="480"/>
                  <a:pt x="855" y="480"/>
                  <a:pt x="855" y="480"/>
                </a:cubicBezTo>
                <a:cubicBezTo>
                  <a:pt x="855" y="480"/>
                  <a:pt x="855" y="479"/>
                  <a:pt x="856" y="479"/>
                </a:cubicBezTo>
                <a:cubicBezTo>
                  <a:pt x="856" y="478"/>
                  <a:pt x="856" y="477"/>
                  <a:pt x="856" y="476"/>
                </a:cubicBezTo>
                <a:cubicBezTo>
                  <a:pt x="855" y="475"/>
                  <a:pt x="855" y="475"/>
                  <a:pt x="854" y="474"/>
                </a:cubicBezTo>
                <a:cubicBezTo>
                  <a:pt x="854" y="474"/>
                  <a:pt x="853" y="473"/>
                  <a:pt x="852" y="473"/>
                </a:cubicBezTo>
                <a:cubicBezTo>
                  <a:pt x="851" y="473"/>
                  <a:pt x="851" y="474"/>
                  <a:pt x="850" y="474"/>
                </a:cubicBezTo>
                <a:cubicBezTo>
                  <a:pt x="850" y="473"/>
                  <a:pt x="850" y="473"/>
                  <a:pt x="849" y="473"/>
                </a:cubicBezTo>
                <a:cubicBezTo>
                  <a:pt x="849" y="473"/>
                  <a:pt x="848" y="473"/>
                  <a:pt x="848" y="473"/>
                </a:cubicBezTo>
                <a:cubicBezTo>
                  <a:pt x="848" y="474"/>
                  <a:pt x="847" y="475"/>
                  <a:pt x="847" y="475"/>
                </a:cubicBezTo>
                <a:cubicBezTo>
                  <a:pt x="846" y="476"/>
                  <a:pt x="845" y="477"/>
                  <a:pt x="845" y="477"/>
                </a:cubicBezTo>
                <a:cubicBezTo>
                  <a:pt x="845" y="478"/>
                  <a:pt x="845" y="479"/>
                  <a:pt x="845" y="480"/>
                </a:cubicBezTo>
                <a:cubicBezTo>
                  <a:pt x="844" y="481"/>
                  <a:pt x="844" y="482"/>
                  <a:pt x="844" y="482"/>
                </a:cubicBezTo>
                <a:cubicBezTo>
                  <a:pt x="845" y="483"/>
                  <a:pt x="845" y="484"/>
                  <a:pt x="846" y="484"/>
                </a:cubicBezTo>
                <a:close/>
                <a:moveTo>
                  <a:pt x="847" y="578"/>
                </a:moveTo>
                <a:cubicBezTo>
                  <a:pt x="848" y="578"/>
                  <a:pt x="848" y="578"/>
                  <a:pt x="848" y="577"/>
                </a:cubicBezTo>
                <a:cubicBezTo>
                  <a:pt x="848" y="577"/>
                  <a:pt x="848" y="577"/>
                  <a:pt x="848" y="577"/>
                </a:cubicBezTo>
                <a:cubicBezTo>
                  <a:pt x="849" y="576"/>
                  <a:pt x="850" y="576"/>
                  <a:pt x="850" y="575"/>
                </a:cubicBezTo>
                <a:cubicBezTo>
                  <a:pt x="849" y="575"/>
                  <a:pt x="847" y="576"/>
                  <a:pt x="847" y="577"/>
                </a:cubicBezTo>
                <a:cubicBezTo>
                  <a:pt x="847" y="577"/>
                  <a:pt x="847" y="579"/>
                  <a:pt x="847" y="578"/>
                </a:cubicBezTo>
                <a:close/>
                <a:moveTo>
                  <a:pt x="768" y="371"/>
                </a:moveTo>
                <a:cubicBezTo>
                  <a:pt x="768" y="372"/>
                  <a:pt x="769" y="373"/>
                  <a:pt x="769" y="373"/>
                </a:cubicBezTo>
                <a:cubicBezTo>
                  <a:pt x="770" y="373"/>
                  <a:pt x="770" y="373"/>
                  <a:pt x="771" y="374"/>
                </a:cubicBezTo>
                <a:cubicBezTo>
                  <a:pt x="771" y="374"/>
                  <a:pt x="771" y="374"/>
                  <a:pt x="771" y="375"/>
                </a:cubicBezTo>
                <a:cubicBezTo>
                  <a:pt x="772" y="375"/>
                  <a:pt x="773" y="374"/>
                  <a:pt x="773" y="374"/>
                </a:cubicBezTo>
                <a:cubicBezTo>
                  <a:pt x="774" y="373"/>
                  <a:pt x="774" y="373"/>
                  <a:pt x="774" y="372"/>
                </a:cubicBezTo>
                <a:cubicBezTo>
                  <a:pt x="775" y="372"/>
                  <a:pt x="774" y="371"/>
                  <a:pt x="774" y="370"/>
                </a:cubicBezTo>
                <a:cubicBezTo>
                  <a:pt x="774" y="369"/>
                  <a:pt x="774" y="368"/>
                  <a:pt x="774" y="367"/>
                </a:cubicBezTo>
                <a:cubicBezTo>
                  <a:pt x="774" y="366"/>
                  <a:pt x="774" y="366"/>
                  <a:pt x="773" y="365"/>
                </a:cubicBezTo>
                <a:cubicBezTo>
                  <a:pt x="773" y="365"/>
                  <a:pt x="773" y="364"/>
                  <a:pt x="773" y="364"/>
                </a:cubicBezTo>
                <a:cubicBezTo>
                  <a:pt x="773" y="364"/>
                  <a:pt x="773" y="363"/>
                  <a:pt x="772" y="363"/>
                </a:cubicBezTo>
                <a:cubicBezTo>
                  <a:pt x="771" y="363"/>
                  <a:pt x="771" y="364"/>
                  <a:pt x="770" y="364"/>
                </a:cubicBezTo>
                <a:cubicBezTo>
                  <a:pt x="770" y="365"/>
                  <a:pt x="770" y="365"/>
                  <a:pt x="769" y="366"/>
                </a:cubicBezTo>
                <a:cubicBezTo>
                  <a:pt x="769" y="366"/>
                  <a:pt x="768" y="366"/>
                  <a:pt x="768" y="367"/>
                </a:cubicBezTo>
                <a:cubicBezTo>
                  <a:pt x="768" y="367"/>
                  <a:pt x="768" y="367"/>
                  <a:pt x="768" y="368"/>
                </a:cubicBezTo>
                <a:cubicBezTo>
                  <a:pt x="768" y="368"/>
                  <a:pt x="768" y="368"/>
                  <a:pt x="768" y="369"/>
                </a:cubicBezTo>
                <a:cubicBezTo>
                  <a:pt x="769" y="369"/>
                  <a:pt x="769" y="369"/>
                  <a:pt x="769" y="369"/>
                </a:cubicBezTo>
                <a:cubicBezTo>
                  <a:pt x="769" y="370"/>
                  <a:pt x="769" y="370"/>
                  <a:pt x="769" y="370"/>
                </a:cubicBezTo>
                <a:cubicBezTo>
                  <a:pt x="768" y="371"/>
                  <a:pt x="768" y="371"/>
                  <a:pt x="768" y="371"/>
                </a:cubicBezTo>
                <a:close/>
                <a:moveTo>
                  <a:pt x="559" y="249"/>
                </a:moveTo>
                <a:cubicBezTo>
                  <a:pt x="558" y="249"/>
                  <a:pt x="558" y="249"/>
                  <a:pt x="557" y="249"/>
                </a:cubicBezTo>
                <a:cubicBezTo>
                  <a:pt x="556" y="249"/>
                  <a:pt x="556" y="249"/>
                  <a:pt x="555" y="249"/>
                </a:cubicBezTo>
                <a:cubicBezTo>
                  <a:pt x="555" y="250"/>
                  <a:pt x="554" y="250"/>
                  <a:pt x="554" y="250"/>
                </a:cubicBezTo>
                <a:cubicBezTo>
                  <a:pt x="553" y="250"/>
                  <a:pt x="553" y="250"/>
                  <a:pt x="552" y="250"/>
                </a:cubicBezTo>
                <a:cubicBezTo>
                  <a:pt x="552" y="250"/>
                  <a:pt x="551" y="250"/>
                  <a:pt x="550" y="250"/>
                </a:cubicBezTo>
                <a:cubicBezTo>
                  <a:pt x="548" y="250"/>
                  <a:pt x="546" y="250"/>
                  <a:pt x="544" y="250"/>
                </a:cubicBezTo>
                <a:cubicBezTo>
                  <a:pt x="543" y="251"/>
                  <a:pt x="543" y="252"/>
                  <a:pt x="542" y="252"/>
                </a:cubicBezTo>
                <a:cubicBezTo>
                  <a:pt x="541" y="253"/>
                  <a:pt x="540" y="254"/>
                  <a:pt x="539" y="255"/>
                </a:cubicBezTo>
                <a:cubicBezTo>
                  <a:pt x="539" y="256"/>
                  <a:pt x="541" y="256"/>
                  <a:pt x="542" y="256"/>
                </a:cubicBezTo>
                <a:cubicBezTo>
                  <a:pt x="542" y="256"/>
                  <a:pt x="543" y="256"/>
                  <a:pt x="544" y="257"/>
                </a:cubicBezTo>
                <a:cubicBezTo>
                  <a:pt x="545" y="257"/>
                  <a:pt x="545" y="258"/>
                  <a:pt x="546" y="258"/>
                </a:cubicBezTo>
                <a:cubicBezTo>
                  <a:pt x="547" y="258"/>
                  <a:pt x="547" y="258"/>
                  <a:pt x="547" y="258"/>
                </a:cubicBezTo>
                <a:cubicBezTo>
                  <a:pt x="548" y="259"/>
                  <a:pt x="548" y="259"/>
                  <a:pt x="548" y="259"/>
                </a:cubicBezTo>
                <a:cubicBezTo>
                  <a:pt x="549" y="260"/>
                  <a:pt x="549" y="260"/>
                  <a:pt x="549" y="260"/>
                </a:cubicBezTo>
                <a:cubicBezTo>
                  <a:pt x="549" y="261"/>
                  <a:pt x="549" y="260"/>
                  <a:pt x="550" y="261"/>
                </a:cubicBezTo>
                <a:cubicBezTo>
                  <a:pt x="550" y="261"/>
                  <a:pt x="550" y="261"/>
                  <a:pt x="550" y="261"/>
                </a:cubicBezTo>
                <a:cubicBezTo>
                  <a:pt x="550" y="262"/>
                  <a:pt x="551" y="262"/>
                  <a:pt x="551" y="262"/>
                </a:cubicBezTo>
                <a:cubicBezTo>
                  <a:pt x="551" y="262"/>
                  <a:pt x="551" y="263"/>
                  <a:pt x="552" y="263"/>
                </a:cubicBezTo>
                <a:cubicBezTo>
                  <a:pt x="552" y="263"/>
                  <a:pt x="553" y="264"/>
                  <a:pt x="553" y="264"/>
                </a:cubicBezTo>
                <a:cubicBezTo>
                  <a:pt x="554" y="264"/>
                  <a:pt x="554" y="265"/>
                  <a:pt x="555" y="266"/>
                </a:cubicBezTo>
                <a:cubicBezTo>
                  <a:pt x="556" y="266"/>
                  <a:pt x="557" y="266"/>
                  <a:pt x="557" y="267"/>
                </a:cubicBezTo>
                <a:cubicBezTo>
                  <a:pt x="557" y="268"/>
                  <a:pt x="557" y="269"/>
                  <a:pt x="558" y="268"/>
                </a:cubicBezTo>
                <a:cubicBezTo>
                  <a:pt x="559" y="268"/>
                  <a:pt x="560" y="267"/>
                  <a:pt x="560" y="267"/>
                </a:cubicBezTo>
                <a:cubicBezTo>
                  <a:pt x="562" y="266"/>
                  <a:pt x="563" y="265"/>
                  <a:pt x="564" y="264"/>
                </a:cubicBezTo>
                <a:cubicBezTo>
                  <a:pt x="565" y="263"/>
                  <a:pt x="565" y="262"/>
                  <a:pt x="566" y="261"/>
                </a:cubicBezTo>
                <a:cubicBezTo>
                  <a:pt x="567" y="260"/>
                  <a:pt x="567" y="260"/>
                  <a:pt x="567" y="259"/>
                </a:cubicBezTo>
                <a:cubicBezTo>
                  <a:pt x="568" y="258"/>
                  <a:pt x="567" y="257"/>
                  <a:pt x="568" y="256"/>
                </a:cubicBezTo>
                <a:cubicBezTo>
                  <a:pt x="568" y="256"/>
                  <a:pt x="568" y="256"/>
                  <a:pt x="568" y="255"/>
                </a:cubicBezTo>
                <a:cubicBezTo>
                  <a:pt x="568" y="255"/>
                  <a:pt x="568" y="254"/>
                  <a:pt x="568" y="254"/>
                </a:cubicBezTo>
                <a:cubicBezTo>
                  <a:pt x="568" y="253"/>
                  <a:pt x="567" y="253"/>
                  <a:pt x="566" y="252"/>
                </a:cubicBezTo>
                <a:cubicBezTo>
                  <a:pt x="565" y="252"/>
                  <a:pt x="565" y="252"/>
                  <a:pt x="564" y="251"/>
                </a:cubicBezTo>
                <a:cubicBezTo>
                  <a:pt x="563" y="251"/>
                  <a:pt x="562" y="250"/>
                  <a:pt x="562" y="250"/>
                </a:cubicBezTo>
                <a:cubicBezTo>
                  <a:pt x="561" y="249"/>
                  <a:pt x="560" y="249"/>
                  <a:pt x="559" y="249"/>
                </a:cubicBezTo>
                <a:close/>
                <a:moveTo>
                  <a:pt x="629" y="247"/>
                </a:moveTo>
                <a:cubicBezTo>
                  <a:pt x="630" y="248"/>
                  <a:pt x="630" y="248"/>
                  <a:pt x="631" y="248"/>
                </a:cubicBezTo>
                <a:cubicBezTo>
                  <a:pt x="632" y="248"/>
                  <a:pt x="633" y="248"/>
                  <a:pt x="633" y="247"/>
                </a:cubicBezTo>
                <a:cubicBezTo>
                  <a:pt x="634" y="247"/>
                  <a:pt x="635" y="247"/>
                  <a:pt x="636" y="247"/>
                </a:cubicBezTo>
                <a:cubicBezTo>
                  <a:pt x="637" y="248"/>
                  <a:pt x="637" y="247"/>
                  <a:pt x="638" y="247"/>
                </a:cubicBezTo>
                <a:cubicBezTo>
                  <a:pt x="639" y="247"/>
                  <a:pt x="640" y="247"/>
                  <a:pt x="641" y="246"/>
                </a:cubicBezTo>
                <a:cubicBezTo>
                  <a:pt x="642" y="246"/>
                  <a:pt x="643" y="245"/>
                  <a:pt x="645" y="244"/>
                </a:cubicBezTo>
                <a:cubicBezTo>
                  <a:pt x="645" y="244"/>
                  <a:pt x="646" y="243"/>
                  <a:pt x="646" y="243"/>
                </a:cubicBezTo>
                <a:cubicBezTo>
                  <a:pt x="646" y="243"/>
                  <a:pt x="646" y="242"/>
                  <a:pt x="646" y="242"/>
                </a:cubicBezTo>
                <a:cubicBezTo>
                  <a:pt x="646" y="241"/>
                  <a:pt x="644" y="242"/>
                  <a:pt x="644" y="242"/>
                </a:cubicBezTo>
                <a:cubicBezTo>
                  <a:pt x="643" y="243"/>
                  <a:pt x="642" y="242"/>
                  <a:pt x="641" y="243"/>
                </a:cubicBezTo>
                <a:cubicBezTo>
                  <a:pt x="640" y="243"/>
                  <a:pt x="640" y="243"/>
                  <a:pt x="639" y="243"/>
                </a:cubicBezTo>
                <a:cubicBezTo>
                  <a:pt x="637" y="244"/>
                  <a:pt x="635" y="244"/>
                  <a:pt x="633" y="244"/>
                </a:cubicBezTo>
                <a:cubicBezTo>
                  <a:pt x="632" y="245"/>
                  <a:pt x="631" y="245"/>
                  <a:pt x="630" y="245"/>
                </a:cubicBezTo>
                <a:cubicBezTo>
                  <a:pt x="629" y="246"/>
                  <a:pt x="628" y="246"/>
                  <a:pt x="628" y="246"/>
                </a:cubicBezTo>
                <a:cubicBezTo>
                  <a:pt x="627" y="246"/>
                  <a:pt x="626" y="246"/>
                  <a:pt x="626" y="246"/>
                </a:cubicBezTo>
                <a:cubicBezTo>
                  <a:pt x="626" y="247"/>
                  <a:pt x="627" y="247"/>
                  <a:pt x="627" y="247"/>
                </a:cubicBezTo>
                <a:cubicBezTo>
                  <a:pt x="628" y="247"/>
                  <a:pt x="629" y="247"/>
                  <a:pt x="629" y="247"/>
                </a:cubicBezTo>
                <a:close/>
                <a:moveTo>
                  <a:pt x="583" y="187"/>
                </a:moveTo>
                <a:cubicBezTo>
                  <a:pt x="583" y="187"/>
                  <a:pt x="582" y="187"/>
                  <a:pt x="582" y="187"/>
                </a:cubicBezTo>
                <a:cubicBezTo>
                  <a:pt x="581" y="187"/>
                  <a:pt x="581" y="187"/>
                  <a:pt x="580" y="186"/>
                </a:cubicBezTo>
                <a:cubicBezTo>
                  <a:pt x="579" y="185"/>
                  <a:pt x="577" y="185"/>
                  <a:pt x="576" y="184"/>
                </a:cubicBezTo>
                <a:cubicBezTo>
                  <a:pt x="575" y="184"/>
                  <a:pt x="574" y="183"/>
                  <a:pt x="574" y="183"/>
                </a:cubicBezTo>
                <a:cubicBezTo>
                  <a:pt x="573" y="182"/>
                  <a:pt x="573" y="182"/>
                  <a:pt x="572" y="182"/>
                </a:cubicBezTo>
                <a:cubicBezTo>
                  <a:pt x="572" y="182"/>
                  <a:pt x="571" y="183"/>
                  <a:pt x="570" y="183"/>
                </a:cubicBezTo>
                <a:cubicBezTo>
                  <a:pt x="570" y="183"/>
                  <a:pt x="569" y="183"/>
                  <a:pt x="568" y="184"/>
                </a:cubicBezTo>
                <a:cubicBezTo>
                  <a:pt x="567" y="184"/>
                  <a:pt x="566" y="184"/>
                  <a:pt x="566" y="185"/>
                </a:cubicBezTo>
                <a:cubicBezTo>
                  <a:pt x="567" y="185"/>
                  <a:pt x="567" y="186"/>
                  <a:pt x="567" y="186"/>
                </a:cubicBezTo>
                <a:cubicBezTo>
                  <a:pt x="567" y="186"/>
                  <a:pt x="567" y="187"/>
                  <a:pt x="568" y="187"/>
                </a:cubicBezTo>
                <a:cubicBezTo>
                  <a:pt x="568" y="187"/>
                  <a:pt x="570" y="187"/>
                  <a:pt x="569" y="188"/>
                </a:cubicBezTo>
                <a:cubicBezTo>
                  <a:pt x="569" y="188"/>
                  <a:pt x="569" y="189"/>
                  <a:pt x="569" y="189"/>
                </a:cubicBezTo>
                <a:cubicBezTo>
                  <a:pt x="569" y="189"/>
                  <a:pt x="569" y="189"/>
                  <a:pt x="570" y="189"/>
                </a:cubicBezTo>
                <a:cubicBezTo>
                  <a:pt x="570" y="190"/>
                  <a:pt x="569" y="191"/>
                  <a:pt x="570" y="191"/>
                </a:cubicBezTo>
                <a:cubicBezTo>
                  <a:pt x="571" y="191"/>
                  <a:pt x="572" y="191"/>
                  <a:pt x="572" y="191"/>
                </a:cubicBezTo>
                <a:cubicBezTo>
                  <a:pt x="573" y="191"/>
                  <a:pt x="574" y="191"/>
                  <a:pt x="575" y="191"/>
                </a:cubicBezTo>
                <a:cubicBezTo>
                  <a:pt x="576" y="191"/>
                  <a:pt x="577" y="191"/>
                  <a:pt x="578" y="191"/>
                </a:cubicBezTo>
                <a:cubicBezTo>
                  <a:pt x="579" y="191"/>
                  <a:pt x="580" y="191"/>
                  <a:pt x="580" y="191"/>
                </a:cubicBezTo>
                <a:cubicBezTo>
                  <a:pt x="581" y="191"/>
                  <a:pt x="582" y="191"/>
                  <a:pt x="583" y="190"/>
                </a:cubicBezTo>
                <a:cubicBezTo>
                  <a:pt x="583" y="190"/>
                  <a:pt x="584" y="190"/>
                  <a:pt x="584" y="189"/>
                </a:cubicBezTo>
                <a:cubicBezTo>
                  <a:pt x="584" y="189"/>
                  <a:pt x="585" y="189"/>
                  <a:pt x="585" y="189"/>
                </a:cubicBezTo>
                <a:cubicBezTo>
                  <a:pt x="585" y="188"/>
                  <a:pt x="584" y="188"/>
                  <a:pt x="583" y="187"/>
                </a:cubicBezTo>
                <a:close/>
                <a:moveTo>
                  <a:pt x="672" y="155"/>
                </a:moveTo>
                <a:cubicBezTo>
                  <a:pt x="672" y="155"/>
                  <a:pt x="671" y="155"/>
                  <a:pt x="671" y="155"/>
                </a:cubicBezTo>
                <a:cubicBezTo>
                  <a:pt x="670" y="155"/>
                  <a:pt x="669" y="156"/>
                  <a:pt x="669" y="156"/>
                </a:cubicBezTo>
                <a:cubicBezTo>
                  <a:pt x="668" y="156"/>
                  <a:pt x="667" y="156"/>
                  <a:pt x="666" y="156"/>
                </a:cubicBezTo>
                <a:cubicBezTo>
                  <a:pt x="665" y="156"/>
                  <a:pt x="664" y="156"/>
                  <a:pt x="664" y="157"/>
                </a:cubicBezTo>
                <a:cubicBezTo>
                  <a:pt x="664" y="157"/>
                  <a:pt x="664" y="157"/>
                  <a:pt x="663" y="158"/>
                </a:cubicBezTo>
                <a:cubicBezTo>
                  <a:pt x="663" y="158"/>
                  <a:pt x="662" y="159"/>
                  <a:pt x="662" y="160"/>
                </a:cubicBezTo>
                <a:cubicBezTo>
                  <a:pt x="662" y="160"/>
                  <a:pt x="663" y="160"/>
                  <a:pt x="663" y="161"/>
                </a:cubicBezTo>
                <a:cubicBezTo>
                  <a:pt x="663" y="161"/>
                  <a:pt x="663" y="162"/>
                  <a:pt x="663" y="162"/>
                </a:cubicBezTo>
                <a:cubicBezTo>
                  <a:pt x="664" y="162"/>
                  <a:pt x="665" y="162"/>
                  <a:pt x="665" y="163"/>
                </a:cubicBezTo>
                <a:cubicBezTo>
                  <a:pt x="666" y="163"/>
                  <a:pt x="667" y="163"/>
                  <a:pt x="668" y="163"/>
                </a:cubicBezTo>
                <a:cubicBezTo>
                  <a:pt x="669" y="163"/>
                  <a:pt x="670" y="163"/>
                  <a:pt x="671" y="163"/>
                </a:cubicBezTo>
                <a:cubicBezTo>
                  <a:pt x="673" y="163"/>
                  <a:pt x="674" y="163"/>
                  <a:pt x="676" y="163"/>
                </a:cubicBezTo>
                <a:cubicBezTo>
                  <a:pt x="677" y="163"/>
                  <a:pt x="678" y="164"/>
                  <a:pt x="679" y="163"/>
                </a:cubicBezTo>
                <a:cubicBezTo>
                  <a:pt x="680" y="163"/>
                  <a:pt x="681" y="162"/>
                  <a:pt x="682" y="163"/>
                </a:cubicBezTo>
                <a:cubicBezTo>
                  <a:pt x="682" y="163"/>
                  <a:pt x="683" y="163"/>
                  <a:pt x="683" y="163"/>
                </a:cubicBezTo>
                <a:cubicBezTo>
                  <a:pt x="684" y="163"/>
                  <a:pt x="684" y="163"/>
                  <a:pt x="685" y="163"/>
                </a:cubicBezTo>
                <a:cubicBezTo>
                  <a:pt x="686" y="163"/>
                  <a:pt x="687" y="164"/>
                  <a:pt x="688" y="164"/>
                </a:cubicBezTo>
                <a:cubicBezTo>
                  <a:pt x="689" y="164"/>
                  <a:pt x="690" y="164"/>
                  <a:pt x="691" y="164"/>
                </a:cubicBezTo>
                <a:cubicBezTo>
                  <a:pt x="692" y="164"/>
                  <a:pt x="693" y="164"/>
                  <a:pt x="693" y="163"/>
                </a:cubicBezTo>
                <a:cubicBezTo>
                  <a:pt x="694" y="162"/>
                  <a:pt x="694" y="162"/>
                  <a:pt x="695" y="161"/>
                </a:cubicBezTo>
                <a:cubicBezTo>
                  <a:pt x="695" y="160"/>
                  <a:pt x="697" y="159"/>
                  <a:pt x="697" y="158"/>
                </a:cubicBezTo>
                <a:cubicBezTo>
                  <a:pt x="698" y="157"/>
                  <a:pt x="697" y="157"/>
                  <a:pt x="696" y="157"/>
                </a:cubicBezTo>
                <a:cubicBezTo>
                  <a:pt x="695" y="156"/>
                  <a:pt x="694" y="156"/>
                  <a:pt x="693" y="156"/>
                </a:cubicBezTo>
                <a:cubicBezTo>
                  <a:pt x="692" y="156"/>
                  <a:pt x="692" y="156"/>
                  <a:pt x="691" y="156"/>
                </a:cubicBezTo>
                <a:cubicBezTo>
                  <a:pt x="690" y="157"/>
                  <a:pt x="689" y="157"/>
                  <a:pt x="688" y="156"/>
                </a:cubicBezTo>
                <a:cubicBezTo>
                  <a:pt x="688" y="156"/>
                  <a:pt x="687" y="156"/>
                  <a:pt x="687" y="156"/>
                </a:cubicBezTo>
                <a:cubicBezTo>
                  <a:pt x="686" y="156"/>
                  <a:pt x="686" y="156"/>
                  <a:pt x="685" y="156"/>
                </a:cubicBezTo>
                <a:cubicBezTo>
                  <a:pt x="684" y="156"/>
                  <a:pt x="683" y="156"/>
                  <a:pt x="682" y="156"/>
                </a:cubicBezTo>
                <a:cubicBezTo>
                  <a:pt x="681" y="156"/>
                  <a:pt x="680" y="155"/>
                  <a:pt x="679" y="155"/>
                </a:cubicBezTo>
                <a:cubicBezTo>
                  <a:pt x="678" y="155"/>
                  <a:pt x="678" y="156"/>
                  <a:pt x="677" y="156"/>
                </a:cubicBezTo>
                <a:cubicBezTo>
                  <a:pt x="676" y="156"/>
                  <a:pt x="676" y="156"/>
                  <a:pt x="675" y="156"/>
                </a:cubicBezTo>
                <a:cubicBezTo>
                  <a:pt x="675" y="156"/>
                  <a:pt x="674" y="156"/>
                  <a:pt x="674" y="156"/>
                </a:cubicBezTo>
                <a:cubicBezTo>
                  <a:pt x="673" y="156"/>
                  <a:pt x="672" y="158"/>
                  <a:pt x="672" y="156"/>
                </a:cubicBezTo>
                <a:cubicBezTo>
                  <a:pt x="672" y="156"/>
                  <a:pt x="672" y="155"/>
                  <a:pt x="672" y="155"/>
                </a:cubicBezTo>
                <a:close/>
                <a:moveTo>
                  <a:pt x="564" y="216"/>
                </a:moveTo>
                <a:cubicBezTo>
                  <a:pt x="564" y="217"/>
                  <a:pt x="563" y="218"/>
                  <a:pt x="564" y="218"/>
                </a:cubicBezTo>
                <a:cubicBezTo>
                  <a:pt x="564" y="219"/>
                  <a:pt x="565" y="219"/>
                  <a:pt x="566" y="219"/>
                </a:cubicBezTo>
                <a:cubicBezTo>
                  <a:pt x="567" y="220"/>
                  <a:pt x="567" y="220"/>
                  <a:pt x="568" y="220"/>
                </a:cubicBezTo>
                <a:cubicBezTo>
                  <a:pt x="569" y="221"/>
                  <a:pt x="570" y="221"/>
                  <a:pt x="571" y="221"/>
                </a:cubicBezTo>
                <a:cubicBezTo>
                  <a:pt x="572" y="221"/>
                  <a:pt x="573" y="221"/>
                  <a:pt x="574" y="221"/>
                </a:cubicBezTo>
                <a:cubicBezTo>
                  <a:pt x="574" y="220"/>
                  <a:pt x="575" y="220"/>
                  <a:pt x="576" y="220"/>
                </a:cubicBezTo>
                <a:cubicBezTo>
                  <a:pt x="577" y="219"/>
                  <a:pt x="579" y="218"/>
                  <a:pt x="578" y="217"/>
                </a:cubicBezTo>
                <a:cubicBezTo>
                  <a:pt x="578" y="216"/>
                  <a:pt x="577" y="216"/>
                  <a:pt x="577" y="216"/>
                </a:cubicBezTo>
                <a:cubicBezTo>
                  <a:pt x="576" y="216"/>
                  <a:pt x="576" y="215"/>
                  <a:pt x="576" y="215"/>
                </a:cubicBezTo>
                <a:cubicBezTo>
                  <a:pt x="576" y="214"/>
                  <a:pt x="576" y="213"/>
                  <a:pt x="575" y="213"/>
                </a:cubicBezTo>
                <a:cubicBezTo>
                  <a:pt x="575" y="212"/>
                  <a:pt x="574" y="212"/>
                  <a:pt x="573" y="212"/>
                </a:cubicBezTo>
                <a:cubicBezTo>
                  <a:pt x="572" y="212"/>
                  <a:pt x="572" y="212"/>
                  <a:pt x="571" y="212"/>
                </a:cubicBezTo>
                <a:cubicBezTo>
                  <a:pt x="571" y="212"/>
                  <a:pt x="571" y="212"/>
                  <a:pt x="570" y="212"/>
                </a:cubicBezTo>
                <a:cubicBezTo>
                  <a:pt x="570" y="212"/>
                  <a:pt x="569" y="212"/>
                  <a:pt x="568" y="213"/>
                </a:cubicBezTo>
                <a:cubicBezTo>
                  <a:pt x="568" y="213"/>
                  <a:pt x="567" y="214"/>
                  <a:pt x="566" y="214"/>
                </a:cubicBezTo>
                <a:cubicBezTo>
                  <a:pt x="566" y="215"/>
                  <a:pt x="565" y="215"/>
                  <a:pt x="564" y="216"/>
                </a:cubicBezTo>
                <a:close/>
                <a:moveTo>
                  <a:pt x="858" y="198"/>
                </a:moveTo>
                <a:cubicBezTo>
                  <a:pt x="858" y="198"/>
                  <a:pt x="859" y="197"/>
                  <a:pt x="859" y="197"/>
                </a:cubicBezTo>
                <a:cubicBezTo>
                  <a:pt x="859" y="197"/>
                  <a:pt x="861" y="196"/>
                  <a:pt x="860" y="196"/>
                </a:cubicBezTo>
                <a:cubicBezTo>
                  <a:pt x="860" y="195"/>
                  <a:pt x="859" y="196"/>
                  <a:pt x="859" y="196"/>
                </a:cubicBezTo>
                <a:cubicBezTo>
                  <a:pt x="859" y="196"/>
                  <a:pt x="858" y="196"/>
                  <a:pt x="858" y="196"/>
                </a:cubicBezTo>
                <a:cubicBezTo>
                  <a:pt x="857" y="196"/>
                  <a:pt x="856" y="197"/>
                  <a:pt x="855" y="198"/>
                </a:cubicBezTo>
                <a:cubicBezTo>
                  <a:pt x="855" y="198"/>
                  <a:pt x="855" y="198"/>
                  <a:pt x="854" y="198"/>
                </a:cubicBezTo>
                <a:cubicBezTo>
                  <a:pt x="854" y="198"/>
                  <a:pt x="854" y="198"/>
                  <a:pt x="853" y="199"/>
                </a:cubicBezTo>
                <a:cubicBezTo>
                  <a:pt x="853" y="199"/>
                  <a:pt x="852" y="200"/>
                  <a:pt x="851" y="200"/>
                </a:cubicBezTo>
                <a:cubicBezTo>
                  <a:pt x="851" y="201"/>
                  <a:pt x="851" y="201"/>
                  <a:pt x="851" y="201"/>
                </a:cubicBezTo>
                <a:cubicBezTo>
                  <a:pt x="851" y="202"/>
                  <a:pt x="851" y="202"/>
                  <a:pt x="852" y="202"/>
                </a:cubicBezTo>
                <a:cubicBezTo>
                  <a:pt x="852" y="202"/>
                  <a:pt x="852" y="202"/>
                  <a:pt x="853" y="203"/>
                </a:cubicBezTo>
                <a:cubicBezTo>
                  <a:pt x="853" y="203"/>
                  <a:pt x="853" y="203"/>
                  <a:pt x="854" y="203"/>
                </a:cubicBezTo>
                <a:cubicBezTo>
                  <a:pt x="855" y="204"/>
                  <a:pt x="855" y="203"/>
                  <a:pt x="856" y="203"/>
                </a:cubicBezTo>
                <a:cubicBezTo>
                  <a:pt x="857" y="202"/>
                  <a:pt x="857" y="201"/>
                  <a:pt x="858" y="202"/>
                </a:cubicBezTo>
                <a:cubicBezTo>
                  <a:pt x="859" y="202"/>
                  <a:pt x="860" y="203"/>
                  <a:pt x="860" y="202"/>
                </a:cubicBezTo>
                <a:cubicBezTo>
                  <a:pt x="860" y="202"/>
                  <a:pt x="859" y="201"/>
                  <a:pt x="859" y="201"/>
                </a:cubicBezTo>
                <a:cubicBezTo>
                  <a:pt x="859" y="201"/>
                  <a:pt x="859" y="201"/>
                  <a:pt x="858" y="200"/>
                </a:cubicBezTo>
                <a:cubicBezTo>
                  <a:pt x="858" y="200"/>
                  <a:pt x="857" y="200"/>
                  <a:pt x="857" y="199"/>
                </a:cubicBezTo>
                <a:cubicBezTo>
                  <a:pt x="857" y="199"/>
                  <a:pt x="858" y="198"/>
                  <a:pt x="858" y="198"/>
                </a:cubicBezTo>
                <a:close/>
                <a:moveTo>
                  <a:pt x="737" y="182"/>
                </a:moveTo>
                <a:cubicBezTo>
                  <a:pt x="737" y="182"/>
                  <a:pt x="737" y="182"/>
                  <a:pt x="737" y="181"/>
                </a:cubicBezTo>
                <a:cubicBezTo>
                  <a:pt x="737" y="181"/>
                  <a:pt x="737" y="181"/>
                  <a:pt x="737" y="181"/>
                </a:cubicBezTo>
                <a:cubicBezTo>
                  <a:pt x="736" y="180"/>
                  <a:pt x="736" y="180"/>
                  <a:pt x="736" y="180"/>
                </a:cubicBezTo>
                <a:cubicBezTo>
                  <a:pt x="736" y="179"/>
                  <a:pt x="735" y="179"/>
                  <a:pt x="735" y="179"/>
                </a:cubicBezTo>
                <a:cubicBezTo>
                  <a:pt x="734" y="179"/>
                  <a:pt x="734" y="178"/>
                  <a:pt x="733" y="178"/>
                </a:cubicBezTo>
                <a:cubicBezTo>
                  <a:pt x="732" y="178"/>
                  <a:pt x="731" y="179"/>
                  <a:pt x="731" y="179"/>
                </a:cubicBezTo>
                <a:cubicBezTo>
                  <a:pt x="730" y="179"/>
                  <a:pt x="728" y="179"/>
                  <a:pt x="727" y="180"/>
                </a:cubicBezTo>
                <a:cubicBezTo>
                  <a:pt x="727" y="180"/>
                  <a:pt x="727" y="180"/>
                  <a:pt x="727" y="180"/>
                </a:cubicBezTo>
                <a:cubicBezTo>
                  <a:pt x="727" y="181"/>
                  <a:pt x="728" y="181"/>
                  <a:pt x="728" y="182"/>
                </a:cubicBezTo>
                <a:cubicBezTo>
                  <a:pt x="729" y="182"/>
                  <a:pt x="729" y="183"/>
                  <a:pt x="730" y="184"/>
                </a:cubicBezTo>
                <a:cubicBezTo>
                  <a:pt x="730" y="184"/>
                  <a:pt x="731" y="185"/>
                  <a:pt x="731" y="185"/>
                </a:cubicBezTo>
                <a:cubicBezTo>
                  <a:pt x="732" y="186"/>
                  <a:pt x="732" y="186"/>
                  <a:pt x="733" y="187"/>
                </a:cubicBezTo>
                <a:cubicBezTo>
                  <a:pt x="733" y="187"/>
                  <a:pt x="734" y="187"/>
                  <a:pt x="734" y="187"/>
                </a:cubicBezTo>
                <a:cubicBezTo>
                  <a:pt x="734" y="187"/>
                  <a:pt x="735" y="187"/>
                  <a:pt x="735" y="187"/>
                </a:cubicBezTo>
                <a:cubicBezTo>
                  <a:pt x="736" y="187"/>
                  <a:pt x="737" y="187"/>
                  <a:pt x="737" y="186"/>
                </a:cubicBezTo>
                <a:cubicBezTo>
                  <a:pt x="737" y="185"/>
                  <a:pt x="736" y="185"/>
                  <a:pt x="735" y="184"/>
                </a:cubicBezTo>
                <a:cubicBezTo>
                  <a:pt x="735" y="183"/>
                  <a:pt x="736" y="183"/>
                  <a:pt x="737" y="182"/>
                </a:cubicBezTo>
                <a:close/>
                <a:moveTo>
                  <a:pt x="586" y="191"/>
                </a:moveTo>
                <a:cubicBezTo>
                  <a:pt x="585" y="191"/>
                  <a:pt x="584" y="191"/>
                  <a:pt x="583" y="191"/>
                </a:cubicBezTo>
                <a:cubicBezTo>
                  <a:pt x="582" y="191"/>
                  <a:pt x="581" y="192"/>
                  <a:pt x="580" y="192"/>
                </a:cubicBezTo>
                <a:cubicBezTo>
                  <a:pt x="577" y="192"/>
                  <a:pt x="575" y="193"/>
                  <a:pt x="572" y="193"/>
                </a:cubicBezTo>
                <a:cubicBezTo>
                  <a:pt x="571" y="193"/>
                  <a:pt x="571" y="193"/>
                  <a:pt x="571" y="193"/>
                </a:cubicBezTo>
                <a:cubicBezTo>
                  <a:pt x="570" y="193"/>
                  <a:pt x="568" y="194"/>
                  <a:pt x="569" y="195"/>
                </a:cubicBezTo>
                <a:cubicBezTo>
                  <a:pt x="570" y="195"/>
                  <a:pt x="570" y="196"/>
                  <a:pt x="571" y="196"/>
                </a:cubicBezTo>
                <a:cubicBezTo>
                  <a:pt x="572" y="196"/>
                  <a:pt x="572" y="197"/>
                  <a:pt x="573" y="197"/>
                </a:cubicBezTo>
                <a:cubicBezTo>
                  <a:pt x="573" y="197"/>
                  <a:pt x="574" y="197"/>
                  <a:pt x="575" y="197"/>
                </a:cubicBezTo>
                <a:cubicBezTo>
                  <a:pt x="576" y="198"/>
                  <a:pt x="577" y="197"/>
                  <a:pt x="578" y="197"/>
                </a:cubicBezTo>
                <a:cubicBezTo>
                  <a:pt x="579" y="197"/>
                  <a:pt x="580" y="197"/>
                  <a:pt x="581" y="197"/>
                </a:cubicBezTo>
                <a:cubicBezTo>
                  <a:pt x="582" y="197"/>
                  <a:pt x="584" y="197"/>
                  <a:pt x="585" y="197"/>
                </a:cubicBezTo>
                <a:cubicBezTo>
                  <a:pt x="587" y="197"/>
                  <a:pt x="590" y="196"/>
                  <a:pt x="590" y="194"/>
                </a:cubicBezTo>
                <a:cubicBezTo>
                  <a:pt x="590" y="193"/>
                  <a:pt x="589" y="192"/>
                  <a:pt x="589" y="192"/>
                </a:cubicBezTo>
                <a:cubicBezTo>
                  <a:pt x="588" y="191"/>
                  <a:pt x="587" y="191"/>
                  <a:pt x="586" y="191"/>
                </a:cubicBezTo>
                <a:close/>
                <a:moveTo>
                  <a:pt x="658" y="99"/>
                </a:moveTo>
                <a:cubicBezTo>
                  <a:pt x="658" y="100"/>
                  <a:pt x="658" y="101"/>
                  <a:pt x="658" y="102"/>
                </a:cubicBezTo>
                <a:cubicBezTo>
                  <a:pt x="658" y="103"/>
                  <a:pt x="659" y="104"/>
                  <a:pt x="660" y="104"/>
                </a:cubicBezTo>
                <a:cubicBezTo>
                  <a:pt x="660" y="104"/>
                  <a:pt x="661" y="104"/>
                  <a:pt x="662" y="105"/>
                </a:cubicBezTo>
                <a:cubicBezTo>
                  <a:pt x="662" y="105"/>
                  <a:pt x="662" y="106"/>
                  <a:pt x="663" y="107"/>
                </a:cubicBezTo>
                <a:cubicBezTo>
                  <a:pt x="664" y="107"/>
                  <a:pt x="664" y="107"/>
                  <a:pt x="665" y="108"/>
                </a:cubicBezTo>
                <a:cubicBezTo>
                  <a:pt x="666" y="108"/>
                  <a:pt x="667" y="108"/>
                  <a:pt x="667" y="109"/>
                </a:cubicBezTo>
                <a:cubicBezTo>
                  <a:pt x="669" y="110"/>
                  <a:pt x="671" y="109"/>
                  <a:pt x="673" y="109"/>
                </a:cubicBezTo>
                <a:cubicBezTo>
                  <a:pt x="673" y="109"/>
                  <a:pt x="674" y="109"/>
                  <a:pt x="675" y="109"/>
                </a:cubicBezTo>
                <a:cubicBezTo>
                  <a:pt x="675" y="109"/>
                  <a:pt x="676" y="109"/>
                  <a:pt x="676" y="109"/>
                </a:cubicBezTo>
                <a:cubicBezTo>
                  <a:pt x="676" y="108"/>
                  <a:pt x="677" y="108"/>
                  <a:pt x="677" y="108"/>
                </a:cubicBezTo>
                <a:cubicBezTo>
                  <a:pt x="678" y="108"/>
                  <a:pt x="678" y="108"/>
                  <a:pt x="679" y="108"/>
                </a:cubicBezTo>
                <a:cubicBezTo>
                  <a:pt x="679" y="108"/>
                  <a:pt x="679" y="108"/>
                  <a:pt x="680" y="108"/>
                </a:cubicBezTo>
                <a:cubicBezTo>
                  <a:pt x="680" y="107"/>
                  <a:pt x="681" y="106"/>
                  <a:pt x="682" y="106"/>
                </a:cubicBezTo>
                <a:cubicBezTo>
                  <a:pt x="682" y="107"/>
                  <a:pt x="681" y="107"/>
                  <a:pt x="681" y="108"/>
                </a:cubicBezTo>
                <a:cubicBezTo>
                  <a:pt x="681" y="108"/>
                  <a:pt x="680" y="108"/>
                  <a:pt x="680" y="109"/>
                </a:cubicBezTo>
                <a:cubicBezTo>
                  <a:pt x="679" y="109"/>
                  <a:pt x="678" y="110"/>
                  <a:pt x="677" y="110"/>
                </a:cubicBezTo>
                <a:cubicBezTo>
                  <a:pt x="676" y="110"/>
                  <a:pt x="675" y="110"/>
                  <a:pt x="674" y="110"/>
                </a:cubicBezTo>
                <a:cubicBezTo>
                  <a:pt x="673" y="111"/>
                  <a:pt x="673" y="111"/>
                  <a:pt x="672" y="111"/>
                </a:cubicBezTo>
                <a:cubicBezTo>
                  <a:pt x="671" y="111"/>
                  <a:pt x="670" y="111"/>
                  <a:pt x="669" y="111"/>
                </a:cubicBezTo>
                <a:cubicBezTo>
                  <a:pt x="668" y="112"/>
                  <a:pt x="668" y="112"/>
                  <a:pt x="668" y="113"/>
                </a:cubicBezTo>
                <a:cubicBezTo>
                  <a:pt x="668" y="114"/>
                  <a:pt x="668" y="115"/>
                  <a:pt x="669" y="115"/>
                </a:cubicBezTo>
                <a:cubicBezTo>
                  <a:pt x="670" y="116"/>
                  <a:pt x="670" y="115"/>
                  <a:pt x="671" y="115"/>
                </a:cubicBezTo>
                <a:cubicBezTo>
                  <a:pt x="672" y="115"/>
                  <a:pt x="673" y="116"/>
                  <a:pt x="673" y="117"/>
                </a:cubicBezTo>
                <a:cubicBezTo>
                  <a:pt x="674" y="117"/>
                  <a:pt x="674" y="118"/>
                  <a:pt x="675" y="118"/>
                </a:cubicBezTo>
                <a:cubicBezTo>
                  <a:pt x="676" y="119"/>
                  <a:pt x="679" y="118"/>
                  <a:pt x="680" y="117"/>
                </a:cubicBezTo>
                <a:cubicBezTo>
                  <a:pt x="680" y="116"/>
                  <a:pt x="681" y="115"/>
                  <a:pt x="682" y="115"/>
                </a:cubicBezTo>
                <a:cubicBezTo>
                  <a:pt x="682" y="115"/>
                  <a:pt x="684" y="115"/>
                  <a:pt x="684" y="115"/>
                </a:cubicBezTo>
                <a:cubicBezTo>
                  <a:pt x="685" y="115"/>
                  <a:pt x="686" y="115"/>
                  <a:pt x="686" y="116"/>
                </a:cubicBezTo>
                <a:cubicBezTo>
                  <a:pt x="686" y="117"/>
                  <a:pt x="685" y="117"/>
                  <a:pt x="686" y="118"/>
                </a:cubicBezTo>
                <a:cubicBezTo>
                  <a:pt x="687" y="119"/>
                  <a:pt x="688" y="119"/>
                  <a:pt x="688" y="119"/>
                </a:cubicBezTo>
                <a:cubicBezTo>
                  <a:pt x="689" y="119"/>
                  <a:pt x="690" y="119"/>
                  <a:pt x="690" y="119"/>
                </a:cubicBezTo>
                <a:cubicBezTo>
                  <a:pt x="691" y="118"/>
                  <a:pt x="691" y="118"/>
                  <a:pt x="691" y="117"/>
                </a:cubicBezTo>
                <a:cubicBezTo>
                  <a:pt x="691" y="117"/>
                  <a:pt x="691" y="117"/>
                  <a:pt x="692" y="116"/>
                </a:cubicBezTo>
                <a:cubicBezTo>
                  <a:pt x="693" y="116"/>
                  <a:pt x="693" y="117"/>
                  <a:pt x="694" y="116"/>
                </a:cubicBezTo>
                <a:cubicBezTo>
                  <a:pt x="694" y="116"/>
                  <a:pt x="694" y="115"/>
                  <a:pt x="695" y="115"/>
                </a:cubicBezTo>
                <a:cubicBezTo>
                  <a:pt x="695" y="115"/>
                  <a:pt x="695" y="116"/>
                  <a:pt x="695" y="116"/>
                </a:cubicBezTo>
                <a:cubicBezTo>
                  <a:pt x="695" y="117"/>
                  <a:pt x="696" y="117"/>
                  <a:pt x="697" y="116"/>
                </a:cubicBezTo>
                <a:cubicBezTo>
                  <a:pt x="697" y="116"/>
                  <a:pt x="699" y="116"/>
                  <a:pt x="699" y="116"/>
                </a:cubicBezTo>
                <a:cubicBezTo>
                  <a:pt x="700" y="115"/>
                  <a:pt x="698" y="114"/>
                  <a:pt x="698" y="114"/>
                </a:cubicBezTo>
                <a:cubicBezTo>
                  <a:pt x="699" y="114"/>
                  <a:pt x="700" y="115"/>
                  <a:pt x="700" y="115"/>
                </a:cubicBezTo>
                <a:cubicBezTo>
                  <a:pt x="701" y="115"/>
                  <a:pt x="702" y="115"/>
                  <a:pt x="702" y="114"/>
                </a:cubicBezTo>
                <a:cubicBezTo>
                  <a:pt x="703" y="114"/>
                  <a:pt x="704" y="113"/>
                  <a:pt x="704" y="114"/>
                </a:cubicBezTo>
                <a:cubicBezTo>
                  <a:pt x="705" y="115"/>
                  <a:pt x="704" y="116"/>
                  <a:pt x="705" y="116"/>
                </a:cubicBezTo>
                <a:cubicBezTo>
                  <a:pt x="706" y="116"/>
                  <a:pt x="707" y="116"/>
                  <a:pt x="708" y="116"/>
                </a:cubicBezTo>
                <a:cubicBezTo>
                  <a:pt x="709" y="116"/>
                  <a:pt x="709" y="117"/>
                  <a:pt x="710" y="117"/>
                </a:cubicBezTo>
                <a:cubicBezTo>
                  <a:pt x="712" y="117"/>
                  <a:pt x="714" y="116"/>
                  <a:pt x="715" y="116"/>
                </a:cubicBezTo>
                <a:cubicBezTo>
                  <a:pt x="717" y="116"/>
                  <a:pt x="719" y="116"/>
                  <a:pt x="721" y="116"/>
                </a:cubicBezTo>
                <a:cubicBezTo>
                  <a:pt x="720" y="117"/>
                  <a:pt x="717" y="116"/>
                  <a:pt x="716" y="117"/>
                </a:cubicBezTo>
                <a:cubicBezTo>
                  <a:pt x="715" y="117"/>
                  <a:pt x="715" y="117"/>
                  <a:pt x="715" y="117"/>
                </a:cubicBezTo>
                <a:cubicBezTo>
                  <a:pt x="714" y="117"/>
                  <a:pt x="713" y="117"/>
                  <a:pt x="713" y="117"/>
                </a:cubicBezTo>
                <a:cubicBezTo>
                  <a:pt x="712" y="117"/>
                  <a:pt x="711" y="118"/>
                  <a:pt x="710" y="118"/>
                </a:cubicBezTo>
                <a:cubicBezTo>
                  <a:pt x="709" y="118"/>
                  <a:pt x="708" y="117"/>
                  <a:pt x="707" y="117"/>
                </a:cubicBezTo>
                <a:cubicBezTo>
                  <a:pt x="706" y="117"/>
                  <a:pt x="705" y="118"/>
                  <a:pt x="704" y="118"/>
                </a:cubicBezTo>
                <a:cubicBezTo>
                  <a:pt x="704" y="118"/>
                  <a:pt x="703" y="119"/>
                  <a:pt x="703" y="119"/>
                </a:cubicBezTo>
                <a:cubicBezTo>
                  <a:pt x="703" y="119"/>
                  <a:pt x="704" y="119"/>
                  <a:pt x="704" y="119"/>
                </a:cubicBezTo>
                <a:cubicBezTo>
                  <a:pt x="705" y="119"/>
                  <a:pt x="706" y="119"/>
                  <a:pt x="706" y="119"/>
                </a:cubicBezTo>
                <a:cubicBezTo>
                  <a:pt x="708" y="120"/>
                  <a:pt x="710" y="120"/>
                  <a:pt x="712" y="120"/>
                </a:cubicBezTo>
                <a:cubicBezTo>
                  <a:pt x="713" y="120"/>
                  <a:pt x="714" y="120"/>
                  <a:pt x="715" y="120"/>
                </a:cubicBezTo>
                <a:cubicBezTo>
                  <a:pt x="716" y="120"/>
                  <a:pt x="717" y="119"/>
                  <a:pt x="718" y="119"/>
                </a:cubicBezTo>
                <a:cubicBezTo>
                  <a:pt x="719" y="119"/>
                  <a:pt x="720" y="119"/>
                  <a:pt x="721" y="119"/>
                </a:cubicBezTo>
                <a:cubicBezTo>
                  <a:pt x="722" y="119"/>
                  <a:pt x="723" y="119"/>
                  <a:pt x="724" y="119"/>
                </a:cubicBezTo>
                <a:cubicBezTo>
                  <a:pt x="725" y="119"/>
                  <a:pt x="725" y="119"/>
                  <a:pt x="726" y="119"/>
                </a:cubicBezTo>
                <a:cubicBezTo>
                  <a:pt x="727" y="119"/>
                  <a:pt x="728" y="119"/>
                  <a:pt x="729" y="120"/>
                </a:cubicBezTo>
                <a:cubicBezTo>
                  <a:pt x="727" y="120"/>
                  <a:pt x="725" y="120"/>
                  <a:pt x="723" y="120"/>
                </a:cubicBezTo>
                <a:cubicBezTo>
                  <a:pt x="722" y="120"/>
                  <a:pt x="721" y="120"/>
                  <a:pt x="720" y="120"/>
                </a:cubicBezTo>
                <a:cubicBezTo>
                  <a:pt x="719" y="120"/>
                  <a:pt x="717" y="121"/>
                  <a:pt x="716" y="121"/>
                </a:cubicBezTo>
                <a:cubicBezTo>
                  <a:pt x="715" y="121"/>
                  <a:pt x="714" y="121"/>
                  <a:pt x="712" y="121"/>
                </a:cubicBezTo>
                <a:cubicBezTo>
                  <a:pt x="711" y="121"/>
                  <a:pt x="711" y="121"/>
                  <a:pt x="710" y="122"/>
                </a:cubicBezTo>
                <a:cubicBezTo>
                  <a:pt x="709" y="122"/>
                  <a:pt x="708" y="122"/>
                  <a:pt x="707" y="122"/>
                </a:cubicBezTo>
                <a:cubicBezTo>
                  <a:pt x="706" y="122"/>
                  <a:pt x="705" y="121"/>
                  <a:pt x="704" y="121"/>
                </a:cubicBezTo>
                <a:cubicBezTo>
                  <a:pt x="703" y="121"/>
                  <a:pt x="702" y="121"/>
                  <a:pt x="701" y="122"/>
                </a:cubicBezTo>
                <a:cubicBezTo>
                  <a:pt x="700" y="122"/>
                  <a:pt x="700" y="121"/>
                  <a:pt x="699" y="121"/>
                </a:cubicBezTo>
                <a:cubicBezTo>
                  <a:pt x="698" y="121"/>
                  <a:pt x="697" y="121"/>
                  <a:pt x="696" y="121"/>
                </a:cubicBezTo>
                <a:cubicBezTo>
                  <a:pt x="695" y="121"/>
                  <a:pt x="694" y="123"/>
                  <a:pt x="694" y="123"/>
                </a:cubicBezTo>
                <a:cubicBezTo>
                  <a:pt x="693" y="124"/>
                  <a:pt x="692" y="124"/>
                  <a:pt x="691" y="124"/>
                </a:cubicBezTo>
                <a:cubicBezTo>
                  <a:pt x="690" y="124"/>
                  <a:pt x="689" y="124"/>
                  <a:pt x="688" y="125"/>
                </a:cubicBezTo>
                <a:cubicBezTo>
                  <a:pt x="688" y="125"/>
                  <a:pt x="687" y="125"/>
                  <a:pt x="687" y="125"/>
                </a:cubicBezTo>
                <a:cubicBezTo>
                  <a:pt x="686" y="125"/>
                  <a:pt x="686" y="125"/>
                  <a:pt x="685" y="125"/>
                </a:cubicBezTo>
                <a:cubicBezTo>
                  <a:pt x="684" y="126"/>
                  <a:pt x="685" y="127"/>
                  <a:pt x="686" y="127"/>
                </a:cubicBezTo>
                <a:cubicBezTo>
                  <a:pt x="687" y="127"/>
                  <a:pt x="687" y="128"/>
                  <a:pt x="688" y="128"/>
                </a:cubicBezTo>
                <a:cubicBezTo>
                  <a:pt x="689" y="130"/>
                  <a:pt x="691" y="130"/>
                  <a:pt x="693" y="130"/>
                </a:cubicBezTo>
                <a:cubicBezTo>
                  <a:pt x="694" y="130"/>
                  <a:pt x="695" y="129"/>
                  <a:pt x="695" y="130"/>
                </a:cubicBezTo>
                <a:cubicBezTo>
                  <a:pt x="696" y="130"/>
                  <a:pt x="697" y="131"/>
                  <a:pt x="698" y="131"/>
                </a:cubicBezTo>
                <a:cubicBezTo>
                  <a:pt x="698" y="131"/>
                  <a:pt x="699" y="131"/>
                  <a:pt x="698" y="132"/>
                </a:cubicBezTo>
                <a:cubicBezTo>
                  <a:pt x="698" y="132"/>
                  <a:pt x="698" y="132"/>
                  <a:pt x="697" y="132"/>
                </a:cubicBezTo>
                <a:cubicBezTo>
                  <a:pt x="696" y="132"/>
                  <a:pt x="696" y="132"/>
                  <a:pt x="695" y="131"/>
                </a:cubicBezTo>
                <a:cubicBezTo>
                  <a:pt x="694" y="131"/>
                  <a:pt x="693" y="131"/>
                  <a:pt x="692" y="131"/>
                </a:cubicBezTo>
                <a:cubicBezTo>
                  <a:pt x="692" y="131"/>
                  <a:pt x="690" y="131"/>
                  <a:pt x="690" y="131"/>
                </a:cubicBezTo>
                <a:cubicBezTo>
                  <a:pt x="690" y="132"/>
                  <a:pt x="692" y="133"/>
                  <a:pt x="692" y="133"/>
                </a:cubicBezTo>
                <a:cubicBezTo>
                  <a:pt x="693" y="133"/>
                  <a:pt x="693" y="134"/>
                  <a:pt x="694" y="134"/>
                </a:cubicBezTo>
                <a:cubicBezTo>
                  <a:pt x="695" y="135"/>
                  <a:pt x="695" y="135"/>
                  <a:pt x="696" y="135"/>
                </a:cubicBezTo>
                <a:cubicBezTo>
                  <a:pt x="697" y="136"/>
                  <a:pt x="698" y="136"/>
                  <a:pt x="699" y="135"/>
                </a:cubicBezTo>
                <a:cubicBezTo>
                  <a:pt x="699" y="135"/>
                  <a:pt x="700" y="135"/>
                  <a:pt x="700" y="135"/>
                </a:cubicBezTo>
                <a:cubicBezTo>
                  <a:pt x="702" y="135"/>
                  <a:pt x="703" y="135"/>
                  <a:pt x="704" y="135"/>
                </a:cubicBezTo>
                <a:cubicBezTo>
                  <a:pt x="705" y="136"/>
                  <a:pt x="707" y="136"/>
                  <a:pt x="709" y="136"/>
                </a:cubicBezTo>
                <a:cubicBezTo>
                  <a:pt x="710" y="136"/>
                  <a:pt x="711" y="136"/>
                  <a:pt x="711" y="136"/>
                </a:cubicBezTo>
                <a:cubicBezTo>
                  <a:pt x="712" y="136"/>
                  <a:pt x="714" y="136"/>
                  <a:pt x="714" y="137"/>
                </a:cubicBezTo>
                <a:cubicBezTo>
                  <a:pt x="714" y="137"/>
                  <a:pt x="714" y="137"/>
                  <a:pt x="714" y="137"/>
                </a:cubicBezTo>
                <a:cubicBezTo>
                  <a:pt x="713" y="137"/>
                  <a:pt x="713" y="137"/>
                  <a:pt x="712" y="137"/>
                </a:cubicBezTo>
                <a:cubicBezTo>
                  <a:pt x="712" y="137"/>
                  <a:pt x="711" y="137"/>
                  <a:pt x="711" y="137"/>
                </a:cubicBezTo>
                <a:cubicBezTo>
                  <a:pt x="710" y="137"/>
                  <a:pt x="709" y="137"/>
                  <a:pt x="708" y="137"/>
                </a:cubicBezTo>
                <a:cubicBezTo>
                  <a:pt x="707" y="137"/>
                  <a:pt x="706" y="137"/>
                  <a:pt x="705" y="138"/>
                </a:cubicBezTo>
                <a:cubicBezTo>
                  <a:pt x="704" y="138"/>
                  <a:pt x="704" y="138"/>
                  <a:pt x="703" y="138"/>
                </a:cubicBezTo>
                <a:cubicBezTo>
                  <a:pt x="702" y="138"/>
                  <a:pt x="701" y="138"/>
                  <a:pt x="700" y="138"/>
                </a:cubicBezTo>
                <a:cubicBezTo>
                  <a:pt x="699" y="138"/>
                  <a:pt x="699" y="139"/>
                  <a:pt x="700" y="140"/>
                </a:cubicBezTo>
                <a:cubicBezTo>
                  <a:pt x="700" y="140"/>
                  <a:pt x="701" y="140"/>
                  <a:pt x="702" y="141"/>
                </a:cubicBezTo>
                <a:cubicBezTo>
                  <a:pt x="702" y="141"/>
                  <a:pt x="702" y="141"/>
                  <a:pt x="703" y="141"/>
                </a:cubicBezTo>
                <a:cubicBezTo>
                  <a:pt x="703" y="142"/>
                  <a:pt x="704" y="142"/>
                  <a:pt x="704" y="142"/>
                </a:cubicBezTo>
                <a:cubicBezTo>
                  <a:pt x="705" y="142"/>
                  <a:pt x="705" y="142"/>
                  <a:pt x="706" y="142"/>
                </a:cubicBezTo>
                <a:cubicBezTo>
                  <a:pt x="707" y="143"/>
                  <a:pt x="708" y="143"/>
                  <a:pt x="708" y="143"/>
                </a:cubicBezTo>
                <a:cubicBezTo>
                  <a:pt x="709" y="144"/>
                  <a:pt x="709" y="145"/>
                  <a:pt x="710" y="145"/>
                </a:cubicBezTo>
                <a:cubicBezTo>
                  <a:pt x="711" y="145"/>
                  <a:pt x="712" y="144"/>
                  <a:pt x="713" y="145"/>
                </a:cubicBezTo>
                <a:cubicBezTo>
                  <a:pt x="714" y="145"/>
                  <a:pt x="715" y="145"/>
                  <a:pt x="715" y="146"/>
                </a:cubicBezTo>
                <a:cubicBezTo>
                  <a:pt x="716" y="146"/>
                  <a:pt x="717" y="146"/>
                  <a:pt x="718" y="146"/>
                </a:cubicBezTo>
                <a:cubicBezTo>
                  <a:pt x="720" y="146"/>
                  <a:pt x="721" y="146"/>
                  <a:pt x="723" y="147"/>
                </a:cubicBezTo>
                <a:cubicBezTo>
                  <a:pt x="724" y="147"/>
                  <a:pt x="725" y="147"/>
                  <a:pt x="726" y="147"/>
                </a:cubicBezTo>
                <a:cubicBezTo>
                  <a:pt x="727" y="147"/>
                  <a:pt x="727" y="147"/>
                  <a:pt x="728" y="147"/>
                </a:cubicBezTo>
                <a:cubicBezTo>
                  <a:pt x="729" y="147"/>
                  <a:pt x="731" y="147"/>
                  <a:pt x="730" y="146"/>
                </a:cubicBezTo>
                <a:cubicBezTo>
                  <a:pt x="730" y="145"/>
                  <a:pt x="730" y="145"/>
                  <a:pt x="729" y="145"/>
                </a:cubicBezTo>
                <a:cubicBezTo>
                  <a:pt x="729" y="144"/>
                  <a:pt x="729" y="144"/>
                  <a:pt x="729" y="143"/>
                </a:cubicBezTo>
                <a:cubicBezTo>
                  <a:pt x="729" y="143"/>
                  <a:pt x="728" y="143"/>
                  <a:pt x="728" y="143"/>
                </a:cubicBezTo>
                <a:cubicBezTo>
                  <a:pt x="727" y="143"/>
                  <a:pt x="726" y="143"/>
                  <a:pt x="726" y="142"/>
                </a:cubicBezTo>
                <a:cubicBezTo>
                  <a:pt x="727" y="142"/>
                  <a:pt x="728" y="142"/>
                  <a:pt x="729" y="142"/>
                </a:cubicBezTo>
                <a:cubicBezTo>
                  <a:pt x="731" y="142"/>
                  <a:pt x="732" y="142"/>
                  <a:pt x="733" y="143"/>
                </a:cubicBezTo>
                <a:cubicBezTo>
                  <a:pt x="733" y="143"/>
                  <a:pt x="733" y="144"/>
                  <a:pt x="734" y="145"/>
                </a:cubicBezTo>
                <a:cubicBezTo>
                  <a:pt x="735" y="145"/>
                  <a:pt x="736" y="145"/>
                  <a:pt x="737" y="145"/>
                </a:cubicBezTo>
                <a:cubicBezTo>
                  <a:pt x="737" y="145"/>
                  <a:pt x="737" y="146"/>
                  <a:pt x="738" y="146"/>
                </a:cubicBezTo>
                <a:cubicBezTo>
                  <a:pt x="738" y="146"/>
                  <a:pt x="738" y="146"/>
                  <a:pt x="739" y="146"/>
                </a:cubicBezTo>
                <a:cubicBezTo>
                  <a:pt x="739" y="146"/>
                  <a:pt x="740" y="146"/>
                  <a:pt x="740" y="146"/>
                </a:cubicBezTo>
                <a:cubicBezTo>
                  <a:pt x="740" y="146"/>
                  <a:pt x="740" y="145"/>
                  <a:pt x="739" y="145"/>
                </a:cubicBezTo>
                <a:cubicBezTo>
                  <a:pt x="739" y="145"/>
                  <a:pt x="739" y="145"/>
                  <a:pt x="738" y="144"/>
                </a:cubicBezTo>
                <a:cubicBezTo>
                  <a:pt x="738" y="144"/>
                  <a:pt x="738" y="143"/>
                  <a:pt x="738" y="143"/>
                </a:cubicBezTo>
                <a:cubicBezTo>
                  <a:pt x="737" y="142"/>
                  <a:pt x="737" y="142"/>
                  <a:pt x="736" y="141"/>
                </a:cubicBezTo>
                <a:cubicBezTo>
                  <a:pt x="736" y="140"/>
                  <a:pt x="735" y="140"/>
                  <a:pt x="734" y="139"/>
                </a:cubicBezTo>
                <a:cubicBezTo>
                  <a:pt x="734" y="139"/>
                  <a:pt x="734" y="138"/>
                  <a:pt x="734" y="138"/>
                </a:cubicBezTo>
                <a:cubicBezTo>
                  <a:pt x="734" y="138"/>
                  <a:pt x="733" y="138"/>
                  <a:pt x="733" y="137"/>
                </a:cubicBezTo>
                <a:cubicBezTo>
                  <a:pt x="732" y="137"/>
                  <a:pt x="732" y="136"/>
                  <a:pt x="733" y="135"/>
                </a:cubicBezTo>
                <a:cubicBezTo>
                  <a:pt x="734" y="135"/>
                  <a:pt x="734" y="136"/>
                  <a:pt x="735" y="136"/>
                </a:cubicBezTo>
                <a:cubicBezTo>
                  <a:pt x="736" y="137"/>
                  <a:pt x="737" y="139"/>
                  <a:pt x="738" y="140"/>
                </a:cubicBezTo>
                <a:cubicBezTo>
                  <a:pt x="738" y="140"/>
                  <a:pt x="738" y="141"/>
                  <a:pt x="739" y="141"/>
                </a:cubicBezTo>
                <a:cubicBezTo>
                  <a:pt x="739" y="141"/>
                  <a:pt x="740" y="141"/>
                  <a:pt x="740" y="141"/>
                </a:cubicBezTo>
                <a:cubicBezTo>
                  <a:pt x="741" y="142"/>
                  <a:pt x="741" y="142"/>
                  <a:pt x="742" y="143"/>
                </a:cubicBezTo>
                <a:cubicBezTo>
                  <a:pt x="742" y="143"/>
                  <a:pt x="742" y="144"/>
                  <a:pt x="743" y="145"/>
                </a:cubicBezTo>
                <a:cubicBezTo>
                  <a:pt x="743" y="145"/>
                  <a:pt x="744" y="145"/>
                  <a:pt x="745" y="146"/>
                </a:cubicBezTo>
                <a:cubicBezTo>
                  <a:pt x="746" y="146"/>
                  <a:pt x="746" y="147"/>
                  <a:pt x="747" y="146"/>
                </a:cubicBezTo>
                <a:cubicBezTo>
                  <a:pt x="748" y="146"/>
                  <a:pt x="748" y="145"/>
                  <a:pt x="748" y="144"/>
                </a:cubicBezTo>
                <a:cubicBezTo>
                  <a:pt x="748" y="143"/>
                  <a:pt x="749" y="143"/>
                  <a:pt x="749" y="142"/>
                </a:cubicBezTo>
                <a:cubicBezTo>
                  <a:pt x="750" y="141"/>
                  <a:pt x="750" y="141"/>
                  <a:pt x="750" y="140"/>
                </a:cubicBezTo>
                <a:cubicBezTo>
                  <a:pt x="749" y="139"/>
                  <a:pt x="749" y="138"/>
                  <a:pt x="749" y="138"/>
                </a:cubicBezTo>
                <a:cubicBezTo>
                  <a:pt x="748" y="137"/>
                  <a:pt x="747" y="136"/>
                  <a:pt x="748" y="135"/>
                </a:cubicBezTo>
                <a:cubicBezTo>
                  <a:pt x="749" y="134"/>
                  <a:pt x="751" y="136"/>
                  <a:pt x="751" y="137"/>
                </a:cubicBezTo>
                <a:cubicBezTo>
                  <a:pt x="752" y="137"/>
                  <a:pt x="753" y="138"/>
                  <a:pt x="753" y="138"/>
                </a:cubicBezTo>
                <a:cubicBezTo>
                  <a:pt x="754" y="139"/>
                  <a:pt x="754" y="140"/>
                  <a:pt x="755" y="139"/>
                </a:cubicBezTo>
                <a:cubicBezTo>
                  <a:pt x="755" y="139"/>
                  <a:pt x="756" y="139"/>
                  <a:pt x="756" y="139"/>
                </a:cubicBezTo>
                <a:cubicBezTo>
                  <a:pt x="756" y="138"/>
                  <a:pt x="756" y="138"/>
                  <a:pt x="757" y="138"/>
                </a:cubicBezTo>
                <a:cubicBezTo>
                  <a:pt x="757" y="137"/>
                  <a:pt x="757" y="137"/>
                  <a:pt x="757" y="137"/>
                </a:cubicBezTo>
                <a:cubicBezTo>
                  <a:pt x="757" y="136"/>
                  <a:pt x="757" y="135"/>
                  <a:pt x="757" y="135"/>
                </a:cubicBezTo>
                <a:cubicBezTo>
                  <a:pt x="757" y="135"/>
                  <a:pt x="756" y="134"/>
                  <a:pt x="756" y="134"/>
                </a:cubicBezTo>
                <a:cubicBezTo>
                  <a:pt x="756" y="134"/>
                  <a:pt x="755" y="134"/>
                  <a:pt x="755" y="134"/>
                </a:cubicBezTo>
                <a:cubicBezTo>
                  <a:pt x="754" y="134"/>
                  <a:pt x="755" y="133"/>
                  <a:pt x="755" y="133"/>
                </a:cubicBezTo>
                <a:cubicBezTo>
                  <a:pt x="755" y="132"/>
                  <a:pt x="755" y="132"/>
                  <a:pt x="754" y="132"/>
                </a:cubicBezTo>
                <a:cubicBezTo>
                  <a:pt x="754" y="132"/>
                  <a:pt x="754" y="130"/>
                  <a:pt x="754" y="130"/>
                </a:cubicBezTo>
                <a:cubicBezTo>
                  <a:pt x="754" y="128"/>
                  <a:pt x="754" y="125"/>
                  <a:pt x="756" y="126"/>
                </a:cubicBezTo>
                <a:cubicBezTo>
                  <a:pt x="756" y="126"/>
                  <a:pt x="757" y="126"/>
                  <a:pt x="757" y="126"/>
                </a:cubicBezTo>
                <a:cubicBezTo>
                  <a:pt x="757" y="125"/>
                  <a:pt x="758" y="125"/>
                  <a:pt x="758" y="125"/>
                </a:cubicBezTo>
                <a:cubicBezTo>
                  <a:pt x="759" y="125"/>
                  <a:pt x="758" y="127"/>
                  <a:pt x="758" y="127"/>
                </a:cubicBezTo>
                <a:cubicBezTo>
                  <a:pt x="758" y="128"/>
                  <a:pt x="758" y="129"/>
                  <a:pt x="759" y="130"/>
                </a:cubicBezTo>
                <a:cubicBezTo>
                  <a:pt x="759" y="131"/>
                  <a:pt x="759" y="132"/>
                  <a:pt x="759" y="132"/>
                </a:cubicBezTo>
                <a:cubicBezTo>
                  <a:pt x="759" y="133"/>
                  <a:pt x="760" y="133"/>
                  <a:pt x="760" y="133"/>
                </a:cubicBezTo>
                <a:cubicBezTo>
                  <a:pt x="760" y="134"/>
                  <a:pt x="760" y="134"/>
                  <a:pt x="760" y="134"/>
                </a:cubicBezTo>
                <a:cubicBezTo>
                  <a:pt x="761" y="135"/>
                  <a:pt x="762" y="134"/>
                  <a:pt x="762" y="133"/>
                </a:cubicBezTo>
                <a:cubicBezTo>
                  <a:pt x="763" y="132"/>
                  <a:pt x="763" y="132"/>
                  <a:pt x="764" y="131"/>
                </a:cubicBezTo>
                <a:cubicBezTo>
                  <a:pt x="764" y="130"/>
                  <a:pt x="765" y="130"/>
                  <a:pt x="766" y="129"/>
                </a:cubicBezTo>
                <a:cubicBezTo>
                  <a:pt x="767" y="129"/>
                  <a:pt x="768" y="128"/>
                  <a:pt x="768" y="127"/>
                </a:cubicBezTo>
                <a:cubicBezTo>
                  <a:pt x="768" y="127"/>
                  <a:pt x="768" y="127"/>
                  <a:pt x="768" y="126"/>
                </a:cubicBezTo>
                <a:cubicBezTo>
                  <a:pt x="768" y="126"/>
                  <a:pt x="768" y="126"/>
                  <a:pt x="768" y="126"/>
                </a:cubicBezTo>
                <a:cubicBezTo>
                  <a:pt x="768" y="125"/>
                  <a:pt x="769" y="126"/>
                  <a:pt x="770" y="126"/>
                </a:cubicBezTo>
                <a:cubicBezTo>
                  <a:pt x="770" y="127"/>
                  <a:pt x="771" y="127"/>
                  <a:pt x="772" y="127"/>
                </a:cubicBezTo>
                <a:cubicBezTo>
                  <a:pt x="772" y="126"/>
                  <a:pt x="773" y="125"/>
                  <a:pt x="773" y="125"/>
                </a:cubicBezTo>
                <a:cubicBezTo>
                  <a:pt x="773" y="124"/>
                  <a:pt x="774" y="124"/>
                  <a:pt x="775" y="124"/>
                </a:cubicBezTo>
                <a:cubicBezTo>
                  <a:pt x="775" y="123"/>
                  <a:pt x="775" y="123"/>
                  <a:pt x="776" y="123"/>
                </a:cubicBezTo>
                <a:cubicBezTo>
                  <a:pt x="776" y="123"/>
                  <a:pt x="776" y="123"/>
                  <a:pt x="777" y="123"/>
                </a:cubicBezTo>
                <a:cubicBezTo>
                  <a:pt x="777" y="122"/>
                  <a:pt x="778" y="122"/>
                  <a:pt x="779" y="122"/>
                </a:cubicBezTo>
                <a:cubicBezTo>
                  <a:pt x="780" y="122"/>
                  <a:pt x="781" y="122"/>
                  <a:pt x="782" y="122"/>
                </a:cubicBezTo>
                <a:cubicBezTo>
                  <a:pt x="782" y="122"/>
                  <a:pt x="783" y="121"/>
                  <a:pt x="784" y="121"/>
                </a:cubicBezTo>
                <a:cubicBezTo>
                  <a:pt x="785" y="121"/>
                  <a:pt x="786" y="121"/>
                  <a:pt x="786" y="121"/>
                </a:cubicBezTo>
                <a:cubicBezTo>
                  <a:pt x="787" y="121"/>
                  <a:pt x="788" y="120"/>
                  <a:pt x="789" y="119"/>
                </a:cubicBezTo>
                <a:cubicBezTo>
                  <a:pt x="790" y="119"/>
                  <a:pt x="790" y="119"/>
                  <a:pt x="791" y="119"/>
                </a:cubicBezTo>
                <a:cubicBezTo>
                  <a:pt x="792" y="118"/>
                  <a:pt x="791" y="117"/>
                  <a:pt x="790" y="117"/>
                </a:cubicBezTo>
                <a:cubicBezTo>
                  <a:pt x="790" y="116"/>
                  <a:pt x="789" y="116"/>
                  <a:pt x="789" y="115"/>
                </a:cubicBezTo>
                <a:cubicBezTo>
                  <a:pt x="788" y="115"/>
                  <a:pt x="787" y="114"/>
                  <a:pt x="787" y="114"/>
                </a:cubicBezTo>
                <a:cubicBezTo>
                  <a:pt x="786" y="113"/>
                  <a:pt x="785" y="112"/>
                  <a:pt x="785" y="111"/>
                </a:cubicBezTo>
                <a:cubicBezTo>
                  <a:pt x="784" y="111"/>
                  <a:pt x="782" y="109"/>
                  <a:pt x="781" y="110"/>
                </a:cubicBezTo>
                <a:cubicBezTo>
                  <a:pt x="781" y="110"/>
                  <a:pt x="780" y="111"/>
                  <a:pt x="780" y="112"/>
                </a:cubicBezTo>
                <a:cubicBezTo>
                  <a:pt x="780" y="113"/>
                  <a:pt x="780" y="114"/>
                  <a:pt x="779" y="114"/>
                </a:cubicBezTo>
                <a:cubicBezTo>
                  <a:pt x="778" y="114"/>
                  <a:pt x="778" y="112"/>
                  <a:pt x="778" y="111"/>
                </a:cubicBezTo>
                <a:cubicBezTo>
                  <a:pt x="778" y="110"/>
                  <a:pt x="778" y="110"/>
                  <a:pt x="777" y="110"/>
                </a:cubicBezTo>
                <a:cubicBezTo>
                  <a:pt x="776" y="110"/>
                  <a:pt x="776" y="110"/>
                  <a:pt x="775" y="109"/>
                </a:cubicBezTo>
                <a:cubicBezTo>
                  <a:pt x="775" y="109"/>
                  <a:pt x="775" y="109"/>
                  <a:pt x="774" y="109"/>
                </a:cubicBezTo>
                <a:cubicBezTo>
                  <a:pt x="773" y="109"/>
                  <a:pt x="772" y="109"/>
                  <a:pt x="771" y="110"/>
                </a:cubicBezTo>
                <a:cubicBezTo>
                  <a:pt x="771" y="111"/>
                  <a:pt x="770" y="111"/>
                  <a:pt x="770" y="111"/>
                </a:cubicBezTo>
                <a:cubicBezTo>
                  <a:pt x="769" y="110"/>
                  <a:pt x="768" y="110"/>
                  <a:pt x="767" y="110"/>
                </a:cubicBezTo>
                <a:cubicBezTo>
                  <a:pt x="767" y="111"/>
                  <a:pt x="766" y="111"/>
                  <a:pt x="765" y="111"/>
                </a:cubicBezTo>
                <a:cubicBezTo>
                  <a:pt x="765" y="112"/>
                  <a:pt x="764" y="112"/>
                  <a:pt x="763" y="112"/>
                </a:cubicBezTo>
                <a:cubicBezTo>
                  <a:pt x="763" y="111"/>
                  <a:pt x="764" y="111"/>
                  <a:pt x="765" y="110"/>
                </a:cubicBezTo>
                <a:cubicBezTo>
                  <a:pt x="765" y="110"/>
                  <a:pt x="765" y="110"/>
                  <a:pt x="766" y="109"/>
                </a:cubicBezTo>
                <a:cubicBezTo>
                  <a:pt x="766" y="109"/>
                  <a:pt x="767" y="108"/>
                  <a:pt x="767" y="107"/>
                </a:cubicBezTo>
                <a:cubicBezTo>
                  <a:pt x="767" y="107"/>
                  <a:pt x="767" y="106"/>
                  <a:pt x="767" y="106"/>
                </a:cubicBezTo>
                <a:cubicBezTo>
                  <a:pt x="767" y="105"/>
                  <a:pt x="767" y="104"/>
                  <a:pt x="768" y="103"/>
                </a:cubicBezTo>
                <a:cubicBezTo>
                  <a:pt x="768" y="103"/>
                  <a:pt x="768" y="103"/>
                  <a:pt x="768" y="102"/>
                </a:cubicBezTo>
                <a:cubicBezTo>
                  <a:pt x="768" y="102"/>
                  <a:pt x="768" y="101"/>
                  <a:pt x="767" y="102"/>
                </a:cubicBezTo>
                <a:cubicBezTo>
                  <a:pt x="767" y="102"/>
                  <a:pt x="767" y="102"/>
                  <a:pt x="766" y="103"/>
                </a:cubicBezTo>
                <a:cubicBezTo>
                  <a:pt x="766" y="103"/>
                  <a:pt x="765" y="103"/>
                  <a:pt x="765" y="103"/>
                </a:cubicBezTo>
                <a:cubicBezTo>
                  <a:pt x="764" y="103"/>
                  <a:pt x="765" y="102"/>
                  <a:pt x="765" y="102"/>
                </a:cubicBezTo>
                <a:cubicBezTo>
                  <a:pt x="766" y="102"/>
                  <a:pt x="767" y="102"/>
                  <a:pt x="767" y="101"/>
                </a:cubicBezTo>
                <a:cubicBezTo>
                  <a:pt x="768" y="101"/>
                  <a:pt x="767" y="100"/>
                  <a:pt x="766" y="100"/>
                </a:cubicBezTo>
                <a:cubicBezTo>
                  <a:pt x="766" y="100"/>
                  <a:pt x="766" y="99"/>
                  <a:pt x="765" y="98"/>
                </a:cubicBezTo>
                <a:cubicBezTo>
                  <a:pt x="764" y="98"/>
                  <a:pt x="764" y="97"/>
                  <a:pt x="763" y="97"/>
                </a:cubicBezTo>
                <a:cubicBezTo>
                  <a:pt x="762" y="97"/>
                  <a:pt x="761" y="98"/>
                  <a:pt x="760" y="98"/>
                </a:cubicBezTo>
                <a:cubicBezTo>
                  <a:pt x="759" y="98"/>
                  <a:pt x="758" y="98"/>
                  <a:pt x="757" y="98"/>
                </a:cubicBezTo>
                <a:cubicBezTo>
                  <a:pt x="757" y="98"/>
                  <a:pt x="757" y="98"/>
                  <a:pt x="757" y="97"/>
                </a:cubicBezTo>
                <a:cubicBezTo>
                  <a:pt x="756" y="97"/>
                  <a:pt x="756" y="97"/>
                  <a:pt x="756" y="96"/>
                </a:cubicBezTo>
                <a:cubicBezTo>
                  <a:pt x="756" y="96"/>
                  <a:pt x="758" y="96"/>
                  <a:pt x="758" y="95"/>
                </a:cubicBezTo>
                <a:cubicBezTo>
                  <a:pt x="759" y="95"/>
                  <a:pt x="760" y="95"/>
                  <a:pt x="761" y="94"/>
                </a:cubicBezTo>
                <a:cubicBezTo>
                  <a:pt x="762" y="94"/>
                  <a:pt x="761" y="93"/>
                  <a:pt x="761" y="92"/>
                </a:cubicBezTo>
                <a:cubicBezTo>
                  <a:pt x="760" y="91"/>
                  <a:pt x="761" y="91"/>
                  <a:pt x="760" y="90"/>
                </a:cubicBezTo>
                <a:cubicBezTo>
                  <a:pt x="760" y="89"/>
                  <a:pt x="760" y="89"/>
                  <a:pt x="759" y="88"/>
                </a:cubicBezTo>
                <a:cubicBezTo>
                  <a:pt x="758" y="88"/>
                  <a:pt x="757" y="88"/>
                  <a:pt x="756" y="88"/>
                </a:cubicBezTo>
                <a:cubicBezTo>
                  <a:pt x="755" y="88"/>
                  <a:pt x="754" y="88"/>
                  <a:pt x="754" y="88"/>
                </a:cubicBezTo>
                <a:cubicBezTo>
                  <a:pt x="753" y="88"/>
                  <a:pt x="752" y="88"/>
                  <a:pt x="751" y="88"/>
                </a:cubicBezTo>
                <a:cubicBezTo>
                  <a:pt x="750" y="89"/>
                  <a:pt x="749" y="89"/>
                  <a:pt x="749" y="90"/>
                </a:cubicBezTo>
                <a:cubicBezTo>
                  <a:pt x="748" y="91"/>
                  <a:pt x="749" y="91"/>
                  <a:pt x="750" y="92"/>
                </a:cubicBezTo>
                <a:cubicBezTo>
                  <a:pt x="750" y="92"/>
                  <a:pt x="750" y="93"/>
                  <a:pt x="751" y="94"/>
                </a:cubicBezTo>
                <a:cubicBezTo>
                  <a:pt x="751" y="95"/>
                  <a:pt x="752" y="95"/>
                  <a:pt x="753" y="96"/>
                </a:cubicBezTo>
                <a:cubicBezTo>
                  <a:pt x="753" y="96"/>
                  <a:pt x="754" y="96"/>
                  <a:pt x="754" y="96"/>
                </a:cubicBezTo>
                <a:cubicBezTo>
                  <a:pt x="754" y="97"/>
                  <a:pt x="753" y="97"/>
                  <a:pt x="753" y="97"/>
                </a:cubicBezTo>
                <a:cubicBezTo>
                  <a:pt x="752" y="97"/>
                  <a:pt x="751" y="97"/>
                  <a:pt x="750" y="97"/>
                </a:cubicBezTo>
                <a:cubicBezTo>
                  <a:pt x="749" y="97"/>
                  <a:pt x="748" y="97"/>
                  <a:pt x="746" y="96"/>
                </a:cubicBezTo>
                <a:cubicBezTo>
                  <a:pt x="746" y="96"/>
                  <a:pt x="745" y="95"/>
                  <a:pt x="745" y="95"/>
                </a:cubicBezTo>
                <a:cubicBezTo>
                  <a:pt x="744" y="94"/>
                  <a:pt x="741" y="93"/>
                  <a:pt x="743" y="92"/>
                </a:cubicBezTo>
                <a:cubicBezTo>
                  <a:pt x="743" y="91"/>
                  <a:pt x="744" y="90"/>
                  <a:pt x="744" y="90"/>
                </a:cubicBezTo>
                <a:cubicBezTo>
                  <a:pt x="744" y="88"/>
                  <a:pt x="743" y="86"/>
                  <a:pt x="741" y="86"/>
                </a:cubicBezTo>
                <a:cubicBezTo>
                  <a:pt x="740" y="86"/>
                  <a:pt x="739" y="86"/>
                  <a:pt x="739" y="86"/>
                </a:cubicBezTo>
                <a:cubicBezTo>
                  <a:pt x="738" y="86"/>
                  <a:pt x="737" y="87"/>
                  <a:pt x="736" y="87"/>
                </a:cubicBezTo>
                <a:cubicBezTo>
                  <a:pt x="735" y="88"/>
                  <a:pt x="735" y="86"/>
                  <a:pt x="734" y="86"/>
                </a:cubicBezTo>
                <a:cubicBezTo>
                  <a:pt x="734" y="86"/>
                  <a:pt x="733" y="86"/>
                  <a:pt x="733" y="86"/>
                </a:cubicBezTo>
                <a:cubicBezTo>
                  <a:pt x="732" y="86"/>
                  <a:pt x="732" y="85"/>
                  <a:pt x="732" y="85"/>
                </a:cubicBezTo>
                <a:cubicBezTo>
                  <a:pt x="731" y="85"/>
                  <a:pt x="730" y="85"/>
                  <a:pt x="729" y="85"/>
                </a:cubicBezTo>
                <a:cubicBezTo>
                  <a:pt x="728" y="85"/>
                  <a:pt x="727" y="85"/>
                  <a:pt x="726" y="85"/>
                </a:cubicBezTo>
                <a:cubicBezTo>
                  <a:pt x="725" y="85"/>
                  <a:pt x="725" y="85"/>
                  <a:pt x="725" y="84"/>
                </a:cubicBezTo>
                <a:cubicBezTo>
                  <a:pt x="725" y="83"/>
                  <a:pt x="724" y="83"/>
                  <a:pt x="724" y="82"/>
                </a:cubicBezTo>
                <a:cubicBezTo>
                  <a:pt x="722" y="81"/>
                  <a:pt x="721" y="80"/>
                  <a:pt x="720" y="79"/>
                </a:cubicBezTo>
                <a:cubicBezTo>
                  <a:pt x="718" y="76"/>
                  <a:pt x="715" y="74"/>
                  <a:pt x="714" y="72"/>
                </a:cubicBezTo>
                <a:cubicBezTo>
                  <a:pt x="712" y="70"/>
                  <a:pt x="710" y="68"/>
                  <a:pt x="708" y="66"/>
                </a:cubicBezTo>
                <a:cubicBezTo>
                  <a:pt x="707" y="66"/>
                  <a:pt x="706" y="66"/>
                  <a:pt x="705" y="66"/>
                </a:cubicBezTo>
                <a:cubicBezTo>
                  <a:pt x="704" y="65"/>
                  <a:pt x="703" y="65"/>
                  <a:pt x="702" y="65"/>
                </a:cubicBezTo>
                <a:cubicBezTo>
                  <a:pt x="700" y="64"/>
                  <a:pt x="698" y="64"/>
                  <a:pt x="696" y="64"/>
                </a:cubicBezTo>
                <a:cubicBezTo>
                  <a:pt x="696" y="63"/>
                  <a:pt x="695" y="63"/>
                  <a:pt x="694" y="63"/>
                </a:cubicBezTo>
                <a:cubicBezTo>
                  <a:pt x="693" y="63"/>
                  <a:pt x="693" y="64"/>
                  <a:pt x="693" y="64"/>
                </a:cubicBezTo>
                <a:cubicBezTo>
                  <a:pt x="692" y="64"/>
                  <a:pt x="692" y="64"/>
                  <a:pt x="691" y="64"/>
                </a:cubicBezTo>
                <a:cubicBezTo>
                  <a:pt x="690" y="64"/>
                  <a:pt x="690" y="64"/>
                  <a:pt x="689" y="64"/>
                </a:cubicBezTo>
                <a:cubicBezTo>
                  <a:pt x="688" y="63"/>
                  <a:pt x="687" y="63"/>
                  <a:pt x="686" y="64"/>
                </a:cubicBezTo>
                <a:cubicBezTo>
                  <a:pt x="685" y="64"/>
                  <a:pt x="685" y="65"/>
                  <a:pt x="684" y="65"/>
                </a:cubicBezTo>
                <a:cubicBezTo>
                  <a:pt x="684" y="66"/>
                  <a:pt x="683" y="66"/>
                  <a:pt x="683" y="66"/>
                </a:cubicBezTo>
                <a:cubicBezTo>
                  <a:pt x="683" y="67"/>
                  <a:pt x="684" y="67"/>
                  <a:pt x="684" y="67"/>
                </a:cubicBezTo>
                <a:cubicBezTo>
                  <a:pt x="685" y="67"/>
                  <a:pt x="685" y="67"/>
                  <a:pt x="686" y="67"/>
                </a:cubicBezTo>
                <a:cubicBezTo>
                  <a:pt x="686" y="67"/>
                  <a:pt x="686" y="68"/>
                  <a:pt x="686" y="68"/>
                </a:cubicBezTo>
                <a:cubicBezTo>
                  <a:pt x="687" y="68"/>
                  <a:pt x="687" y="68"/>
                  <a:pt x="688" y="68"/>
                </a:cubicBezTo>
                <a:cubicBezTo>
                  <a:pt x="688" y="68"/>
                  <a:pt x="689" y="68"/>
                  <a:pt x="689" y="68"/>
                </a:cubicBezTo>
                <a:cubicBezTo>
                  <a:pt x="690" y="68"/>
                  <a:pt x="691" y="68"/>
                  <a:pt x="692" y="68"/>
                </a:cubicBezTo>
                <a:cubicBezTo>
                  <a:pt x="692" y="68"/>
                  <a:pt x="693" y="67"/>
                  <a:pt x="693" y="67"/>
                </a:cubicBezTo>
                <a:cubicBezTo>
                  <a:pt x="694" y="67"/>
                  <a:pt x="695" y="67"/>
                  <a:pt x="696" y="68"/>
                </a:cubicBezTo>
                <a:cubicBezTo>
                  <a:pt x="696" y="68"/>
                  <a:pt x="696" y="68"/>
                  <a:pt x="697" y="68"/>
                </a:cubicBezTo>
                <a:cubicBezTo>
                  <a:pt x="697" y="68"/>
                  <a:pt x="697" y="68"/>
                  <a:pt x="698" y="68"/>
                </a:cubicBezTo>
                <a:cubicBezTo>
                  <a:pt x="698" y="68"/>
                  <a:pt x="698" y="69"/>
                  <a:pt x="698" y="69"/>
                </a:cubicBezTo>
                <a:cubicBezTo>
                  <a:pt x="698" y="69"/>
                  <a:pt x="698" y="70"/>
                  <a:pt x="698" y="70"/>
                </a:cubicBezTo>
                <a:cubicBezTo>
                  <a:pt x="698" y="71"/>
                  <a:pt x="697" y="71"/>
                  <a:pt x="697" y="71"/>
                </a:cubicBezTo>
                <a:cubicBezTo>
                  <a:pt x="697" y="71"/>
                  <a:pt x="696" y="71"/>
                  <a:pt x="696" y="71"/>
                </a:cubicBezTo>
                <a:cubicBezTo>
                  <a:pt x="695" y="72"/>
                  <a:pt x="695" y="71"/>
                  <a:pt x="694" y="71"/>
                </a:cubicBezTo>
                <a:cubicBezTo>
                  <a:pt x="693" y="71"/>
                  <a:pt x="692" y="71"/>
                  <a:pt x="691" y="71"/>
                </a:cubicBezTo>
                <a:cubicBezTo>
                  <a:pt x="690" y="71"/>
                  <a:pt x="689" y="71"/>
                  <a:pt x="688" y="71"/>
                </a:cubicBezTo>
                <a:cubicBezTo>
                  <a:pt x="687" y="71"/>
                  <a:pt x="686" y="71"/>
                  <a:pt x="685" y="71"/>
                </a:cubicBezTo>
                <a:cubicBezTo>
                  <a:pt x="684" y="71"/>
                  <a:pt x="683" y="71"/>
                  <a:pt x="682" y="71"/>
                </a:cubicBezTo>
                <a:cubicBezTo>
                  <a:pt x="681" y="71"/>
                  <a:pt x="680" y="72"/>
                  <a:pt x="679" y="72"/>
                </a:cubicBezTo>
                <a:cubicBezTo>
                  <a:pt x="678" y="72"/>
                  <a:pt x="677" y="72"/>
                  <a:pt x="676" y="72"/>
                </a:cubicBezTo>
                <a:cubicBezTo>
                  <a:pt x="675" y="73"/>
                  <a:pt x="675" y="73"/>
                  <a:pt x="674" y="73"/>
                </a:cubicBezTo>
                <a:cubicBezTo>
                  <a:pt x="674" y="74"/>
                  <a:pt x="674" y="74"/>
                  <a:pt x="673" y="74"/>
                </a:cubicBezTo>
                <a:cubicBezTo>
                  <a:pt x="673" y="75"/>
                  <a:pt x="673" y="75"/>
                  <a:pt x="672" y="75"/>
                </a:cubicBezTo>
                <a:cubicBezTo>
                  <a:pt x="672" y="75"/>
                  <a:pt x="671" y="75"/>
                  <a:pt x="671" y="76"/>
                </a:cubicBezTo>
                <a:cubicBezTo>
                  <a:pt x="670" y="76"/>
                  <a:pt x="672" y="76"/>
                  <a:pt x="672" y="76"/>
                </a:cubicBezTo>
                <a:cubicBezTo>
                  <a:pt x="672" y="76"/>
                  <a:pt x="673" y="76"/>
                  <a:pt x="673" y="77"/>
                </a:cubicBezTo>
                <a:cubicBezTo>
                  <a:pt x="673" y="77"/>
                  <a:pt x="672" y="77"/>
                  <a:pt x="672" y="77"/>
                </a:cubicBezTo>
                <a:cubicBezTo>
                  <a:pt x="671" y="77"/>
                  <a:pt x="671" y="78"/>
                  <a:pt x="671" y="78"/>
                </a:cubicBezTo>
                <a:cubicBezTo>
                  <a:pt x="671" y="78"/>
                  <a:pt x="670" y="78"/>
                  <a:pt x="671" y="79"/>
                </a:cubicBezTo>
                <a:cubicBezTo>
                  <a:pt x="671" y="79"/>
                  <a:pt x="672" y="79"/>
                  <a:pt x="672" y="79"/>
                </a:cubicBezTo>
                <a:cubicBezTo>
                  <a:pt x="672" y="79"/>
                  <a:pt x="673" y="79"/>
                  <a:pt x="673" y="79"/>
                </a:cubicBezTo>
                <a:cubicBezTo>
                  <a:pt x="674" y="79"/>
                  <a:pt x="675" y="79"/>
                  <a:pt x="676" y="79"/>
                </a:cubicBezTo>
                <a:cubicBezTo>
                  <a:pt x="676" y="78"/>
                  <a:pt x="677" y="78"/>
                  <a:pt x="677" y="78"/>
                </a:cubicBezTo>
                <a:cubicBezTo>
                  <a:pt x="677" y="79"/>
                  <a:pt x="676" y="79"/>
                  <a:pt x="676" y="79"/>
                </a:cubicBezTo>
                <a:cubicBezTo>
                  <a:pt x="675" y="80"/>
                  <a:pt x="678" y="80"/>
                  <a:pt x="678" y="80"/>
                </a:cubicBezTo>
                <a:cubicBezTo>
                  <a:pt x="680" y="81"/>
                  <a:pt x="681" y="80"/>
                  <a:pt x="683" y="80"/>
                </a:cubicBezTo>
                <a:cubicBezTo>
                  <a:pt x="683" y="80"/>
                  <a:pt x="684" y="80"/>
                  <a:pt x="684" y="80"/>
                </a:cubicBezTo>
                <a:cubicBezTo>
                  <a:pt x="684" y="81"/>
                  <a:pt x="684" y="81"/>
                  <a:pt x="683" y="81"/>
                </a:cubicBezTo>
                <a:cubicBezTo>
                  <a:pt x="683" y="81"/>
                  <a:pt x="682" y="82"/>
                  <a:pt x="681" y="82"/>
                </a:cubicBezTo>
                <a:cubicBezTo>
                  <a:pt x="680" y="82"/>
                  <a:pt x="679" y="82"/>
                  <a:pt x="678" y="82"/>
                </a:cubicBezTo>
                <a:cubicBezTo>
                  <a:pt x="677" y="82"/>
                  <a:pt x="676" y="83"/>
                  <a:pt x="675" y="83"/>
                </a:cubicBezTo>
                <a:cubicBezTo>
                  <a:pt x="673" y="83"/>
                  <a:pt x="672" y="84"/>
                  <a:pt x="671" y="84"/>
                </a:cubicBezTo>
                <a:cubicBezTo>
                  <a:pt x="670" y="84"/>
                  <a:pt x="669" y="84"/>
                  <a:pt x="667" y="84"/>
                </a:cubicBezTo>
                <a:cubicBezTo>
                  <a:pt x="667" y="84"/>
                  <a:pt x="665" y="84"/>
                  <a:pt x="665" y="85"/>
                </a:cubicBezTo>
                <a:cubicBezTo>
                  <a:pt x="664" y="85"/>
                  <a:pt x="666" y="85"/>
                  <a:pt x="666" y="86"/>
                </a:cubicBezTo>
                <a:cubicBezTo>
                  <a:pt x="666" y="86"/>
                  <a:pt x="665" y="86"/>
                  <a:pt x="665" y="86"/>
                </a:cubicBezTo>
                <a:cubicBezTo>
                  <a:pt x="664" y="86"/>
                  <a:pt x="663" y="86"/>
                  <a:pt x="664" y="87"/>
                </a:cubicBezTo>
                <a:cubicBezTo>
                  <a:pt x="664" y="87"/>
                  <a:pt x="665" y="87"/>
                  <a:pt x="665" y="87"/>
                </a:cubicBezTo>
                <a:cubicBezTo>
                  <a:pt x="666" y="87"/>
                  <a:pt x="666" y="88"/>
                  <a:pt x="667" y="88"/>
                </a:cubicBezTo>
                <a:cubicBezTo>
                  <a:pt x="668" y="89"/>
                  <a:pt x="666" y="89"/>
                  <a:pt x="665" y="89"/>
                </a:cubicBezTo>
                <a:cubicBezTo>
                  <a:pt x="664" y="89"/>
                  <a:pt x="664" y="89"/>
                  <a:pt x="663" y="89"/>
                </a:cubicBezTo>
                <a:cubicBezTo>
                  <a:pt x="662" y="89"/>
                  <a:pt x="661" y="89"/>
                  <a:pt x="660" y="90"/>
                </a:cubicBezTo>
                <a:cubicBezTo>
                  <a:pt x="660" y="90"/>
                  <a:pt x="659" y="90"/>
                  <a:pt x="659" y="91"/>
                </a:cubicBezTo>
                <a:cubicBezTo>
                  <a:pt x="658" y="91"/>
                  <a:pt x="658" y="90"/>
                  <a:pt x="658" y="90"/>
                </a:cubicBezTo>
                <a:cubicBezTo>
                  <a:pt x="656" y="91"/>
                  <a:pt x="659" y="91"/>
                  <a:pt x="659" y="91"/>
                </a:cubicBezTo>
                <a:cubicBezTo>
                  <a:pt x="659" y="92"/>
                  <a:pt x="658" y="92"/>
                  <a:pt x="659" y="93"/>
                </a:cubicBezTo>
                <a:cubicBezTo>
                  <a:pt x="660" y="93"/>
                  <a:pt x="661" y="93"/>
                  <a:pt x="662" y="93"/>
                </a:cubicBezTo>
                <a:cubicBezTo>
                  <a:pt x="662" y="93"/>
                  <a:pt x="663" y="94"/>
                  <a:pt x="663" y="94"/>
                </a:cubicBezTo>
                <a:cubicBezTo>
                  <a:pt x="663" y="94"/>
                  <a:pt x="664" y="94"/>
                  <a:pt x="664" y="94"/>
                </a:cubicBezTo>
                <a:cubicBezTo>
                  <a:pt x="665" y="94"/>
                  <a:pt x="666" y="94"/>
                  <a:pt x="667" y="94"/>
                </a:cubicBezTo>
                <a:cubicBezTo>
                  <a:pt x="668" y="94"/>
                  <a:pt x="669" y="93"/>
                  <a:pt x="670" y="93"/>
                </a:cubicBezTo>
                <a:cubicBezTo>
                  <a:pt x="670" y="94"/>
                  <a:pt x="670" y="94"/>
                  <a:pt x="670" y="94"/>
                </a:cubicBezTo>
                <a:cubicBezTo>
                  <a:pt x="670" y="95"/>
                  <a:pt x="669" y="95"/>
                  <a:pt x="669" y="95"/>
                </a:cubicBezTo>
                <a:cubicBezTo>
                  <a:pt x="668" y="95"/>
                  <a:pt x="668" y="95"/>
                  <a:pt x="669" y="95"/>
                </a:cubicBezTo>
                <a:cubicBezTo>
                  <a:pt x="669" y="95"/>
                  <a:pt x="669" y="95"/>
                  <a:pt x="670" y="96"/>
                </a:cubicBezTo>
                <a:cubicBezTo>
                  <a:pt x="671" y="96"/>
                  <a:pt x="671" y="96"/>
                  <a:pt x="672" y="96"/>
                </a:cubicBezTo>
                <a:cubicBezTo>
                  <a:pt x="673" y="96"/>
                  <a:pt x="674" y="96"/>
                  <a:pt x="675" y="96"/>
                </a:cubicBezTo>
                <a:cubicBezTo>
                  <a:pt x="676" y="95"/>
                  <a:pt x="677" y="95"/>
                  <a:pt x="677" y="95"/>
                </a:cubicBezTo>
                <a:cubicBezTo>
                  <a:pt x="678" y="95"/>
                  <a:pt x="679" y="94"/>
                  <a:pt x="680" y="94"/>
                </a:cubicBezTo>
                <a:cubicBezTo>
                  <a:pt x="681" y="94"/>
                  <a:pt x="682" y="94"/>
                  <a:pt x="682" y="94"/>
                </a:cubicBezTo>
                <a:cubicBezTo>
                  <a:pt x="683" y="95"/>
                  <a:pt x="683" y="95"/>
                  <a:pt x="684" y="95"/>
                </a:cubicBezTo>
                <a:cubicBezTo>
                  <a:pt x="684" y="95"/>
                  <a:pt x="684" y="95"/>
                  <a:pt x="683" y="95"/>
                </a:cubicBezTo>
                <a:cubicBezTo>
                  <a:pt x="682" y="96"/>
                  <a:pt x="682" y="96"/>
                  <a:pt x="681" y="96"/>
                </a:cubicBezTo>
                <a:cubicBezTo>
                  <a:pt x="681" y="97"/>
                  <a:pt x="680" y="97"/>
                  <a:pt x="680" y="97"/>
                </a:cubicBezTo>
                <a:cubicBezTo>
                  <a:pt x="679" y="97"/>
                  <a:pt x="679" y="97"/>
                  <a:pt x="679" y="97"/>
                </a:cubicBezTo>
                <a:cubicBezTo>
                  <a:pt x="678" y="98"/>
                  <a:pt x="679" y="98"/>
                  <a:pt x="679" y="98"/>
                </a:cubicBezTo>
                <a:cubicBezTo>
                  <a:pt x="680" y="98"/>
                  <a:pt x="680" y="98"/>
                  <a:pt x="680" y="98"/>
                </a:cubicBezTo>
                <a:cubicBezTo>
                  <a:pt x="681" y="99"/>
                  <a:pt x="681" y="99"/>
                  <a:pt x="681" y="99"/>
                </a:cubicBezTo>
                <a:cubicBezTo>
                  <a:pt x="681" y="99"/>
                  <a:pt x="682" y="100"/>
                  <a:pt x="682" y="100"/>
                </a:cubicBezTo>
                <a:cubicBezTo>
                  <a:pt x="682" y="100"/>
                  <a:pt x="682" y="100"/>
                  <a:pt x="682" y="100"/>
                </a:cubicBezTo>
                <a:cubicBezTo>
                  <a:pt x="681" y="100"/>
                  <a:pt x="681" y="100"/>
                  <a:pt x="680" y="99"/>
                </a:cubicBezTo>
                <a:cubicBezTo>
                  <a:pt x="679" y="99"/>
                  <a:pt x="679" y="99"/>
                  <a:pt x="678" y="99"/>
                </a:cubicBezTo>
                <a:cubicBezTo>
                  <a:pt x="676" y="99"/>
                  <a:pt x="674" y="99"/>
                  <a:pt x="672" y="99"/>
                </a:cubicBezTo>
                <a:cubicBezTo>
                  <a:pt x="670" y="99"/>
                  <a:pt x="668" y="99"/>
                  <a:pt x="666" y="98"/>
                </a:cubicBezTo>
                <a:cubicBezTo>
                  <a:pt x="665" y="98"/>
                  <a:pt x="663" y="98"/>
                  <a:pt x="662" y="98"/>
                </a:cubicBezTo>
                <a:cubicBezTo>
                  <a:pt x="661" y="98"/>
                  <a:pt x="660" y="98"/>
                  <a:pt x="660" y="98"/>
                </a:cubicBezTo>
                <a:cubicBezTo>
                  <a:pt x="659" y="98"/>
                  <a:pt x="659" y="98"/>
                  <a:pt x="658" y="98"/>
                </a:cubicBezTo>
                <a:cubicBezTo>
                  <a:pt x="658" y="98"/>
                  <a:pt x="656" y="97"/>
                  <a:pt x="656" y="98"/>
                </a:cubicBezTo>
                <a:cubicBezTo>
                  <a:pt x="657" y="98"/>
                  <a:pt x="657" y="99"/>
                  <a:pt x="658" y="99"/>
                </a:cubicBezTo>
                <a:close/>
                <a:moveTo>
                  <a:pt x="889" y="263"/>
                </a:moveTo>
                <a:cubicBezTo>
                  <a:pt x="888" y="263"/>
                  <a:pt x="887" y="263"/>
                  <a:pt x="887" y="262"/>
                </a:cubicBezTo>
                <a:cubicBezTo>
                  <a:pt x="886" y="261"/>
                  <a:pt x="886" y="260"/>
                  <a:pt x="885" y="260"/>
                </a:cubicBezTo>
                <a:cubicBezTo>
                  <a:pt x="885" y="259"/>
                  <a:pt x="884" y="259"/>
                  <a:pt x="883" y="258"/>
                </a:cubicBezTo>
                <a:cubicBezTo>
                  <a:pt x="883" y="258"/>
                  <a:pt x="883" y="258"/>
                  <a:pt x="882" y="258"/>
                </a:cubicBezTo>
                <a:cubicBezTo>
                  <a:pt x="882" y="258"/>
                  <a:pt x="882" y="258"/>
                  <a:pt x="881" y="257"/>
                </a:cubicBezTo>
                <a:cubicBezTo>
                  <a:pt x="881" y="257"/>
                  <a:pt x="881" y="256"/>
                  <a:pt x="880" y="256"/>
                </a:cubicBezTo>
                <a:cubicBezTo>
                  <a:pt x="880" y="255"/>
                  <a:pt x="879" y="255"/>
                  <a:pt x="878" y="254"/>
                </a:cubicBezTo>
                <a:cubicBezTo>
                  <a:pt x="877" y="253"/>
                  <a:pt x="875" y="253"/>
                  <a:pt x="873" y="253"/>
                </a:cubicBezTo>
                <a:cubicBezTo>
                  <a:pt x="870" y="252"/>
                  <a:pt x="867" y="251"/>
                  <a:pt x="863" y="251"/>
                </a:cubicBezTo>
                <a:cubicBezTo>
                  <a:pt x="862" y="251"/>
                  <a:pt x="862" y="251"/>
                  <a:pt x="861" y="252"/>
                </a:cubicBezTo>
                <a:cubicBezTo>
                  <a:pt x="860" y="252"/>
                  <a:pt x="860" y="251"/>
                  <a:pt x="859" y="251"/>
                </a:cubicBezTo>
                <a:cubicBezTo>
                  <a:pt x="859" y="252"/>
                  <a:pt x="858" y="252"/>
                  <a:pt x="858" y="252"/>
                </a:cubicBezTo>
                <a:cubicBezTo>
                  <a:pt x="857" y="252"/>
                  <a:pt x="855" y="252"/>
                  <a:pt x="854" y="252"/>
                </a:cubicBezTo>
                <a:cubicBezTo>
                  <a:pt x="853" y="252"/>
                  <a:pt x="853" y="251"/>
                  <a:pt x="852" y="251"/>
                </a:cubicBezTo>
                <a:cubicBezTo>
                  <a:pt x="851" y="251"/>
                  <a:pt x="850" y="251"/>
                  <a:pt x="850" y="250"/>
                </a:cubicBezTo>
                <a:cubicBezTo>
                  <a:pt x="849" y="250"/>
                  <a:pt x="848" y="250"/>
                  <a:pt x="848" y="250"/>
                </a:cubicBezTo>
                <a:cubicBezTo>
                  <a:pt x="847" y="250"/>
                  <a:pt x="846" y="251"/>
                  <a:pt x="845" y="250"/>
                </a:cubicBezTo>
                <a:cubicBezTo>
                  <a:pt x="845" y="250"/>
                  <a:pt x="844" y="249"/>
                  <a:pt x="843" y="249"/>
                </a:cubicBezTo>
                <a:cubicBezTo>
                  <a:pt x="842" y="249"/>
                  <a:pt x="841" y="249"/>
                  <a:pt x="841" y="249"/>
                </a:cubicBezTo>
                <a:cubicBezTo>
                  <a:pt x="840" y="249"/>
                  <a:pt x="839" y="249"/>
                  <a:pt x="838" y="249"/>
                </a:cubicBezTo>
                <a:cubicBezTo>
                  <a:pt x="837" y="250"/>
                  <a:pt x="838" y="250"/>
                  <a:pt x="838" y="251"/>
                </a:cubicBezTo>
                <a:cubicBezTo>
                  <a:pt x="838" y="251"/>
                  <a:pt x="838" y="251"/>
                  <a:pt x="838" y="252"/>
                </a:cubicBezTo>
                <a:cubicBezTo>
                  <a:pt x="838" y="252"/>
                  <a:pt x="838" y="252"/>
                  <a:pt x="838" y="253"/>
                </a:cubicBezTo>
                <a:cubicBezTo>
                  <a:pt x="837" y="254"/>
                  <a:pt x="838" y="254"/>
                  <a:pt x="839" y="255"/>
                </a:cubicBezTo>
                <a:cubicBezTo>
                  <a:pt x="840" y="255"/>
                  <a:pt x="839" y="256"/>
                  <a:pt x="838" y="256"/>
                </a:cubicBezTo>
                <a:cubicBezTo>
                  <a:pt x="837" y="256"/>
                  <a:pt x="837" y="257"/>
                  <a:pt x="837" y="258"/>
                </a:cubicBezTo>
                <a:cubicBezTo>
                  <a:pt x="837" y="260"/>
                  <a:pt x="839" y="260"/>
                  <a:pt x="841" y="260"/>
                </a:cubicBezTo>
                <a:cubicBezTo>
                  <a:pt x="842" y="261"/>
                  <a:pt x="845" y="260"/>
                  <a:pt x="845" y="261"/>
                </a:cubicBezTo>
                <a:cubicBezTo>
                  <a:pt x="846" y="263"/>
                  <a:pt x="845" y="265"/>
                  <a:pt x="846" y="267"/>
                </a:cubicBezTo>
                <a:cubicBezTo>
                  <a:pt x="847" y="270"/>
                  <a:pt x="851" y="272"/>
                  <a:pt x="854" y="272"/>
                </a:cubicBezTo>
                <a:cubicBezTo>
                  <a:pt x="856" y="272"/>
                  <a:pt x="858" y="271"/>
                  <a:pt x="859" y="271"/>
                </a:cubicBezTo>
                <a:cubicBezTo>
                  <a:pt x="860" y="270"/>
                  <a:pt x="861" y="270"/>
                  <a:pt x="862" y="270"/>
                </a:cubicBezTo>
                <a:cubicBezTo>
                  <a:pt x="863" y="269"/>
                  <a:pt x="863" y="269"/>
                  <a:pt x="864" y="269"/>
                </a:cubicBezTo>
                <a:cubicBezTo>
                  <a:pt x="866" y="269"/>
                  <a:pt x="868" y="268"/>
                  <a:pt x="870" y="268"/>
                </a:cubicBezTo>
                <a:cubicBezTo>
                  <a:pt x="872" y="268"/>
                  <a:pt x="875" y="268"/>
                  <a:pt x="877" y="268"/>
                </a:cubicBezTo>
                <a:cubicBezTo>
                  <a:pt x="878" y="268"/>
                  <a:pt x="879" y="268"/>
                  <a:pt x="880" y="268"/>
                </a:cubicBezTo>
                <a:cubicBezTo>
                  <a:pt x="881" y="268"/>
                  <a:pt x="882" y="268"/>
                  <a:pt x="883" y="268"/>
                </a:cubicBezTo>
                <a:cubicBezTo>
                  <a:pt x="885" y="268"/>
                  <a:pt x="886" y="268"/>
                  <a:pt x="888" y="268"/>
                </a:cubicBezTo>
                <a:cubicBezTo>
                  <a:pt x="889" y="269"/>
                  <a:pt x="890" y="268"/>
                  <a:pt x="891" y="268"/>
                </a:cubicBezTo>
                <a:cubicBezTo>
                  <a:pt x="891" y="268"/>
                  <a:pt x="893" y="269"/>
                  <a:pt x="893" y="268"/>
                </a:cubicBezTo>
                <a:cubicBezTo>
                  <a:pt x="893" y="268"/>
                  <a:pt x="892" y="268"/>
                  <a:pt x="892" y="267"/>
                </a:cubicBezTo>
                <a:cubicBezTo>
                  <a:pt x="892" y="267"/>
                  <a:pt x="892" y="267"/>
                  <a:pt x="891" y="267"/>
                </a:cubicBezTo>
                <a:cubicBezTo>
                  <a:pt x="891" y="267"/>
                  <a:pt x="890" y="267"/>
                  <a:pt x="890" y="267"/>
                </a:cubicBezTo>
                <a:cubicBezTo>
                  <a:pt x="889" y="266"/>
                  <a:pt x="890" y="265"/>
                  <a:pt x="890" y="265"/>
                </a:cubicBezTo>
                <a:cubicBezTo>
                  <a:pt x="891" y="263"/>
                  <a:pt x="890" y="263"/>
                  <a:pt x="889" y="263"/>
                </a:cubicBezTo>
                <a:close/>
                <a:moveTo>
                  <a:pt x="737" y="165"/>
                </a:moveTo>
                <a:cubicBezTo>
                  <a:pt x="737" y="164"/>
                  <a:pt x="736" y="163"/>
                  <a:pt x="736" y="163"/>
                </a:cubicBezTo>
                <a:cubicBezTo>
                  <a:pt x="736" y="162"/>
                  <a:pt x="735" y="162"/>
                  <a:pt x="734" y="161"/>
                </a:cubicBezTo>
                <a:cubicBezTo>
                  <a:pt x="733" y="161"/>
                  <a:pt x="733" y="160"/>
                  <a:pt x="732" y="160"/>
                </a:cubicBezTo>
                <a:cubicBezTo>
                  <a:pt x="731" y="160"/>
                  <a:pt x="730" y="159"/>
                  <a:pt x="729" y="159"/>
                </a:cubicBezTo>
                <a:cubicBezTo>
                  <a:pt x="728" y="159"/>
                  <a:pt x="727" y="159"/>
                  <a:pt x="726" y="159"/>
                </a:cubicBezTo>
                <a:cubicBezTo>
                  <a:pt x="725" y="159"/>
                  <a:pt x="724" y="159"/>
                  <a:pt x="724" y="159"/>
                </a:cubicBezTo>
                <a:cubicBezTo>
                  <a:pt x="723" y="159"/>
                  <a:pt x="722" y="159"/>
                  <a:pt x="722" y="159"/>
                </a:cubicBezTo>
                <a:cubicBezTo>
                  <a:pt x="721" y="160"/>
                  <a:pt x="720" y="161"/>
                  <a:pt x="719" y="162"/>
                </a:cubicBezTo>
                <a:cubicBezTo>
                  <a:pt x="719" y="163"/>
                  <a:pt x="719" y="164"/>
                  <a:pt x="720" y="165"/>
                </a:cubicBezTo>
                <a:cubicBezTo>
                  <a:pt x="720" y="165"/>
                  <a:pt x="721" y="166"/>
                  <a:pt x="722" y="166"/>
                </a:cubicBezTo>
                <a:cubicBezTo>
                  <a:pt x="722" y="167"/>
                  <a:pt x="723" y="167"/>
                  <a:pt x="724" y="167"/>
                </a:cubicBezTo>
                <a:cubicBezTo>
                  <a:pt x="725" y="168"/>
                  <a:pt x="725" y="168"/>
                  <a:pt x="726" y="168"/>
                </a:cubicBezTo>
                <a:cubicBezTo>
                  <a:pt x="727" y="168"/>
                  <a:pt x="728" y="169"/>
                  <a:pt x="728" y="169"/>
                </a:cubicBezTo>
                <a:cubicBezTo>
                  <a:pt x="729" y="170"/>
                  <a:pt x="730" y="170"/>
                  <a:pt x="731" y="170"/>
                </a:cubicBezTo>
                <a:cubicBezTo>
                  <a:pt x="732" y="169"/>
                  <a:pt x="732" y="169"/>
                  <a:pt x="733" y="169"/>
                </a:cubicBezTo>
                <a:cubicBezTo>
                  <a:pt x="734" y="168"/>
                  <a:pt x="735" y="168"/>
                  <a:pt x="736" y="168"/>
                </a:cubicBezTo>
                <a:cubicBezTo>
                  <a:pt x="736" y="168"/>
                  <a:pt x="737" y="168"/>
                  <a:pt x="738" y="167"/>
                </a:cubicBezTo>
                <a:cubicBezTo>
                  <a:pt x="738" y="166"/>
                  <a:pt x="738" y="166"/>
                  <a:pt x="737" y="165"/>
                </a:cubicBezTo>
                <a:close/>
                <a:moveTo>
                  <a:pt x="616" y="319"/>
                </a:moveTo>
                <a:cubicBezTo>
                  <a:pt x="616" y="320"/>
                  <a:pt x="616" y="320"/>
                  <a:pt x="617" y="320"/>
                </a:cubicBezTo>
                <a:cubicBezTo>
                  <a:pt x="617" y="319"/>
                  <a:pt x="617" y="318"/>
                  <a:pt x="617" y="318"/>
                </a:cubicBezTo>
                <a:cubicBezTo>
                  <a:pt x="616" y="316"/>
                  <a:pt x="615" y="316"/>
                  <a:pt x="614" y="316"/>
                </a:cubicBezTo>
                <a:cubicBezTo>
                  <a:pt x="613" y="316"/>
                  <a:pt x="611" y="314"/>
                  <a:pt x="611" y="316"/>
                </a:cubicBezTo>
                <a:cubicBezTo>
                  <a:pt x="611" y="316"/>
                  <a:pt x="611" y="317"/>
                  <a:pt x="612" y="317"/>
                </a:cubicBezTo>
                <a:cubicBezTo>
                  <a:pt x="612" y="319"/>
                  <a:pt x="614" y="318"/>
                  <a:pt x="615" y="319"/>
                </a:cubicBezTo>
                <a:cubicBezTo>
                  <a:pt x="615" y="319"/>
                  <a:pt x="615" y="319"/>
                  <a:pt x="616" y="319"/>
                </a:cubicBezTo>
                <a:close/>
                <a:moveTo>
                  <a:pt x="494" y="359"/>
                </a:moveTo>
                <a:cubicBezTo>
                  <a:pt x="494" y="360"/>
                  <a:pt x="495" y="360"/>
                  <a:pt x="495" y="360"/>
                </a:cubicBezTo>
                <a:cubicBezTo>
                  <a:pt x="496" y="360"/>
                  <a:pt x="497" y="360"/>
                  <a:pt x="497" y="360"/>
                </a:cubicBezTo>
                <a:cubicBezTo>
                  <a:pt x="497" y="359"/>
                  <a:pt x="496" y="359"/>
                  <a:pt x="495" y="359"/>
                </a:cubicBezTo>
                <a:cubicBezTo>
                  <a:pt x="495" y="359"/>
                  <a:pt x="494" y="359"/>
                  <a:pt x="494" y="359"/>
                </a:cubicBezTo>
                <a:close/>
                <a:moveTo>
                  <a:pt x="568" y="359"/>
                </a:moveTo>
                <a:cubicBezTo>
                  <a:pt x="567" y="358"/>
                  <a:pt x="567" y="358"/>
                  <a:pt x="566" y="358"/>
                </a:cubicBezTo>
                <a:cubicBezTo>
                  <a:pt x="566" y="357"/>
                  <a:pt x="565" y="358"/>
                  <a:pt x="564" y="358"/>
                </a:cubicBezTo>
                <a:cubicBezTo>
                  <a:pt x="564" y="358"/>
                  <a:pt x="564" y="358"/>
                  <a:pt x="563" y="357"/>
                </a:cubicBezTo>
                <a:cubicBezTo>
                  <a:pt x="563" y="357"/>
                  <a:pt x="563" y="357"/>
                  <a:pt x="563" y="357"/>
                </a:cubicBezTo>
                <a:cubicBezTo>
                  <a:pt x="563" y="357"/>
                  <a:pt x="561" y="358"/>
                  <a:pt x="562" y="359"/>
                </a:cubicBezTo>
                <a:cubicBezTo>
                  <a:pt x="562" y="360"/>
                  <a:pt x="563" y="360"/>
                  <a:pt x="564" y="360"/>
                </a:cubicBezTo>
                <a:cubicBezTo>
                  <a:pt x="565" y="360"/>
                  <a:pt x="565" y="361"/>
                  <a:pt x="566" y="361"/>
                </a:cubicBezTo>
                <a:cubicBezTo>
                  <a:pt x="567" y="362"/>
                  <a:pt x="568" y="362"/>
                  <a:pt x="568" y="362"/>
                </a:cubicBezTo>
                <a:cubicBezTo>
                  <a:pt x="569" y="362"/>
                  <a:pt x="569" y="361"/>
                  <a:pt x="569" y="360"/>
                </a:cubicBezTo>
                <a:cubicBezTo>
                  <a:pt x="569" y="360"/>
                  <a:pt x="569" y="359"/>
                  <a:pt x="568" y="359"/>
                </a:cubicBezTo>
                <a:close/>
                <a:moveTo>
                  <a:pt x="599" y="353"/>
                </a:moveTo>
                <a:cubicBezTo>
                  <a:pt x="598" y="353"/>
                  <a:pt x="598" y="353"/>
                  <a:pt x="598" y="353"/>
                </a:cubicBezTo>
                <a:cubicBezTo>
                  <a:pt x="597" y="353"/>
                  <a:pt x="596" y="353"/>
                  <a:pt x="595" y="354"/>
                </a:cubicBezTo>
                <a:cubicBezTo>
                  <a:pt x="595" y="355"/>
                  <a:pt x="594" y="355"/>
                  <a:pt x="593" y="356"/>
                </a:cubicBezTo>
                <a:cubicBezTo>
                  <a:pt x="593" y="356"/>
                  <a:pt x="594" y="356"/>
                  <a:pt x="595" y="356"/>
                </a:cubicBezTo>
                <a:cubicBezTo>
                  <a:pt x="595" y="357"/>
                  <a:pt x="596" y="357"/>
                  <a:pt x="596" y="357"/>
                </a:cubicBezTo>
                <a:cubicBezTo>
                  <a:pt x="596" y="358"/>
                  <a:pt x="597" y="358"/>
                  <a:pt x="597" y="358"/>
                </a:cubicBezTo>
                <a:cubicBezTo>
                  <a:pt x="598" y="358"/>
                  <a:pt x="599" y="358"/>
                  <a:pt x="599" y="357"/>
                </a:cubicBezTo>
                <a:cubicBezTo>
                  <a:pt x="599" y="357"/>
                  <a:pt x="599" y="356"/>
                  <a:pt x="600" y="355"/>
                </a:cubicBezTo>
                <a:cubicBezTo>
                  <a:pt x="600" y="355"/>
                  <a:pt x="601" y="354"/>
                  <a:pt x="600" y="354"/>
                </a:cubicBezTo>
                <a:cubicBezTo>
                  <a:pt x="599" y="353"/>
                  <a:pt x="599" y="354"/>
                  <a:pt x="599" y="353"/>
                </a:cubicBezTo>
                <a:close/>
                <a:moveTo>
                  <a:pt x="619" y="350"/>
                </a:moveTo>
                <a:cubicBezTo>
                  <a:pt x="619" y="349"/>
                  <a:pt x="620" y="349"/>
                  <a:pt x="619" y="348"/>
                </a:cubicBezTo>
                <a:cubicBezTo>
                  <a:pt x="619" y="348"/>
                  <a:pt x="619" y="348"/>
                  <a:pt x="619" y="347"/>
                </a:cubicBezTo>
                <a:cubicBezTo>
                  <a:pt x="619" y="347"/>
                  <a:pt x="619" y="347"/>
                  <a:pt x="618" y="347"/>
                </a:cubicBezTo>
                <a:cubicBezTo>
                  <a:pt x="618" y="346"/>
                  <a:pt x="618" y="347"/>
                  <a:pt x="617" y="347"/>
                </a:cubicBezTo>
                <a:cubicBezTo>
                  <a:pt x="617" y="347"/>
                  <a:pt x="616" y="348"/>
                  <a:pt x="617" y="348"/>
                </a:cubicBezTo>
                <a:cubicBezTo>
                  <a:pt x="617" y="349"/>
                  <a:pt x="618" y="349"/>
                  <a:pt x="618" y="349"/>
                </a:cubicBezTo>
                <a:cubicBezTo>
                  <a:pt x="618" y="350"/>
                  <a:pt x="619" y="351"/>
                  <a:pt x="619" y="350"/>
                </a:cubicBezTo>
                <a:close/>
                <a:moveTo>
                  <a:pt x="603" y="333"/>
                </a:moveTo>
                <a:cubicBezTo>
                  <a:pt x="603" y="334"/>
                  <a:pt x="603" y="334"/>
                  <a:pt x="603" y="334"/>
                </a:cubicBezTo>
                <a:cubicBezTo>
                  <a:pt x="604" y="335"/>
                  <a:pt x="604" y="335"/>
                  <a:pt x="604" y="335"/>
                </a:cubicBezTo>
                <a:cubicBezTo>
                  <a:pt x="605" y="335"/>
                  <a:pt x="605" y="335"/>
                  <a:pt x="606" y="336"/>
                </a:cubicBezTo>
                <a:cubicBezTo>
                  <a:pt x="606" y="336"/>
                  <a:pt x="607" y="336"/>
                  <a:pt x="608" y="336"/>
                </a:cubicBezTo>
                <a:cubicBezTo>
                  <a:pt x="608" y="336"/>
                  <a:pt x="608" y="336"/>
                  <a:pt x="609" y="336"/>
                </a:cubicBezTo>
                <a:cubicBezTo>
                  <a:pt x="609" y="335"/>
                  <a:pt x="610" y="335"/>
                  <a:pt x="610" y="334"/>
                </a:cubicBezTo>
                <a:cubicBezTo>
                  <a:pt x="610" y="333"/>
                  <a:pt x="609" y="333"/>
                  <a:pt x="609" y="333"/>
                </a:cubicBezTo>
                <a:cubicBezTo>
                  <a:pt x="609" y="332"/>
                  <a:pt x="609" y="331"/>
                  <a:pt x="609" y="331"/>
                </a:cubicBezTo>
                <a:cubicBezTo>
                  <a:pt x="609" y="330"/>
                  <a:pt x="609" y="329"/>
                  <a:pt x="609" y="328"/>
                </a:cubicBezTo>
                <a:cubicBezTo>
                  <a:pt x="608" y="328"/>
                  <a:pt x="609" y="327"/>
                  <a:pt x="609" y="326"/>
                </a:cubicBezTo>
                <a:cubicBezTo>
                  <a:pt x="609" y="325"/>
                  <a:pt x="608" y="325"/>
                  <a:pt x="607" y="325"/>
                </a:cubicBezTo>
                <a:cubicBezTo>
                  <a:pt x="607" y="326"/>
                  <a:pt x="606" y="326"/>
                  <a:pt x="606" y="326"/>
                </a:cubicBezTo>
                <a:cubicBezTo>
                  <a:pt x="605" y="326"/>
                  <a:pt x="605" y="326"/>
                  <a:pt x="604" y="326"/>
                </a:cubicBezTo>
                <a:cubicBezTo>
                  <a:pt x="604" y="326"/>
                  <a:pt x="604" y="326"/>
                  <a:pt x="603" y="327"/>
                </a:cubicBezTo>
                <a:cubicBezTo>
                  <a:pt x="603" y="327"/>
                  <a:pt x="603" y="327"/>
                  <a:pt x="603" y="327"/>
                </a:cubicBezTo>
                <a:cubicBezTo>
                  <a:pt x="601" y="327"/>
                  <a:pt x="601" y="326"/>
                  <a:pt x="601" y="325"/>
                </a:cubicBezTo>
                <a:cubicBezTo>
                  <a:pt x="601" y="324"/>
                  <a:pt x="601" y="323"/>
                  <a:pt x="601" y="323"/>
                </a:cubicBezTo>
                <a:cubicBezTo>
                  <a:pt x="600" y="323"/>
                  <a:pt x="600" y="323"/>
                  <a:pt x="599" y="323"/>
                </a:cubicBezTo>
                <a:cubicBezTo>
                  <a:pt x="599" y="323"/>
                  <a:pt x="599" y="324"/>
                  <a:pt x="598" y="324"/>
                </a:cubicBezTo>
                <a:cubicBezTo>
                  <a:pt x="598" y="324"/>
                  <a:pt x="597" y="324"/>
                  <a:pt x="597" y="323"/>
                </a:cubicBezTo>
                <a:cubicBezTo>
                  <a:pt x="597" y="323"/>
                  <a:pt x="597" y="323"/>
                  <a:pt x="596" y="323"/>
                </a:cubicBezTo>
                <a:cubicBezTo>
                  <a:pt x="596" y="322"/>
                  <a:pt x="595" y="323"/>
                  <a:pt x="594" y="322"/>
                </a:cubicBezTo>
                <a:cubicBezTo>
                  <a:pt x="594" y="321"/>
                  <a:pt x="593" y="321"/>
                  <a:pt x="593" y="321"/>
                </a:cubicBezTo>
                <a:cubicBezTo>
                  <a:pt x="592" y="320"/>
                  <a:pt x="591" y="320"/>
                  <a:pt x="590" y="319"/>
                </a:cubicBezTo>
                <a:cubicBezTo>
                  <a:pt x="590" y="319"/>
                  <a:pt x="589" y="319"/>
                  <a:pt x="588" y="319"/>
                </a:cubicBezTo>
                <a:cubicBezTo>
                  <a:pt x="588" y="319"/>
                  <a:pt x="588" y="319"/>
                  <a:pt x="587" y="319"/>
                </a:cubicBezTo>
                <a:cubicBezTo>
                  <a:pt x="587" y="318"/>
                  <a:pt x="587" y="317"/>
                  <a:pt x="586" y="316"/>
                </a:cubicBezTo>
                <a:cubicBezTo>
                  <a:pt x="586" y="316"/>
                  <a:pt x="586" y="316"/>
                  <a:pt x="585" y="316"/>
                </a:cubicBezTo>
                <a:cubicBezTo>
                  <a:pt x="585" y="316"/>
                  <a:pt x="585" y="315"/>
                  <a:pt x="584" y="315"/>
                </a:cubicBezTo>
                <a:cubicBezTo>
                  <a:pt x="583" y="315"/>
                  <a:pt x="584" y="317"/>
                  <a:pt x="584" y="317"/>
                </a:cubicBezTo>
                <a:cubicBezTo>
                  <a:pt x="584" y="318"/>
                  <a:pt x="585" y="318"/>
                  <a:pt x="586" y="318"/>
                </a:cubicBezTo>
                <a:cubicBezTo>
                  <a:pt x="586" y="320"/>
                  <a:pt x="585" y="319"/>
                  <a:pt x="584" y="319"/>
                </a:cubicBezTo>
                <a:cubicBezTo>
                  <a:pt x="584" y="318"/>
                  <a:pt x="583" y="318"/>
                  <a:pt x="582" y="318"/>
                </a:cubicBezTo>
                <a:cubicBezTo>
                  <a:pt x="581" y="317"/>
                  <a:pt x="581" y="317"/>
                  <a:pt x="580" y="317"/>
                </a:cubicBezTo>
                <a:cubicBezTo>
                  <a:pt x="579" y="317"/>
                  <a:pt x="578" y="316"/>
                  <a:pt x="578" y="315"/>
                </a:cubicBezTo>
                <a:cubicBezTo>
                  <a:pt x="577" y="315"/>
                  <a:pt x="577" y="315"/>
                  <a:pt x="577" y="315"/>
                </a:cubicBezTo>
                <a:cubicBezTo>
                  <a:pt x="576" y="314"/>
                  <a:pt x="576" y="314"/>
                  <a:pt x="575" y="314"/>
                </a:cubicBezTo>
                <a:cubicBezTo>
                  <a:pt x="575" y="314"/>
                  <a:pt x="574" y="314"/>
                  <a:pt x="574" y="313"/>
                </a:cubicBezTo>
                <a:cubicBezTo>
                  <a:pt x="573" y="313"/>
                  <a:pt x="574" y="312"/>
                  <a:pt x="574" y="312"/>
                </a:cubicBezTo>
                <a:cubicBezTo>
                  <a:pt x="573" y="311"/>
                  <a:pt x="573" y="310"/>
                  <a:pt x="573" y="310"/>
                </a:cubicBezTo>
                <a:cubicBezTo>
                  <a:pt x="572" y="309"/>
                  <a:pt x="571" y="309"/>
                  <a:pt x="570" y="309"/>
                </a:cubicBezTo>
                <a:cubicBezTo>
                  <a:pt x="570" y="309"/>
                  <a:pt x="569" y="308"/>
                  <a:pt x="568" y="308"/>
                </a:cubicBezTo>
                <a:cubicBezTo>
                  <a:pt x="568" y="308"/>
                  <a:pt x="567" y="307"/>
                  <a:pt x="567" y="306"/>
                </a:cubicBezTo>
                <a:cubicBezTo>
                  <a:pt x="568" y="306"/>
                  <a:pt x="568" y="305"/>
                  <a:pt x="569" y="305"/>
                </a:cubicBezTo>
                <a:cubicBezTo>
                  <a:pt x="569" y="304"/>
                  <a:pt x="570" y="303"/>
                  <a:pt x="570" y="303"/>
                </a:cubicBezTo>
                <a:cubicBezTo>
                  <a:pt x="572" y="300"/>
                  <a:pt x="570" y="297"/>
                  <a:pt x="569" y="294"/>
                </a:cubicBezTo>
                <a:cubicBezTo>
                  <a:pt x="568" y="293"/>
                  <a:pt x="567" y="292"/>
                  <a:pt x="566" y="291"/>
                </a:cubicBezTo>
                <a:cubicBezTo>
                  <a:pt x="565" y="290"/>
                  <a:pt x="564" y="289"/>
                  <a:pt x="563" y="287"/>
                </a:cubicBezTo>
                <a:cubicBezTo>
                  <a:pt x="563" y="286"/>
                  <a:pt x="563" y="285"/>
                  <a:pt x="563" y="284"/>
                </a:cubicBezTo>
                <a:cubicBezTo>
                  <a:pt x="563" y="284"/>
                  <a:pt x="562" y="283"/>
                  <a:pt x="562" y="282"/>
                </a:cubicBezTo>
                <a:cubicBezTo>
                  <a:pt x="561" y="280"/>
                  <a:pt x="560" y="279"/>
                  <a:pt x="560" y="277"/>
                </a:cubicBezTo>
                <a:cubicBezTo>
                  <a:pt x="560" y="276"/>
                  <a:pt x="559" y="275"/>
                  <a:pt x="559" y="274"/>
                </a:cubicBezTo>
                <a:cubicBezTo>
                  <a:pt x="559" y="274"/>
                  <a:pt x="559" y="273"/>
                  <a:pt x="558" y="273"/>
                </a:cubicBezTo>
                <a:cubicBezTo>
                  <a:pt x="558" y="272"/>
                  <a:pt x="558" y="272"/>
                  <a:pt x="558" y="272"/>
                </a:cubicBezTo>
                <a:cubicBezTo>
                  <a:pt x="558" y="272"/>
                  <a:pt x="557" y="272"/>
                  <a:pt x="557" y="271"/>
                </a:cubicBezTo>
                <a:cubicBezTo>
                  <a:pt x="556" y="270"/>
                  <a:pt x="558" y="271"/>
                  <a:pt x="558" y="271"/>
                </a:cubicBezTo>
                <a:cubicBezTo>
                  <a:pt x="559" y="272"/>
                  <a:pt x="559" y="271"/>
                  <a:pt x="558" y="270"/>
                </a:cubicBezTo>
                <a:cubicBezTo>
                  <a:pt x="558" y="270"/>
                  <a:pt x="557" y="270"/>
                  <a:pt x="557" y="269"/>
                </a:cubicBezTo>
                <a:cubicBezTo>
                  <a:pt x="556" y="269"/>
                  <a:pt x="556" y="268"/>
                  <a:pt x="556" y="267"/>
                </a:cubicBezTo>
                <a:cubicBezTo>
                  <a:pt x="555" y="267"/>
                  <a:pt x="554" y="267"/>
                  <a:pt x="554" y="266"/>
                </a:cubicBezTo>
                <a:cubicBezTo>
                  <a:pt x="554" y="266"/>
                  <a:pt x="554" y="265"/>
                  <a:pt x="553" y="265"/>
                </a:cubicBezTo>
                <a:cubicBezTo>
                  <a:pt x="553" y="265"/>
                  <a:pt x="552" y="265"/>
                  <a:pt x="552" y="265"/>
                </a:cubicBezTo>
                <a:cubicBezTo>
                  <a:pt x="551" y="265"/>
                  <a:pt x="550" y="265"/>
                  <a:pt x="549" y="265"/>
                </a:cubicBezTo>
                <a:cubicBezTo>
                  <a:pt x="549" y="264"/>
                  <a:pt x="548" y="264"/>
                  <a:pt x="547" y="263"/>
                </a:cubicBezTo>
                <a:cubicBezTo>
                  <a:pt x="547" y="263"/>
                  <a:pt x="547" y="262"/>
                  <a:pt x="546" y="262"/>
                </a:cubicBezTo>
                <a:cubicBezTo>
                  <a:pt x="546" y="261"/>
                  <a:pt x="546" y="261"/>
                  <a:pt x="545" y="261"/>
                </a:cubicBezTo>
                <a:cubicBezTo>
                  <a:pt x="545" y="261"/>
                  <a:pt x="544" y="261"/>
                  <a:pt x="544" y="261"/>
                </a:cubicBezTo>
                <a:cubicBezTo>
                  <a:pt x="543" y="261"/>
                  <a:pt x="543" y="260"/>
                  <a:pt x="542" y="260"/>
                </a:cubicBezTo>
                <a:cubicBezTo>
                  <a:pt x="542" y="259"/>
                  <a:pt x="541" y="259"/>
                  <a:pt x="540" y="259"/>
                </a:cubicBezTo>
                <a:cubicBezTo>
                  <a:pt x="540" y="260"/>
                  <a:pt x="539" y="260"/>
                  <a:pt x="539" y="260"/>
                </a:cubicBezTo>
                <a:cubicBezTo>
                  <a:pt x="539" y="261"/>
                  <a:pt x="539" y="261"/>
                  <a:pt x="539" y="261"/>
                </a:cubicBezTo>
                <a:cubicBezTo>
                  <a:pt x="539" y="262"/>
                  <a:pt x="539" y="262"/>
                  <a:pt x="538" y="262"/>
                </a:cubicBezTo>
                <a:cubicBezTo>
                  <a:pt x="538" y="262"/>
                  <a:pt x="537" y="261"/>
                  <a:pt x="536" y="261"/>
                </a:cubicBezTo>
                <a:cubicBezTo>
                  <a:pt x="535" y="260"/>
                  <a:pt x="535" y="259"/>
                  <a:pt x="534" y="259"/>
                </a:cubicBezTo>
                <a:cubicBezTo>
                  <a:pt x="533" y="259"/>
                  <a:pt x="532" y="259"/>
                  <a:pt x="531" y="259"/>
                </a:cubicBezTo>
                <a:cubicBezTo>
                  <a:pt x="530" y="258"/>
                  <a:pt x="527" y="258"/>
                  <a:pt x="527" y="259"/>
                </a:cubicBezTo>
                <a:cubicBezTo>
                  <a:pt x="527" y="260"/>
                  <a:pt x="527" y="260"/>
                  <a:pt x="527" y="261"/>
                </a:cubicBezTo>
                <a:cubicBezTo>
                  <a:pt x="527" y="261"/>
                  <a:pt x="528" y="261"/>
                  <a:pt x="528" y="261"/>
                </a:cubicBezTo>
                <a:cubicBezTo>
                  <a:pt x="529" y="262"/>
                  <a:pt x="527" y="262"/>
                  <a:pt x="527" y="262"/>
                </a:cubicBezTo>
                <a:cubicBezTo>
                  <a:pt x="525" y="262"/>
                  <a:pt x="525" y="264"/>
                  <a:pt x="526" y="265"/>
                </a:cubicBezTo>
                <a:cubicBezTo>
                  <a:pt x="527" y="266"/>
                  <a:pt x="527" y="267"/>
                  <a:pt x="527" y="268"/>
                </a:cubicBezTo>
                <a:cubicBezTo>
                  <a:pt x="527" y="269"/>
                  <a:pt x="527" y="269"/>
                  <a:pt x="528" y="270"/>
                </a:cubicBezTo>
                <a:cubicBezTo>
                  <a:pt x="528" y="271"/>
                  <a:pt x="528" y="272"/>
                  <a:pt x="528" y="272"/>
                </a:cubicBezTo>
                <a:cubicBezTo>
                  <a:pt x="528" y="273"/>
                  <a:pt x="529" y="274"/>
                  <a:pt x="529" y="274"/>
                </a:cubicBezTo>
                <a:cubicBezTo>
                  <a:pt x="529" y="275"/>
                  <a:pt x="528" y="276"/>
                  <a:pt x="529" y="277"/>
                </a:cubicBezTo>
                <a:cubicBezTo>
                  <a:pt x="529" y="277"/>
                  <a:pt x="529" y="277"/>
                  <a:pt x="529" y="278"/>
                </a:cubicBezTo>
                <a:cubicBezTo>
                  <a:pt x="530" y="278"/>
                  <a:pt x="529" y="279"/>
                  <a:pt x="530" y="279"/>
                </a:cubicBezTo>
                <a:cubicBezTo>
                  <a:pt x="530" y="280"/>
                  <a:pt x="530" y="280"/>
                  <a:pt x="531" y="280"/>
                </a:cubicBezTo>
                <a:cubicBezTo>
                  <a:pt x="531" y="281"/>
                  <a:pt x="530" y="281"/>
                  <a:pt x="530" y="282"/>
                </a:cubicBezTo>
                <a:cubicBezTo>
                  <a:pt x="531" y="282"/>
                  <a:pt x="531" y="282"/>
                  <a:pt x="531" y="283"/>
                </a:cubicBezTo>
                <a:cubicBezTo>
                  <a:pt x="530" y="284"/>
                  <a:pt x="531" y="284"/>
                  <a:pt x="532" y="285"/>
                </a:cubicBezTo>
                <a:cubicBezTo>
                  <a:pt x="533" y="285"/>
                  <a:pt x="532" y="286"/>
                  <a:pt x="533" y="287"/>
                </a:cubicBezTo>
                <a:cubicBezTo>
                  <a:pt x="533" y="287"/>
                  <a:pt x="533" y="287"/>
                  <a:pt x="533" y="287"/>
                </a:cubicBezTo>
                <a:cubicBezTo>
                  <a:pt x="534" y="287"/>
                  <a:pt x="534" y="287"/>
                  <a:pt x="534" y="288"/>
                </a:cubicBezTo>
                <a:cubicBezTo>
                  <a:pt x="535" y="288"/>
                  <a:pt x="535" y="288"/>
                  <a:pt x="535" y="289"/>
                </a:cubicBezTo>
                <a:cubicBezTo>
                  <a:pt x="535" y="289"/>
                  <a:pt x="536" y="289"/>
                  <a:pt x="536" y="289"/>
                </a:cubicBezTo>
                <a:cubicBezTo>
                  <a:pt x="536" y="290"/>
                  <a:pt x="535" y="290"/>
                  <a:pt x="535" y="290"/>
                </a:cubicBezTo>
                <a:cubicBezTo>
                  <a:pt x="535" y="291"/>
                  <a:pt x="536" y="291"/>
                  <a:pt x="536" y="291"/>
                </a:cubicBezTo>
                <a:cubicBezTo>
                  <a:pt x="536" y="292"/>
                  <a:pt x="535" y="292"/>
                  <a:pt x="535" y="292"/>
                </a:cubicBezTo>
                <a:cubicBezTo>
                  <a:pt x="535" y="292"/>
                  <a:pt x="534" y="292"/>
                  <a:pt x="534" y="292"/>
                </a:cubicBezTo>
                <a:cubicBezTo>
                  <a:pt x="534" y="292"/>
                  <a:pt x="533" y="293"/>
                  <a:pt x="533" y="293"/>
                </a:cubicBezTo>
                <a:cubicBezTo>
                  <a:pt x="533" y="293"/>
                  <a:pt x="532" y="294"/>
                  <a:pt x="532" y="294"/>
                </a:cubicBezTo>
                <a:cubicBezTo>
                  <a:pt x="531" y="294"/>
                  <a:pt x="531" y="293"/>
                  <a:pt x="530" y="294"/>
                </a:cubicBezTo>
                <a:cubicBezTo>
                  <a:pt x="530" y="294"/>
                  <a:pt x="530" y="295"/>
                  <a:pt x="531" y="295"/>
                </a:cubicBezTo>
                <a:cubicBezTo>
                  <a:pt x="531" y="295"/>
                  <a:pt x="531" y="295"/>
                  <a:pt x="531" y="296"/>
                </a:cubicBezTo>
                <a:cubicBezTo>
                  <a:pt x="530" y="297"/>
                  <a:pt x="530" y="295"/>
                  <a:pt x="529" y="295"/>
                </a:cubicBezTo>
                <a:cubicBezTo>
                  <a:pt x="529" y="294"/>
                  <a:pt x="528" y="294"/>
                  <a:pt x="527" y="294"/>
                </a:cubicBezTo>
                <a:cubicBezTo>
                  <a:pt x="527" y="293"/>
                  <a:pt x="526" y="292"/>
                  <a:pt x="526" y="292"/>
                </a:cubicBezTo>
                <a:cubicBezTo>
                  <a:pt x="526" y="291"/>
                  <a:pt x="527" y="289"/>
                  <a:pt x="526" y="289"/>
                </a:cubicBezTo>
                <a:cubicBezTo>
                  <a:pt x="526" y="288"/>
                  <a:pt x="525" y="288"/>
                  <a:pt x="525" y="288"/>
                </a:cubicBezTo>
                <a:cubicBezTo>
                  <a:pt x="525" y="288"/>
                  <a:pt x="525" y="287"/>
                  <a:pt x="525" y="287"/>
                </a:cubicBezTo>
                <a:cubicBezTo>
                  <a:pt x="524" y="287"/>
                  <a:pt x="524" y="287"/>
                  <a:pt x="524" y="286"/>
                </a:cubicBezTo>
                <a:cubicBezTo>
                  <a:pt x="524" y="286"/>
                  <a:pt x="524" y="286"/>
                  <a:pt x="524" y="285"/>
                </a:cubicBezTo>
                <a:cubicBezTo>
                  <a:pt x="524" y="285"/>
                  <a:pt x="524" y="284"/>
                  <a:pt x="524" y="284"/>
                </a:cubicBezTo>
                <a:cubicBezTo>
                  <a:pt x="523" y="284"/>
                  <a:pt x="523" y="284"/>
                  <a:pt x="522" y="284"/>
                </a:cubicBezTo>
                <a:cubicBezTo>
                  <a:pt x="522" y="283"/>
                  <a:pt x="522" y="282"/>
                  <a:pt x="522" y="282"/>
                </a:cubicBezTo>
                <a:cubicBezTo>
                  <a:pt x="521" y="280"/>
                  <a:pt x="522" y="279"/>
                  <a:pt x="522" y="277"/>
                </a:cubicBezTo>
                <a:cubicBezTo>
                  <a:pt x="522" y="276"/>
                  <a:pt x="521" y="275"/>
                  <a:pt x="520" y="275"/>
                </a:cubicBezTo>
                <a:cubicBezTo>
                  <a:pt x="519" y="275"/>
                  <a:pt x="518" y="275"/>
                  <a:pt x="518" y="275"/>
                </a:cubicBezTo>
                <a:cubicBezTo>
                  <a:pt x="517" y="274"/>
                  <a:pt x="518" y="273"/>
                  <a:pt x="517" y="273"/>
                </a:cubicBezTo>
                <a:cubicBezTo>
                  <a:pt x="516" y="272"/>
                  <a:pt x="516" y="273"/>
                  <a:pt x="516" y="272"/>
                </a:cubicBezTo>
                <a:cubicBezTo>
                  <a:pt x="516" y="272"/>
                  <a:pt x="516" y="272"/>
                  <a:pt x="515" y="271"/>
                </a:cubicBezTo>
                <a:cubicBezTo>
                  <a:pt x="514" y="271"/>
                  <a:pt x="514" y="271"/>
                  <a:pt x="513" y="271"/>
                </a:cubicBezTo>
                <a:cubicBezTo>
                  <a:pt x="512" y="270"/>
                  <a:pt x="512" y="270"/>
                  <a:pt x="511" y="270"/>
                </a:cubicBezTo>
                <a:cubicBezTo>
                  <a:pt x="510" y="270"/>
                  <a:pt x="508" y="269"/>
                  <a:pt x="510" y="268"/>
                </a:cubicBezTo>
                <a:cubicBezTo>
                  <a:pt x="510" y="267"/>
                  <a:pt x="509" y="268"/>
                  <a:pt x="508" y="268"/>
                </a:cubicBezTo>
                <a:cubicBezTo>
                  <a:pt x="508" y="268"/>
                  <a:pt x="508" y="268"/>
                  <a:pt x="507" y="267"/>
                </a:cubicBezTo>
                <a:cubicBezTo>
                  <a:pt x="507" y="267"/>
                  <a:pt x="507" y="267"/>
                  <a:pt x="507" y="267"/>
                </a:cubicBezTo>
                <a:cubicBezTo>
                  <a:pt x="506" y="266"/>
                  <a:pt x="505" y="266"/>
                  <a:pt x="504" y="266"/>
                </a:cubicBezTo>
                <a:cubicBezTo>
                  <a:pt x="503" y="266"/>
                  <a:pt x="503" y="266"/>
                  <a:pt x="502" y="266"/>
                </a:cubicBezTo>
                <a:cubicBezTo>
                  <a:pt x="500" y="266"/>
                  <a:pt x="499" y="266"/>
                  <a:pt x="498" y="267"/>
                </a:cubicBezTo>
                <a:cubicBezTo>
                  <a:pt x="498" y="267"/>
                  <a:pt x="497" y="266"/>
                  <a:pt x="497" y="267"/>
                </a:cubicBezTo>
                <a:cubicBezTo>
                  <a:pt x="497" y="268"/>
                  <a:pt x="498" y="268"/>
                  <a:pt x="498" y="268"/>
                </a:cubicBezTo>
                <a:cubicBezTo>
                  <a:pt x="498" y="268"/>
                  <a:pt x="498" y="269"/>
                  <a:pt x="499" y="269"/>
                </a:cubicBezTo>
                <a:cubicBezTo>
                  <a:pt x="499" y="269"/>
                  <a:pt x="499" y="269"/>
                  <a:pt x="500" y="269"/>
                </a:cubicBezTo>
                <a:cubicBezTo>
                  <a:pt x="500" y="269"/>
                  <a:pt x="500" y="270"/>
                  <a:pt x="501" y="270"/>
                </a:cubicBezTo>
                <a:cubicBezTo>
                  <a:pt x="501" y="270"/>
                  <a:pt x="501" y="270"/>
                  <a:pt x="502" y="270"/>
                </a:cubicBezTo>
                <a:cubicBezTo>
                  <a:pt x="503" y="271"/>
                  <a:pt x="502" y="272"/>
                  <a:pt x="503" y="272"/>
                </a:cubicBezTo>
                <a:cubicBezTo>
                  <a:pt x="504" y="272"/>
                  <a:pt x="505" y="271"/>
                  <a:pt x="507" y="271"/>
                </a:cubicBezTo>
                <a:cubicBezTo>
                  <a:pt x="507" y="271"/>
                  <a:pt x="508" y="272"/>
                  <a:pt x="508" y="273"/>
                </a:cubicBezTo>
                <a:cubicBezTo>
                  <a:pt x="507" y="273"/>
                  <a:pt x="506" y="273"/>
                  <a:pt x="506" y="273"/>
                </a:cubicBezTo>
                <a:cubicBezTo>
                  <a:pt x="505" y="273"/>
                  <a:pt x="504" y="273"/>
                  <a:pt x="504" y="273"/>
                </a:cubicBezTo>
                <a:cubicBezTo>
                  <a:pt x="504" y="273"/>
                  <a:pt x="503" y="272"/>
                  <a:pt x="503" y="273"/>
                </a:cubicBezTo>
                <a:cubicBezTo>
                  <a:pt x="502" y="273"/>
                  <a:pt x="503" y="273"/>
                  <a:pt x="503" y="273"/>
                </a:cubicBezTo>
                <a:cubicBezTo>
                  <a:pt x="504" y="273"/>
                  <a:pt x="505" y="274"/>
                  <a:pt x="506" y="274"/>
                </a:cubicBezTo>
                <a:cubicBezTo>
                  <a:pt x="506" y="274"/>
                  <a:pt x="506" y="275"/>
                  <a:pt x="506" y="275"/>
                </a:cubicBezTo>
                <a:cubicBezTo>
                  <a:pt x="507" y="275"/>
                  <a:pt x="507" y="276"/>
                  <a:pt x="507" y="276"/>
                </a:cubicBezTo>
                <a:cubicBezTo>
                  <a:pt x="509" y="277"/>
                  <a:pt x="507" y="277"/>
                  <a:pt x="507" y="277"/>
                </a:cubicBezTo>
                <a:cubicBezTo>
                  <a:pt x="506" y="278"/>
                  <a:pt x="505" y="277"/>
                  <a:pt x="504" y="277"/>
                </a:cubicBezTo>
                <a:cubicBezTo>
                  <a:pt x="504" y="277"/>
                  <a:pt x="504" y="277"/>
                  <a:pt x="503" y="277"/>
                </a:cubicBezTo>
                <a:cubicBezTo>
                  <a:pt x="503" y="277"/>
                  <a:pt x="503" y="276"/>
                  <a:pt x="502" y="276"/>
                </a:cubicBezTo>
                <a:cubicBezTo>
                  <a:pt x="502" y="276"/>
                  <a:pt x="501" y="277"/>
                  <a:pt x="501" y="276"/>
                </a:cubicBezTo>
                <a:cubicBezTo>
                  <a:pt x="500" y="276"/>
                  <a:pt x="499" y="276"/>
                  <a:pt x="499" y="275"/>
                </a:cubicBezTo>
                <a:cubicBezTo>
                  <a:pt x="499" y="275"/>
                  <a:pt x="498" y="275"/>
                  <a:pt x="498" y="275"/>
                </a:cubicBezTo>
                <a:cubicBezTo>
                  <a:pt x="497" y="275"/>
                  <a:pt x="497" y="276"/>
                  <a:pt x="496" y="276"/>
                </a:cubicBezTo>
                <a:cubicBezTo>
                  <a:pt x="496" y="276"/>
                  <a:pt x="495" y="277"/>
                  <a:pt x="495" y="277"/>
                </a:cubicBezTo>
                <a:cubicBezTo>
                  <a:pt x="494" y="277"/>
                  <a:pt x="494" y="277"/>
                  <a:pt x="494" y="278"/>
                </a:cubicBezTo>
                <a:cubicBezTo>
                  <a:pt x="494" y="278"/>
                  <a:pt x="493" y="279"/>
                  <a:pt x="493" y="279"/>
                </a:cubicBezTo>
                <a:cubicBezTo>
                  <a:pt x="493" y="279"/>
                  <a:pt x="493" y="280"/>
                  <a:pt x="493" y="280"/>
                </a:cubicBezTo>
                <a:cubicBezTo>
                  <a:pt x="493" y="280"/>
                  <a:pt x="493" y="281"/>
                  <a:pt x="492" y="281"/>
                </a:cubicBezTo>
                <a:cubicBezTo>
                  <a:pt x="492" y="280"/>
                  <a:pt x="492" y="280"/>
                  <a:pt x="492" y="280"/>
                </a:cubicBezTo>
                <a:cubicBezTo>
                  <a:pt x="492" y="280"/>
                  <a:pt x="491" y="280"/>
                  <a:pt x="491" y="280"/>
                </a:cubicBezTo>
                <a:cubicBezTo>
                  <a:pt x="491" y="280"/>
                  <a:pt x="490" y="280"/>
                  <a:pt x="490" y="280"/>
                </a:cubicBezTo>
                <a:cubicBezTo>
                  <a:pt x="490" y="279"/>
                  <a:pt x="490" y="279"/>
                  <a:pt x="490" y="278"/>
                </a:cubicBezTo>
                <a:cubicBezTo>
                  <a:pt x="491" y="278"/>
                  <a:pt x="491" y="278"/>
                  <a:pt x="490" y="278"/>
                </a:cubicBezTo>
                <a:cubicBezTo>
                  <a:pt x="490" y="278"/>
                  <a:pt x="490" y="278"/>
                  <a:pt x="489" y="278"/>
                </a:cubicBezTo>
                <a:cubicBezTo>
                  <a:pt x="489" y="279"/>
                  <a:pt x="488" y="278"/>
                  <a:pt x="488" y="279"/>
                </a:cubicBezTo>
                <a:cubicBezTo>
                  <a:pt x="488" y="280"/>
                  <a:pt x="488" y="281"/>
                  <a:pt x="487" y="282"/>
                </a:cubicBezTo>
                <a:cubicBezTo>
                  <a:pt x="487" y="282"/>
                  <a:pt x="487" y="282"/>
                  <a:pt x="487" y="282"/>
                </a:cubicBezTo>
                <a:cubicBezTo>
                  <a:pt x="487" y="282"/>
                  <a:pt x="486" y="282"/>
                  <a:pt x="486" y="282"/>
                </a:cubicBezTo>
                <a:cubicBezTo>
                  <a:pt x="486" y="282"/>
                  <a:pt x="486" y="283"/>
                  <a:pt x="486" y="283"/>
                </a:cubicBezTo>
                <a:cubicBezTo>
                  <a:pt x="485" y="282"/>
                  <a:pt x="486" y="281"/>
                  <a:pt x="486" y="281"/>
                </a:cubicBezTo>
                <a:cubicBezTo>
                  <a:pt x="485" y="280"/>
                  <a:pt x="485" y="280"/>
                  <a:pt x="484" y="280"/>
                </a:cubicBezTo>
                <a:cubicBezTo>
                  <a:pt x="484" y="279"/>
                  <a:pt x="485" y="279"/>
                  <a:pt x="486" y="279"/>
                </a:cubicBezTo>
                <a:cubicBezTo>
                  <a:pt x="486" y="279"/>
                  <a:pt x="487" y="279"/>
                  <a:pt x="488" y="278"/>
                </a:cubicBezTo>
                <a:cubicBezTo>
                  <a:pt x="488" y="278"/>
                  <a:pt x="488" y="277"/>
                  <a:pt x="489" y="276"/>
                </a:cubicBezTo>
                <a:cubicBezTo>
                  <a:pt x="489" y="276"/>
                  <a:pt x="489" y="276"/>
                  <a:pt x="490" y="276"/>
                </a:cubicBezTo>
                <a:cubicBezTo>
                  <a:pt x="490" y="276"/>
                  <a:pt x="491" y="276"/>
                  <a:pt x="491" y="275"/>
                </a:cubicBezTo>
                <a:cubicBezTo>
                  <a:pt x="491" y="275"/>
                  <a:pt x="488" y="273"/>
                  <a:pt x="487" y="273"/>
                </a:cubicBezTo>
                <a:cubicBezTo>
                  <a:pt x="486" y="272"/>
                  <a:pt x="484" y="271"/>
                  <a:pt x="482" y="271"/>
                </a:cubicBezTo>
                <a:cubicBezTo>
                  <a:pt x="481" y="270"/>
                  <a:pt x="481" y="270"/>
                  <a:pt x="480" y="270"/>
                </a:cubicBezTo>
                <a:cubicBezTo>
                  <a:pt x="479" y="269"/>
                  <a:pt x="478" y="269"/>
                  <a:pt x="477" y="268"/>
                </a:cubicBezTo>
                <a:cubicBezTo>
                  <a:pt x="476" y="268"/>
                  <a:pt x="475" y="268"/>
                  <a:pt x="474" y="267"/>
                </a:cubicBezTo>
                <a:cubicBezTo>
                  <a:pt x="474" y="267"/>
                  <a:pt x="473" y="266"/>
                  <a:pt x="472" y="266"/>
                </a:cubicBezTo>
                <a:cubicBezTo>
                  <a:pt x="471" y="266"/>
                  <a:pt x="470" y="266"/>
                  <a:pt x="469" y="266"/>
                </a:cubicBezTo>
                <a:cubicBezTo>
                  <a:pt x="468" y="267"/>
                  <a:pt x="468" y="267"/>
                  <a:pt x="467" y="268"/>
                </a:cubicBezTo>
                <a:cubicBezTo>
                  <a:pt x="467" y="269"/>
                  <a:pt x="466" y="269"/>
                  <a:pt x="466" y="269"/>
                </a:cubicBezTo>
                <a:cubicBezTo>
                  <a:pt x="465" y="270"/>
                  <a:pt x="464" y="270"/>
                  <a:pt x="464" y="271"/>
                </a:cubicBezTo>
                <a:cubicBezTo>
                  <a:pt x="465" y="272"/>
                  <a:pt x="466" y="271"/>
                  <a:pt x="466" y="271"/>
                </a:cubicBezTo>
                <a:cubicBezTo>
                  <a:pt x="466" y="272"/>
                  <a:pt x="466" y="273"/>
                  <a:pt x="466" y="273"/>
                </a:cubicBezTo>
                <a:cubicBezTo>
                  <a:pt x="465" y="273"/>
                  <a:pt x="465" y="273"/>
                  <a:pt x="465" y="273"/>
                </a:cubicBezTo>
                <a:cubicBezTo>
                  <a:pt x="464" y="273"/>
                  <a:pt x="464" y="273"/>
                  <a:pt x="464" y="273"/>
                </a:cubicBezTo>
                <a:cubicBezTo>
                  <a:pt x="462" y="273"/>
                  <a:pt x="460" y="273"/>
                  <a:pt x="459" y="274"/>
                </a:cubicBezTo>
                <a:cubicBezTo>
                  <a:pt x="458" y="274"/>
                  <a:pt x="457" y="275"/>
                  <a:pt x="456" y="275"/>
                </a:cubicBezTo>
                <a:cubicBezTo>
                  <a:pt x="456" y="275"/>
                  <a:pt x="454" y="275"/>
                  <a:pt x="454" y="275"/>
                </a:cubicBezTo>
                <a:cubicBezTo>
                  <a:pt x="454" y="274"/>
                  <a:pt x="456" y="274"/>
                  <a:pt x="456" y="274"/>
                </a:cubicBezTo>
                <a:cubicBezTo>
                  <a:pt x="457" y="273"/>
                  <a:pt x="456" y="272"/>
                  <a:pt x="456" y="272"/>
                </a:cubicBezTo>
                <a:cubicBezTo>
                  <a:pt x="457" y="271"/>
                  <a:pt x="457" y="271"/>
                  <a:pt x="458" y="270"/>
                </a:cubicBezTo>
                <a:cubicBezTo>
                  <a:pt x="459" y="270"/>
                  <a:pt x="460" y="271"/>
                  <a:pt x="460" y="270"/>
                </a:cubicBezTo>
                <a:cubicBezTo>
                  <a:pt x="461" y="270"/>
                  <a:pt x="460" y="270"/>
                  <a:pt x="460" y="269"/>
                </a:cubicBezTo>
                <a:cubicBezTo>
                  <a:pt x="459" y="269"/>
                  <a:pt x="459" y="269"/>
                  <a:pt x="459" y="268"/>
                </a:cubicBezTo>
                <a:cubicBezTo>
                  <a:pt x="459" y="268"/>
                  <a:pt x="460" y="268"/>
                  <a:pt x="460" y="267"/>
                </a:cubicBezTo>
                <a:cubicBezTo>
                  <a:pt x="460" y="267"/>
                  <a:pt x="460" y="266"/>
                  <a:pt x="460" y="266"/>
                </a:cubicBezTo>
                <a:cubicBezTo>
                  <a:pt x="460" y="265"/>
                  <a:pt x="460" y="265"/>
                  <a:pt x="460" y="264"/>
                </a:cubicBezTo>
                <a:cubicBezTo>
                  <a:pt x="460" y="263"/>
                  <a:pt x="460" y="262"/>
                  <a:pt x="459" y="262"/>
                </a:cubicBezTo>
                <a:cubicBezTo>
                  <a:pt x="459" y="261"/>
                  <a:pt x="458" y="261"/>
                  <a:pt x="457" y="260"/>
                </a:cubicBezTo>
                <a:cubicBezTo>
                  <a:pt x="457" y="260"/>
                  <a:pt x="456" y="259"/>
                  <a:pt x="455" y="259"/>
                </a:cubicBezTo>
                <a:cubicBezTo>
                  <a:pt x="455" y="258"/>
                  <a:pt x="454" y="258"/>
                  <a:pt x="452" y="258"/>
                </a:cubicBezTo>
                <a:cubicBezTo>
                  <a:pt x="451" y="258"/>
                  <a:pt x="450" y="258"/>
                  <a:pt x="449" y="259"/>
                </a:cubicBezTo>
                <a:cubicBezTo>
                  <a:pt x="447" y="260"/>
                  <a:pt x="445" y="260"/>
                  <a:pt x="442" y="261"/>
                </a:cubicBezTo>
                <a:cubicBezTo>
                  <a:pt x="441" y="261"/>
                  <a:pt x="440" y="262"/>
                  <a:pt x="439" y="262"/>
                </a:cubicBezTo>
                <a:cubicBezTo>
                  <a:pt x="438" y="262"/>
                  <a:pt x="437" y="262"/>
                  <a:pt x="435" y="263"/>
                </a:cubicBezTo>
                <a:cubicBezTo>
                  <a:pt x="434" y="263"/>
                  <a:pt x="434" y="263"/>
                  <a:pt x="433" y="264"/>
                </a:cubicBezTo>
                <a:cubicBezTo>
                  <a:pt x="432" y="264"/>
                  <a:pt x="432" y="264"/>
                  <a:pt x="431" y="265"/>
                </a:cubicBezTo>
                <a:cubicBezTo>
                  <a:pt x="431" y="265"/>
                  <a:pt x="430" y="265"/>
                  <a:pt x="430" y="265"/>
                </a:cubicBezTo>
                <a:cubicBezTo>
                  <a:pt x="429" y="266"/>
                  <a:pt x="428" y="266"/>
                  <a:pt x="426" y="267"/>
                </a:cubicBezTo>
                <a:cubicBezTo>
                  <a:pt x="426" y="267"/>
                  <a:pt x="425" y="267"/>
                  <a:pt x="424" y="267"/>
                </a:cubicBezTo>
                <a:cubicBezTo>
                  <a:pt x="422" y="268"/>
                  <a:pt x="420" y="269"/>
                  <a:pt x="419" y="270"/>
                </a:cubicBezTo>
                <a:cubicBezTo>
                  <a:pt x="418" y="271"/>
                  <a:pt x="417" y="271"/>
                  <a:pt x="417" y="272"/>
                </a:cubicBezTo>
                <a:cubicBezTo>
                  <a:pt x="416" y="272"/>
                  <a:pt x="415" y="273"/>
                  <a:pt x="414" y="273"/>
                </a:cubicBezTo>
                <a:cubicBezTo>
                  <a:pt x="413" y="273"/>
                  <a:pt x="412" y="274"/>
                  <a:pt x="411" y="275"/>
                </a:cubicBezTo>
                <a:cubicBezTo>
                  <a:pt x="410" y="275"/>
                  <a:pt x="409" y="276"/>
                  <a:pt x="408" y="277"/>
                </a:cubicBezTo>
                <a:cubicBezTo>
                  <a:pt x="408" y="277"/>
                  <a:pt x="407" y="278"/>
                  <a:pt x="408" y="279"/>
                </a:cubicBezTo>
                <a:cubicBezTo>
                  <a:pt x="408" y="280"/>
                  <a:pt x="409" y="280"/>
                  <a:pt x="410" y="280"/>
                </a:cubicBezTo>
                <a:cubicBezTo>
                  <a:pt x="411" y="280"/>
                  <a:pt x="411" y="280"/>
                  <a:pt x="412" y="280"/>
                </a:cubicBezTo>
                <a:cubicBezTo>
                  <a:pt x="413" y="280"/>
                  <a:pt x="412" y="281"/>
                  <a:pt x="411" y="282"/>
                </a:cubicBezTo>
                <a:cubicBezTo>
                  <a:pt x="410" y="282"/>
                  <a:pt x="410" y="282"/>
                  <a:pt x="409" y="283"/>
                </a:cubicBezTo>
                <a:cubicBezTo>
                  <a:pt x="408" y="283"/>
                  <a:pt x="407" y="284"/>
                  <a:pt x="407" y="284"/>
                </a:cubicBezTo>
                <a:cubicBezTo>
                  <a:pt x="406" y="285"/>
                  <a:pt x="406" y="286"/>
                  <a:pt x="405" y="286"/>
                </a:cubicBezTo>
                <a:cubicBezTo>
                  <a:pt x="404" y="287"/>
                  <a:pt x="403" y="288"/>
                  <a:pt x="403" y="289"/>
                </a:cubicBezTo>
                <a:cubicBezTo>
                  <a:pt x="402" y="290"/>
                  <a:pt x="402" y="291"/>
                  <a:pt x="401" y="291"/>
                </a:cubicBezTo>
                <a:cubicBezTo>
                  <a:pt x="401" y="292"/>
                  <a:pt x="402" y="293"/>
                  <a:pt x="402" y="294"/>
                </a:cubicBezTo>
                <a:cubicBezTo>
                  <a:pt x="402" y="294"/>
                  <a:pt x="401" y="295"/>
                  <a:pt x="402" y="295"/>
                </a:cubicBezTo>
                <a:cubicBezTo>
                  <a:pt x="402" y="295"/>
                  <a:pt x="403" y="295"/>
                  <a:pt x="403" y="295"/>
                </a:cubicBezTo>
                <a:cubicBezTo>
                  <a:pt x="403" y="295"/>
                  <a:pt x="404" y="295"/>
                  <a:pt x="404" y="295"/>
                </a:cubicBezTo>
                <a:cubicBezTo>
                  <a:pt x="404" y="295"/>
                  <a:pt x="404" y="295"/>
                  <a:pt x="405" y="295"/>
                </a:cubicBezTo>
                <a:cubicBezTo>
                  <a:pt x="405" y="294"/>
                  <a:pt x="406" y="295"/>
                  <a:pt x="406" y="295"/>
                </a:cubicBezTo>
                <a:cubicBezTo>
                  <a:pt x="406" y="295"/>
                  <a:pt x="407" y="295"/>
                  <a:pt x="407" y="295"/>
                </a:cubicBezTo>
                <a:cubicBezTo>
                  <a:pt x="408" y="295"/>
                  <a:pt x="408" y="295"/>
                  <a:pt x="408" y="295"/>
                </a:cubicBezTo>
                <a:cubicBezTo>
                  <a:pt x="409" y="295"/>
                  <a:pt x="409" y="295"/>
                  <a:pt x="410" y="296"/>
                </a:cubicBezTo>
                <a:cubicBezTo>
                  <a:pt x="410" y="296"/>
                  <a:pt x="409" y="296"/>
                  <a:pt x="410" y="297"/>
                </a:cubicBezTo>
                <a:cubicBezTo>
                  <a:pt x="410" y="297"/>
                  <a:pt x="410" y="296"/>
                  <a:pt x="411" y="296"/>
                </a:cubicBezTo>
                <a:cubicBezTo>
                  <a:pt x="412" y="295"/>
                  <a:pt x="413" y="294"/>
                  <a:pt x="415" y="295"/>
                </a:cubicBezTo>
                <a:cubicBezTo>
                  <a:pt x="415" y="296"/>
                  <a:pt x="412" y="297"/>
                  <a:pt x="411" y="298"/>
                </a:cubicBezTo>
                <a:cubicBezTo>
                  <a:pt x="411" y="298"/>
                  <a:pt x="410" y="299"/>
                  <a:pt x="411" y="300"/>
                </a:cubicBezTo>
                <a:cubicBezTo>
                  <a:pt x="411" y="300"/>
                  <a:pt x="411" y="300"/>
                  <a:pt x="411" y="300"/>
                </a:cubicBezTo>
                <a:cubicBezTo>
                  <a:pt x="411" y="300"/>
                  <a:pt x="411" y="300"/>
                  <a:pt x="412" y="301"/>
                </a:cubicBezTo>
                <a:cubicBezTo>
                  <a:pt x="412" y="301"/>
                  <a:pt x="413" y="301"/>
                  <a:pt x="413" y="301"/>
                </a:cubicBezTo>
                <a:cubicBezTo>
                  <a:pt x="414" y="301"/>
                  <a:pt x="415" y="301"/>
                  <a:pt x="415" y="301"/>
                </a:cubicBezTo>
                <a:cubicBezTo>
                  <a:pt x="416" y="301"/>
                  <a:pt x="417" y="301"/>
                  <a:pt x="418" y="301"/>
                </a:cubicBezTo>
                <a:cubicBezTo>
                  <a:pt x="419" y="301"/>
                  <a:pt x="420" y="301"/>
                  <a:pt x="420" y="300"/>
                </a:cubicBezTo>
                <a:cubicBezTo>
                  <a:pt x="420" y="300"/>
                  <a:pt x="420" y="299"/>
                  <a:pt x="420" y="298"/>
                </a:cubicBezTo>
                <a:cubicBezTo>
                  <a:pt x="420" y="298"/>
                  <a:pt x="421" y="298"/>
                  <a:pt x="421" y="299"/>
                </a:cubicBezTo>
                <a:cubicBezTo>
                  <a:pt x="421" y="299"/>
                  <a:pt x="420" y="300"/>
                  <a:pt x="421" y="300"/>
                </a:cubicBezTo>
                <a:cubicBezTo>
                  <a:pt x="421" y="300"/>
                  <a:pt x="422" y="300"/>
                  <a:pt x="423" y="300"/>
                </a:cubicBezTo>
                <a:cubicBezTo>
                  <a:pt x="423" y="300"/>
                  <a:pt x="424" y="300"/>
                  <a:pt x="424" y="299"/>
                </a:cubicBezTo>
                <a:cubicBezTo>
                  <a:pt x="426" y="299"/>
                  <a:pt x="428" y="299"/>
                  <a:pt x="429" y="299"/>
                </a:cubicBezTo>
                <a:cubicBezTo>
                  <a:pt x="430" y="299"/>
                  <a:pt x="431" y="299"/>
                  <a:pt x="432" y="298"/>
                </a:cubicBezTo>
                <a:cubicBezTo>
                  <a:pt x="433" y="298"/>
                  <a:pt x="433" y="298"/>
                  <a:pt x="434" y="298"/>
                </a:cubicBezTo>
                <a:cubicBezTo>
                  <a:pt x="434" y="298"/>
                  <a:pt x="436" y="298"/>
                  <a:pt x="436" y="298"/>
                </a:cubicBezTo>
                <a:cubicBezTo>
                  <a:pt x="436" y="298"/>
                  <a:pt x="435" y="298"/>
                  <a:pt x="435" y="299"/>
                </a:cubicBezTo>
                <a:cubicBezTo>
                  <a:pt x="434" y="299"/>
                  <a:pt x="434" y="299"/>
                  <a:pt x="433" y="300"/>
                </a:cubicBezTo>
                <a:cubicBezTo>
                  <a:pt x="432" y="300"/>
                  <a:pt x="431" y="300"/>
                  <a:pt x="430" y="300"/>
                </a:cubicBezTo>
                <a:cubicBezTo>
                  <a:pt x="429" y="301"/>
                  <a:pt x="428" y="301"/>
                  <a:pt x="427" y="302"/>
                </a:cubicBezTo>
                <a:cubicBezTo>
                  <a:pt x="426" y="302"/>
                  <a:pt x="426" y="302"/>
                  <a:pt x="425" y="302"/>
                </a:cubicBezTo>
                <a:cubicBezTo>
                  <a:pt x="423" y="303"/>
                  <a:pt x="421" y="304"/>
                  <a:pt x="419" y="305"/>
                </a:cubicBezTo>
                <a:cubicBezTo>
                  <a:pt x="417" y="305"/>
                  <a:pt x="416" y="306"/>
                  <a:pt x="414" y="307"/>
                </a:cubicBezTo>
                <a:cubicBezTo>
                  <a:pt x="413" y="307"/>
                  <a:pt x="411" y="307"/>
                  <a:pt x="410" y="308"/>
                </a:cubicBezTo>
                <a:cubicBezTo>
                  <a:pt x="409" y="308"/>
                  <a:pt x="410" y="309"/>
                  <a:pt x="410" y="310"/>
                </a:cubicBezTo>
                <a:cubicBezTo>
                  <a:pt x="411" y="310"/>
                  <a:pt x="411" y="311"/>
                  <a:pt x="412" y="312"/>
                </a:cubicBezTo>
                <a:cubicBezTo>
                  <a:pt x="412" y="312"/>
                  <a:pt x="413" y="312"/>
                  <a:pt x="414" y="313"/>
                </a:cubicBezTo>
                <a:cubicBezTo>
                  <a:pt x="415" y="313"/>
                  <a:pt x="415" y="313"/>
                  <a:pt x="416" y="313"/>
                </a:cubicBezTo>
                <a:cubicBezTo>
                  <a:pt x="416" y="314"/>
                  <a:pt x="417" y="314"/>
                  <a:pt x="417" y="314"/>
                </a:cubicBezTo>
                <a:cubicBezTo>
                  <a:pt x="417" y="314"/>
                  <a:pt x="417" y="315"/>
                  <a:pt x="418" y="315"/>
                </a:cubicBezTo>
                <a:cubicBezTo>
                  <a:pt x="418" y="317"/>
                  <a:pt x="420" y="316"/>
                  <a:pt x="422" y="316"/>
                </a:cubicBezTo>
                <a:cubicBezTo>
                  <a:pt x="423" y="316"/>
                  <a:pt x="424" y="316"/>
                  <a:pt x="424" y="316"/>
                </a:cubicBezTo>
                <a:cubicBezTo>
                  <a:pt x="425" y="317"/>
                  <a:pt x="426" y="317"/>
                  <a:pt x="427" y="317"/>
                </a:cubicBezTo>
                <a:cubicBezTo>
                  <a:pt x="428" y="317"/>
                  <a:pt x="429" y="316"/>
                  <a:pt x="431" y="316"/>
                </a:cubicBezTo>
                <a:cubicBezTo>
                  <a:pt x="432" y="316"/>
                  <a:pt x="433" y="316"/>
                  <a:pt x="434" y="316"/>
                </a:cubicBezTo>
                <a:cubicBezTo>
                  <a:pt x="435" y="316"/>
                  <a:pt x="435" y="317"/>
                  <a:pt x="436" y="317"/>
                </a:cubicBezTo>
                <a:cubicBezTo>
                  <a:pt x="437" y="317"/>
                  <a:pt x="438" y="317"/>
                  <a:pt x="439" y="317"/>
                </a:cubicBezTo>
                <a:cubicBezTo>
                  <a:pt x="440" y="317"/>
                  <a:pt x="441" y="317"/>
                  <a:pt x="442" y="317"/>
                </a:cubicBezTo>
                <a:cubicBezTo>
                  <a:pt x="443" y="317"/>
                  <a:pt x="444" y="317"/>
                  <a:pt x="445" y="317"/>
                </a:cubicBezTo>
                <a:cubicBezTo>
                  <a:pt x="446" y="317"/>
                  <a:pt x="447" y="317"/>
                  <a:pt x="448" y="317"/>
                </a:cubicBezTo>
                <a:cubicBezTo>
                  <a:pt x="449" y="317"/>
                  <a:pt x="450" y="317"/>
                  <a:pt x="451" y="317"/>
                </a:cubicBezTo>
                <a:cubicBezTo>
                  <a:pt x="452" y="316"/>
                  <a:pt x="453" y="316"/>
                  <a:pt x="454" y="316"/>
                </a:cubicBezTo>
                <a:cubicBezTo>
                  <a:pt x="455" y="315"/>
                  <a:pt x="455" y="315"/>
                  <a:pt x="456" y="315"/>
                </a:cubicBezTo>
                <a:cubicBezTo>
                  <a:pt x="457" y="315"/>
                  <a:pt x="458" y="315"/>
                  <a:pt x="459" y="315"/>
                </a:cubicBezTo>
                <a:cubicBezTo>
                  <a:pt x="460" y="314"/>
                  <a:pt x="461" y="314"/>
                  <a:pt x="461" y="315"/>
                </a:cubicBezTo>
                <a:cubicBezTo>
                  <a:pt x="462" y="315"/>
                  <a:pt x="463" y="315"/>
                  <a:pt x="463" y="316"/>
                </a:cubicBezTo>
                <a:cubicBezTo>
                  <a:pt x="464" y="316"/>
                  <a:pt x="465" y="316"/>
                  <a:pt x="466" y="316"/>
                </a:cubicBezTo>
                <a:cubicBezTo>
                  <a:pt x="467" y="315"/>
                  <a:pt x="468" y="316"/>
                  <a:pt x="468" y="316"/>
                </a:cubicBezTo>
                <a:cubicBezTo>
                  <a:pt x="469" y="316"/>
                  <a:pt x="470" y="316"/>
                  <a:pt x="471" y="317"/>
                </a:cubicBezTo>
                <a:cubicBezTo>
                  <a:pt x="471" y="317"/>
                  <a:pt x="472" y="318"/>
                  <a:pt x="473" y="318"/>
                </a:cubicBezTo>
                <a:cubicBezTo>
                  <a:pt x="473" y="318"/>
                  <a:pt x="473" y="317"/>
                  <a:pt x="474" y="317"/>
                </a:cubicBezTo>
                <a:cubicBezTo>
                  <a:pt x="474" y="317"/>
                  <a:pt x="474" y="318"/>
                  <a:pt x="475" y="318"/>
                </a:cubicBezTo>
                <a:cubicBezTo>
                  <a:pt x="476" y="318"/>
                  <a:pt x="476" y="318"/>
                  <a:pt x="477" y="318"/>
                </a:cubicBezTo>
                <a:cubicBezTo>
                  <a:pt x="479" y="318"/>
                  <a:pt x="481" y="318"/>
                  <a:pt x="482" y="320"/>
                </a:cubicBezTo>
                <a:cubicBezTo>
                  <a:pt x="482" y="321"/>
                  <a:pt x="482" y="321"/>
                  <a:pt x="483" y="322"/>
                </a:cubicBezTo>
                <a:cubicBezTo>
                  <a:pt x="484" y="322"/>
                  <a:pt x="484" y="322"/>
                  <a:pt x="484" y="322"/>
                </a:cubicBezTo>
                <a:cubicBezTo>
                  <a:pt x="485" y="322"/>
                  <a:pt x="486" y="322"/>
                  <a:pt x="486" y="322"/>
                </a:cubicBezTo>
                <a:cubicBezTo>
                  <a:pt x="486" y="322"/>
                  <a:pt x="487" y="322"/>
                  <a:pt x="487" y="322"/>
                </a:cubicBezTo>
                <a:cubicBezTo>
                  <a:pt x="487" y="322"/>
                  <a:pt x="487" y="322"/>
                  <a:pt x="487" y="323"/>
                </a:cubicBezTo>
                <a:cubicBezTo>
                  <a:pt x="488" y="323"/>
                  <a:pt x="488" y="323"/>
                  <a:pt x="488" y="323"/>
                </a:cubicBezTo>
                <a:cubicBezTo>
                  <a:pt x="488" y="324"/>
                  <a:pt x="483" y="323"/>
                  <a:pt x="483" y="323"/>
                </a:cubicBezTo>
                <a:cubicBezTo>
                  <a:pt x="482" y="323"/>
                  <a:pt x="482" y="323"/>
                  <a:pt x="481" y="323"/>
                </a:cubicBezTo>
                <a:cubicBezTo>
                  <a:pt x="480" y="323"/>
                  <a:pt x="479" y="324"/>
                  <a:pt x="478" y="324"/>
                </a:cubicBezTo>
                <a:cubicBezTo>
                  <a:pt x="477" y="325"/>
                  <a:pt x="476" y="325"/>
                  <a:pt x="474" y="324"/>
                </a:cubicBezTo>
                <a:cubicBezTo>
                  <a:pt x="474" y="324"/>
                  <a:pt x="474" y="324"/>
                  <a:pt x="474" y="324"/>
                </a:cubicBezTo>
                <a:cubicBezTo>
                  <a:pt x="473" y="324"/>
                  <a:pt x="473" y="324"/>
                  <a:pt x="472" y="324"/>
                </a:cubicBezTo>
                <a:cubicBezTo>
                  <a:pt x="471" y="324"/>
                  <a:pt x="470" y="324"/>
                  <a:pt x="469" y="324"/>
                </a:cubicBezTo>
                <a:cubicBezTo>
                  <a:pt x="468" y="324"/>
                  <a:pt x="468" y="324"/>
                  <a:pt x="467" y="323"/>
                </a:cubicBezTo>
                <a:cubicBezTo>
                  <a:pt x="465" y="323"/>
                  <a:pt x="464" y="324"/>
                  <a:pt x="462" y="323"/>
                </a:cubicBezTo>
                <a:cubicBezTo>
                  <a:pt x="460" y="323"/>
                  <a:pt x="459" y="322"/>
                  <a:pt x="457" y="322"/>
                </a:cubicBezTo>
                <a:cubicBezTo>
                  <a:pt x="456" y="322"/>
                  <a:pt x="455" y="322"/>
                  <a:pt x="454" y="322"/>
                </a:cubicBezTo>
                <a:cubicBezTo>
                  <a:pt x="454" y="322"/>
                  <a:pt x="453" y="323"/>
                  <a:pt x="452" y="323"/>
                </a:cubicBezTo>
                <a:cubicBezTo>
                  <a:pt x="451" y="323"/>
                  <a:pt x="450" y="323"/>
                  <a:pt x="449" y="323"/>
                </a:cubicBezTo>
                <a:cubicBezTo>
                  <a:pt x="447" y="323"/>
                  <a:pt x="445" y="323"/>
                  <a:pt x="443" y="323"/>
                </a:cubicBezTo>
                <a:cubicBezTo>
                  <a:pt x="441" y="323"/>
                  <a:pt x="439" y="324"/>
                  <a:pt x="437" y="324"/>
                </a:cubicBezTo>
                <a:cubicBezTo>
                  <a:pt x="435" y="324"/>
                  <a:pt x="433" y="325"/>
                  <a:pt x="431" y="326"/>
                </a:cubicBezTo>
                <a:cubicBezTo>
                  <a:pt x="430" y="326"/>
                  <a:pt x="428" y="327"/>
                  <a:pt x="426" y="327"/>
                </a:cubicBezTo>
                <a:cubicBezTo>
                  <a:pt x="425" y="328"/>
                  <a:pt x="424" y="328"/>
                  <a:pt x="423" y="328"/>
                </a:cubicBezTo>
                <a:cubicBezTo>
                  <a:pt x="422" y="329"/>
                  <a:pt x="421" y="329"/>
                  <a:pt x="421" y="329"/>
                </a:cubicBezTo>
                <a:cubicBezTo>
                  <a:pt x="421" y="330"/>
                  <a:pt x="421" y="330"/>
                  <a:pt x="422" y="331"/>
                </a:cubicBezTo>
                <a:cubicBezTo>
                  <a:pt x="422" y="332"/>
                  <a:pt x="422" y="332"/>
                  <a:pt x="422" y="333"/>
                </a:cubicBezTo>
                <a:cubicBezTo>
                  <a:pt x="423" y="334"/>
                  <a:pt x="424" y="335"/>
                  <a:pt x="425" y="335"/>
                </a:cubicBezTo>
                <a:cubicBezTo>
                  <a:pt x="426" y="336"/>
                  <a:pt x="427" y="336"/>
                  <a:pt x="427" y="337"/>
                </a:cubicBezTo>
                <a:cubicBezTo>
                  <a:pt x="427" y="338"/>
                  <a:pt x="427" y="338"/>
                  <a:pt x="428" y="338"/>
                </a:cubicBezTo>
                <a:cubicBezTo>
                  <a:pt x="430" y="339"/>
                  <a:pt x="431" y="340"/>
                  <a:pt x="432" y="340"/>
                </a:cubicBezTo>
                <a:cubicBezTo>
                  <a:pt x="434" y="341"/>
                  <a:pt x="435" y="342"/>
                  <a:pt x="436" y="343"/>
                </a:cubicBezTo>
                <a:cubicBezTo>
                  <a:pt x="438" y="343"/>
                  <a:pt x="440" y="344"/>
                  <a:pt x="442" y="344"/>
                </a:cubicBezTo>
                <a:cubicBezTo>
                  <a:pt x="444" y="344"/>
                  <a:pt x="446" y="344"/>
                  <a:pt x="449" y="344"/>
                </a:cubicBezTo>
                <a:cubicBezTo>
                  <a:pt x="450" y="344"/>
                  <a:pt x="451" y="344"/>
                  <a:pt x="452" y="344"/>
                </a:cubicBezTo>
                <a:cubicBezTo>
                  <a:pt x="453" y="344"/>
                  <a:pt x="455" y="345"/>
                  <a:pt x="456" y="345"/>
                </a:cubicBezTo>
                <a:cubicBezTo>
                  <a:pt x="457" y="345"/>
                  <a:pt x="458" y="345"/>
                  <a:pt x="458" y="345"/>
                </a:cubicBezTo>
                <a:cubicBezTo>
                  <a:pt x="460" y="345"/>
                  <a:pt x="461" y="345"/>
                  <a:pt x="463" y="345"/>
                </a:cubicBezTo>
                <a:cubicBezTo>
                  <a:pt x="464" y="345"/>
                  <a:pt x="464" y="346"/>
                  <a:pt x="464" y="347"/>
                </a:cubicBezTo>
                <a:cubicBezTo>
                  <a:pt x="464" y="348"/>
                  <a:pt x="464" y="348"/>
                  <a:pt x="465" y="349"/>
                </a:cubicBezTo>
                <a:cubicBezTo>
                  <a:pt x="465" y="350"/>
                  <a:pt x="464" y="350"/>
                  <a:pt x="464" y="351"/>
                </a:cubicBezTo>
                <a:cubicBezTo>
                  <a:pt x="464" y="352"/>
                  <a:pt x="464" y="353"/>
                  <a:pt x="464" y="353"/>
                </a:cubicBezTo>
                <a:cubicBezTo>
                  <a:pt x="465" y="355"/>
                  <a:pt x="466" y="356"/>
                  <a:pt x="468" y="357"/>
                </a:cubicBezTo>
                <a:cubicBezTo>
                  <a:pt x="468" y="358"/>
                  <a:pt x="469" y="358"/>
                  <a:pt x="469" y="359"/>
                </a:cubicBezTo>
                <a:cubicBezTo>
                  <a:pt x="469" y="360"/>
                  <a:pt x="470" y="360"/>
                  <a:pt x="471" y="359"/>
                </a:cubicBezTo>
                <a:cubicBezTo>
                  <a:pt x="472" y="359"/>
                  <a:pt x="473" y="359"/>
                  <a:pt x="473" y="359"/>
                </a:cubicBezTo>
                <a:cubicBezTo>
                  <a:pt x="474" y="359"/>
                  <a:pt x="475" y="359"/>
                  <a:pt x="476" y="359"/>
                </a:cubicBezTo>
                <a:cubicBezTo>
                  <a:pt x="477" y="359"/>
                  <a:pt x="478" y="359"/>
                  <a:pt x="479" y="359"/>
                </a:cubicBezTo>
                <a:cubicBezTo>
                  <a:pt x="480" y="359"/>
                  <a:pt x="480" y="359"/>
                  <a:pt x="480" y="359"/>
                </a:cubicBezTo>
                <a:cubicBezTo>
                  <a:pt x="481" y="359"/>
                  <a:pt x="482" y="358"/>
                  <a:pt x="482" y="358"/>
                </a:cubicBezTo>
                <a:cubicBezTo>
                  <a:pt x="483" y="358"/>
                  <a:pt x="484" y="358"/>
                  <a:pt x="485" y="358"/>
                </a:cubicBezTo>
                <a:cubicBezTo>
                  <a:pt x="486" y="358"/>
                  <a:pt x="487" y="358"/>
                  <a:pt x="488" y="358"/>
                </a:cubicBezTo>
                <a:cubicBezTo>
                  <a:pt x="489" y="358"/>
                  <a:pt x="490" y="358"/>
                  <a:pt x="490" y="358"/>
                </a:cubicBezTo>
                <a:cubicBezTo>
                  <a:pt x="492" y="358"/>
                  <a:pt x="494" y="358"/>
                  <a:pt x="495" y="357"/>
                </a:cubicBezTo>
                <a:cubicBezTo>
                  <a:pt x="497" y="357"/>
                  <a:pt x="498" y="358"/>
                  <a:pt x="499" y="357"/>
                </a:cubicBezTo>
                <a:cubicBezTo>
                  <a:pt x="500" y="357"/>
                  <a:pt x="501" y="357"/>
                  <a:pt x="501" y="357"/>
                </a:cubicBezTo>
                <a:cubicBezTo>
                  <a:pt x="502" y="357"/>
                  <a:pt x="503" y="357"/>
                  <a:pt x="503" y="357"/>
                </a:cubicBezTo>
                <a:cubicBezTo>
                  <a:pt x="504" y="357"/>
                  <a:pt x="505" y="357"/>
                  <a:pt x="506" y="357"/>
                </a:cubicBezTo>
                <a:cubicBezTo>
                  <a:pt x="507" y="357"/>
                  <a:pt x="509" y="356"/>
                  <a:pt x="510" y="356"/>
                </a:cubicBezTo>
                <a:cubicBezTo>
                  <a:pt x="512" y="356"/>
                  <a:pt x="514" y="356"/>
                  <a:pt x="516" y="355"/>
                </a:cubicBezTo>
                <a:cubicBezTo>
                  <a:pt x="516" y="355"/>
                  <a:pt x="517" y="355"/>
                  <a:pt x="518" y="354"/>
                </a:cubicBezTo>
                <a:cubicBezTo>
                  <a:pt x="519" y="354"/>
                  <a:pt x="519" y="353"/>
                  <a:pt x="520" y="353"/>
                </a:cubicBezTo>
                <a:cubicBezTo>
                  <a:pt x="521" y="351"/>
                  <a:pt x="523" y="350"/>
                  <a:pt x="524" y="350"/>
                </a:cubicBezTo>
                <a:cubicBezTo>
                  <a:pt x="525" y="350"/>
                  <a:pt x="526" y="350"/>
                  <a:pt x="527" y="350"/>
                </a:cubicBezTo>
                <a:cubicBezTo>
                  <a:pt x="528" y="350"/>
                  <a:pt x="529" y="349"/>
                  <a:pt x="530" y="349"/>
                </a:cubicBezTo>
                <a:cubicBezTo>
                  <a:pt x="531" y="349"/>
                  <a:pt x="533" y="350"/>
                  <a:pt x="535" y="349"/>
                </a:cubicBezTo>
                <a:cubicBezTo>
                  <a:pt x="536" y="349"/>
                  <a:pt x="537" y="348"/>
                  <a:pt x="537" y="348"/>
                </a:cubicBezTo>
                <a:cubicBezTo>
                  <a:pt x="538" y="347"/>
                  <a:pt x="538" y="347"/>
                  <a:pt x="539" y="347"/>
                </a:cubicBezTo>
                <a:cubicBezTo>
                  <a:pt x="539" y="347"/>
                  <a:pt x="539" y="346"/>
                  <a:pt x="539" y="346"/>
                </a:cubicBezTo>
                <a:cubicBezTo>
                  <a:pt x="540" y="346"/>
                  <a:pt x="540" y="345"/>
                  <a:pt x="540" y="345"/>
                </a:cubicBezTo>
                <a:cubicBezTo>
                  <a:pt x="541" y="345"/>
                  <a:pt x="540" y="344"/>
                  <a:pt x="540" y="344"/>
                </a:cubicBezTo>
                <a:cubicBezTo>
                  <a:pt x="540" y="343"/>
                  <a:pt x="541" y="342"/>
                  <a:pt x="541" y="342"/>
                </a:cubicBezTo>
                <a:cubicBezTo>
                  <a:pt x="542" y="341"/>
                  <a:pt x="543" y="340"/>
                  <a:pt x="543" y="340"/>
                </a:cubicBezTo>
                <a:cubicBezTo>
                  <a:pt x="544" y="339"/>
                  <a:pt x="545" y="339"/>
                  <a:pt x="546" y="340"/>
                </a:cubicBezTo>
                <a:cubicBezTo>
                  <a:pt x="547" y="340"/>
                  <a:pt x="547" y="341"/>
                  <a:pt x="547" y="341"/>
                </a:cubicBezTo>
                <a:cubicBezTo>
                  <a:pt x="548" y="342"/>
                  <a:pt x="548" y="343"/>
                  <a:pt x="548" y="344"/>
                </a:cubicBezTo>
                <a:cubicBezTo>
                  <a:pt x="548" y="345"/>
                  <a:pt x="546" y="344"/>
                  <a:pt x="547" y="345"/>
                </a:cubicBezTo>
                <a:cubicBezTo>
                  <a:pt x="547" y="345"/>
                  <a:pt x="547" y="345"/>
                  <a:pt x="548" y="346"/>
                </a:cubicBezTo>
                <a:cubicBezTo>
                  <a:pt x="548" y="346"/>
                  <a:pt x="549" y="346"/>
                  <a:pt x="550" y="346"/>
                </a:cubicBezTo>
                <a:cubicBezTo>
                  <a:pt x="551" y="346"/>
                  <a:pt x="553" y="346"/>
                  <a:pt x="554" y="346"/>
                </a:cubicBezTo>
                <a:cubicBezTo>
                  <a:pt x="555" y="346"/>
                  <a:pt x="556" y="346"/>
                  <a:pt x="556" y="347"/>
                </a:cubicBezTo>
                <a:cubicBezTo>
                  <a:pt x="557" y="347"/>
                  <a:pt x="557" y="347"/>
                  <a:pt x="557" y="347"/>
                </a:cubicBezTo>
                <a:cubicBezTo>
                  <a:pt x="558" y="347"/>
                  <a:pt x="558" y="347"/>
                  <a:pt x="558" y="347"/>
                </a:cubicBezTo>
                <a:cubicBezTo>
                  <a:pt x="560" y="347"/>
                  <a:pt x="561" y="348"/>
                  <a:pt x="562" y="347"/>
                </a:cubicBezTo>
                <a:cubicBezTo>
                  <a:pt x="562" y="347"/>
                  <a:pt x="562" y="347"/>
                  <a:pt x="563" y="347"/>
                </a:cubicBezTo>
                <a:cubicBezTo>
                  <a:pt x="564" y="348"/>
                  <a:pt x="564" y="348"/>
                  <a:pt x="563" y="349"/>
                </a:cubicBezTo>
                <a:cubicBezTo>
                  <a:pt x="562" y="349"/>
                  <a:pt x="561" y="350"/>
                  <a:pt x="560" y="350"/>
                </a:cubicBezTo>
                <a:cubicBezTo>
                  <a:pt x="560" y="350"/>
                  <a:pt x="559" y="350"/>
                  <a:pt x="560" y="350"/>
                </a:cubicBezTo>
                <a:cubicBezTo>
                  <a:pt x="560" y="351"/>
                  <a:pt x="561" y="351"/>
                  <a:pt x="561" y="351"/>
                </a:cubicBezTo>
                <a:cubicBezTo>
                  <a:pt x="562" y="351"/>
                  <a:pt x="563" y="351"/>
                  <a:pt x="564" y="351"/>
                </a:cubicBezTo>
                <a:cubicBezTo>
                  <a:pt x="566" y="350"/>
                  <a:pt x="567" y="350"/>
                  <a:pt x="569" y="350"/>
                </a:cubicBezTo>
                <a:cubicBezTo>
                  <a:pt x="570" y="350"/>
                  <a:pt x="571" y="350"/>
                  <a:pt x="572" y="351"/>
                </a:cubicBezTo>
                <a:cubicBezTo>
                  <a:pt x="572" y="351"/>
                  <a:pt x="572" y="351"/>
                  <a:pt x="572" y="351"/>
                </a:cubicBezTo>
                <a:cubicBezTo>
                  <a:pt x="573" y="352"/>
                  <a:pt x="573" y="352"/>
                  <a:pt x="573" y="352"/>
                </a:cubicBezTo>
                <a:cubicBezTo>
                  <a:pt x="575" y="352"/>
                  <a:pt x="576" y="352"/>
                  <a:pt x="577" y="352"/>
                </a:cubicBezTo>
                <a:cubicBezTo>
                  <a:pt x="578" y="352"/>
                  <a:pt x="579" y="352"/>
                  <a:pt x="580" y="352"/>
                </a:cubicBezTo>
                <a:cubicBezTo>
                  <a:pt x="581" y="353"/>
                  <a:pt x="583" y="353"/>
                  <a:pt x="584" y="353"/>
                </a:cubicBezTo>
                <a:cubicBezTo>
                  <a:pt x="585" y="353"/>
                  <a:pt x="587" y="353"/>
                  <a:pt x="588" y="353"/>
                </a:cubicBezTo>
                <a:cubicBezTo>
                  <a:pt x="589" y="353"/>
                  <a:pt x="590" y="352"/>
                  <a:pt x="590" y="352"/>
                </a:cubicBezTo>
                <a:cubicBezTo>
                  <a:pt x="591" y="352"/>
                  <a:pt x="592" y="352"/>
                  <a:pt x="593" y="351"/>
                </a:cubicBezTo>
                <a:cubicBezTo>
                  <a:pt x="594" y="351"/>
                  <a:pt x="595" y="350"/>
                  <a:pt x="596" y="350"/>
                </a:cubicBezTo>
                <a:cubicBezTo>
                  <a:pt x="596" y="350"/>
                  <a:pt x="597" y="350"/>
                  <a:pt x="598" y="350"/>
                </a:cubicBezTo>
                <a:cubicBezTo>
                  <a:pt x="599" y="350"/>
                  <a:pt x="599" y="349"/>
                  <a:pt x="599" y="348"/>
                </a:cubicBezTo>
                <a:cubicBezTo>
                  <a:pt x="599" y="348"/>
                  <a:pt x="599" y="348"/>
                  <a:pt x="599" y="347"/>
                </a:cubicBezTo>
                <a:cubicBezTo>
                  <a:pt x="599" y="347"/>
                  <a:pt x="599" y="347"/>
                  <a:pt x="599" y="347"/>
                </a:cubicBezTo>
                <a:cubicBezTo>
                  <a:pt x="600" y="347"/>
                  <a:pt x="600" y="346"/>
                  <a:pt x="600" y="346"/>
                </a:cubicBezTo>
                <a:cubicBezTo>
                  <a:pt x="600" y="346"/>
                  <a:pt x="599" y="346"/>
                  <a:pt x="599" y="346"/>
                </a:cubicBezTo>
                <a:cubicBezTo>
                  <a:pt x="599" y="346"/>
                  <a:pt x="599" y="345"/>
                  <a:pt x="598" y="345"/>
                </a:cubicBezTo>
                <a:cubicBezTo>
                  <a:pt x="598" y="345"/>
                  <a:pt x="598" y="345"/>
                  <a:pt x="597" y="346"/>
                </a:cubicBezTo>
                <a:cubicBezTo>
                  <a:pt x="597" y="346"/>
                  <a:pt x="595" y="346"/>
                  <a:pt x="595" y="345"/>
                </a:cubicBezTo>
                <a:cubicBezTo>
                  <a:pt x="595" y="344"/>
                  <a:pt x="597" y="344"/>
                  <a:pt x="596" y="343"/>
                </a:cubicBezTo>
                <a:cubicBezTo>
                  <a:pt x="596" y="343"/>
                  <a:pt x="595" y="343"/>
                  <a:pt x="596" y="342"/>
                </a:cubicBezTo>
                <a:cubicBezTo>
                  <a:pt x="596" y="342"/>
                  <a:pt x="596" y="342"/>
                  <a:pt x="597" y="342"/>
                </a:cubicBezTo>
                <a:cubicBezTo>
                  <a:pt x="597" y="341"/>
                  <a:pt x="597" y="341"/>
                  <a:pt x="597" y="340"/>
                </a:cubicBezTo>
                <a:cubicBezTo>
                  <a:pt x="596" y="340"/>
                  <a:pt x="595" y="340"/>
                  <a:pt x="594" y="340"/>
                </a:cubicBezTo>
                <a:cubicBezTo>
                  <a:pt x="593" y="340"/>
                  <a:pt x="593" y="339"/>
                  <a:pt x="592" y="340"/>
                </a:cubicBezTo>
                <a:cubicBezTo>
                  <a:pt x="591" y="340"/>
                  <a:pt x="591" y="341"/>
                  <a:pt x="590" y="341"/>
                </a:cubicBezTo>
                <a:cubicBezTo>
                  <a:pt x="589" y="341"/>
                  <a:pt x="589" y="341"/>
                  <a:pt x="588" y="341"/>
                </a:cubicBezTo>
                <a:cubicBezTo>
                  <a:pt x="587" y="342"/>
                  <a:pt x="587" y="343"/>
                  <a:pt x="586" y="343"/>
                </a:cubicBezTo>
                <a:cubicBezTo>
                  <a:pt x="586" y="344"/>
                  <a:pt x="585" y="344"/>
                  <a:pt x="585" y="345"/>
                </a:cubicBezTo>
                <a:cubicBezTo>
                  <a:pt x="584" y="345"/>
                  <a:pt x="584" y="346"/>
                  <a:pt x="584" y="346"/>
                </a:cubicBezTo>
                <a:cubicBezTo>
                  <a:pt x="583" y="346"/>
                  <a:pt x="584" y="345"/>
                  <a:pt x="584" y="344"/>
                </a:cubicBezTo>
                <a:cubicBezTo>
                  <a:pt x="584" y="344"/>
                  <a:pt x="585" y="343"/>
                  <a:pt x="585" y="343"/>
                </a:cubicBezTo>
                <a:cubicBezTo>
                  <a:pt x="586" y="342"/>
                  <a:pt x="586" y="341"/>
                  <a:pt x="585" y="341"/>
                </a:cubicBezTo>
                <a:cubicBezTo>
                  <a:pt x="584" y="340"/>
                  <a:pt x="584" y="339"/>
                  <a:pt x="584" y="339"/>
                </a:cubicBezTo>
                <a:cubicBezTo>
                  <a:pt x="583" y="338"/>
                  <a:pt x="582" y="338"/>
                  <a:pt x="582" y="337"/>
                </a:cubicBezTo>
                <a:cubicBezTo>
                  <a:pt x="581" y="337"/>
                  <a:pt x="582" y="337"/>
                  <a:pt x="581" y="336"/>
                </a:cubicBezTo>
                <a:cubicBezTo>
                  <a:pt x="581" y="336"/>
                  <a:pt x="581" y="336"/>
                  <a:pt x="581" y="336"/>
                </a:cubicBezTo>
                <a:cubicBezTo>
                  <a:pt x="581" y="335"/>
                  <a:pt x="582" y="336"/>
                  <a:pt x="583" y="336"/>
                </a:cubicBezTo>
                <a:cubicBezTo>
                  <a:pt x="583" y="337"/>
                  <a:pt x="584" y="337"/>
                  <a:pt x="584" y="337"/>
                </a:cubicBezTo>
                <a:cubicBezTo>
                  <a:pt x="585" y="337"/>
                  <a:pt x="585" y="337"/>
                  <a:pt x="585" y="338"/>
                </a:cubicBezTo>
                <a:cubicBezTo>
                  <a:pt x="586" y="338"/>
                  <a:pt x="586" y="338"/>
                  <a:pt x="586" y="338"/>
                </a:cubicBezTo>
                <a:cubicBezTo>
                  <a:pt x="587" y="338"/>
                  <a:pt x="588" y="338"/>
                  <a:pt x="589" y="338"/>
                </a:cubicBezTo>
                <a:cubicBezTo>
                  <a:pt x="589" y="338"/>
                  <a:pt x="590" y="338"/>
                  <a:pt x="591" y="338"/>
                </a:cubicBezTo>
                <a:cubicBezTo>
                  <a:pt x="591" y="337"/>
                  <a:pt x="591" y="336"/>
                  <a:pt x="591" y="336"/>
                </a:cubicBezTo>
                <a:cubicBezTo>
                  <a:pt x="591" y="335"/>
                  <a:pt x="590" y="335"/>
                  <a:pt x="591" y="335"/>
                </a:cubicBezTo>
                <a:cubicBezTo>
                  <a:pt x="591" y="335"/>
                  <a:pt x="591" y="335"/>
                  <a:pt x="592" y="335"/>
                </a:cubicBezTo>
                <a:cubicBezTo>
                  <a:pt x="592" y="335"/>
                  <a:pt x="592" y="334"/>
                  <a:pt x="593" y="334"/>
                </a:cubicBezTo>
                <a:cubicBezTo>
                  <a:pt x="593" y="334"/>
                  <a:pt x="594" y="333"/>
                  <a:pt x="594" y="332"/>
                </a:cubicBezTo>
                <a:cubicBezTo>
                  <a:pt x="594" y="332"/>
                  <a:pt x="594" y="332"/>
                  <a:pt x="594" y="332"/>
                </a:cubicBezTo>
                <a:cubicBezTo>
                  <a:pt x="594" y="331"/>
                  <a:pt x="594" y="332"/>
                  <a:pt x="595" y="332"/>
                </a:cubicBezTo>
                <a:cubicBezTo>
                  <a:pt x="595" y="332"/>
                  <a:pt x="595" y="332"/>
                  <a:pt x="595" y="332"/>
                </a:cubicBezTo>
                <a:cubicBezTo>
                  <a:pt x="596" y="332"/>
                  <a:pt x="596" y="333"/>
                  <a:pt x="597" y="333"/>
                </a:cubicBezTo>
                <a:cubicBezTo>
                  <a:pt x="597" y="334"/>
                  <a:pt x="597" y="334"/>
                  <a:pt x="598" y="334"/>
                </a:cubicBezTo>
                <a:cubicBezTo>
                  <a:pt x="598" y="335"/>
                  <a:pt x="599" y="334"/>
                  <a:pt x="599" y="335"/>
                </a:cubicBezTo>
                <a:cubicBezTo>
                  <a:pt x="600" y="335"/>
                  <a:pt x="600" y="336"/>
                  <a:pt x="600" y="336"/>
                </a:cubicBezTo>
                <a:cubicBezTo>
                  <a:pt x="601" y="337"/>
                  <a:pt x="601" y="336"/>
                  <a:pt x="601" y="335"/>
                </a:cubicBezTo>
                <a:cubicBezTo>
                  <a:pt x="602" y="335"/>
                  <a:pt x="602" y="335"/>
                  <a:pt x="602" y="334"/>
                </a:cubicBezTo>
                <a:cubicBezTo>
                  <a:pt x="602" y="334"/>
                  <a:pt x="602" y="331"/>
                  <a:pt x="603" y="331"/>
                </a:cubicBezTo>
                <a:cubicBezTo>
                  <a:pt x="604" y="332"/>
                  <a:pt x="603" y="332"/>
                  <a:pt x="603" y="332"/>
                </a:cubicBezTo>
                <a:cubicBezTo>
                  <a:pt x="603" y="333"/>
                  <a:pt x="603" y="333"/>
                  <a:pt x="603" y="333"/>
                </a:cubicBezTo>
                <a:close/>
                <a:moveTo>
                  <a:pt x="602" y="183"/>
                </a:moveTo>
                <a:cubicBezTo>
                  <a:pt x="602" y="184"/>
                  <a:pt x="601" y="184"/>
                  <a:pt x="601" y="184"/>
                </a:cubicBezTo>
                <a:cubicBezTo>
                  <a:pt x="601" y="185"/>
                  <a:pt x="602" y="184"/>
                  <a:pt x="602" y="184"/>
                </a:cubicBezTo>
                <a:cubicBezTo>
                  <a:pt x="603" y="184"/>
                  <a:pt x="604" y="184"/>
                  <a:pt x="605" y="183"/>
                </a:cubicBezTo>
                <a:cubicBezTo>
                  <a:pt x="606" y="183"/>
                  <a:pt x="607" y="183"/>
                  <a:pt x="608" y="183"/>
                </a:cubicBezTo>
                <a:cubicBezTo>
                  <a:pt x="609" y="183"/>
                  <a:pt x="610" y="183"/>
                  <a:pt x="611" y="182"/>
                </a:cubicBezTo>
                <a:cubicBezTo>
                  <a:pt x="612" y="182"/>
                  <a:pt x="613" y="182"/>
                  <a:pt x="613" y="182"/>
                </a:cubicBezTo>
                <a:cubicBezTo>
                  <a:pt x="614" y="182"/>
                  <a:pt x="615" y="182"/>
                  <a:pt x="616" y="182"/>
                </a:cubicBezTo>
                <a:cubicBezTo>
                  <a:pt x="617" y="181"/>
                  <a:pt x="615" y="181"/>
                  <a:pt x="614" y="181"/>
                </a:cubicBezTo>
                <a:cubicBezTo>
                  <a:pt x="614" y="180"/>
                  <a:pt x="613" y="180"/>
                  <a:pt x="612" y="180"/>
                </a:cubicBezTo>
                <a:cubicBezTo>
                  <a:pt x="611" y="180"/>
                  <a:pt x="610" y="180"/>
                  <a:pt x="609" y="180"/>
                </a:cubicBezTo>
                <a:cubicBezTo>
                  <a:pt x="608" y="181"/>
                  <a:pt x="606" y="182"/>
                  <a:pt x="605" y="183"/>
                </a:cubicBezTo>
                <a:cubicBezTo>
                  <a:pt x="604" y="183"/>
                  <a:pt x="603" y="183"/>
                  <a:pt x="602" y="183"/>
                </a:cubicBezTo>
                <a:close/>
                <a:moveTo>
                  <a:pt x="585" y="201"/>
                </a:moveTo>
                <a:cubicBezTo>
                  <a:pt x="584" y="201"/>
                  <a:pt x="583" y="202"/>
                  <a:pt x="583" y="202"/>
                </a:cubicBezTo>
                <a:cubicBezTo>
                  <a:pt x="582" y="203"/>
                  <a:pt x="581" y="203"/>
                  <a:pt x="581" y="204"/>
                </a:cubicBezTo>
                <a:cubicBezTo>
                  <a:pt x="582" y="204"/>
                  <a:pt x="582" y="203"/>
                  <a:pt x="583" y="203"/>
                </a:cubicBezTo>
                <a:cubicBezTo>
                  <a:pt x="583" y="203"/>
                  <a:pt x="584" y="203"/>
                  <a:pt x="584" y="203"/>
                </a:cubicBezTo>
                <a:cubicBezTo>
                  <a:pt x="585" y="203"/>
                  <a:pt x="586" y="203"/>
                  <a:pt x="587" y="202"/>
                </a:cubicBezTo>
                <a:cubicBezTo>
                  <a:pt x="589" y="202"/>
                  <a:pt x="591" y="201"/>
                  <a:pt x="592" y="201"/>
                </a:cubicBezTo>
                <a:cubicBezTo>
                  <a:pt x="593" y="201"/>
                  <a:pt x="594" y="200"/>
                  <a:pt x="595" y="200"/>
                </a:cubicBezTo>
                <a:cubicBezTo>
                  <a:pt x="595" y="200"/>
                  <a:pt x="597" y="201"/>
                  <a:pt x="597" y="200"/>
                </a:cubicBezTo>
                <a:cubicBezTo>
                  <a:pt x="597" y="199"/>
                  <a:pt x="596" y="199"/>
                  <a:pt x="596" y="199"/>
                </a:cubicBezTo>
                <a:cubicBezTo>
                  <a:pt x="596" y="199"/>
                  <a:pt x="595" y="199"/>
                  <a:pt x="595" y="199"/>
                </a:cubicBezTo>
                <a:cubicBezTo>
                  <a:pt x="594" y="198"/>
                  <a:pt x="592" y="199"/>
                  <a:pt x="591" y="199"/>
                </a:cubicBezTo>
                <a:cubicBezTo>
                  <a:pt x="590" y="199"/>
                  <a:pt x="590" y="199"/>
                  <a:pt x="589" y="199"/>
                </a:cubicBezTo>
                <a:cubicBezTo>
                  <a:pt x="588" y="200"/>
                  <a:pt x="587" y="200"/>
                  <a:pt x="585" y="201"/>
                </a:cubicBezTo>
                <a:close/>
                <a:moveTo>
                  <a:pt x="608" y="156"/>
                </a:moveTo>
                <a:cubicBezTo>
                  <a:pt x="607" y="156"/>
                  <a:pt x="607" y="155"/>
                  <a:pt x="607" y="155"/>
                </a:cubicBezTo>
                <a:cubicBezTo>
                  <a:pt x="606" y="154"/>
                  <a:pt x="605" y="154"/>
                  <a:pt x="604" y="154"/>
                </a:cubicBezTo>
                <a:cubicBezTo>
                  <a:pt x="603" y="154"/>
                  <a:pt x="603" y="154"/>
                  <a:pt x="602" y="154"/>
                </a:cubicBezTo>
                <a:cubicBezTo>
                  <a:pt x="602" y="154"/>
                  <a:pt x="602" y="153"/>
                  <a:pt x="601" y="153"/>
                </a:cubicBezTo>
                <a:cubicBezTo>
                  <a:pt x="600" y="153"/>
                  <a:pt x="599" y="153"/>
                  <a:pt x="599" y="153"/>
                </a:cubicBezTo>
                <a:cubicBezTo>
                  <a:pt x="598" y="153"/>
                  <a:pt x="597" y="153"/>
                  <a:pt x="596" y="154"/>
                </a:cubicBezTo>
                <a:cubicBezTo>
                  <a:pt x="594" y="154"/>
                  <a:pt x="592" y="153"/>
                  <a:pt x="591" y="155"/>
                </a:cubicBezTo>
                <a:cubicBezTo>
                  <a:pt x="590" y="156"/>
                  <a:pt x="592" y="156"/>
                  <a:pt x="593" y="157"/>
                </a:cubicBezTo>
                <a:cubicBezTo>
                  <a:pt x="594" y="157"/>
                  <a:pt x="594" y="158"/>
                  <a:pt x="595" y="158"/>
                </a:cubicBezTo>
                <a:cubicBezTo>
                  <a:pt x="596" y="158"/>
                  <a:pt x="597" y="158"/>
                  <a:pt x="598" y="158"/>
                </a:cubicBezTo>
                <a:cubicBezTo>
                  <a:pt x="599" y="158"/>
                  <a:pt x="600" y="158"/>
                  <a:pt x="601" y="158"/>
                </a:cubicBezTo>
                <a:cubicBezTo>
                  <a:pt x="602" y="158"/>
                  <a:pt x="603" y="157"/>
                  <a:pt x="604" y="157"/>
                </a:cubicBezTo>
                <a:cubicBezTo>
                  <a:pt x="604" y="157"/>
                  <a:pt x="605" y="157"/>
                  <a:pt x="605" y="157"/>
                </a:cubicBezTo>
                <a:cubicBezTo>
                  <a:pt x="606" y="157"/>
                  <a:pt x="606" y="156"/>
                  <a:pt x="607" y="157"/>
                </a:cubicBezTo>
                <a:cubicBezTo>
                  <a:pt x="607" y="157"/>
                  <a:pt x="608" y="157"/>
                  <a:pt x="608" y="157"/>
                </a:cubicBezTo>
                <a:cubicBezTo>
                  <a:pt x="609" y="157"/>
                  <a:pt x="609" y="157"/>
                  <a:pt x="609" y="156"/>
                </a:cubicBezTo>
                <a:cubicBezTo>
                  <a:pt x="608" y="156"/>
                  <a:pt x="608" y="156"/>
                  <a:pt x="608" y="156"/>
                </a:cubicBezTo>
                <a:close/>
                <a:moveTo>
                  <a:pt x="503" y="276"/>
                </a:moveTo>
                <a:cubicBezTo>
                  <a:pt x="503" y="275"/>
                  <a:pt x="502" y="276"/>
                  <a:pt x="503" y="276"/>
                </a:cubicBezTo>
                <a:cubicBezTo>
                  <a:pt x="503" y="276"/>
                  <a:pt x="503" y="276"/>
                  <a:pt x="503" y="276"/>
                </a:cubicBezTo>
                <a:close/>
                <a:moveTo>
                  <a:pt x="528" y="253"/>
                </a:moveTo>
                <a:cubicBezTo>
                  <a:pt x="529" y="253"/>
                  <a:pt x="529" y="253"/>
                  <a:pt x="530" y="253"/>
                </a:cubicBezTo>
                <a:cubicBezTo>
                  <a:pt x="530" y="253"/>
                  <a:pt x="530" y="253"/>
                  <a:pt x="531" y="253"/>
                </a:cubicBezTo>
                <a:cubicBezTo>
                  <a:pt x="531" y="253"/>
                  <a:pt x="531" y="253"/>
                  <a:pt x="532" y="253"/>
                </a:cubicBezTo>
                <a:cubicBezTo>
                  <a:pt x="532" y="254"/>
                  <a:pt x="532" y="253"/>
                  <a:pt x="532" y="253"/>
                </a:cubicBezTo>
                <a:cubicBezTo>
                  <a:pt x="532" y="252"/>
                  <a:pt x="531" y="252"/>
                  <a:pt x="531" y="252"/>
                </a:cubicBezTo>
                <a:cubicBezTo>
                  <a:pt x="530" y="252"/>
                  <a:pt x="529" y="252"/>
                  <a:pt x="529" y="252"/>
                </a:cubicBezTo>
                <a:cubicBezTo>
                  <a:pt x="528" y="252"/>
                  <a:pt x="527" y="252"/>
                  <a:pt x="527" y="253"/>
                </a:cubicBezTo>
                <a:cubicBezTo>
                  <a:pt x="527" y="253"/>
                  <a:pt x="528" y="253"/>
                  <a:pt x="528" y="253"/>
                </a:cubicBezTo>
                <a:close/>
                <a:moveTo>
                  <a:pt x="505" y="277"/>
                </a:moveTo>
                <a:cubicBezTo>
                  <a:pt x="505" y="276"/>
                  <a:pt x="504" y="276"/>
                  <a:pt x="504" y="276"/>
                </a:cubicBezTo>
                <a:cubicBezTo>
                  <a:pt x="504" y="276"/>
                  <a:pt x="504" y="276"/>
                  <a:pt x="504" y="276"/>
                </a:cubicBezTo>
                <a:cubicBezTo>
                  <a:pt x="504" y="277"/>
                  <a:pt x="505" y="277"/>
                  <a:pt x="505" y="277"/>
                </a:cubicBezTo>
                <a:cubicBezTo>
                  <a:pt x="505" y="277"/>
                  <a:pt x="505" y="277"/>
                  <a:pt x="505" y="277"/>
                </a:cubicBezTo>
                <a:close/>
                <a:moveTo>
                  <a:pt x="1058" y="1109"/>
                </a:moveTo>
                <a:cubicBezTo>
                  <a:pt x="1058" y="1110"/>
                  <a:pt x="1059" y="1110"/>
                  <a:pt x="1059" y="1110"/>
                </a:cubicBezTo>
                <a:cubicBezTo>
                  <a:pt x="1060" y="1111"/>
                  <a:pt x="1060" y="1110"/>
                  <a:pt x="1060" y="1110"/>
                </a:cubicBezTo>
                <a:cubicBezTo>
                  <a:pt x="1061" y="1110"/>
                  <a:pt x="1061" y="1110"/>
                  <a:pt x="1062" y="1110"/>
                </a:cubicBezTo>
                <a:cubicBezTo>
                  <a:pt x="1062" y="1110"/>
                  <a:pt x="1062" y="1110"/>
                  <a:pt x="1062" y="1110"/>
                </a:cubicBezTo>
                <a:cubicBezTo>
                  <a:pt x="1062" y="1109"/>
                  <a:pt x="1062" y="1109"/>
                  <a:pt x="1062" y="1109"/>
                </a:cubicBezTo>
                <a:cubicBezTo>
                  <a:pt x="1061" y="1109"/>
                  <a:pt x="1061" y="1109"/>
                  <a:pt x="1061" y="1109"/>
                </a:cubicBezTo>
                <a:cubicBezTo>
                  <a:pt x="1060" y="1109"/>
                  <a:pt x="1060" y="1109"/>
                  <a:pt x="1060" y="1108"/>
                </a:cubicBezTo>
                <a:cubicBezTo>
                  <a:pt x="1060" y="1108"/>
                  <a:pt x="1060" y="1107"/>
                  <a:pt x="1060" y="1107"/>
                </a:cubicBezTo>
                <a:cubicBezTo>
                  <a:pt x="1059" y="1106"/>
                  <a:pt x="1058" y="1107"/>
                  <a:pt x="1058" y="1108"/>
                </a:cubicBezTo>
                <a:cubicBezTo>
                  <a:pt x="1058" y="1108"/>
                  <a:pt x="1059" y="1108"/>
                  <a:pt x="1059" y="1108"/>
                </a:cubicBezTo>
                <a:cubicBezTo>
                  <a:pt x="1059" y="1109"/>
                  <a:pt x="1058" y="1109"/>
                  <a:pt x="1058" y="1109"/>
                </a:cubicBezTo>
                <a:close/>
                <a:moveTo>
                  <a:pt x="3313" y="1316"/>
                </a:moveTo>
                <a:cubicBezTo>
                  <a:pt x="3312" y="1316"/>
                  <a:pt x="3312" y="1316"/>
                  <a:pt x="3311" y="1316"/>
                </a:cubicBezTo>
                <a:cubicBezTo>
                  <a:pt x="3311" y="1316"/>
                  <a:pt x="3310" y="1316"/>
                  <a:pt x="3310" y="1316"/>
                </a:cubicBezTo>
                <a:cubicBezTo>
                  <a:pt x="3309" y="1316"/>
                  <a:pt x="3309" y="1316"/>
                  <a:pt x="3308" y="1316"/>
                </a:cubicBezTo>
                <a:cubicBezTo>
                  <a:pt x="3307" y="1315"/>
                  <a:pt x="3306" y="1315"/>
                  <a:pt x="3305" y="1315"/>
                </a:cubicBezTo>
                <a:cubicBezTo>
                  <a:pt x="3304" y="1315"/>
                  <a:pt x="3306" y="1316"/>
                  <a:pt x="3306" y="1316"/>
                </a:cubicBezTo>
                <a:cubicBezTo>
                  <a:pt x="3307" y="1316"/>
                  <a:pt x="3307" y="1316"/>
                  <a:pt x="3307" y="1316"/>
                </a:cubicBezTo>
                <a:cubicBezTo>
                  <a:pt x="3308" y="1316"/>
                  <a:pt x="3308" y="1317"/>
                  <a:pt x="3308" y="1317"/>
                </a:cubicBezTo>
                <a:cubicBezTo>
                  <a:pt x="3309" y="1317"/>
                  <a:pt x="3310" y="1317"/>
                  <a:pt x="3311" y="1318"/>
                </a:cubicBezTo>
                <a:cubicBezTo>
                  <a:pt x="3311" y="1318"/>
                  <a:pt x="3312" y="1318"/>
                  <a:pt x="3313" y="1318"/>
                </a:cubicBezTo>
                <a:cubicBezTo>
                  <a:pt x="3313" y="1318"/>
                  <a:pt x="3314" y="1319"/>
                  <a:pt x="3314" y="1319"/>
                </a:cubicBezTo>
                <a:cubicBezTo>
                  <a:pt x="3314" y="1319"/>
                  <a:pt x="3315" y="1319"/>
                  <a:pt x="3315" y="1319"/>
                </a:cubicBezTo>
                <a:cubicBezTo>
                  <a:pt x="3316" y="1319"/>
                  <a:pt x="3317" y="1318"/>
                  <a:pt x="3318" y="1318"/>
                </a:cubicBezTo>
                <a:cubicBezTo>
                  <a:pt x="3318" y="1318"/>
                  <a:pt x="3319" y="1318"/>
                  <a:pt x="3319" y="1318"/>
                </a:cubicBezTo>
                <a:cubicBezTo>
                  <a:pt x="3320" y="1318"/>
                  <a:pt x="3320" y="1318"/>
                  <a:pt x="3320" y="1318"/>
                </a:cubicBezTo>
                <a:cubicBezTo>
                  <a:pt x="3321" y="1317"/>
                  <a:pt x="3319" y="1317"/>
                  <a:pt x="3319" y="1317"/>
                </a:cubicBezTo>
                <a:cubicBezTo>
                  <a:pt x="3318" y="1317"/>
                  <a:pt x="3317" y="1317"/>
                  <a:pt x="3316" y="1317"/>
                </a:cubicBezTo>
                <a:cubicBezTo>
                  <a:pt x="3315" y="1316"/>
                  <a:pt x="3315" y="1316"/>
                  <a:pt x="3314" y="1316"/>
                </a:cubicBezTo>
                <a:cubicBezTo>
                  <a:pt x="3313" y="1316"/>
                  <a:pt x="3313" y="1316"/>
                  <a:pt x="3313" y="1316"/>
                </a:cubicBezTo>
                <a:close/>
                <a:moveTo>
                  <a:pt x="3347" y="893"/>
                </a:moveTo>
                <a:cubicBezTo>
                  <a:pt x="3347" y="893"/>
                  <a:pt x="3346" y="893"/>
                  <a:pt x="3347" y="893"/>
                </a:cubicBezTo>
                <a:cubicBezTo>
                  <a:pt x="3347" y="894"/>
                  <a:pt x="3347" y="894"/>
                  <a:pt x="3347" y="894"/>
                </a:cubicBezTo>
                <a:cubicBezTo>
                  <a:pt x="3348" y="893"/>
                  <a:pt x="3347" y="893"/>
                  <a:pt x="3347" y="893"/>
                </a:cubicBezTo>
                <a:close/>
                <a:moveTo>
                  <a:pt x="3314" y="1309"/>
                </a:moveTo>
                <a:cubicBezTo>
                  <a:pt x="3313" y="1309"/>
                  <a:pt x="3313" y="1309"/>
                  <a:pt x="3313" y="1309"/>
                </a:cubicBezTo>
                <a:cubicBezTo>
                  <a:pt x="3312" y="1309"/>
                  <a:pt x="3312" y="1309"/>
                  <a:pt x="3312" y="1308"/>
                </a:cubicBezTo>
                <a:cubicBezTo>
                  <a:pt x="3312" y="1308"/>
                  <a:pt x="3312" y="1307"/>
                  <a:pt x="3311" y="1307"/>
                </a:cubicBezTo>
                <a:cubicBezTo>
                  <a:pt x="3311" y="1306"/>
                  <a:pt x="3310" y="1305"/>
                  <a:pt x="3309" y="1305"/>
                </a:cubicBezTo>
                <a:cubicBezTo>
                  <a:pt x="3309" y="1305"/>
                  <a:pt x="3308" y="1305"/>
                  <a:pt x="3307" y="1305"/>
                </a:cubicBezTo>
                <a:cubicBezTo>
                  <a:pt x="3307" y="1305"/>
                  <a:pt x="3306" y="1304"/>
                  <a:pt x="3306" y="1304"/>
                </a:cubicBezTo>
                <a:cubicBezTo>
                  <a:pt x="3305" y="1304"/>
                  <a:pt x="3305" y="1304"/>
                  <a:pt x="3305" y="1304"/>
                </a:cubicBezTo>
                <a:cubicBezTo>
                  <a:pt x="3304" y="1304"/>
                  <a:pt x="3304" y="1304"/>
                  <a:pt x="3304" y="1305"/>
                </a:cubicBezTo>
                <a:cubicBezTo>
                  <a:pt x="3304" y="1305"/>
                  <a:pt x="3305" y="1306"/>
                  <a:pt x="3305" y="1306"/>
                </a:cubicBezTo>
                <a:cubicBezTo>
                  <a:pt x="3306" y="1306"/>
                  <a:pt x="3306" y="1306"/>
                  <a:pt x="3307" y="1306"/>
                </a:cubicBezTo>
                <a:cubicBezTo>
                  <a:pt x="3307" y="1307"/>
                  <a:pt x="3307" y="1307"/>
                  <a:pt x="3308" y="1307"/>
                </a:cubicBezTo>
                <a:cubicBezTo>
                  <a:pt x="3308" y="1307"/>
                  <a:pt x="3308" y="1306"/>
                  <a:pt x="3308" y="1306"/>
                </a:cubicBezTo>
                <a:cubicBezTo>
                  <a:pt x="3309" y="1306"/>
                  <a:pt x="3309" y="1307"/>
                  <a:pt x="3309" y="1307"/>
                </a:cubicBezTo>
                <a:cubicBezTo>
                  <a:pt x="3309" y="1308"/>
                  <a:pt x="3308" y="1309"/>
                  <a:pt x="3309" y="1310"/>
                </a:cubicBezTo>
                <a:cubicBezTo>
                  <a:pt x="3309" y="1310"/>
                  <a:pt x="3309" y="1310"/>
                  <a:pt x="3309" y="1310"/>
                </a:cubicBezTo>
                <a:cubicBezTo>
                  <a:pt x="3309" y="1310"/>
                  <a:pt x="3309" y="1311"/>
                  <a:pt x="3310" y="1311"/>
                </a:cubicBezTo>
                <a:cubicBezTo>
                  <a:pt x="3310" y="1311"/>
                  <a:pt x="3311" y="1311"/>
                  <a:pt x="3312" y="1311"/>
                </a:cubicBezTo>
                <a:cubicBezTo>
                  <a:pt x="3313" y="1311"/>
                  <a:pt x="3313" y="1310"/>
                  <a:pt x="3314" y="1310"/>
                </a:cubicBezTo>
                <a:cubicBezTo>
                  <a:pt x="3314" y="1310"/>
                  <a:pt x="3315" y="1310"/>
                  <a:pt x="3315" y="1309"/>
                </a:cubicBezTo>
                <a:cubicBezTo>
                  <a:pt x="3315" y="1309"/>
                  <a:pt x="3314" y="1310"/>
                  <a:pt x="3314" y="1309"/>
                </a:cubicBezTo>
                <a:close/>
                <a:moveTo>
                  <a:pt x="3297" y="889"/>
                </a:moveTo>
                <a:cubicBezTo>
                  <a:pt x="3297" y="889"/>
                  <a:pt x="3296" y="890"/>
                  <a:pt x="3296" y="891"/>
                </a:cubicBezTo>
                <a:cubicBezTo>
                  <a:pt x="3296" y="891"/>
                  <a:pt x="3296" y="891"/>
                  <a:pt x="3297" y="892"/>
                </a:cubicBezTo>
                <a:cubicBezTo>
                  <a:pt x="3297" y="892"/>
                  <a:pt x="3297" y="892"/>
                  <a:pt x="3297" y="892"/>
                </a:cubicBezTo>
                <a:cubicBezTo>
                  <a:pt x="3297" y="892"/>
                  <a:pt x="3297" y="891"/>
                  <a:pt x="3297" y="891"/>
                </a:cubicBezTo>
                <a:cubicBezTo>
                  <a:pt x="3298" y="891"/>
                  <a:pt x="3298" y="891"/>
                  <a:pt x="3298" y="891"/>
                </a:cubicBezTo>
                <a:cubicBezTo>
                  <a:pt x="3299" y="890"/>
                  <a:pt x="3298" y="890"/>
                  <a:pt x="3298" y="889"/>
                </a:cubicBezTo>
                <a:cubicBezTo>
                  <a:pt x="3298" y="889"/>
                  <a:pt x="3299" y="888"/>
                  <a:pt x="3299" y="888"/>
                </a:cubicBezTo>
                <a:cubicBezTo>
                  <a:pt x="3298" y="888"/>
                  <a:pt x="3298" y="889"/>
                  <a:pt x="3297" y="889"/>
                </a:cubicBezTo>
                <a:close/>
                <a:moveTo>
                  <a:pt x="3254" y="936"/>
                </a:moveTo>
                <a:cubicBezTo>
                  <a:pt x="3254" y="936"/>
                  <a:pt x="3254" y="936"/>
                  <a:pt x="3254" y="936"/>
                </a:cubicBezTo>
                <a:cubicBezTo>
                  <a:pt x="3254" y="935"/>
                  <a:pt x="3255" y="934"/>
                  <a:pt x="3254" y="934"/>
                </a:cubicBezTo>
                <a:cubicBezTo>
                  <a:pt x="3253" y="935"/>
                  <a:pt x="3254" y="936"/>
                  <a:pt x="3253" y="936"/>
                </a:cubicBezTo>
                <a:cubicBezTo>
                  <a:pt x="3253" y="937"/>
                  <a:pt x="3253" y="937"/>
                  <a:pt x="3253" y="937"/>
                </a:cubicBezTo>
                <a:cubicBezTo>
                  <a:pt x="3253" y="938"/>
                  <a:pt x="3253" y="938"/>
                  <a:pt x="3253" y="939"/>
                </a:cubicBezTo>
                <a:cubicBezTo>
                  <a:pt x="3252" y="939"/>
                  <a:pt x="3252" y="940"/>
                  <a:pt x="3253" y="940"/>
                </a:cubicBezTo>
                <a:cubicBezTo>
                  <a:pt x="3253" y="940"/>
                  <a:pt x="3253" y="939"/>
                  <a:pt x="3253" y="939"/>
                </a:cubicBezTo>
                <a:cubicBezTo>
                  <a:pt x="3253" y="938"/>
                  <a:pt x="3253" y="938"/>
                  <a:pt x="3253" y="937"/>
                </a:cubicBezTo>
                <a:cubicBezTo>
                  <a:pt x="3253" y="937"/>
                  <a:pt x="3254" y="937"/>
                  <a:pt x="3254" y="936"/>
                </a:cubicBezTo>
                <a:close/>
                <a:moveTo>
                  <a:pt x="3350" y="886"/>
                </a:moveTo>
                <a:cubicBezTo>
                  <a:pt x="3350" y="886"/>
                  <a:pt x="3350" y="885"/>
                  <a:pt x="3350" y="885"/>
                </a:cubicBezTo>
                <a:cubicBezTo>
                  <a:pt x="3350" y="885"/>
                  <a:pt x="3350" y="885"/>
                  <a:pt x="3350" y="885"/>
                </a:cubicBezTo>
                <a:cubicBezTo>
                  <a:pt x="3349" y="885"/>
                  <a:pt x="3349" y="885"/>
                  <a:pt x="3349" y="885"/>
                </a:cubicBezTo>
                <a:cubicBezTo>
                  <a:pt x="3350" y="885"/>
                  <a:pt x="3350" y="886"/>
                  <a:pt x="3350" y="886"/>
                </a:cubicBezTo>
                <a:close/>
                <a:moveTo>
                  <a:pt x="3283" y="893"/>
                </a:moveTo>
                <a:cubicBezTo>
                  <a:pt x="3283" y="893"/>
                  <a:pt x="3282" y="894"/>
                  <a:pt x="3282" y="894"/>
                </a:cubicBezTo>
                <a:cubicBezTo>
                  <a:pt x="3281" y="894"/>
                  <a:pt x="3281" y="894"/>
                  <a:pt x="3280" y="894"/>
                </a:cubicBezTo>
                <a:cubicBezTo>
                  <a:pt x="3280" y="895"/>
                  <a:pt x="3279" y="895"/>
                  <a:pt x="3279" y="895"/>
                </a:cubicBezTo>
                <a:cubicBezTo>
                  <a:pt x="3278" y="895"/>
                  <a:pt x="3278" y="895"/>
                  <a:pt x="3278" y="894"/>
                </a:cubicBezTo>
                <a:cubicBezTo>
                  <a:pt x="3277" y="894"/>
                  <a:pt x="3277" y="895"/>
                  <a:pt x="3277" y="894"/>
                </a:cubicBezTo>
                <a:cubicBezTo>
                  <a:pt x="3276" y="894"/>
                  <a:pt x="3276" y="893"/>
                  <a:pt x="3276" y="893"/>
                </a:cubicBezTo>
                <a:cubicBezTo>
                  <a:pt x="3275" y="892"/>
                  <a:pt x="3275" y="893"/>
                  <a:pt x="3275" y="893"/>
                </a:cubicBezTo>
                <a:cubicBezTo>
                  <a:pt x="3274" y="894"/>
                  <a:pt x="3274" y="894"/>
                  <a:pt x="3274" y="894"/>
                </a:cubicBezTo>
                <a:cubicBezTo>
                  <a:pt x="3273" y="895"/>
                  <a:pt x="3273" y="895"/>
                  <a:pt x="3273" y="896"/>
                </a:cubicBezTo>
                <a:cubicBezTo>
                  <a:pt x="3273" y="897"/>
                  <a:pt x="3272" y="897"/>
                  <a:pt x="3272" y="898"/>
                </a:cubicBezTo>
                <a:cubicBezTo>
                  <a:pt x="3271" y="898"/>
                  <a:pt x="3270" y="899"/>
                  <a:pt x="3270" y="899"/>
                </a:cubicBezTo>
                <a:cubicBezTo>
                  <a:pt x="3269" y="900"/>
                  <a:pt x="3268" y="900"/>
                  <a:pt x="3268" y="901"/>
                </a:cubicBezTo>
                <a:cubicBezTo>
                  <a:pt x="3267" y="901"/>
                  <a:pt x="3266" y="902"/>
                  <a:pt x="3266" y="902"/>
                </a:cubicBezTo>
                <a:cubicBezTo>
                  <a:pt x="3267" y="902"/>
                  <a:pt x="3268" y="900"/>
                  <a:pt x="3269" y="901"/>
                </a:cubicBezTo>
                <a:cubicBezTo>
                  <a:pt x="3270" y="901"/>
                  <a:pt x="3269" y="902"/>
                  <a:pt x="3269" y="902"/>
                </a:cubicBezTo>
                <a:cubicBezTo>
                  <a:pt x="3270" y="903"/>
                  <a:pt x="3270" y="903"/>
                  <a:pt x="3270" y="903"/>
                </a:cubicBezTo>
                <a:cubicBezTo>
                  <a:pt x="3270" y="903"/>
                  <a:pt x="3270" y="904"/>
                  <a:pt x="3270" y="904"/>
                </a:cubicBezTo>
                <a:cubicBezTo>
                  <a:pt x="3270" y="904"/>
                  <a:pt x="3270" y="904"/>
                  <a:pt x="3270" y="904"/>
                </a:cubicBezTo>
                <a:cubicBezTo>
                  <a:pt x="3270" y="905"/>
                  <a:pt x="3270" y="905"/>
                  <a:pt x="3270" y="906"/>
                </a:cubicBezTo>
                <a:cubicBezTo>
                  <a:pt x="3270" y="906"/>
                  <a:pt x="3271" y="906"/>
                  <a:pt x="3271" y="907"/>
                </a:cubicBezTo>
                <a:cubicBezTo>
                  <a:pt x="3271" y="907"/>
                  <a:pt x="3270" y="908"/>
                  <a:pt x="3271" y="908"/>
                </a:cubicBezTo>
                <a:cubicBezTo>
                  <a:pt x="3271" y="909"/>
                  <a:pt x="3271" y="908"/>
                  <a:pt x="3272" y="908"/>
                </a:cubicBezTo>
                <a:cubicBezTo>
                  <a:pt x="3272" y="908"/>
                  <a:pt x="3272" y="908"/>
                  <a:pt x="3273" y="909"/>
                </a:cubicBezTo>
                <a:cubicBezTo>
                  <a:pt x="3273" y="910"/>
                  <a:pt x="3274" y="909"/>
                  <a:pt x="3275" y="910"/>
                </a:cubicBezTo>
                <a:cubicBezTo>
                  <a:pt x="3275" y="910"/>
                  <a:pt x="3275" y="910"/>
                  <a:pt x="3276" y="911"/>
                </a:cubicBezTo>
                <a:cubicBezTo>
                  <a:pt x="3276" y="911"/>
                  <a:pt x="3276" y="910"/>
                  <a:pt x="3276" y="910"/>
                </a:cubicBezTo>
                <a:cubicBezTo>
                  <a:pt x="3277" y="909"/>
                  <a:pt x="3276" y="909"/>
                  <a:pt x="3276" y="909"/>
                </a:cubicBezTo>
                <a:cubicBezTo>
                  <a:pt x="3276" y="908"/>
                  <a:pt x="3276" y="908"/>
                  <a:pt x="3277" y="907"/>
                </a:cubicBezTo>
                <a:cubicBezTo>
                  <a:pt x="3277" y="906"/>
                  <a:pt x="3278" y="906"/>
                  <a:pt x="3278" y="905"/>
                </a:cubicBezTo>
                <a:cubicBezTo>
                  <a:pt x="3279" y="904"/>
                  <a:pt x="3280" y="904"/>
                  <a:pt x="3281" y="903"/>
                </a:cubicBezTo>
                <a:cubicBezTo>
                  <a:pt x="3281" y="903"/>
                  <a:pt x="3281" y="903"/>
                  <a:pt x="3282" y="902"/>
                </a:cubicBezTo>
                <a:cubicBezTo>
                  <a:pt x="3282" y="902"/>
                  <a:pt x="3282" y="902"/>
                  <a:pt x="3282" y="901"/>
                </a:cubicBezTo>
                <a:cubicBezTo>
                  <a:pt x="3283" y="900"/>
                  <a:pt x="3285" y="900"/>
                  <a:pt x="3286" y="900"/>
                </a:cubicBezTo>
                <a:cubicBezTo>
                  <a:pt x="3287" y="900"/>
                  <a:pt x="3287" y="901"/>
                  <a:pt x="3288" y="901"/>
                </a:cubicBezTo>
                <a:cubicBezTo>
                  <a:pt x="3288" y="901"/>
                  <a:pt x="3288" y="902"/>
                  <a:pt x="3289" y="902"/>
                </a:cubicBezTo>
                <a:cubicBezTo>
                  <a:pt x="3289" y="902"/>
                  <a:pt x="3289" y="903"/>
                  <a:pt x="3289" y="903"/>
                </a:cubicBezTo>
                <a:cubicBezTo>
                  <a:pt x="3289" y="904"/>
                  <a:pt x="3290" y="904"/>
                  <a:pt x="3290" y="903"/>
                </a:cubicBezTo>
                <a:cubicBezTo>
                  <a:pt x="3290" y="903"/>
                  <a:pt x="3290" y="902"/>
                  <a:pt x="3290" y="902"/>
                </a:cubicBezTo>
                <a:cubicBezTo>
                  <a:pt x="3291" y="901"/>
                  <a:pt x="3291" y="901"/>
                  <a:pt x="3292" y="900"/>
                </a:cubicBezTo>
                <a:cubicBezTo>
                  <a:pt x="3292" y="899"/>
                  <a:pt x="3293" y="899"/>
                  <a:pt x="3293" y="898"/>
                </a:cubicBezTo>
                <a:cubicBezTo>
                  <a:pt x="3294" y="897"/>
                  <a:pt x="3295" y="897"/>
                  <a:pt x="3295" y="896"/>
                </a:cubicBezTo>
                <a:cubicBezTo>
                  <a:pt x="3296" y="896"/>
                  <a:pt x="3296" y="896"/>
                  <a:pt x="3296" y="895"/>
                </a:cubicBezTo>
                <a:cubicBezTo>
                  <a:pt x="3296" y="895"/>
                  <a:pt x="3295" y="895"/>
                  <a:pt x="3295" y="894"/>
                </a:cubicBezTo>
                <a:cubicBezTo>
                  <a:pt x="3295" y="894"/>
                  <a:pt x="3294" y="893"/>
                  <a:pt x="3295" y="892"/>
                </a:cubicBezTo>
                <a:cubicBezTo>
                  <a:pt x="3295" y="892"/>
                  <a:pt x="3296" y="892"/>
                  <a:pt x="3295" y="891"/>
                </a:cubicBezTo>
                <a:cubicBezTo>
                  <a:pt x="3295" y="891"/>
                  <a:pt x="3295" y="891"/>
                  <a:pt x="3295" y="891"/>
                </a:cubicBezTo>
                <a:cubicBezTo>
                  <a:pt x="3294" y="891"/>
                  <a:pt x="3294" y="891"/>
                  <a:pt x="3294" y="891"/>
                </a:cubicBezTo>
                <a:cubicBezTo>
                  <a:pt x="3293" y="891"/>
                  <a:pt x="3293" y="891"/>
                  <a:pt x="3292" y="891"/>
                </a:cubicBezTo>
                <a:cubicBezTo>
                  <a:pt x="3292" y="891"/>
                  <a:pt x="3291" y="891"/>
                  <a:pt x="3290" y="890"/>
                </a:cubicBezTo>
                <a:cubicBezTo>
                  <a:pt x="3289" y="890"/>
                  <a:pt x="3288" y="889"/>
                  <a:pt x="3287" y="889"/>
                </a:cubicBezTo>
                <a:cubicBezTo>
                  <a:pt x="3286" y="889"/>
                  <a:pt x="3286" y="890"/>
                  <a:pt x="3285" y="890"/>
                </a:cubicBezTo>
                <a:cubicBezTo>
                  <a:pt x="3284" y="890"/>
                  <a:pt x="3284" y="890"/>
                  <a:pt x="3283" y="890"/>
                </a:cubicBezTo>
                <a:cubicBezTo>
                  <a:pt x="3283" y="891"/>
                  <a:pt x="3283" y="891"/>
                  <a:pt x="3284" y="891"/>
                </a:cubicBezTo>
                <a:cubicBezTo>
                  <a:pt x="3284" y="891"/>
                  <a:pt x="3284" y="891"/>
                  <a:pt x="3284" y="892"/>
                </a:cubicBezTo>
                <a:cubicBezTo>
                  <a:pt x="3284" y="893"/>
                  <a:pt x="3284" y="892"/>
                  <a:pt x="3283" y="893"/>
                </a:cubicBezTo>
                <a:close/>
                <a:moveTo>
                  <a:pt x="3507" y="702"/>
                </a:moveTo>
                <a:cubicBezTo>
                  <a:pt x="3506" y="702"/>
                  <a:pt x="3507" y="703"/>
                  <a:pt x="3507" y="702"/>
                </a:cubicBezTo>
                <a:cubicBezTo>
                  <a:pt x="3508" y="702"/>
                  <a:pt x="3507" y="701"/>
                  <a:pt x="3507" y="702"/>
                </a:cubicBezTo>
                <a:close/>
                <a:moveTo>
                  <a:pt x="3212" y="1384"/>
                </a:moveTo>
                <a:cubicBezTo>
                  <a:pt x="3213" y="1384"/>
                  <a:pt x="3213" y="1384"/>
                  <a:pt x="3212" y="1383"/>
                </a:cubicBezTo>
                <a:cubicBezTo>
                  <a:pt x="3212" y="1383"/>
                  <a:pt x="3212" y="1384"/>
                  <a:pt x="3212" y="1384"/>
                </a:cubicBezTo>
                <a:close/>
                <a:moveTo>
                  <a:pt x="3219" y="1316"/>
                </a:moveTo>
                <a:cubicBezTo>
                  <a:pt x="3219" y="1316"/>
                  <a:pt x="3221" y="1317"/>
                  <a:pt x="3221" y="1316"/>
                </a:cubicBezTo>
                <a:cubicBezTo>
                  <a:pt x="3221" y="1315"/>
                  <a:pt x="3220" y="1315"/>
                  <a:pt x="3220" y="1315"/>
                </a:cubicBezTo>
                <a:cubicBezTo>
                  <a:pt x="3219" y="1315"/>
                  <a:pt x="3219" y="1314"/>
                  <a:pt x="3219" y="1314"/>
                </a:cubicBezTo>
                <a:cubicBezTo>
                  <a:pt x="3218" y="1314"/>
                  <a:pt x="3218" y="1313"/>
                  <a:pt x="3217" y="1313"/>
                </a:cubicBezTo>
                <a:cubicBezTo>
                  <a:pt x="3216" y="1312"/>
                  <a:pt x="3215" y="1313"/>
                  <a:pt x="3214" y="1313"/>
                </a:cubicBezTo>
                <a:cubicBezTo>
                  <a:pt x="3214" y="1313"/>
                  <a:pt x="3213" y="1313"/>
                  <a:pt x="3213" y="1313"/>
                </a:cubicBezTo>
                <a:cubicBezTo>
                  <a:pt x="3213" y="1314"/>
                  <a:pt x="3213" y="1315"/>
                  <a:pt x="3213" y="1315"/>
                </a:cubicBezTo>
                <a:cubicBezTo>
                  <a:pt x="3213" y="1316"/>
                  <a:pt x="3212" y="1316"/>
                  <a:pt x="3213" y="1317"/>
                </a:cubicBezTo>
                <a:cubicBezTo>
                  <a:pt x="3213" y="1317"/>
                  <a:pt x="3214" y="1317"/>
                  <a:pt x="3214" y="1317"/>
                </a:cubicBezTo>
                <a:cubicBezTo>
                  <a:pt x="3215" y="1316"/>
                  <a:pt x="3216" y="1316"/>
                  <a:pt x="3217" y="1316"/>
                </a:cubicBezTo>
                <a:cubicBezTo>
                  <a:pt x="3217" y="1316"/>
                  <a:pt x="3217" y="1316"/>
                  <a:pt x="3218" y="1316"/>
                </a:cubicBezTo>
                <a:cubicBezTo>
                  <a:pt x="3218" y="1316"/>
                  <a:pt x="3219" y="1316"/>
                  <a:pt x="3219" y="1316"/>
                </a:cubicBezTo>
                <a:close/>
                <a:moveTo>
                  <a:pt x="3352" y="894"/>
                </a:moveTo>
                <a:cubicBezTo>
                  <a:pt x="3352" y="894"/>
                  <a:pt x="3351" y="894"/>
                  <a:pt x="3351" y="894"/>
                </a:cubicBezTo>
                <a:cubicBezTo>
                  <a:pt x="3351" y="894"/>
                  <a:pt x="3350" y="895"/>
                  <a:pt x="3351" y="895"/>
                </a:cubicBezTo>
                <a:cubicBezTo>
                  <a:pt x="3351" y="895"/>
                  <a:pt x="3352" y="895"/>
                  <a:pt x="3352" y="894"/>
                </a:cubicBezTo>
                <a:close/>
                <a:moveTo>
                  <a:pt x="3430" y="754"/>
                </a:moveTo>
                <a:cubicBezTo>
                  <a:pt x="3429" y="754"/>
                  <a:pt x="3429" y="754"/>
                  <a:pt x="3429" y="754"/>
                </a:cubicBezTo>
                <a:cubicBezTo>
                  <a:pt x="3428" y="754"/>
                  <a:pt x="3428" y="754"/>
                  <a:pt x="3427" y="754"/>
                </a:cubicBezTo>
                <a:cubicBezTo>
                  <a:pt x="3427" y="753"/>
                  <a:pt x="3427" y="753"/>
                  <a:pt x="3427" y="753"/>
                </a:cubicBezTo>
                <a:cubicBezTo>
                  <a:pt x="3426" y="753"/>
                  <a:pt x="3426" y="753"/>
                  <a:pt x="3426" y="753"/>
                </a:cubicBezTo>
                <a:cubicBezTo>
                  <a:pt x="3426" y="754"/>
                  <a:pt x="3425" y="755"/>
                  <a:pt x="3425" y="755"/>
                </a:cubicBezTo>
                <a:cubicBezTo>
                  <a:pt x="3424" y="756"/>
                  <a:pt x="3424" y="757"/>
                  <a:pt x="3423" y="757"/>
                </a:cubicBezTo>
                <a:cubicBezTo>
                  <a:pt x="3422" y="758"/>
                  <a:pt x="3421" y="758"/>
                  <a:pt x="3421" y="759"/>
                </a:cubicBezTo>
                <a:cubicBezTo>
                  <a:pt x="3420" y="760"/>
                  <a:pt x="3420" y="761"/>
                  <a:pt x="3419" y="761"/>
                </a:cubicBezTo>
                <a:cubicBezTo>
                  <a:pt x="3419" y="761"/>
                  <a:pt x="3419" y="762"/>
                  <a:pt x="3418" y="762"/>
                </a:cubicBezTo>
                <a:cubicBezTo>
                  <a:pt x="3418" y="763"/>
                  <a:pt x="3418" y="765"/>
                  <a:pt x="3419" y="765"/>
                </a:cubicBezTo>
                <a:cubicBezTo>
                  <a:pt x="3420" y="765"/>
                  <a:pt x="3420" y="764"/>
                  <a:pt x="3420" y="764"/>
                </a:cubicBezTo>
                <a:cubicBezTo>
                  <a:pt x="3420" y="763"/>
                  <a:pt x="3420" y="762"/>
                  <a:pt x="3420" y="762"/>
                </a:cubicBezTo>
                <a:cubicBezTo>
                  <a:pt x="3421" y="762"/>
                  <a:pt x="3422" y="762"/>
                  <a:pt x="3422" y="762"/>
                </a:cubicBezTo>
                <a:cubicBezTo>
                  <a:pt x="3422" y="761"/>
                  <a:pt x="3423" y="761"/>
                  <a:pt x="3423" y="760"/>
                </a:cubicBezTo>
                <a:cubicBezTo>
                  <a:pt x="3423" y="760"/>
                  <a:pt x="3423" y="760"/>
                  <a:pt x="3423" y="759"/>
                </a:cubicBezTo>
                <a:cubicBezTo>
                  <a:pt x="3424" y="758"/>
                  <a:pt x="3425" y="758"/>
                  <a:pt x="3426" y="757"/>
                </a:cubicBezTo>
                <a:cubicBezTo>
                  <a:pt x="3426" y="757"/>
                  <a:pt x="3427" y="757"/>
                  <a:pt x="3428" y="756"/>
                </a:cubicBezTo>
                <a:cubicBezTo>
                  <a:pt x="3429" y="756"/>
                  <a:pt x="3430" y="755"/>
                  <a:pt x="3430" y="755"/>
                </a:cubicBezTo>
                <a:cubicBezTo>
                  <a:pt x="3431" y="755"/>
                  <a:pt x="3431" y="755"/>
                  <a:pt x="3431" y="754"/>
                </a:cubicBezTo>
                <a:cubicBezTo>
                  <a:pt x="3431" y="754"/>
                  <a:pt x="3430" y="754"/>
                  <a:pt x="3430" y="754"/>
                </a:cubicBezTo>
                <a:close/>
                <a:moveTo>
                  <a:pt x="3262" y="1379"/>
                </a:moveTo>
                <a:cubicBezTo>
                  <a:pt x="3262" y="1379"/>
                  <a:pt x="3262" y="1379"/>
                  <a:pt x="3262" y="1379"/>
                </a:cubicBezTo>
                <a:cubicBezTo>
                  <a:pt x="3262" y="1378"/>
                  <a:pt x="3263" y="1379"/>
                  <a:pt x="3263" y="1379"/>
                </a:cubicBezTo>
                <a:cubicBezTo>
                  <a:pt x="3263" y="1379"/>
                  <a:pt x="3264" y="1380"/>
                  <a:pt x="3265" y="1380"/>
                </a:cubicBezTo>
                <a:cubicBezTo>
                  <a:pt x="3265" y="1379"/>
                  <a:pt x="3264" y="1378"/>
                  <a:pt x="3263" y="1378"/>
                </a:cubicBezTo>
                <a:cubicBezTo>
                  <a:pt x="3263" y="1378"/>
                  <a:pt x="3262" y="1378"/>
                  <a:pt x="3262" y="1378"/>
                </a:cubicBezTo>
                <a:cubicBezTo>
                  <a:pt x="3261" y="1378"/>
                  <a:pt x="3261" y="1378"/>
                  <a:pt x="3260" y="1379"/>
                </a:cubicBezTo>
                <a:cubicBezTo>
                  <a:pt x="3260" y="1379"/>
                  <a:pt x="3260" y="1379"/>
                  <a:pt x="3260" y="1379"/>
                </a:cubicBezTo>
                <a:cubicBezTo>
                  <a:pt x="3259" y="1380"/>
                  <a:pt x="3259" y="1380"/>
                  <a:pt x="3258" y="1380"/>
                </a:cubicBezTo>
                <a:cubicBezTo>
                  <a:pt x="3258" y="1381"/>
                  <a:pt x="3258" y="1382"/>
                  <a:pt x="3257" y="1382"/>
                </a:cubicBezTo>
                <a:cubicBezTo>
                  <a:pt x="3257" y="1383"/>
                  <a:pt x="3256" y="1384"/>
                  <a:pt x="3256" y="1384"/>
                </a:cubicBezTo>
                <a:cubicBezTo>
                  <a:pt x="3255" y="1384"/>
                  <a:pt x="3255" y="1384"/>
                  <a:pt x="3255" y="1385"/>
                </a:cubicBezTo>
                <a:cubicBezTo>
                  <a:pt x="3255" y="1385"/>
                  <a:pt x="3255" y="1385"/>
                  <a:pt x="3255" y="1386"/>
                </a:cubicBezTo>
                <a:cubicBezTo>
                  <a:pt x="3255" y="1386"/>
                  <a:pt x="3255" y="1386"/>
                  <a:pt x="3255" y="1387"/>
                </a:cubicBezTo>
                <a:cubicBezTo>
                  <a:pt x="3255" y="1387"/>
                  <a:pt x="3255" y="1387"/>
                  <a:pt x="3255" y="1388"/>
                </a:cubicBezTo>
                <a:cubicBezTo>
                  <a:pt x="3255" y="1388"/>
                  <a:pt x="3255" y="1389"/>
                  <a:pt x="3256" y="1389"/>
                </a:cubicBezTo>
                <a:cubicBezTo>
                  <a:pt x="3256" y="1389"/>
                  <a:pt x="3257" y="1389"/>
                  <a:pt x="3257" y="1388"/>
                </a:cubicBezTo>
                <a:cubicBezTo>
                  <a:pt x="3258" y="1388"/>
                  <a:pt x="3258" y="1387"/>
                  <a:pt x="3259" y="1386"/>
                </a:cubicBezTo>
                <a:cubicBezTo>
                  <a:pt x="3259" y="1385"/>
                  <a:pt x="3260" y="1385"/>
                  <a:pt x="3261" y="1384"/>
                </a:cubicBezTo>
                <a:cubicBezTo>
                  <a:pt x="3261" y="1384"/>
                  <a:pt x="3261" y="1383"/>
                  <a:pt x="3261" y="1383"/>
                </a:cubicBezTo>
                <a:cubicBezTo>
                  <a:pt x="3261" y="1382"/>
                  <a:pt x="3262" y="1383"/>
                  <a:pt x="3262" y="1382"/>
                </a:cubicBezTo>
                <a:cubicBezTo>
                  <a:pt x="3262" y="1381"/>
                  <a:pt x="3261" y="1381"/>
                  <a:pt x="3261" y="1381"/>
                </a:cubicBezTo>
                <a:cubicBezTo>
                  <a:pt x="3261" y="1381"/>
                  <a:pt x="3261" y="1380"/>
                  <a:pt x="3261" y="1380"/>
                </a:cubicBezTo>
                <a:cubicBezTo>
                  <a:pt x="3261" y="1380"/>
                  <a:pt x="3262" y="1380"/>
                  <a:pt x="3262" y="1379"/>
                </a:cubicBezTo>
                <a:close/>
                <a:moveTo>
                  <a:pt x="3297" y="1366"/>
                </a:moveTo>
                <a:cubicBezTo>
                  <a:pt x="3296" y="1366"/>
                  <a:pt x="3296" y="1366"/>
                  <a:pt x="3296" y="1366"/>
                </a:cubicBezTo>
                <a:cubicBezTo>
                  <a:pt x="3296" y="1365"/>
                  <a:pt x="3296" y="1365"/>
                  <a:pt x="3296" y="1364"/>
                </a:cubicBezTo>
                <a:cubicBezTo>
                  <a:pt x="3296" y="1364"/>
                  <a:pt x="3295" y="1364"/>
                  <a:pt x="3296" y="1363"/>
                </a:cubicBezTo>
                <a:cubicBezTo>
                  <a:pt x="3296" y="1362"/>
                  <a:pt x="3296" y="1362"/>
                  <a:pt x="3296" y="1361"/>
                </a:cubicBezTo>
                <a:cubicBezTo>
                  <a:pt x="3295" y="1360"/>
                  <a:pt x="3295" y="1360"/>
                  <a:pt x="3295" y="1360"/>
                </a:cubicBezTo>
                <a:cubicBezTo>
                  <a:pt x="3295" y="1360"/>
                  <a:pt x="3295" y="1359"/>
                  <a:pt x="3295" y="1359"/>
                </a:cubicBezTo>
                <a:cubicBezTo>
                  <a:pt x="3294" y="1358"/>
                  <a:pt x="3294" y="1360"/>
                  <a:pt x="3293" y="1360"/>
                </a:cubicBezTo>
                <a:cubicBezTo>
                  <a:pt x="3293" y="1361"/>
                  <a:pt x="3293" y="1361"/>
                  <a:pt x="3292" y="1361"/>
                </a:cubicBezTo>
                <a:cubicBezTo>
                  <a:pt x="3292" y="1361"/>
                  <a:pt x="3291" y="1362"/>
                  <a:pt x="3291" y="1362"/>
                </a:cubicBezTo>
                <a:cubicBezTo>
                  <a:pt x="3290" y="1362"/>
                  <a:pt x="3290" y="1362"/>
                  <a:pt x="3290" y="1362"/>
                </a:cubicBezTo>
                <a:cubicBezTo>
                  <a:pt x="3289" y="1363"/>
                  <a:pt x="3291" y="1363"/>
                  <a:pt x="3292" y="1363"/>
                </a:cubicBezTo>
                <a:cubicBezTo>
                  <a:pt x="3292" y="1364"/>
                  <a:pt x="3291" y="1364"/>
                  <a:pt x="3291" y="1365"/>
                </a:cubicBezTo>
                <a:cubicBezTo>
                  <a:pt x="3291" y="1366"/>
                  <a:pt x="3291" y="1366"/>
                  <a:pt x="3291" y="1367"/>
                </a:cubicBezTo>
                <a:cubicBezTo>
                  <a:pt x="3292" y="1368"/>
                  <a:pt x="3292" y="1369"/>
                  <a:pt x="3293" y="1369"/>
                </a:cubicBezTo>
                <a:cubicBezTo>
                  <a:pt x="3294" y="1369"/>
                  <a:pt x="3294" y="1369"/>
                  <a:pt x="3294" y="1369"/>
                </a:cubicBezTo>
                <a:cubicBezTo>
                  <a:pt x="3295" y="1369"/>
                  <a:pt x="3295" y="1370"/>
                  <a:pt x="3296" y="1369"/>
                </a:cubicBezTo>
                <a:cubicBezTo>
                  <a:pt x="3296" y="1369"/>
                  <a:pt x="3296" y="1368"/>
                  <a:pt x="3296" y="1367"/>
                </a:cubicBezTo>
                <a:cubicBezTo>
                  <a:pt x="3296" y="1367"/>
                  <a:pt x="3297" y="1367"/>
                  <a:pt x="3297" y="1366"/>
                </a:cubicBezTo>
                <a:close/>
                <a:moveTo>
                  <a:pt x="3249" y="940"/>
                </a:moveTo>
                <a:cubicBezTo>
                  <a:pt x="3250" y="940"/>
                  <a:pt x="3249" y="939"/>
                  <a:pt x="3248" y="939"/>
                </a:cubicBezTo>
                <a:cubicBezTo>
                  <a:pt x="3248" y="939"/>
                  <a:pt x="3246" y="939"/>
                  <a:pt x="3247" y="940"/>
                </a:cubicBezTo>
                <a:cubicBezTo>
                  <a:pt x="3247" y="941"/>
                  <a:pt x="3247" y="940"/>
                  <a:pt x="3248" y="941"/>
                </a:cubicBezTo>
                <a:cubicBezTo>
                  <a:pt x="3248" y="941"/>
                  <a:pt x="3248" y="941"/>
                  <a:pt x="3248" y="942"/>
                </a:cubicBezTo>
                <a:cubicBezTo>
                  <a:pt x="3248" y="942"/>
                  <a:pt x="3249" y="942"/>
                  <a:pt x="3249" y="941"/>
                </a:cubicBezTo>
                <a:cubicBezTo>
                  <a:pt x="3249" y="941"/>
                  <a:pt x="3249" y="941"/>
                  <a:pt x="3249" y="941"/>
                </a:cubicBezTo>
                <a:cubicBezTo>
                  <a:pt x="3249" y="940"/>
                  <a:pt x="3249" y="940"/>
                  <a:pt x="3249" y="940"/>
                </a:cubicBezTo>
                <a:close/>
                <a:moveTo>
                  <a:pt x="3456" y="739"/>
                </a:moveTo>
                <a:cubicBezTo>
                  <a:pt x="3456" y="739"/>
                  <a:pt x="3456" y="739"/>
                  <a:pt x="3456" y="740"/>
                </a:cubicBezTo>
                <a:cubicBezTo>
                  <a:pt x="3455" y="740"/>
                  <a:pt x="3455" y="740"/>
                  <a:pt x="3455" y="740"/>
                </a:cubicBezTo>
                <a:cubicBezTo>
                  <a:pt x="3454" y="741"/>
                  <a:pt x="3453" y="741"/>
                  <a:pt x="3452" y="742"/>
                </a:cubicBezTo>
                <a:cubicBezTo>
                  <a:pt x="3452" y="742"/>
                  <a:pt x="3451" y="742"/>
                  <a:pt x="3451" y="742"/>
                </a:cubicBezTo>
                <a:cubicBezTo>
                  <a:pt x="3451" y="743"/>
                  <a:pt x="3450" y="743"/>
                  <a:pt x="3450" y="743"/>
                </a:cubicBezTo>
                <a:cubicBezTo>
                  <a:pt x="3450" y="743"/>
                  <a:pt x="3449" y="743"/>
                  <a:pt x="3448" y="743"/>
                </a:cubicBezTo>
                <a:cubicBezTo>
                  <a:pt x="3448" y="743"/>
                  <a:pt x="3448" y="743"/>
                  <a:pt x="3448" y="742"/>
                </a:cubicBezTo>
                <a:cubicBezTo>
                  <a:pt x="3448" y="742"/>
                  <a:pt x="3447" y="742"/>
                  <a:pt x="3447" y="741"/>
                </a:cubicBezTo>
                <a:cubicBezTo>
                  <a:pt x="3447" y="741"/>
                  <a:pt x="3447" y="740"/>
                  <a:pt x="3447" y="741"/>
                </a:cubicBezTo>
                <a:cubicBezTo>
                  <a:pt x="3446" y="741"/>
                  <a:pt x="3446" y="741"/>
                  <a:pt x="3446" y="741"/>
                </a:cubicBezTo>
                <a:cubicBezTo>
                  <a:pt x="3446" y="742"/>
                  <a:pt x="3446" y="742"/>
                  <a:pt x="3445" y="742"/>
                </a:cubicBezTo>
                <a:cubicBezTo>
                  <a:pt x="3445" y="743"/>
                  <a:pt x="3444" y="744"/>
                  <a:pt x="3443" y="744"/>
                </a:cubicBezTo>
                <a:cubicBezTo>
                  <a:pt x="3442" y="745"/>
                  <a:pt x="3441" y="746"/>
                  <a:pt x="3440" y="746"/>
                </a:cubicBezTo>
                <a:cubicBezTo>
                  <a:pt x="3440" y="747"/>
                  <a:pt x="3439" y="748"/>
                  <a:pt x="3438" y="749"/>
                </a:cubicBezTo>
                <a:cubicBezTo>
                  <a:pt x="3437" y="750"/>
                  <a:pt x="3437" y="751"/>
                  <a:pt x="3436" y="751"/>
                </a:cubicBezTo>
                <a:cubicBezTo>
                  <a:pt x="3436" y="752"/>
                  <a:pt x="3435" y="752"/>
                  <a:pt x="3435" y="752"/>
                </a:cubicBezTo>
                <a:cubicBezTo>
                  <a:pt x="3434" y="752"/>
                  <a:pt x="3434" y="753"/>
                  <a:pt x="3434" y="754"/>
                </a:cubicBezTo>
                <a:cubicBezTo>
                  <a:pt x="3435" y="754"/>
                  <a:pt x="3435" y="755"/>
                  <a:pt x="3435" y="755"/>
                </a:cubicBezTo>
                <a:cubicBezTo>
                  <a:pt x="3435" y="755"/>
                  <a:pt x="3436" y="755"/>
                  <a:pt x="3436" y="754"/>
                </a:cubicBezTo>
                <a:cubicBezTo>
                  <a:pt x="3436" y="754"/>
                  <a:pt x="3436" y="753"/>
                  <a:pt x="3437" y="753"/>
                </a:cubicBezTo>
                <a:cubicBezTo>
                  <a:pt x="3438" y="752"/>
                  <a:pt x="3439" y="753"/>
                  <a:pt x="3439" y="752"/>
                </a:cubicBezTo>
                <a:cubicBezTo>
                  <a:pt x="3440" y="751"/>
                  <a:pt x="3440" y="751"/>
                  <a:pt x="3440" y="751"/>
                </a:cubicBezTo>
                <a:cubicBezTo>
                  <a:pt x="3440" y="750"/>
                  <a:pt x="3440" y="750"/>
                  <a:pt x="3441" y="750"/>
                </a:cubicBezTo>
                <a:cubicBezTo>
                  <a:pt x="3442" y="749"/>
                  <a:pt x="3443" y="749"/>
                  <a:pt x="3443" y="748"/>
                </a:cubicBezTo>
                <a:cubicBezTo>
                  <a:pt x="3443" y="748"/>
                  <a:pt x="3443" y="748"/>
                  <a:pt x="3443" y="747"/>
                </a:cubicBezTo>
                <a:cubicBezTo>
                  <a:pt x="3443" y="747"/>
                  <a:pt x="3444" y="747"/>
                  <a:pt x="3444" y="746"/>
                </a:cubicBezTo>
                <a:cubicBezTo>
                  <a:pt x="3444" y="746"/>
                  <a:pt x="3445" y="747"/>
                  <a:pt x="3445" y="747"/>
                </a:cubicBezTo>
                <a:cubicBezTo>
                  <a:pt x="3446" y="747"/>
                  <a:pt x="3446" y="747"/>
                  <a:pt x="3446" y="747"/>
                </a:cubicBezTo>
                <a:cubicBezTo>
                  <a:pt x="3447" y="747"/>
                  <a:pt x="3447" y="746"/>
                  <a:pt x="3448" y="745"/>
                </a:cubicBezTo>
                <a:cubicBezTo>
                  <a:pt x="3449" y="744"/>
                  <a:pt x="3451" y="743"/>
                  <a:pt x="3452" y="743"/>
                </a:cubicBezTo>
                <a:cubicBezTo>
                  <a:pt x="3453" y="742"/>
                  <a:pt x="3454" y="742"/>
                  <a:pt x="3455" y="742"/>
                </a:cubicBezTo>
                <a:cubicBezTo>
                  <a:pt x="3456" y="742"/>
                  <a:pt x="3457" y="742"/>
                  <a:pt x="3457" y="741"/>
                </a:cubicBezTo>
                <a:cubicBezTo>
                  <a:pt x="3457" y="741"/>
                  <a:pt x="3457" y="739"/>
                  <a:pt x="3456" y="739"/>
                </a:cubicBezTo>
                <a:close/>
                <a:moveTo>
                  <a:pt x="3505" y="706"/>
                </a:moveTo>
                <a:cubicBezTo>
                  <a:pt x="3504" y="707"/>
                  <a:pt x="3504" y="707"/>
                  <a:pt x="3505" y="707"/>
                </a:cubicBezTo>
                <a:cubicBezTo>
                  <a:pt x="3505" y="707"/>
                  <a:pt x="3505" y="706"/>
                  <a:pt x="3505" y="706"/>
                </a:cubicBezTo>
                <a:close/>
                <a:moveTo>
                  <a:pt x="3499" y="713"/>
                </a:moveTo>
                <a:cubicBezTo>
                  <a:pt x="3499" y="712"/>
                  <a:pt x="3498" y="713"/>
                  <a:pt x="3498" y="713"/>
                </a:cubicBezTo>
                <a:cubicBezTo>
                  <a:pt x="3498" y="713"/>
                  <a:pt x="3499" y="713"/>
                  <a:pt x="3499" y="713"/>
                </a:cubicBezTo>
                <a:close/>
                <a:moveTo>
                  <a:pt x="3289" y="1372"/>
                </a:moveTo>
                <a:cubicBezTo>
                  <a:pt x="3289" y="1372"/>
                  <a:pt x="3289" y="1372"/>
                  <a:pt x="3289" y="1373"/>
                </a:cubicBezTo>
                <a:cubicBezTo>
                  <a:pt x="3289" y="1374"/>
                  <a:pt x="3289" y="1375"/>
                  <a:pt x="3289" y="1375"/>
                </a:cubicBezTo>
                <a:cubicBezTo>
                  <a:pt x="3290" y="1377"/>
                  <a:pt x="3291" y="1376"/>
                  <a:pt x="3291" y="1375"/>
                </a:cubicBezTo>
                <a:cubicBezTo>
                  <a:pt x="3292" y="1374"/>
                  <a:pt x="3292" y="1373"/>
                  <a:pt x="3293" y="1373"/>
                </a:cubicBezTo>
                <a:cubicBezTo>
                  <a:pt x="3293" y="1373"/>
                  <a:pt x="3294" y="1373"/>
                  <a:pt x="3294" y="1373"/>
                </a:cubicBezTo>
                <a:cubicBezTo>
                  <a:pt x="3294" y="1372"/>
                  <a:pt x="3293" y="1372"/>
                  <a:pt x="3293" y="1372"/>
                </a:cubicBezTo>
                <a:cubicBezTo>
                  <a:pt x="3292" y="1371"/>
                  <a:pt x="3292" y="1371"/>
                  <a:pt x="3292" y="1370"/>
                </a:cubicBezTo>
                <a:cubicBezTo>
                  <a:pt x="3292" y="1370"/>
                  <a:pt x="3291" y="1370"/>
                  <a:pt x="3291" y="1369"/>
                </a:cubicBezTo>
                <a:cubicBezTo>
                  <a:pt x="3290" y="1369"/>
                  <a:pt x="3290" y="1369"/>
                  <a:pt x="3290" y="1368"/>
                </a:cubicBezTo>
                <a:cubicBezTo>
                  <a:pt x="3290" y="1368"/>
                  <a:pt x="3290" y="1367"/>
                  <a:pt x="3289" y="1368"/>
                </a:cubicBezTo>
                <a:cubicBezTo>
                  <a:pt x="3289" y="1368"/>
                  <a:pt x="3289" y="1368"/>
                  <a:pt x="3289" y="1369"/>
                </a:cubicBezTo>
                <a:cubicBezTo>
                  <a:pt x="3289" y="1369"/>
                  <a:pt x="3289" y="1369"/>
                  <a:pt x="3289" y="1370"/>
                </a:cubicBezTo>
                <a:cubicBezTo>
                  <a:pt x="3289" y="1370"/>
                  <a:pt x="3290" y="1370"/>
                  <a:pt x="3290" y="1371"/>
                </a:cubicBezTo>
                <a:cubicBezTo>
                  <a:pt x="3290" y="1371"/>
                  <a:pt x="3289" y="1371"/>
                  <a:pt x="3289" y="1372"/>
                </a:cubicBezTo>
                <a:close/>
                <a:moveTo>
                  <a:pt x="3247" y="1318"/>
                </a:moveTo>
                <a:cubicBezTo>
                  <a:pt x="3248" y="1317"/>
                  <a:pt x="3247" y="1317"/>
                  <a:pt x="3247" y="1317"/>
                </a:cubicBezTo>
                <a:cubicBezTo>
                  <a:pt x="3246" y="1317"/>
                  <a:pt x="3246" y="1315"/>
                  <a:pt x="3244" y="1316"/>
                </a:cubicBezTo>
                <a:cubicBezTo>
                  <a:pt x="3244" y="1316"/>
                  <a:pt x="3243" y="1317"/>
                  <a:pt x="3243" y="1317"/>
                </a:cubicBezTo>
                <a:cubicBezTo>
                  <a:pt x="3242" y="1317"/>
                  <a:pt x="3241" y="1317"/>
                  <a:pt x="3240" y="1318"/>
                </a:cubicBezTo>
                <a:cubicBezTo>
                  <a:pt x="3240" y="1318"/>
                  <a:pt x="3239" y="1318"/>
                  <a:pt x="3239" y="1318"/>
                </a:cubicBezTo>
                <a:cubicBezTo>
                  <a:pt x="3239" y="1319"/>
                  <a:pt x="3240" y="1319"/>
                  <a:pt x="3240" y="1319"/>
                </a:cubicBezTo>
                <a:cubicBezTo>
                  <a:pt x="3241" y="1319"/>
                  <a:pt x="3241" y="1319"/>
                  <a:pt x="3241" y="1319"/>
                </a:cubicBezTo>
                <a:cubicBezTo>
                  <a:pt x="3241" y="1320"/>
                  <a:pt x="3242" y="1320"/>
                  <a:pt x="3242" y="1320"/>
                </a:cubicBezTo>
                <a:cubicBezTo>
                  <a:pt x="3243" y="1320"/>
                  <a:pt x="3243" y="1320"/>
                  <a:pt x="3243" y="1321"/>
                </a:cubicBezTo>
                <a:cubicBezTo>
                  <a:pt x="3243" y="1321"/>
                  <a:pt x="3244" y="1321"/>
                  <a:pt x="3244" y="1321"/>
                </a:cubicBezTo>
                <a:cubicBezTo>
                  <a:pt x="3245" y="1321"/>
                  <a:pt x="3245" y="1320"/>
                  <a:pt x="3245" y="1320"/>
                </a:cubicBezTo>
                <a:cubicBezTo>
                  <a:pt x="3245" y="1320"/>
                  <a:pt x="3246" y="1320"/>
                  <a:pt x="3246" y="1320"/>
                </a:cubicBezTo>
                <a:cubicBezTo>
                  <a:pt x="3247" y="1320"/>
                  <a:pt x="3247" y="1319"/>
                  <a:pt x="3247" y="1319"/>
                </a:cubicBezTo>
                <a:cubicBezTo>
                  <a:pt x="3247" y="1319"/>
                  <a:pt x="3247" y="1318"/>
                  <a:pt x="3247" y="1318"/>
                </a:cubicBezTo>
                <a:cubicBezTo>
                  <a:pt x="3247" y="1318"/>
                  <a:pt x="3247" y="1318"/>
                  <a:pt x="3247" y="1318"/>
                </a:cubicBezTo>
                <a:close/>
                <a:moveTo>
                  <a:pt x="3243" y="917"/>
                </a:moveTo>
                <a:cubicBezTo>
                  <a:pt x="3243" y="916"/>
                  <a:pt x="3243" y="916"/>
                  <a:pt x="3243" y="916"/>
                </a:cubicBezTo>
                <a:cubicBezTo>
                  <a:pt x="3244" y="915"/>
                  <a:pt x="3244" y="916"/>
                  <a:pt x="3244" y="915"/>
                </a:cubicBezTo>
                <a:cubicBezTo>
                  <a:pt x="3245" y="915"/>
                  <a:pt x="3244" y="914"/>
                  <a:pt x="3244" y="914"/>
                </a:cubicBezTo>
                <a:cubicBezTo>
                  <a:pt x="3244" y="913"/>
                  <a:pt x="3244" y="913"/>
                  <a:pt x="3244" y="913"/>
                </a:cubicBezTo>
                <a:cubicBezTo>
                  <a:pt x="3243" y="912"/>
                  <a:pt x="3242" y="913"/>
                  <a:pt x="3242" y="913"/>
                </a:cubicBezTo>
                <a:cubicBezTo>
                  <a:pt x="3243" y="914"/>
                  <a:pt x="3243" y="914"/>
                  <a:pt x="3243" y="915"/>
                </a:cubicBezTo>
                <a:cubicBezTo>
                  <a:pt x="3243" y="915"/>
                  <a:pt x="3242" y="917"/>
                  <a:pt x="3243" y="917"/>
                </a:cubicBezTo>
                <a:close/>
                <a:moveTo>
                  <a:pt x="3243" y="1432"/>
                </a:moveTo>
                <a:cubicBezTo>
                  <a:pt x="3243" y="1432"/>
                  <a:pt x="3244" y="1432"/>
                  <a:pt x="3244" y="1432"/>
                </a:cubicBezTo>
                <a:cubicBezTo>
                  <a:pt x="3245" y="1432"/>
                  <a:pt x="3245" y="1432"/>
                  <a:pt x="3245" y="1432"/>
                </a:cubicBezTo>
                <a:cubicBezTo>
                  <a:pt x="3246" y="1432"/>
                  <a:pt x="3247" y="1432"/>
                  <a:pt x="3247" y="1433"/>
                </a:cubicBezTo>
                <a:cubicBezTo>
                  <a:pt x="3248" y="1433"/>
                  <a:pt x="3248" y="1433"/>
                  <a:pt x="3249" y="1433"/>
                </a:cubicBezTo>
                <a:cubicBezTo>
                  <a:pt x="3249" y="1433"/>
                  <a:pt x="3249" y="1432"/>
                  <a:pt x="3249" y="1432"/>
                </a:cubicBezTo>
                <a:cubicBezTo>
                  <a:pt x="3250" y="1432"/>
                  <a:pt x="3251" y="1432"/>
                  <a:pt x="3251" y="1433"/>
                </a:cubicBezTo>
                <a:cubicBezTo>
                  <a:pt x="3252" y="1433"/>
                  <a:pt x="3252" y="1434"/>
                  <a:pt x="3253" y="1434"/>
                </a:cubicBezTo>
                <a:cubicBezTo>
                  <a:pt x="3254" y="1434"/>
                  <a:pt x="3254" y="1433"/>
                  <a:pt x="3255" y="1433"/>
                </a:cubicBezTo>
                <a:cubicBezTo>
                  <a:pt x="3255" y="1432"/>
                  <a:pt x="3256" y="1431"/>
                  <a:pt x="3257" y="1431"/>
                </a:cubicBezTo>
                <a:cubicBezTo>
                  <a:pt x="3257" y="1431"/>
                  <a:pt x="3258" y="1431"/>
                  <a:pt x="3258" y="1431"/>
                </a:cubicBezTo>
                <a:cubicBezTo>
                  <a:pt x="3259" y="1430"/>
                  <a:pt x="3259" y="1430"/>
                  <a:pt x="3259" y="1430"/>
                </a:cubicBezTo>
                <a:cubicBezTo>
                  <a:pt x="3259" y="1429"/>
                  <a:pt x="3260" y="1429"/>
                  <a:pt x="3260" y="1428"/>
                </a:cubicBezTo>
                <a:cubicBezTo>
                  <a:pt x="3260" y="1426"/>
                  <a:pt x="3259" y="1427"/>
                  <a:pt x="3258" y="1426"/>
                </a:cubicBezTo>
                <a:cubicBezTo>
                  <a:pt x="3257" y="1425"/>
                  <a:pt x="3257" y="1425"/>
                  <a:pt x="3256" y="1425"/>
                </a:cubicBezTo>
                <a:cubicBezTo>
                  <a:pt x="3256" y="1425"/>
                  <a:pt x="3256" y="1426"/>
                  <a:pt x="3256" y="1426"/>
                </a:cubicBezTo>
                <a:cubicBezTo>
                  <a:pt x="3255" y="1426"/>
                  <a:pt x="3255" y="1426"/>
                  <a:pt x="3254" y="1426"/>
                </a:cubicBezTo>
                <a:cubicBezTo>
                  <a:pt x="3254" y="1426"/>
                  <a:pt x="3254" y="1426"/>
                  <a:pt x="3253" y="1427"/>
                </a:cubicBezTo>
                <a:cubicBezTo>
                  <a:pt x="3253" y="1427"/>
                  <a:pt x="3253" y="1427"/>
                  <a:pt x="3252" y="1427"/>
                </a:cubicBezTo>
                <a:cubicBezTo>
                  <a:pt x="3251" y="1427"/>
                  <a:pt x="3251" y="1428"/>
                  <a:pt x="3250" y="1428"/>
                </a:cubicBezTo>
                <a:cubicBezTo>
                  <a:pt x="3249" y="1428"/>
                  <a:pt x="3248" y="1426"/>
                  <a:pt x="3247" y="1425"/>
                </a:cubicBezTo>
                <a:cubicBezTo>
                  <a:pt x="3247" y="1425"/>
                  <a:pt x="3246" y="1425"/>
                  <a:pt x="3246" y="1425"/>
                </a:cubicBezTo>
                <a:cubicBezTo>
                  <a:pt x="3246" y="1426"/>
                  <a:pt x="3247" y="1426"/>
                  <a:pt x="3246" y="1426"/>
                </a:cubicBezTo>
                <a:cubicBezTo>
                  <a:pt x="3246" y="1427"/>
                  <a:pt x="3246" y="1427"/>
                  <a:pt x="3245" y="1427"/>
                </a:cubicBezTo>
                <a:cubicBezTo>
                  <a:pt x="3244" y="1427"/>
                  <a:pt x="3244" y="1428"/>
                  <a:pt x="3244" y="1428"/>
                </a:cubicBezTo>
                <a:cubicBezTo>
                  <a:pt x="3244" y="1429"/>
                  <a:pt x="3245" y="1430"/>
                  <a:pt x="3244" y="1430"/>
                </a:cubicBezTo>
                <a:cubicBezTo>
                  <a:pt x="3244" y="1431"/>
                  <a:pt x="3242" y="1431"/>
                  <a:pt x="3243" y="1432"/>
                </a:cubicBezTo>
                <a:close/>
                <a:moveTo>
                  <a:pt x="3250" y="1301"/>
                </a:moveTo>
                <a:cubicBezTo>
                  <a:pt x="3250" y="1301"/>
                  <a:pt x="3251" y="1301"/>
                  <a:pt x="3251" y="1302"/>
                </a:cubicBezTo>
                <a:cubicBezTo>
                  <a:pt x="3251" y="1302"/>
                  <a:pt x="3251" y="1302"/>
                  <a:pt x="3251" y="1302"/>
                </a:cubicBezTo>
                <a:cubicBezTo>
                  <a:pt x="3252" y="1303"/>
                  <a:pt x="3252" y="1303"/>
                  <a:pt x="3252" y="1302"/>
                </a:cubicBezTo>
                <a:cubicBezTo>
                  <a:pt x="3253" y="1302"/>
                  <a:pt x="3252" y="1301"/>
                  <a:pt x="3253" y="1301"/>
                </a:cubicBezTo>
                <a:cubicBezTo>
                  <a:pt x="3253" y="1301"/>
                  <a:pt x="3253" y="1301"/>
                  <a:pt x="3254" y="1301"/>
                </a:cubicBezTo>
                <a:cubicBezTo>
                  <a:pt x="3254" y="1301"/>
                  <a:pt x="3254" y="1301"/>
                  <a:pt x="3255" y="1301"/>
                </a:cubicBezTo>
                <a:cubicBezTo>
                  <a:pt x="3255" y="1301"/>
                  <a:pt x="3256" y="1301"/>
                  <a:pt x="3256" y="1301"/>
                </a:cubicBezTo>
                <a:cubicBezTo>
                  <a:pt x="3256" y="1301"/>
                  <a:pt x="3257" y="1302"/>
                  <a:pt x="3257" y="1301"/>
                </a:cubicBezTo>
                <a:cubicBezTo>
                  <a:pt x="3258" y="1301"/>
                  <a:pt x="3257" y="1300"/>
                  <a:pt x="3257" y="1299"/>
                </a:cubicBezTo>
                <a:cubicBezTo>
                  <a:pt x="3257" y="1299"/>
                  <a:pt x="3257" y="1299"/>
                  <a:pt x="3256" y="1298"/>
                </a:cubicBezTo>
                <a:cubicBezTo>
                  <a:pt x="3256" y="1298"/>
                  <a:pt x="3256" y="1298"/>
                  <a:pt x="3255" y="1298"/>
                </a:cubicBezTo>
                <a:cubicBezTo>
                  <a:pt x="3254" y="1298"/>
                  <a:pt x="3254" y="1297"/>
                  <a:pt x="3253" y="1297"/>
                </a:cubicBezTo>
                <a:cubicBezTo>
                  <a:pt x="3252" y="1297"/>
                  <a:pt x="3252" y="1297"/>
                  <a:pt x="3252" y="1297"/>
                </a:cubicBezTo>
                <a:cubicBezTo>
                  <a:pt x="3251" y="1297"/>
                  <a:pt x="3251" y="1297"/>
                  <a:pt x="3251" y="1297"/>
                </a:cubicBezTo>
                <a:cubicBezTo>
                  <a:pt x="3250" y="1297"/>
                  <a:pt x="3250" y="1297"/>
                  <a:pt x="3250" y="1297"/>
                </a:cubicBezTo>
                <a:cubicBezTo>
                  <a:pt x="3250" y="1298"/>
                  <a:pt x="3250" y="1298"/>
                  <a:pt x="3250" y="1298"/>
                </a:cubicBezTo>
                <a:cubicBezTo>
                  <a:pt x="3251" y="1298"/>
                  <a:pt x="3250" y="1299"/>
                  <a:pt x="3251" y="1299"/>
                </a:cubicBezTo>
                <a:cubicBezTo>
                  <a:pt x="3251" y="1299"/>
                  <a:pt x="3251" y="1299"/>
                  <a:pt x="3251" y="1299"/>
                </a:cubicBezTo>
                <a:cubicBezTo>
                  <a:pt x="3251" y="1299"/>
                  <a:pt x="3252" y="1300"/>
                  <a:pt x="3251" y="1300"/>
                </a:cubicBezTo>
                <a:cubicBezTo>
                  <a:pt x="3251" y="1300"/>
                  <a:pt x="3251" y="1300"/>
                  <a:pt x="3251" y="1300"/>
                </a:cubicBezTo>
                <a:cubicBezTo>
                  <a:pt x="3250" y="1300"/>
                  <a:pt x="3250" y="1299"/>
                  <a:pt x="3250" y="1299"/>
                </a:cubicBezTo>
                <a:cubicBezTo>
                  <a:pt x="3250" y="1299"/>
                  <a:pt x="3250" y="1299"/>
                  <a:pt x="3250" y="1299"/>
                </a:cubicBezTo>
                <a:cubicBezTo>
                  <a:pt x="3249" y="1299"/>
                  <a:pt x="3250" y="1298"/>
                  <a:pt x="3249" y="1298"/>
                </a:cubicBezTo>
                <a:cubicBezTo>
                  <a:pt x="3249" y="1298"/>
                  <a:pt x="3249" y="1298"/>
                  <a:pt x="3248" y="1298"/>
                </a:cubicBezTo>
                <a:cubicBezTo>
                  <a:pt x="3248" y="1298"/>
                  <a:pt x="3247" y="1299"/>
                  <a:pt x="3246" y="1299"/>
                </a:cubicBezTo>
                <a:cubicBezTo>
                  <a:pt x="3246" y="1299"/>
                  <a:pt x="3245" y="1298"/>
                  <a:pt x="3245" y="1299"/>
                </a:cubicBezTo>
                <a:cubicBezTo>
                  <a:pt x="3244" y="1299"/>
                  <a:pt x="3245" y="1299"/>
                  <a:pt x="3245" y="1299"/>
                </a:cubicBezTo>
                <a:cubicBezTo>
                  <a:pt x="3245" y="1300"/>
                  <a:pt x="3246" y="1300"/>
                  <a:pt x="3246" y="1300"/>
                </a:cubicBezTo>
                <a:cubicBezTo>
                  <a:pt x="3247" y="1300"/>
                  <a:pt x="3248" y="1300"/>
                  <a:pt x="3248" y="1301"/>
                </a:cubicBezTo>
                <a:cubicBezTo>
                  <a:pt x="3249" y="1301"/>
                  <a:pt x="3249" y="1302"/>
                  <a:pt x="3248" y="1302"/>
                </a:cubicBezTo>
                <a:cubicBezTo>
                  <a:pt x="3248" y="1302"/>
                  <a:pt x="3247" y="1302"/>
                  <a:pt x="3248" y="1303"/>
                </a:cubicBezTo>
                <a:cubicBezTo>
                  <a:pt x="3248" y="1303"/>
                  <a:pt x="3248" y="1303"/>
                  <a:pt x="3248" y="1303"/>
                </a:cubicBezTo>
                <a:cubicBezTo>
                  <a:pt x="3249" y="1302"/>
                  <a:pt x="3249" y="1303"/>
                  <a:pt x="3249" y="1302"/>
                </a:cubicBezTo>
                <a:cubicBezTo>
                  <a:pt x="3250" y="1302"/>
                  <a:pt x="3249" y="1302"/>
                  <a:pt x="3249" y="1301"/>
                </a:cubicBezTo>
                <a:cubicBezTo>
                  <a:pt x="3249" y="1301"/>
                  <a:pt x="3249" y="1301"/>
                  <a:pt x="3249" y="1300"/>
                </a:cubicBezTo>
                <a:cubicBezTo>
                  <a:pt x="3250" y="1300"/>
                  <a:pt x="3250" y="1301"/>
                  <a:pt x="3250" y="1301"/>
                </a:cubicBezTo>
                <a:close/>
                <a:moveTo>
                  <a:pt x="3517" y="691"/>
                </a:moveTo>
                <a:cubicBezTo>
                  <a:pt x="3516" y="691"/>
                  <a:pt x="3516" y="692"/>
                  <a:pt x="3516" y="692"/>
                </a:cubicBezTo>
                <a:cubicBezTo>
                  <a:pt x="3517" y="692"/>
                  <a:pt x="3517" y="692"/>
                  <a:pt x="3518" y="691"/>
                </a:cubicBezTo>
                <a:cubicBezTo>
                  <a:pt x="3518" y="691"/>
                  <a:pt x="3519" y="690"/>
                  <a:pt x="3518" y="690"/>
                </a:cubicBezTo>
                <a:cubicBezTo>
                  <a:pt x="3518" y="690"/>
                  <a:pt x="3517" y="691"/>
                  <a:pt x="3517" y="691"/>
                </a:cubicBezTo>
                <a:close/>
                <a:moveTo>
                  <a:pt x="3660" y="1556"/>
                </a:moveTo>
                <a:cubicBezTo>
                  <a:pt x="3661" y="1556"/>
                  <a:pt x="3662" y="1557"/>
                  <a:pt x="3663" y="1556"/>
                </a:cubicBezTo>
                <a:cubicBezTo>
                  <a:pt x="3664" y="1556"/>
                  <a:pt x="3664" y="1555"/>
                  <a:pt x="3664" y="1555"/>
                </a:cubicBezTo>
                <a:cubicBezTo>
                  <a:pt x="3664" y="1554"/>
                  <a:pt x="3664" y="1553"/>
                  <a:pt x="3663" y="1553"/>
                </a:cubicBezTo>
                <a:cubicBezTo>
                  <a:pt x="3662" y="1552"/>
                  <a:pt x="3662" y="1552"/>
                  <a:pt x="3661" y="1552"/>
                </a:cubicBezTo>
                <a:cubicBezTo>
                  <a:pt x="3660" y="1551"/>
                  <a:pt x="3659" y="1550"/>
                  <a:pt x="3659" y="1550"/>
                </a:cubicBezTo>
                <a:cubicBezTo>
                  <a:pt x="3658" y="1549"/>
                  <a:pt x="3658" y="1549"/>
                  <a:pt x="3657" y="1548"/>
                </a:cubicBezTo>
                <a:cubicBezTo>
                  <a:pt x="3656" y="1547"/>
                  <a:pt x="3655" y="1547"/>
                  <a:pt x="3654" y="1547"/>
                </a:cubicBezTo>
                <a:cubicBezTo>
                  <a:pt x="3652" y="1546"/>
                  <a:pt x="3650" y="1544"/>
                  <a:pt x="3648" y="1543"/>
                </a:cubicBezTo>
                <a:cubicBezTo>
                  <a:pt x="3648" y="1542"/>
                  <a:pt x="3647" y="1541"/>
                  <a:pt x="3646" y="1540"/>
                </a:cubicBezTo>
                <a:cubicBezTo>
                  <a:pt x="3645" y="1539"/>
                  <a:pt x="3644" y="1539"/>
                  <a:pt x="3644" y="1538"/>
                </a:cubicBezTo>
                <a:cubicBezTo>
                  <a:pt x="3643" y="1537"/>
                  <a:pt x="3642" y="1536"/>
                  <a:pt x="3641" y="1536"/>
                </a:cubicBezTo>
                <a:cubicBezTo>
                  <a:pt x="3640" y="1535"/>
                  <a:pt x="3639" y="1535"/>
                  <a:pt x="3638" y="1534"/>
                </a:cubicBezTo>
                <a:cubicBezTo>
                  <a:pt x="3637" y="1533"/>
                  <a:pt x="3636" y="1532"/>
                  <a:pt x="3635" y="1532"/>
                </a:cubicBezTo>
                <a:cubicBezTo>
                  <a:pt x="3635" y="1531"/>
                  <a:pt x="3635" y="1531"/>
                  <a:pt x="3635" y="1531"/>
                </a:cubicBezTo>
                <a:cubicBezTo>
                  <a:pt x="3634" y="1531"/>
                  <a:pt x="3634" y="1532"/>
                  <a:pt x="3634" y="1532"/>
                </a:cubicBezTo>
                <a:cubicBezTo>
                  <a:pt x="3633" y="1531"/>
                  <a:pt x="3633" y="1531"/>
                  <a:pt x="3633" y="1530"/>
                </a:cubicBezTo>
                <a:cubicBezTo>
                  <a:pt x="3633" y="1530"/>
                  <a:pt x="3633" y="1529"/>
                  <a:pt x="3632" y="1529"/>
                </a:cubicBezTo>
                <a:cubicBezTo>
                  <a:pt x="3632" y="1529"/>
                  <a:pt x="3632" y="1530"/>
                  <a:pt x="3632" y="1530"/>
                </a:cubicBezTo>
                <a:cubicBezTo>
                  <a:pt x="3631" y="1531"/>
                  <a:pt x="3631" y="1530"/>
                  <a:pt x="3630" y="1529"/>
                </a:cubicBezTo>
                <a:cubicBezTo>
                  <a:pt x="3630" y="1529"/>
                  <a:pt x="3630" y="1531"/>
                  <a:pt x="3631" y="1531"/>
                </a:cubicBezTo>
                <a:cubicBezTo>
                  <a:pt x="3631" y="1532"/>
                  <a:pt x="3631" y="1532"/>
                  <a:pt x="3632" y="1533"/>
                </a:cubicBezTo>
                <a:cubicBezTo>
                  <a:pt x="3632" y="1534"/>
                  <a:pt x="3633" y="1534"/>
                  <a:pt x="3633" y="1535"/>
                </a:cubicBezTo>
                <a:cubicBezTo>
                  <a:pt x="3634" y="1536"/>
                  <a:pt x="3634" y="1537"/>
                  <a:pt x="3635" y="1537"/>
                </a:cubicBezTo>
                <a:cubicBezTo>
                  <a:pt x="3635" y="1537"/>
                  <a:pt x="3636" y="1538"/>
                  <a:pt x="3636" y="1538"/>
                </a:cubicBezTo>
                <a:cubicBezTo>
                  <a:pt x="3637" y="1539"/>
                  <a:pt x="3637" y="1539"/>
                  <a:pt x="3637" y="1540"/>
                </a:cubicBezTo>
                <a:cubicBezTo>
                  <a:pt x="3638" y="1540"/>
                  <a:pt x="3639" y="1541"/>
                  <a:pt x="3639" y="1541"/>
                </a:cubicBezTo>
                <a:cubicBezTo>
                  <a:pt x="3640" y="1543"/>
                  <a:pt x="3640" y="1544"/>
                  <a:pt x="3642" y="1545"/>
                </a:cubicBezTo>
                <a:cubicBezTo>
                  <a:pt x="3644" y="1546"/>
                  <a:pt x="3645" y="1547"/>
                  <a:pt x="3647" y="1549"/>
                </a:cubicBezTo>
                <a:cubicBezTo>
                  <a:pt x="3647" y="1549"/>
                  <a:pt x="3649" y="1550"/>
                  <a:pt x="3649" y="1549"/>
                </a:cubicBezTo>
                <a:cubicBezTo>
                  <a:pt x="3650" y="1549"/>
                  <a:pt x="3650" y="1549"/>
                  <a:pt x="3650" y="1549"/>
                </a:cubicBezTo>
                <a:cubicBezTo>
                  <a:pt x="3650" y="1548"/>
                  <a:pt x="3651" y="1549"/>
                  <a:pt x="3651" y="1549"/>
                </a:cubicBezTo>
                <a:cubicBezTo>
                  <a:pt x="3651" y="1550"/>
                  <a:pt x="3652" y="1550"/>
                  <a:pt x="3652" y="1551"/>
                </a:cubicBezTo>
                <a:cubicBezTo>
                  <a:pt x="3652" y="1551"/>
                  <a:pt x="3653" y="1552"/>
                  <a:pt x="3653" y="1552"/>
                </a:cubicBezTo>
                <a:cubicBezTo>
                  <a:pt x="3655" y="1553"/>
                  <a:pt x="3657" y="1554"/>
                  <a:pt x="3659" y="1555"/>
                </a:cubicBezTo>
                <a:cubicBezTo>
                  <a:pt x="3659" y="1555"/>
                  <a:pt x="3660" y="1556"/>
                  <a:pt x="3660" y="1556"/>
                </a:cubicBezTo>
                <a:close/>
                <a:moveTo>
                  <a:pt x="3743" y="632"/>
                </a:moveTo>
                <a:cubicBezTo>
                  <a:pt x="3743" y="631"/>
                  <a:pt x="3743" y="631"/>
                  <a:pt x="3743" y="631"/>
                </a:cubicBezTo>
                <a:cubicBezTo>
                  <a:pt x="3743" y="630"/>
                  <a:pt x="3742" y="631"/>
                  <a:pt x="3742" y="631"/>
                </a:cubicBezTo>
                <a:cubicBezTo>
                  <a:pt x="3742" y="631"/>
                  <a:pt x="3742" y="631"/>
                  <a:pt x="3742" y="632"/>
                </a:cubicBezTo>
                <a:cubicBezTo>
                  <a:pt x="3742" y="632"/>
                  <a:pt x="3743" y="632"/>
                  <a:pt x="3743" y="632"/>
                </a:cubicBezTo>
                <a:close/>
                <a:moveTo>
                  <a:pt x="3132" y="1159"/>
                </a:moveTo>
                <a:cubicBezTo>
                  <a:pt x="3132" y="1159"/>
                  <a:pt x="3133" y="1159"/>
                  <a:pt x="3132" y="1158"/>
                </a:cubicBezTo>
                <a:cubicBezTo>
                  <a:pt x="3132" y="1158"/>
                  <a:pt x="3132" y="1158"/>
                  <a:pt x="3132" y="1158"/>
                </a:cubicBezTo>
                <a:cubicBezTo>
                  <a:pt x="3132" y="1158"/>
                  <a:pt x="3132" y="1158"/>
                  <a:pt x="3132" y="1158"/>
                </a:cubicBezTo>
                <a:cubicBezTo>
                  <a:pt x="3132" y="1157"/>
                  <a:pt x="3132" y="1157"/>
                  <a:pt x="3131" y="1157"/>
                </a:cubicBezTo>
                <a:cubicBezTo>
                  <a:pt x="3131" y="1157"/>
                  <a:pt x="3131" y="1157"/>
                  <a:pt x="3131" y="1157"/>
                </a:cubicBezTo>
                <a:cubicBezTo>
                  <a:pt x="3131" y="1157"/>
                  <a:pt x="3131" y="1157"/>
                  <a:pt x="3131" y="1157"/>
                </a:cubicBezTo>
                <a:cubicBezTo>
                  <a:pt x="3131" y="1157"/>
                  <a:pt x="3130" y="1157"/>
                  <a:pt x="3130" y="1157"/>
                </a:cubicBezTo>
                <a:cubicBezTo>
                  <a:pt x="3130" y="1157"/>
                  <a:pt x="3131" y="1158"/>
                  <a:pt x="3131" y="1158"/>
                </a:cubicBezTo>
                <a:cubicBezTo>
                  <a:pt x="3130" y="1158"/>
                  <a:pt x="3130" y="1158"/>
                  <a:pt x="3130" y="1157"/>
                </a:cubicBezTo>
                <a:cubicBezTo>
                  <a:pt x="3130" y="1157"/>
                  <a:pt x="3130" y="1157"/>
                  <a:pt x="3130" y="1157"/>
                </a:cubicBezTo>
                <a:cubicBezTo>
                  <a:pt x="3130" y="1157"/>
                  <a:pt x="3129" y="1157"/>
                  <a:pt x="3129" y="1157"/>
                </a:cubicBezTo>
                <a:cubicBezTo>
                  <a:pt x="3129" y="1156"/>
                  <a:pt x="3129" y="1156"/>
                  <a:pt x="3129" y="1156"/>
                </a:cubicBezTo>
                <a:cubicBezTo>
                  <a:pt x="3129" y="1156"/>
                  <a:pt x="3128" y="1156"/>
                  <a:pt x="3128" y="1156"/>
                </a:cubicBezTo>
                <a:cubicBezTo>
                  <a:pt x="3128" y="1156"/>
                  <a:pt x="3128" y="1155"/>
                  <a:pt x="3128" y="1155"/>
                </a:cubicBezTo>
                <a:cubicBezTo>
                  <a:pt x="3128" y="1155"/>
                  <a:pt x="3127" y="1155"/>
                  <a:pt x="3127" y="1156"/>
                </a:cubicBezTo>
                <a:cubicBezTo>
                  <a:pt x="3128" y="1156"/>
                  <a:pt x="3127" y="1156"/>
                  <a:pt x="3127" y="1157"/>
                </a:cubicBezTo>
                <a:cubicBezTo>
                  <a:pt x="3127" y="1157"/>
                  <a:pt x="3127" y="1157"/>
                  <a:pt x="3127" y="1158"/>
                </a:cubicBezTo>
                <a:cubicBezTo>
                  <a:pt x="3127" y="1158"/>
                  <a:pt x="3127" y="1157"/>
                  <a:pt x="3127" y="1157"/>
                </a:cubicBezTo>
                <a:cubicBezTo>
                  <a:pt x="3127" y="1157"/>
                  <a:pt x="3128" y="1158"/>
                  <a:pt x="3128" y="1158"/>
                </a:cubicBezTo>
                <a:cubicBezTo>
                  <a:pt x="3128" y="1158"/>
                  <a:pt x="3128" y="1158"/>
                  <a:pt x="3128" y="1158"/>
                </a:cubicBezTo>
                <a:cubicBezTo>
                  <a:pt x="3128" y="1158"/>
                  <a:pt x="3128" y="1159"/>
                  <a:pt x="3128" y="1159"/>
                </a:cubicBezTo>
                <a:cubicBezTo>
                  <a:pt x="3129" y="1159"/>
                  <a:pt x="3129" y="1159"/>
                  <a:pt x="3129" y="1159"/>
                </a:cubicBezTo>
                <a:cubicBezTo>
                  <a:pt x="3129" y="1159"/>
                  <a:pt x="3129" y="1160"/>
                  <a:pt x="3130" y="1159"/>
                </a:cubicBezTo>
                <a:cubicBezTo>
                  <a:pt x="3130" y="1159"/>
                  <a:pt x="3129" y="1159"/>
                  <a:pt x="3130" y="1159"/>
                </a:cubicBezTo>
                <a:cubicBezTo>
                  <a:pt x="3130" y="1159"/>
                  <a:pt x="3130" y="1159"/>
                  <a:pt x="3130" y="1159"/>
                </a:cubicBezTo>
                <a:cubicBezTo>
                  <a:pt x="3130" y="1159"/>
                  <a:pt x="3130" y="1159"/>
                  <a:pt x="3130" y="1159"/>
                </a:cubicBezTo>
                <a:cubicBezTo>
                  <a:pt x="3130" y="1159"/>
                  <a:pt x="3130" y="1159"/>
                  <a:pt x="3130" y="1159"/>
                </a:cubicBezTo>
                <a:cubicBezTo>
                  <a:pt x="3130" y="1159"/>
                  <a:pt x="3130" y="1159"/>
                  <a:pt x="3131" y="1159"/>
                </a:cubicBezTo>
                <a:cubicBezTo>
                  <a:pt x="3131" y="1160"/>
                  <a:pt x="3131" y="1159"/>
                  <a:pt x="3131" y="1159"/>
                </a:cubicBezTo>
                <a:cubicBezTo>
                  <a:pt x="3131" y="1159"/>
                  <a:pt x="3131" y="1160"/>
                  <a:pt x="3131" y="1160"/>
                </a:cubicBezTo>
                <a:cubicBezTo>
                  <a:pt x="3131" y="1160"/>
                  <a:pt x="3131" y="1160"/>
                  <a:pt x="3131" y="1160"/>
                </a:cubicBezTo>
                <a:cubicBezTo>
                  <a:pt x="3131" y="1160"/>
                  <a:pt x="3131" y="1160"/>
                  <a:pt x="3131" y="1161"/>
                </a:cubicBezTo>
                <a:cubicBezTo>
                  <a:pt x="3131" y="1161"/>
                  <a:pt x="3131" y="1161"/>
                  <a:pt x="3131" y="1161"/>
                </a:cubicBezTo>
                <a:cubicBezTo>
                  <a:pt x="3132" y="1161"/>
                  <a:pt x="3132" y="1161"/>
                  <a:pt x="3132" y="1161"/>
                </a:cubicBezTo>
                <a:cubicBezTo>
                  <a:pt x="3132" y="1161"/>
                  <a:pt x="3131" y="1161"/>
                  <a:pt x="3131" y="1160"/>
                </a:cubicBezTo>
                <a:cubicBezTo>
                  <a:pt x="3132" y="1160"/>
                  <a:pt x="3132" y="1160"/>
                  <a:pt x="3132" y="1160"/>
                </a:cubicBezTo>
                <a:cubicBezTo>
                  <a:pt x="3132" y="1159"/>
                  <a:pt x="3131" y="1160"/>
                  <a:pt x="3131" y="1159"/>
                </a:cubicBezTo>
                <a:cubicBezTo>
                  <a:pt x="3131" y="1159"/>
                  <a:pt x="3131" y="1159"/>
                  <a:pt x="3131" y="1159"/>
                </a:cubicBezTo>
                <a:cubicBezTo>
                  <a:pt x="3132" y="1159"/>
                  <a:pt x="3132" y="1159"/>
                  <a:pt x="3132" y="1159"/>
                </a:cubicBezTo>
                <a:close/>
                <a:moveTo>
                  <a:pt x="3745" y="632"/>
                </a:moveTo>
                <a:cubicBezTo>
                  <a:pt x="3745" y="632"/>
                  <a:pt x="3744" y="632"/>
                  <a:pt x="3744" y="632"/>
                </a:cubicBezTo>
                <a:cubicBezTo>
                  <a:pt x="3744" y="632"/>
                  <a:pt x="3744" y="632"/>
                  <a:pt x="3744" y="632"/>
                </a:cubicBezTo>
                <a:cubicBezTo>
                  <a:pt x="3744" y="633"/>
                  <a:pt x="3745" y="632"/>
                  <a:pt x="3745" y="633"/>
                </a:cubicBezTo>
                <a:cubicBezTo>
                  <a:pt x="3745" y="633"/>
                  <a:pt x="3745" y="633"/>
                  <a:pt x="3745" y="632"/>
                </a:cubicBezTo>
                <a:close/>
                <a:moveTo>
                  <a:pt x="3735" y="627"/>
                </a:moveTo>
                <a:cubicBezTo>
                  <a:pt x="3735" y="627"/>
                  <a:pt x="3735" y="626"/>
                  <a:pt x="3734" y="626"/>
                </a:cubicBezTo>
                <a:cubicBezTo>
                  <a:pt x="3734" y="627"/>
                  <a:pt x="3733" y="627"/>
                  <a:pt x="3733" y="627"/>
                </a:cubicBezTo>
                <a:cubicBezTo>
                  <a:pt x="3733" y="627"/>
                  <a:pt x="3732" y="626"/>
                  <a:pt x="3731" y="626"/>
                </a:cubicBezTo>
                <a:cubicBezTo>
                  <a:pt x="3731" y="625"/>
                  <a:pt x="3729" y="626"/>
                  <a:pt x="3728" y="626"/>
                </a:cubicBezTo>
                <a:cubicBezTo>
                  <a:pt x="3727" y="627"/>
                  <a:pt x="3727" y="627"/>
                  <a:pt x="3728" y="627"/>
                </a:cubicBezTo>
                <a:cubicBezTo>
                  <a:pt x="3728" y="627"/>
                  <a:pt x="3728" y="627"/>
                  <a:pt x="3729" y="627"/>
                </a:cubicBezTo>
                <a:cubicBezTo>
                  <a:pt x="3730" y="627"/>
                  <a:pt x="3729" y="628"/>
                  <a:pt x="3729" y="628"/>
                </a:cubicBezTo>
                <a:cubicBezTo>
                  <a:pt x="3729" y="628"/>
                  <a:pt x="3730" y="628"/>
                  <a:pt x="3730" y="628"/>
                </a:cubicBezTo>
                <a:cubicBezTo>
                  <a:pt x="3731" y="628"/>
                  <a:pt x="3730" y="629"/>
                  <a:pt x="3730" y="629"/>
                </a:cubicBezTo>
                <a:cubicBezTo>
                  <a:pt x="3730" y="630"/>
                  <a:pt x="3730" y="630"/>
                  <a:pt x="3731" y="630"/>
                </a:cubicBezTo>
                <a:cubicBezTo>
                  <a:pt x="3731" y="630"/>
                  <a:pt x="3732" y="630"/>
                  <a:pt x="3732" y="630"/>
                </a:cubicBezTo>
                <a:cubicBezTo>
                  <a:pt x="3732" y="631"/>
                  <a:pt x="3732" y="630"/>
                  <a:pt x="3733" y="630"/>
                </a:cubicBezTo>
                <a:cubicBezTo>
                  <a:pt x="3733" y="630"/>
                  <a:pt x="3734" y="629"/>
                  <a:pt x="3734" y="630"/>
                </a:cubicBezTo>
                <a:cubicBezTo>
                  <a:pt x="3734" y="631"/>
                  <a:pt x="3735" y="630"/>
                  <a:pt x="3735" y="630"/>
                </a:cubicBezTo>
                <a:cubicBezTo>
                  <a:pt x="3735" y="630"/>
                  <a:pt x="3736" y="630"/>
                  <a:pt x="3737" y="630"/>
                </a:cubicBezTo>
                <a:cubicBezTo>
                  <a:pt x="3737" y="630"/>
                  <a:pt x="3737" y="630"/>
                  <a:pt x="3738" y="630"/>
                </a:cubicBezTo>
                <a:cubicBezTo>
                  <a:pt x="3738" y="630"/>
                  <a:pt x="3738" y="630"/>
                  <a:pt x="3738" y="630"/>
                </a:cubicBezTo>
                <a:cubicBezTo>
                  <a:pt x="3738" y="629"/>
                  <a:pt x="3738" y="629"/>
                  <a:pt x="3737" y="629"/>
                </a:cubicBezTo>
                <a:cubicBezTo>
                  <a:pt x="3737" y="628"/>
                  <a:pt x="3736" y="628"/>
                  <a:pt x="3736" y="628"/>
                </a:cubicBezTo>
                <a:cubicBezTo>
                  <a:pt x="3735" y="628"/>
                  <a:pt x="3735" y="628"/>
                  <a:pt x="3735" y="627"/>
                </a:cubicBezTo>
                <a:cubicBezTo>
                  <a:pt x="3735" y="627"/>
                  <a:pt x="3736" y="627"/>
                  <a:pt x="3735" y="627"/>
                </a:cubicBezTo>
                <a:close/>
                <a:moveTo>
                  <a:pt x="3736" y="636"/>
                </a:moveTo>
                <a:cubicBezTo>
                  <a:pt x="3736" y="636"/>
                  <a:pt x="3735" y="636"/>
                  <a:pt x="3735" y="637"/>
                </a:cubicBezTo>
                <a:cubicBezTo>
                  <a:pt x="3735" y="637"/>
                  <a:pt x="3736" y="637"/>
                  <a:pt x="3737" y="637"/>
                </a:cubicBezTo>
                <a:cubicBezTo>
                  <a:pt x="3738" y="637"/>
                  <a:pt x="3738" y="638"/>
                  <a:pt x="3738" y="638"/>
                </a:cubicBezTo>
                <a:cubicBezTo>
                  <a:pt x="3738" y="639"/>
                  <a:pt x="3738" y="638"/>
                  <a:pt x="3739" y="638"/>
                </a:cubicBezTo>
                <a:cubicBezTo>
                  <a:pt x="3739" y="638"/>
                  <a:pt x="3739" y="637"/>
                  <a:pt x="3739" y="637"/>
                </a:cubicBezTo>
                <a:cubicBezTo>
                  <a:pt x="3739" y="637"/>
                  <a:pt x="3739" y="636"/>
                  <a:pt x="3740" y="636"/>
                </a:cubicBezTo>
                <a:cubicBezTo>
                  <a:pt x="3740" y="636"/>
                  <a:pt x="3740" y="635"/>
                  <a:pt x="3740" y="635"/>
                </a:cubicBezTo>
                <a:cubicBezTo>
                  <a:pt x="3739" y="635"/>
                  <a:pt x="3739" y="636"/>
                  <a:pt x="3739" y="636"/>
                </a:cubicBezTo>
                <a:cubicBezTo>
                  <a:pt x="3739" y="636"/>
                  <a:pt x="3738" y="636"/>
                  <a:pt x="3737" y="636"/>
                </a:cubicBezTo>
                <a:cubicBezTo>
                  <a:pt x="3737" y="636"/>
                  <a:pt x="3736" y="636"/>
                  <a:pt x="3736" y="636"/>
                </a:cubicBezTo>
                <a:close/>
                <a:moveTo>
                  <a:pt x="3764" y="641"/>
                </a:moveTo>
                <a:cubicBezTo>
                  <a:pt x="3764" y="640"/>
                  <a:pt x="3764" y="640"/>
                  <a:pt x="3763" y="640"/>
                </a:cubicBezTo>
                <a:cubicBezTo>
                  <a:pt x="3763" y="640"/>
                  <a:pt x="3763" y="640"/>
                  <a:pt x="3763" y="641"/>
                </a:cubicBezTo>
                <a:cubicBezTo>
                  <a:pt x="3764" y="641"/>
                  <a:pt x="3764" y="642"/>
                  <a:pt x="3764" y="641"/>
                </a:cubicBezTo>
                <a:close/>
                <a:moveTo>
                  <a:pt x="3797" y="1503"/>
                </a:moveTo>
                <a:cubicBezTo>
                  <a:pt x="3797" y="1503"/>
                  <a:pt x="3797" y="1502"/>
                  <a:pt x="3797" y="1502"/>
                </a:cubicBezTo>
                <a:cubicBezTo>
                  <a:pt x="3797" y="1502"/>
                  <a:pt x="3797" y="1502"/>
                  <a:pt x="3797" y="1501"/>
                </a:cubicBezTo>
                <a:cubicBezTo>
                  <a:pt x="3796" y="1501"/>
                  <a:pt x="3797" y="1500"/>
                  <a:pt x="3796" y="1500"/>
                </a:cubicBezTo>
                <a:cubicBezTo>
                  <a:pt x="3796" y="1499"/>
                  <a:pt x="3795" y="1499"/>
                  <a:pt x="3795" y="1499"/>
                </a:cubicBezTo>
                <a:cubicBezTo>
                  <a:pt x="3795" y="1499"/>
                  <a:pt x="3794" y="1498"/>
                  <a:pt x="3794" y="1498"/>
                </a:cubicBezTo>
                <a:cubicBezTo>
                  <a:pt x="3794" y="1498"/>
                  <a:pt x="3794" y="1498"/>
                  <a:pt x="3793" y="1497"/>
                </a:cubicBezTo>
                <a:cubicBezTo>
                  <a:pt x="3793" y="1497"/>
                  <a:pt x="3793" y="1496"/>
                  <a:pt x="3793" y="1496"/>
                </a:cubicBezTo>
                <a:cubicBezTo>
                  <a:pt x="3792" y="1496"/>
                  <a:pt x="3792" y="1496"/>
                  <a:pt x="3792" y="1496"/>
                </a:cubicBezTo>
                <a:cubicBezTo>
                  <a:pt x="3792" y="1497"/>
                  <a:pt x="3791" y="1497"/>
                  <a:pt x="3791" y="1497"/>
                </a:cubicBezTo>
                <a:cubicBezTo>
                  <a:pt x="3791" y="1497"/>
                  <a:pt x="3791" y="1497"/>
                  <a:pt x="3790" y="1497"/>
                </a:cubicBezTo>
                <a:cubicBezTo>
                  <a:pt x="3790" y="1497"/>
                  <a:pt x="3789" y="1497"/>
                  <a:pt x="3789" y="1497"/>
                </a:cubicBezTo>
                <a:cubicBezTo>
                  <a:pt x="3788" y="1497"/>
                  <a:pt x="3788" y="1497"/>
                  <a:pt x="3787" y="1498"/>
                </a:cubicBezTo>
                <a:cubicBezTo>
                  <a:pt x="3787" y="1498"/>
                  <a:pt x="3787" y="1498"/>
                  <a:pt x="3786" y="1498"/>
                </a:cubicBezTo>
                <a:cubicBezTo>
                  <a:pt x="3786" y="1498"/>
                  <a:pt x="3786" y="1498"/>
                  <a:pt x="3786" y="1498"/>
                </a:cubicBezTo>
                <a:cubicBezTo>
                  <a:pt x="3785" y="1498"/>
                  <a:pt x="3785" y="1498"/>
                  <a:pt x="3785" y="1498"/>
                </a:cubicBezTo>
                <a:cubicBezTo>
                  <a:pt x="3784" y="1498"/>
                  <a:pt x="3783" y="1498"/>
                  <a:pt x="3783" y="1498"/>
                </a:cubicBezTo>
                <a:cubicBezTo>
                  <a:pt x="3783" y="1498"/>
                  <a:pt x="3784" y="1499"/>
                  <a:pt x="3784" y="1499"/>
                </a:cubicBezTo>
                <a:cubicBezTo>
                  <a:pt x="3784" y="1499"/>
                  <a:pt x="3784" y="1499"/>
                  <a:pt x="3784" y="1499"/>
                </a:cubicBezTo>
                <a:cubicBezTo>
                  <a:pt x="3784" y="1499"/>
                  <a:pt x="3784" y="1500"/>
                  <a:pt x="3783" y="1500"/>
                </a:cubicBezTo>
                <a:cubicBezTo>
                  <a:pt x="3783" y="1501"/>
                  <a:pt x="3782" y="1502"/>
                  <a:pt x="3782" y="1503"/>
                </a:cubicBezTo>
                <a:cubicBezTo>
                  <a:pt x="3782" y="1503"/>
                  <a:pt x="3782" y="1504"/>
                  <a:pt x="3782" y="1504"/>
                </a:cubicBezTo>
                <a:cubicBezTo>
                  <a:pt x="3782" y="1505"/>
                  <a:pt x="3782" y="1505"/>
                  <a:pt x="3783" y="1505"/>
                </a:cubicBezTo>
                <a:cubicBezTo>
                  <a:pt x="3784" y="1506"/>
                  <a:pt x="3784" y="1506"/>
                  <a:pt x="3785" y="1506"/>
                </a:cubicBezTo>
                <a:cubicBezTo>
                  <a:pt x="3785" y="1507"/>
                  <a:pt x="3786" y="1507"/>
                  <a:pt x="3787" y="1507"/>
                </a:cubicBezTo>
                <a:cubicBezTo>
                  <a:pt x="3788" y="1507"/>
                  <a:pt x="3790" y="1507"/>
                  <a:pt x="3792" y="1507"/>
                </a:cubicBezTo>
                <a:cubicBezTo>
                  <a:pt x="3793" y="1506"/>
                  <a:pt x="3795" y="1506"/>
                  <a:pt x="3797" y="1506"/>
                </a:cubicBezTo>
                <a:cubicBezTo>
                  <a:pt x="3797" y="1506"/>
                  <a:pt x="3799" y="1505"/>
                  <a:pt x="3798" y="1504"/>
                </a:cubicBezTo>
                <a:cubicBezTo>
                  <a:pt x="3798" y="1504"/>
                  <a:pt x="3797" y="1504"/>
                  <a:pt x="3797" y="1503"/>
                </a:cubicBezTo>
                <a:close/>
                <a:moveTo>
                  <a:pt x="3788" y="651"/>
                </a:moveTo>
                <a:cubicBezTo>
                  <a:pt x="3788" y="652"/>
                  <a:pt x="3788" y="652"/>
                  <a:pt x="3789" y="652"/>
                </a:cubicBezTo>
                <a:cubicBezTo>
                  <a:pt x="3790" y="653"/>
                  <a:pt x="3790" y="652"/>
                  <a:pt x="3789" y="651"/>
                </a:cubicBezTo>
                <a:cubicBezTo>
                  <a:pt x="3789" y="651"/>
                  <a:pt x="3788" y="651"/>
                  <a:pt x="3788" y="651"/>
                </a:cubicBezTo>
                <a:cubicBezTo>
                  <a:pt x="3788" y="651"/>
                  <a:pt x="3788" y="650"/>
                  <a:pt x="3788" y="650"/>
                </a:cubicBezTo>
                <a:cubicBezTo>
                  <a:pt x="3787" y="651"/>
                  <a:pt x="3787" y="651"/>
                  <a:pt x="3788" y="651"/>
                </a:cubicBezTo>
                <a:close/>
                <a:moveTo>
                  <a:pt x="3792" y="649"/>
                </a:moveTo>
                <a:cubicBezTo>
                  <a:pt x="3791" y="649"/>
                  <a:pt x="3791" y="648"/>
                  <a:pt x="3790" y="649"/>
                </a:cubicBezTo>
                <a:cubicBezTo>
                  <a:pt x="3790" y="649"/>
                  <a:pt x="3790" y="649"/>
                  <a:pt x="3790" y="650"/>
                </a:cubicBezTo>
                <a:cubicBezTo>
                  <a:pt x="3790" y="650"/>
                  <a:pt x="3791" y="650"/>
                  <a:pt x="3791" y="650"/>
                </a:cubicBezTo>
                <a:cubicBezTo>
                  <a:pt x="3791" y="650"/>
                  <a:pt x="3792" y="650"/>
                  <a:pt x="3792" y="649"/>
                </a:cubicBezTo>
                <a:cubicBezTo>
                  <a:pt x="3793" y="649"/>
                  <a:pt x="3793" y="649"/>
                  <a:pt x="3792" y="649"/>
                </a:cubicBezTo>
                <a:close/>
                <a:moveTo>
                  <a:pt x="3787" y="647"/>
                </a:moveTo>
                <a:cubicBezTo>
                  <a:pt x="3786" y="647"/>
                  <a:pt x="3787" y="648"/>
                  <a:pt x="3787" y="648"/>
                </a:cubicBezTo>
                <a:cubicBezTo>
                  <a:pt x="3787" y="648"/>
                  <a:pt x="3788" y="648"/>
                  <a:pt x="3788" y="648"/>
                </a:cubicBezTo>
                <a:cubicBezTo>
                  <a:pt x="3788" y="647"/>
                  <a:pt x="3787" y="647"/>
                  <a:pt x="3787" y="647"/>
                </a:cubicBezTo>
                <a:close/>
                <a:moveTo>
                  <a:pt x="3746" y="1793"/>
                </a:moveTo>
                <a:cubicBezTo>
                  <a:pt x="3746" y="1793"/>
                  <a:pt x="3746" y="1793"/>
                  <a:pt x="3745" y="1793"/>
                </a:cubicBezTo>
                <a:cubicBezTo>
                  <a:pt x="3745" y="1793"/>
                  <a:pt x="3745" y="1793"/>
                  <a:pt x="3744" y="1793"/>
                </a:cubicBezTo>
                <a:cubicBezTo>
                  <a:pt x="3744" y="1793"/>
                  <a:pt x="3743" y="1793"/>
                  <a:pt x="3743" y="1794"/>
                </a:cubicBezTo>
                <a:cubicBezTo>
                  <a:pt x="3743" y="1794"/>
                  <a:pt x="3744" y="1794"/>
                  <a:pt x="3744" y="1795"/>
                </a:cubicBezTo>
                <a:cubicBezTo>
                  <a:pt x="3744" y="1795"/>
                  <a:pt x="3743" y="1795"/>
                  <a:pt x="3743" y="1795"/>
                </a:cubicBezTo>
                <a:cubicBezTo>
                  <a:pt x="3743" y="1795"/>
                  <a:pt x="3743" y="1795"/>
                  <a:pt x="3743" y="1794"/>
                </a:cubicBezTo>
                <a:cubicBezTo>
                  <a:pt x="3743" y="1794"/>
                  <a:pt x="3743" y="1794"/>
                  <a:pt x="3743" y="1794"/>
                </a:cubicBezTo>
                <a:cubicBezTo>
                  <a:pt x="3743" y="1794"/>
                  <a:pt x="3743" y="1794"/>
                  <a:pt x="3743" y="1793"/>
                </a:cubicBezTo>
                <a:cubicBezTo>
                  <a:pt x="3743" y="1793"/>
                  <a:pt x="3743" y="1793"/>
                  <a:pt x="3743" y="1793"/>
                </a:cubicBezTo>
                <a:cubicBezTo>
                  <a:pt x="3743" y="1793"/>
                  <a:pt x="3743" y="1792"/>
                  <a:pt x="3743" y="1792"/>
                </a:cubicBezTo>
                <a:cubicBezTo>
                  <a:pt x="3743" y="1792"/>
                  <a:pt x="3743" y="1792"/>
                  <a:pt x="3743" y="1792"/>
                </a:cubicBezTo>
                <a:cubicBezTo>
                  <a:pt x="3744" y="1791"/>
                  <a:pt x="3742" y="1792"/>
                  <a:pt x="3741" y="1792"/>
                </a:cubicBezTo>
                <a:cubicBezTo>
                  <a:pt x="3741" y="1792"/>
                  <a:pt x="3740" y="1793"/>
                  <a:pt x="3739" y="1793"/>
                </a:cubicBezTo>
                <a:cubicBezTo>
                  <a:pt x="3739" y="1793"/>
                  <a:pt x="3738" y="1794"/>
                  <a:pt x="3738" y="1794"/>
                </a:cubicBezTo>
                <a:cubicBezTo>
                  <a:pt x="3738" y="1794"/>
                  <a:pt x="3737" y="1795"/>
                  <a:pt x="3737" y="1795"/>
                </a:cubicBezTo>
                <a:cubicBezTo>
                  <a:pt x="3737" y="1795"/>
                  <a:pt x="3736" y="1795"/>
                  <a:pt x="3736" y="1796"/>
                </a:cubicBezTo>
                <a:cubicBezTo>
                  <a:pt x="3734" y="1797"/>
                  <a:pt x="3734" y="1794"/>
                  <a:pt x="3734" y="1794"/>
                </a:cubicBezTo>
                <a:cubicBezTo>
                  <a:pt x="3734" y="1793"/>
                  <a:pt x="3734" y="1793"/>
                  <a:pt x="3734" y="1793"/>
                </a:cubicBezTo>
                <a:cubicBezTo>
                  <a:pt x="3733" y="1792"/>
                  <a:pt x="3734" y="1792"/>
                  <a:pt x="3734" y="1791"/>
                </a:cubicBezTo>
                <a:cubicBezTo>
                  <a:pt x="3733" y="1790"/>
                  <a:pt x="3733" y="1791"/>
                  <a:pt x="3732" y="1790"/>
                </a:cubicBezTo>
                <a:cubicBezTo>
                  <a:pt x="3731" y="1790"/>
                  <a:pt x="3731" y="1790"/>
                  <a:pt x="3731" y="1789"/>
                </a:cubicBezTo>
                <a:cubicBezTo>
                  <a:pt x="3730" y="1789"/>
                  <a:pt x="3730" y="1789"/>
                  <a:pt x="3730" y="1789"/>
                </a:cubicBezTo>
                <a:cubicBezTo>
                  <a:pt x="3729" y="1788"/>
                  <a:pt x="3730" y="1788"/>
                  <a:pt x="3730" y="1787"/>
                </a:cubicBezTo>
                <a:cubicBezTo>
                  <a:pt x="3730" y="1786"/>
                  <a:pt x="3730" y="1786"/>
                  <a:pt x="3731" y="1786"/>
                </a:cubicBezTo>
                <a:cubicBezTo>
                  <a:pt x="3731" y="1786"/>
                  <a:pt x="3731" y="1786"/>
                  <a:pt x="3731" y="1785"/>
                </a:cubicBezTo>
                <a:cubicBezTo>
                  <a:pt x="3731" y="1785"/>
                  <a:pt x="3730" y="1785"/>
                  <a:pt x="3730" y="1785"/>
                </a:cubicBezTo>
                <a:cubicBezTo>
                  <a:pt x="3729" y="1785"/>
                  <a:pt x="3729" y="1785"/>
                  <a:pt x="3728" y="1786"/>
                </a:cubicBezTo>
                <a:cubicBezTo>
                  <a:pt x="3728" y="1786"/>
                  <a:pt x="3728" y="1786"/>
                  <a:pt x="3728" y="1786"/>
                </a:cubicBezTo>
                <a:cubicBezTo>
                  <a:pt x="3727" y="1787"/>
                  <a:pt x="3727" y="1787"/>
                  <a:pt x="3727" y="1787"/>
                </a:cubicBezTo>
                <a:cubicBezTo>
                  <a:pt x="3726" y="1788"/>
                  <a:pt x="3725" y="1788"/>
                  <a:pt x="3725" y="1789"/>
                </a:cubicBezTo>
                <a:cubicBezTo>
                  <a:pt x="3724" y="1789"/>
                  <a:pt x="3724" y="1790"/>
                  <a:pt x="3723" y="1790"/>
                </a:cubicBezTo>
                <a:cubicBezTo>
                  <a:pt x="3722" y="1792"/>
                  <a:pt x="3722" y="1794"/>
                  <a:pt x="3722" y="1795"/>
                </a:cubicBezTo>
                <a:cubicBezTo>
                  <a:pt x="3722" y="1796"/>
                  <a:pt x="3722" y="1797"/>
                  <a:pt x="3722" y="1797"/>
                </a:cubicBezTo>
                <a:cubicBezTo>
                  <a:pt x="3722" y="1798"/>
                  <a:pt x="3721" y="1798"/>
                  <a:pt x="3720" y="1799"/>
                </a:cubicBezTo>
                <a:cubicBezTo>
                  <a:pt x="3720" y="1800"/>
                  <a:pt x="3720" y="1800"/>
                  <a:pt x="3719" y="1800"/>
                </a:cubicBezTo>
                <a:cubicBezTo>
                  <a:pt x="3719" y="1801"/>
                  <a:pt x="3718" y="1801"/>
                  <a:pt x="3718" y="1801"/>
                </a:cubicBezTo>
                <a:cubicBezTo>
                  <a:pt x="3718" y="1801"/>
                  <a:pt x="3718" y="1802"/>
                  <a:pt x="3717" y="1802"/>
                </a:cubicBezTo>
                <a:cubicBezTo>
                  <a:pt x="3717" y="1802"/>
                  <a:pt x="3717" y="1802"/>
                  <a:pt x="3716" y="1802"/>
                </a:cubicBezTo>
                <a:cubicBezTo>
                  <a:pt x="3715" y="1802"/>
                  <a:pt x="3715" y="1802"/>
                  <a:pt x="3715" y="1803"/>
                </a:cubicBezTo>
                <a:cubicBezTo>
                  <a:pt x="3714" y="1805"/>
                  <a:pt x="3714" y="1807"/>
                  <a:pt x="3713" y="1808"/>
                </a:cubicBezTo>
                <a:cubicBezTo>
                  <a:pt x="3713" y="1810"/>
                  <a:pt x="3712" y="1812"/>
                  <a:pt x="3711" y="1813"/>
                </a:cubicBezTo>
                <a:cubicBezTo>
                  <a:pt x="3711" y="1814"/>
                  <a:pt x="3710" y="1815"/>
                  <a:pt x="3709" y="1815"/>
                </a:cubicBezTo>
                <a:cubicBezTo>
                  <a:pt x="3708" y="1816"/>
                  <a:pt x="3707" y="1818"/>
                  <a:pt x="3705" y="1819"/>
                </a:cubicBezTo>
                <a:cubicBezTo>
                  <a:pt x="3705" y="1819"/>
                  <a:pt x="3705" y="1819"/>
                  <a:pt x="3704" y="1820"/>
                </a:cubicBezTo>
                <a:cubicBezTo>
                  <a:pt x="3704" y="1820"/>
                  <a:pt x="3704" y="1820"/>
                  <a:pt x="3703" y="1820"/>
                </a:cubicBezTo>
                <a:cubicBezTo>
                  <a:pt x="3701" y="1821"/>
                  <a:pt x="3700" y="1823"/>
                  <a:pt x="3699" y="1824"/>
                </a:cubicBezTo>
                <a:cubicBezTo>
                  <a:pt x="3698" y="1825"/>
                  <a:pt x="3697" y="1825"/>
                  <a:pt x="3696" y="1826"/>
                </a:cubicBezTo>
                <a:cubicBezTo>
                  <a:pt x="3695" y="1826"/>
                  <a:pt x="3694" y="1827"/>
                  <a:pt x="3693" y="1828"/>
                </a:cubicBezTo>
                <a:cubicBezTo>
                  <a:pt x="3692" y="1828"/>
                  <a:pt x="3691" y="1829"/>
                  <a:pt x="3690" y="1830"/>
                </a:cubicBezTo>
                <a:cubicBezTo>
                  <a:pt x="3689" y="1830"/>
                  <a:pt x="3688" y="1830"/>
                  <a:pt x="3688" y="1831"/>
                </a:cubicBezTo>
                <a:cubicBezTo>
                  <a:pt x="3687" y="1831"/>
                  <a:pt x="3687" y="1831"/>
                  <a:pt x="3686" y="1832"/>
                </a:cubicBezTo>
                <a:cubicBezTo>
                  <a:pt x="3686" y="1832"/>
                  <a:pt x="3685" y="1833"/>
                  <a:pt x="3684" y="1833"/>
                </a:cubicBezTo>
                <a:cubicBezTo>
                  <a:pt x="3683" y="1834"/>
                  <a:pt x="3682" y="1834"/>
                  <a:pt x="3681" y="1834"/>
                </a:cubicBezTo>
                <a:cubicBezTo>
                  <a:pt x="3680" y="1834"/>
                  <a:pt x="3679" y="1835"/>
                  <a:pt x="3679" y="1835"/>
                </a:cubicBezTo>
                <a:cubicBezTo>
                  <a:pt x="3678" y="1836"/>
                  <a:pt x="3678" y="1836"/>
                  <a:pt x="3678" y="1837"/>
                </a:cubicBezTo>
                <a:cubicBezTo>
                  <a:pt x="3677" y="1837"/>
                  <a:pt x="3677" y="1837"/>
                  <a:pt x="3676" y="1838"/>
                </a:cubicBezTo>
                <a:cubicBezTo>
                  <a:pt x="3676" y="1839"/>
                  <a:pt x="3675" y="1839"/>
                  <a:pt x="3674" y="1840"/>
                </a:cubicBezTo>
                <a:cubicBezTo>
                  <a:pt x="3673" y="1840"/>
                  <a:pt x="3673" y="1841"/>
                  <a:pt x="3674" y="1842"/>
                </a:cubicBezTo>
                <a:cubicBezTo>
                  <a:pt x="3675" y="1843"/>
                  <a:pt x="3673" y="1843"/>
                  <a:pt x="3673" y="1843"/>
                </a:cubicBezTo>
                <a:cubicBezTo>
                  <a:pt x="3672" y="1844"/>
                  <a:pt x="3671" y="1844"/>
                  <a:pt x="3670" y="1844"/>
                </a:cubicBezTo>
                <a:cubicBezTo>
                  <a:pt x="3670" y="1845"/>
                  <a:pt x="3670" y="1845"/>
                  <a:pt x="3670" y="1845"/>
                </a:cubicBezTo>
                <a:cubicBezTo>
                  <a:pt x="3669" y="1845"/>
                  <a:pt x="3669" y="1845"/>
                  <a:pt x="3668" y="1845"/>
                </a:cubicBezTo>
                <a:cubicBezTo>
                  <a:pt x="3668" y="1845"/>
                  <a:pt x="3668" y="1846"/>
                  <a:pt x="3668" y="1846"/>
                </a:cubicBezTo>
                <a:cubicBezTo>
                  <a:pt x="3669" y="1846"/>
                  <a:pt x="3669" y="1846"/>
                  <a:pt x="3669" y="1847"/>
                </a:cubicBezTo>
                <a:cubicBezTo>
                  <a:pt x="3668" y="1848"/>
                  <a:pt x="3667" y="1847"/>
                  <a:pt x="3666" y="1847"/>
                </a:cubicBezTo>
                <a:cubicBezTo>
                  <a:pt x="3666" y="1847"/>
                  <a:pt x="3667" y="1848"/>
                  <a:pt x="3667" y="1848"/>
                </a:cubicBezTo>
                <a:cubicBezTo>
                  <a:pt x="3667" y="1848"/>
                  <a:pt x="3666" y="1848"/>
                  <a:pt x="3666" y="1848"/>
                </a:cubicBezTo>
                <a:cubicBezTo>
                  <a:pt x="3666" y="1849"/>
                  <a:pt x="3666" y="1849"/>
                  <a:pt x="3666" y="1849"/>
                </a:cubicBezTo>
                <a:cubicBezTo>
                  <a:pt x="3665" y="1849"/>
                  <a:pt x="3665" y="1849"/>
                  <a:pt x="3664" y="1850"/>
                </a:cubicBezTo>
                <a:cubicBezTo>
                  <a:pt x="3664" y="1850"/>
                  <a:pt x="3664" y="1851"/>
                  <a:pt x="3664" y="1851"/>
                </a:cubicBezTo>
                <a:cubicBezTo>
                  <a:pt x="3665" y="1851"/>
                  <a:pt x="3665" y="1851"/>
                  <a:pt x="3665" y="1852"/>
                </a:cubicBezTo>
                <a:cubicBezTo>
                  <a:pt x="3665" y="1852"/>
                  <a:pt x="3665" y="1852"/>
                  <a:pt x="3665" y="1852"/>
                </a:cubicBezTo>
                <a:cubicBezTo>
                  <a:pt x="3665" y="1853"/>
                  <a:pt x="3665" y="1853"/>
                  <a:pt x="3664" y="1853"/>
                </a:cubicBezTo>
                <a:cubicBezTo>
                  <a:pt x="3664" y="1853"/>
                  <a:pt x="3664" y="1853"/>
                  <a:pt x="3663" y="1852"/>
                </a:cubicBezTo>
                <a:cubicBezTo>
                  <a:pt x="3663" y="1852"/>
                  <a:pt x="3663" y="1852"/>
                  <a:pt x="3662" y="1853"/>
                </a:cubicBezTo>
                <a:cubicBezTo>
                  <a:pt x="3662" y="1853"/>
                  <a:pt x="3662" y="1853"/>
                  <a:pt x="3661" y="1853"/>
                </a:cubicBezTo>
                <a:cubicBezTo>
                  <a:pt x="3661" y="1854"/>
                  <a:pt x="3660" y="1855"/>
                  <a:pt x="3661" y="1855"/>
                </a:cubicBezTo>
                <a:cubicBezTo>
                  <a:pt x="3661" y="1856"/>
                  <a:pt x="3662" y="1855"/>
                  <a:pt x="3662" y="1856"/>
                </a:cubicBezTo>
                <a:cubicBezTo>
                  <a:pt x="3662" y="1856"/>
                  <a:pt x="3661" y="1856"/>
                  <a:pt x="3661" y="1857"/>
                </a:cubicBezTo>
                <a:cubicBezTo>
                  <a:pt x="3661" y="1858"/>
                  <a:pt x="3663" y="1857"/>
                  <a:pt x="3663" y="1858"/>
                </a:cubicBezTo>
                <a:cubicBezTo>
                  <a:pt x="3663" y="1858"/>
                  <a:pt x="3662" y="1858"/>
                  <a:pt x="3662" y="1858"/>
                </a:cubicBezTo>
                <a:cubicBezTo>
                  <a:pt x="3661" y="1858"/>
                  <a:pt x="3661" y="1859"/>
                  <a:pt x="3661" y="1859"/>
                </a:cubicBezTo>
                <a:cubicBezTo>
                  <a:pt x="3660" y="1859"/>
                  <a:pt x="3659" y="1859"/>
                  <a:pt x="3658" y="1859"/>
                </a:cubicBezTo>
                <a:cubicBezTo>
                  <a:pt x="3658" y="1860"/>
                  <a:pt x="3657" y="1861"/>
                  <a:pt x="3658" y="1862"/>
                </a:cubicBezTo>
                <a:cubicBezTo>
                  <a:pt x="3658" y="1862"/>
                  <a:pt x="3658" y="1862"/>
                  <a:pt x="3659" y="1861"/>
                </a:cubicBezTo>
                <a:cubicBezTo>
                  <a:pt x="3659" y="1861"/>
                  <a:pt x="3659" y="1861"/>
                  <a:pt x="3659" y="1861"/>
                </a:cubicBezTo>
                <a:cubicBezTo>
                  <a:pt x="3659" y="1861"/>
                  <a:pt x="3659" y="1861"/>
                  <a:pt x="3659" y="1861"/>
                </a:cubicBezTo>
                <a:cubicBezTo>
                  <a:pt x="3660" y="1860"/>
                  <a:pt x="3660" y="1860"/>
                  <a:pt x="3660" y="1861"/>
                </a:cubicBezTo>
                <a:cubicBezTo>
                  <a:pt x="3660" y="1861"/>
                  <a:pt x="3659" y="1863"/>
                  <a:pt x="3660" y="1862"/>
                </a:cubicBezTo>
                <a:cubicBezTo>
                  <a:pt x="3661" y="1862"/>
                  <a:pt x="3661" y="1862"/>
                  <a:pt x="3661" y="1862"/>
                </a:cubicBezTo>
                <a:cubicBezTo>
                  <a:pt x="3662" y="1862"/>
                  <a:pt x="3662" y="1862"/>
                  <a:pt x="3661" y="1863"/>
                </a:cubicBezTo>
                <a:cubicBezTo>
                  <a:pt x="3661" y="1863"/>
                  <a:pt x="3659" y="1864"/>
                  <a:pt x="3660" y="1864"/>
                </a:cubicBezTo>
                <a:cubicBezTo>
                  <a:pt x="3660" y="1865"/>
                  <a:pt x="3663" y="1864"/>
                  <a:pt x="3663" y="1864"/>
                </a:cubicBezTo>
                <a:cubicBezTo>
                  <a:pt x="3664" y="1864"/>
                  <a:pt x="3665" y="1865"/>
                  <a:pt x="3666" y="1865"/>
                </a:cubicBezTo>
                <a:cubicBezTo>
                  <a:pt x="3667" y="1865"/>
                  <a:pt x="3668" y="1865"/>
                  <a:pt x="3669" y="1864"/>
                </a:cubicBezTo>
                <a:cubicBezTo>
                  <a:pt x="3670" y="1864"/>
                  <a:pt x="3671" y="1864"/>
                  <a:pt x="3671" y="1865"/>
                </a:cubicBezTo>
                <a:cubicBezTo>
                  <a:pt x="3672" y="1865"/>
                  <a:pt x="3672" y="1866"/>
                  <a:pt x="3673" y="1867"/>
                </a:cubicBezTo>
                <a:cubicBezTo>
                  <a:pt x="3673" y="1867"/>
                  <a:pt x="3674" y="1867"/>
                  <a:pt x="3675" y="1867"/>
                </a:cubicBezTo>
                <a:cubicBezTo>
                  <a:pt x="3676" y="1867"/>
                  <a:pt x="3676" y="1867"/>
                  <a:pt x="3677" y="1867"/>
                </a:cubicBezTo>
                <a:cubicBezTo>
                  <a:pt x="3677" y="1867"/>
                  <a:pt x="3678" y="1868"/>
                  <a:pt x="3678" y="1868"/>
                </a:cubicBezTo>
                <a:cubicBezTo>
                  <a:pt x="3679" y="1868"/>
                  <a:pt x="3680" y="1868"/>
                  <a:pt x="3680" y="1869"/>
                </a:cubicBezTo>
                <a:cubicBezTo>
                  <a:pt x="3680" y="1870"/>
                  <a:pt x="3679" y="1870"/>
                  <a:pt x="3680" y="1870"/>
                </a:cubicBezTo>
                <a:cubicBezTo>
                  <a:pt x="3680" y="1870"/>
                  <a:pt x="3681" y="1870"/>
                  <a:pt x="3681" y="1870"/>
                </a:cubicBezTo>
                <a:cubicBezTo>
                  <a:pt x="3682" y="1870"/>
                  <a:pt x="3683" y="1870"/>
                  <a:pt x="3684" y="1871"/>
                </a:cubicBezTo>
                <a:cubicBezTo>
                  <a:pt x="3685" y="1871"/>
                  <a:pt x="3687" y="1871"/>
                  <a:pt x="3689" y="1871"/>
                </a:cubicBezTo>
                <a:cubicBezTo>
                  <a:pt x="3691" y="1870"/>
                  <a:pt x="3693" y="1870"/>
                  <a:pt x="3695" y="1869"/>
                </a:cubicBezTo>
                <a:cubicBezTo>
                  <a:pt x="3696" y="1868"/>
                  <a:pt x="3696" y="1867"/>
                  <a:pt x="3697" y="1866"/>
                </a:cubicBezTo>
                <a:cubicBezTo>
                  <a:pt x="3697" y="1866"/>
                  <a:pt x="3698" y="1865"/>
                  <a:pt x="3698" y="1865"/>
                </a:cubicBezTo>
                <a:cubicBezTo>
                  <a:pt x="3699" y="1864"/>
                  <a:pt x="3700" y="1864"/>
                  <a:pt x="3700" y="1863"/>
                </a:cubicBezTo>
                <a:cubicBezTo>
                  <a:pt x="3701" y="1862"/>
                  <a:pt x="3702" y="1861"/>
                  <a:pt x="3703" y="1861"/>
                </a:cubicBezTo>
                <a:cubicBezTo>
                  <a:pt x="3704" y="1861"/>
                  <a:pt x="3705" y="1861"/>
                  <a:pt x="3705" y="1861"/>
                </a:cubicBezTo>
                <a:cubicBezTo>
                  <a:pt x="3706" y="1860"/>
                  <a:pt x="3707" y="1859"/>
                  <a:pt x="3706" y="1860"/>
                </a:cubicBezTo>
                <a:cubicBezTo>
                  <a:pt x="3705" y="1860"/>
                  <a:pt x="3704" y="1860"/>
                  <a:pt x="3704" y="1859"/>
                </a:cubicBezTo>
                <a:cubicBezTo>
                  <a:pt x="3704" y="1858"/>
                  <a:pt x="3704" y="1857"/>
                  <a:pt x="3705" y="1857"/>
                </a:cubicBezTo>
                <a:cubicBezTo>
                  <a:pt x="3705" y="1856"/>
                  <a:pt x="3706" y="1855"/>
                  <a:pt x="3706" y="1854"/>
                </a:cubicBezTo>
                <a:cubicBezTo>
                  <a:pt x="3707" y="1852"/>
                  <a:pt x="3708" y="1851"/>
                  <a:pt x="3709" y="1850"/>
                </a:cubicBezTo>
                <a:cubicBezTo>
                  <a:pt x="3710" y="1849"/>
                  <a:pt x="3711" y="1848"/>
                  <a:pt x="3711" y="1848"/>
                </a:cubicBezTo>
                <a:cubicBezTo>
                  <a:pt x="3711" y="1846"/>
                  <a:pt x="3711" y="1845"/>
                  <a:pt x="3712" y="1844"/>
                </a:cubicBezTo>
                <a:cubicBezTo>
                  <a:pt x="3712" y="1843"/>
                  <a:pt x="3712" y="1842"/>
                  <a:pt x="3712" y="1842"/>
                </a:cubicBezTo>
                <a:cubicBezTo>
                  <a:pt x="3712" y="1839"/>
                  <a:pt x="3713" y="1838"/>
                  <a:pt x="3715" y="1837"/>
                </a:cubicBezTo>
                <a:cubicBezTo>
                  <a:pt x="3716" y="1836"/>
                  <a:pt x="3717" y="1836"/>
                  <a:pt x="3718" y="1835"/>
                </a:cubicBezTo>
                <a:cubicBezTo>
                  <a:pt x="3719" y="1835"/>
                  <a:pt x="3720" y="1835"/>
                  <a:pt x="3720" y="1834"/>
                </a:cubicBezTo>
                <a:cubicBezTo>
                  <a:pt x="3721" y="1834"/>
                  <a:pt x="3721" y="1833"/>
                  <a:pt x="3722" y="1833"/>
                </a:cubicBezTo>
                <a:cubicBezTo>
                  <a:pt x="3723" y="1833"/>
                  <a:pt x="3723" y="1832"/>
                  <a:pt x="3724" y="1832"/>
                </a:cubicBezTo>
                <a:cubicBezTo>
                  <a:pt x="3725" y="1831"/>
                  <a:pt x="3725" y="1831"/>
                  <a:pt x="3726" y="1831"/>
                </a:cubicBezTo>
                <a:cubicBezTo>
                  <a:pt x="3726" y="1831"/>
                  <a:pt x="3727" y="1829"/>
                  <a:pt x="3727" y="1830"/>
                </a:cubicBezTo>
                <a:cubicBezTo>
                  <a:pt x="3728" y="1830"/>
                  <a:pt x="3727" y="1831"/>
                  <a:pt x="3727" y="1831"/>
                </a:cubicBezTo>
                <a:cubicBezTo>
                  <a:pt x="3728" y="1831"/>
                  <a:pt x="3728" y="1831"/>
                  <a:pt x="3729" y="1831"/>
                </a:cubicBezTo>
                <a:cubicBezTo>
                  <a:pt x="3729" y="1831"/>
                  <a:pt x="3730" y="1831"/>
                  <a:pt x="3730" y="1832"/>
                </a:cubicBezTo>
                <a:cubicBezTo>
                  <a:pt x="3730" y="1832"/>
                  <a:pt x="3731" y="1832"/>
                  <a:pt x="3732" y="1832"/>
                </a:cubicBezTo>
                <a:cubicBezTo>
                  <a:pt x="3732" y="1832"/>
                  <a:pt x="3733" y="1832"/>
                  <a:pt x="3733" y="1831"/>
                </a:cubicBezTo>
                <a:cubicBezTo>
                  <a:pt x="3733" y="1831"/>
                  <a:pt x="3733" y="1830"/>
                  <a:pt x="3733" y="1829"/>
                </a:cubicBezTo>
                <a:cubicBezTo>
                  <a:pt x="3733" y="1829"/>
                  <a:pt x="3732" y="1829"/>
                  <a:pt x="3731" y="1828"/>
                </a:cubicBezTo>
                <a:cubicBezTo>
                  <a:pt x="3731" y="1828"/>
                  <a:pt x="3729" y="1828"/>
                  <a:pt x="3729" y="1828"/>
                </a:cubicBezTo>
                <a:cubicBezTo>
                  <a:pt x="3729" y="1827"/>
                  <a:pt x="3729" y="1827"/>
                  <a:pt x="3729" y="1827"/>
                </a:cubicBezTo>
                <a:cubicBezTo>
                  <a:pt x="3729" y="1826"/>
                  <a:pt x="3729" y="1826"/>
                  <a:pt x="3729" y="1825"/>
                </a:cubicBezTo>
                <a:cubicBezTo>
                  <a:pt x="3729" y="1824"/>
                  <a:pt x="3731" y="1822"/>
                  <a:pt x="3732" y="1821"/>
                </a:cubicBezTo>
                <a:cubicBezTo>
                  <a:pt x="3734" y="1820"/>
                  <a:pt x="3734" y="1818"/>
                  <a:pt x="3736" y="1817"/>
                </a:cubicBezTo>
                <a:cubicBezTo>
                  <a:pt x="3737" y="1816"/>
                  <a:pt x="3737" y="1815"/>
                  <a:pt x="3738" y="1814"/>
                </a:cubicBezTo>
                <a:cubicBezTo>
                  <a:pt x="3739" y="1813"/>
                  <a:pt x="3739" y="1812"/>
                  <a:pt x="3740" y="1811"/>
                </a:cubicBezTo>
                <a:cubicBezTo>
                  <a:pt x="3741" y="1810"/>
                  <a:pt x="3742" y="1810"/>
                  <a:pt x="3743" y="1809"/>
                </a:cubicBezTo>
                <a:cubicBezTo>
                  <a:pt x="3743" y="1808"/>
                  <a:pt x="3744" y="1807"/>
                  <a:pt x="3744" y="1806"/>
                </a:cubicBezTo>
                <a:cubicBezTo>
                  <a:pt x="3744" y="1806"/>
                  <a:pt x="3745" y="1805"/>
                  <a:pt x="3745" y="1804"/>
                </a:cubicBezTo>
                <a:cubicBezTo>
                  <a:pt x="3745" y="1804"/>
                  <a:pt x="3746" y="1803"/>
                  <a:pt x="3746" y="1803"/>
                </a:cubicBezTo>
                <a:cubicBezTo>
                  <a:pt x="3746" y="1803"/>
                  <a:pt x="3747" y="1803"/>
                  <a:pt x="3747" y="1803"/>
                </a:cubicBezTo>
                <a:cubicBezTo>
                  <a:pt x="3747" y="1803"/>
                  <a:pt x="3747" y="1802"/>
                  <a:pt x="3747" y="1802"/>
                </a:cubicBezTo>
                <a:cubicBezTo>
                  <a:pt x="3747" y="1801"/>
                  <a:pt x="3747" y="1801"/>
                  <a:pt x="3747" y="1801"/>
                </a:cubicBezTo>
                <a:cubicBezTo>
                  <a:pt x="3746" y="1800"/>
                  <a:pt x="3746" y="1800"/>
                  <a:pt x="3746" y="1800"/>
                </a:cubicBezTo>
                <a:cubicBezTo>
                  <a:pt x="3746" y="1800"/>
                  <a:pt x="3746" y="1799"/>
                  <a:pt x="3746" y="1799"/>
                </a:cubicBezTo>
                <a:cubicBezTo>
                  <a:pt x="3745" y="1798"/>
                  <a:pt x="3745" y="1798"/>
                  <a:pt x="3745" y="1797"/>
                </a:cubicBezTo>
                <a:cubicBezTo>
                  <a:pt x="3746" y="1797"/>
                  <a:pt x="3746" y="1796"/>
                  <a:pt x="3746" y="1796"/>
                </a:cubicBezTo>
                <a:cubicBezTo>
                  <a:pt x="3747" y="1796"/>
                  <a:pt x="3748" y="1795"/>
                  <a:pt x="3747" y="1795"/>
                </a:cubicBezTo>
                <a:cubicBezTo>
                  <a:pt x="3746" y="1795"/>
                  <a:pt x="3746" y="1796"/>
                  <a:pt x="3746" y="1796"/>
                </a:cubicBezTo>
                <a:cubicBezTo>
                  <a:pt x="3745" y="1796"/>
                  <a:pt x="3745" y="1796"/>
                  <a:pt x="3745" y="1796"/>
                </a:cubicBezTo>
                <a:cubicBezTo>
                  <a:pt x="3745" y="1795"/>
                  <a:pt x="3745" y="1795"/>
                  <a:pt x="3745" y="1795"/>
                </a:cubicBezTo>
                <a:cubicBezTo>
                  <a:pt x="3746" y="1795"/>
                  <a:pt x="3746" y="1794"/>
                  <a:pt x="3746" y="1794"/>
                </a:cubicBezTo>
                <a:cubicBezTo>
                  <a:pt x="3747" y="1794"/>
                  <a:pt x="3747" y="1794"/>
                  <a:pt x="3747" y="1793"/>
                </a:cubicBezTo>
                <a:cubicBezTo>
                  <a:pt x="3748" y="1793"/>
                  <a:pt x="3748" y="1793"/>
                  <a:pt x="3748" y="1792"/>
                </a:cubicBezTo>
                <a:cubicBezTo>
                  <a:pt x="3747" y="1792"/>
                  <a:pt x="3747" y="1793"/>
                  <a:pt x="3746" y="1793"/>
                </a:cubicBezTo>
                <a:close/>
                <a:moveTo>
                  <a:pt x="3780" y="646"/>
                </a:moveTo>
                <a:cubicBezTo>
                  <a:pt x="3780" y="647"/>
                  <a:pt x="3779" y="647"/>
                  <a:pt x="3779" y="648"/>
                </a:cubicBezTo>
                <a:cubicBezTo>
                  <a:pt x="3778" y="649"/>
                  <a:pt x="3777" y="649"/>
                  <a:pt x="3776" y="649"/>
                </a:cubicBezTo>
                <a:cubicBezTo>
                  <a:pt x="3775" y="650"/>
                  <a:pt x="3777" y="650"/>
                  <a:pt x="3777" y="650"/>
                </a:cubicBezTo>
                <a:cubicBezTo>
                  <a:pt x="3778" y="651"/>
                  <a:pt x="3777" y="650"/>
                  <a:pt x="3778" y="650"/>
                </a:cubicBezTo>
                <a:cubicBezTo>
                  <a:pt x="3778" y="649"/>
                  <a:pt x="3778" y="649"/>
                  <a:pt x="3779" y="649"/>
                </a:cubicBezTo>
                <a:cubicBezTo>
                  <a:pt x="3779" y="649"/>
                  <a:pt x="3779" y="649"/>
                  <a:pt x="3780" y="649"/>
                </a:cubicBezTo>
                <a:cubicBezTo>
                  <a:pt x="3780" y="649"/>
                  <a:pt x="3782" y="649"/>
                  <a:pt x="3782" y="648"/>
                </a:cubicBezTo>
                <a:cubicBezTo>
                  <a:pt x="3782" y="648"/>
                  <a:pt x="3781" y="648"/>
                  <a:pt x="3780" y="648"/>
                </a:cubicBezTo>
                <a:cubicBezTo>
                  <a:pt x="3780" y="647"/>
                  <a:pt x="3782" y="647"/>
                  <a:pt x="3782" y="647"/>
                </a:cubicBezTo>
                <a:cubicBezTo>
                  <a:pt x="3783" y="646"/>
                  <a:pt x="3781" y="646"/>
                  <a:pt x="3780" y="646"/>
                </a:cubicBezTo>
                <a:close/>
                <a:moveTo>
                  <a:pt x="3581" y="1394"/>
                </a:moveTo>
                <a:cubicBezTo>
                  <a:pt x="3582" y="1394"/>
                  <a:pt x="3582" y="1394"/>
                  <a:pt x="3583" y="1395"/>
                </a:cubicBezTo>
                <a:cubicBezTo>
                  <a:pt x="3583" y="1395"/>
                  <a:pt x="3583" y="1394"/>
                  <a:pt x="3583" y="1394"/>
                </a:cubicBezTo>
                <a:cubicBezTo>
                  <a:pt x="3583" y="1393"/>
                  <a:pt x="3583" y="1393"/>
                  <a:pt x="3582" y="1393"/>
                </a:cubicBezTo>
                <a:cubicBezTo>
                  <a:pt x="3582" y="1392"/>
                  <a:pt x="3582" y="1392"/>
                  <a:pt x="3582" y="1392"/>
                </a:cubicBezTo>
                <a:cubicBezTo>
                  <a:pt x="3582" y="1391"/>
                  <a:pt x="3581" y="1391"/>
                  <a:pt x="3581" y="1391"/>
                </a:cubicBezTo>
                <a:cubicBezTo>
                  <a:pt x="3580" y="1390"/>
                  <a:pt x="3580" y="1390"/>
                  <a:pt x="3579" y="1389"/>
                </a:cubicBezTo>
                <a:cubicBezTo>
                  <a:pt x="3579" y="1389"/>
                  <a:pt x="3578" y="1388"/>
                  <a:pt x="3577" y="1388"/>
                </a:cubicBezTo>
                <a:cubicBezTo>
                  <a:pt x="3576" y="1388"/>
                  <a:pt x="3575" y="1388"/>
                  <a:pt x="3574" y="1387"/>
                </a:cubicBezTo>
                <a:cubicBezTo>
                  <a:pt x="3574" y="1387"/>
                  <a:pt x="3573" y="1386"/>
                  <a:pt x="3573" y="1386"/>
                </a:cubicBezTo>
                <a:cubicBezTo>
                  <a:pt x="3572" y="1385"/>
                  <a:pt x="3572" y="1385"/>
                  <a:pt x="3571" y="1385"/>
                </a:cubicBezTo>
                <a:cubicBezTo>
                  <a:pt x="3571" y="1385"/>
                  <a:pt x="3571" y="1384"/>
                  <a:pt x="3570" y="1384"/>
                </a:cubicBezTo>
                <a:cubicBezTo>
                  <a:pt x="3570" y="1384"/>
                  <a:pt x="3569" y="1384"/>
                  <a:pt x="3569" y="1383"/>
                </a:cubicBezTo>
                <a:cubicBezTo>
                  <a:pt x="3568" y="1383"/>
                  <a:pt x="3568" y="1383"/>
                  <a:pt x="3567" y="1383"/>
                </a:cubicBezTo>
                <a:cubicBezTo>
                  <a:pt x="3567" y="1383"/>
                  <a:pt x="3567" y="1383"/>
                  <a:pt x="3566" y="1383"/>
                </a:cubicBezTo>
                <a:cubicBezTo>
                  <a:pt x="3566" y="1383"/>
                  <a:pt x="3566" y="1383"/>
                  <a:pt x="3566" y="1383"/>
                </a:cubicBezTo>
                <a:cubicBezTo>
                  <a:pt x="3565" y="1382"/>
                  <a:pt x="3565" y="1382"/>
                  <a:pt x="3565" y="1383"/>
                </a:cubicBezTo>
                <a:cubicBezTo>
                  <a:pt x="3564" y="1383"/>
                  <a:pt x="3565" y="1383"/>
                  <a:pt x="3565" y="1383"/>
                </a:cubicBezTo>
                <a:cubicBezTo>
                  <a:pt x="3566" y="1384"/>
                  <a:pt x="3566" y="1384"/>
                  <a:pt x="3566" y="1384"/>
                </a:cubicBezTo>
                <a:cubicBezTo>
                  <a:pt x="3566" y="1384"/>
                  <a:pt x="3567" y="1384"/>
                  <a:pt x="3567" y="1384"/>
                </a:cubicBezTo>
                <a:cubicBezTo>
                  <a:pt x="3568" y="1385"/>
                  <a:pt x="3568" y="1385"/>
                  <a:pt x="3569" y="1386"/>
                </a:cubicBezTo>
                <a:cubicBezTo>
                  <a:pt x="3569" y="1387"/>
                  <a:pt x="3570" y="1387"/>
                  <a:pt x="3571" y="1388"/>
                </a:cubicBezTo>
                <a:cubicBezTo>
                  <a:pt x="3572" y="1388"/>
                  <a:pt x="3572" y="1389"/>
                  <a:pt x="3573" y="1390"/>
                </a:cubicBezTo>
                <a:cubicBezTo>
                  <a:pt x="3574" y="1390"/>
                  <a:pt x="3575" y="1390"/>
                  <a:pt x="3576" y="1390"/>
                </a:cubicBezTo>
                <a:cubicBezTo>
                  <a:pt x="3577" y="1391"/>
                  <a:pt x="3577" y="1391"/>
                  <a:pt x="3578" y="1392"/>
                </a:cubicBezTo>
                <a:cubicBezTo>
                  <a:pt x="3579" y="1392"/>
                  <a:pt x="3579" y="1392"/>
                  <a:pt x="3579" y="1393"/>
                </a:cubicBezTo>
                <a:cubicBezTo>
                  <a:pt x="3579" y="1394"/>
                  <a:pt x="3580" y="1395"/>
                  <a:pt x="3581" y="1394"/>
                </a:cubicBezTo>
                <a:close/>
                <a:moveTo>
                  <a:pt x="3525" y="684"/>
                </a:moveTo>
                <a:cubicBezTo>
                  <a:pt x="3526" y="684"/>
                  <a:pt x="3525" y="683"/>
                  <a:pt x="3525" y="682"/>
                </a:cubicBezTo>
                <a:cubicBezTo>
                  <a:pt x="3525" y="681"/>
                  <a:pt x="3526" y="681"/>
                  <a:pt x="3526" y="680"/>
                </a:cubicBezTo>
                <a:cubicBezTo>
                  <a:pt x="3526" y="680"/>
                  <a:pt x="3526" y="679"/>
                  <a:pt x="3526" y="679"/>
                </a:cubicBezTo>
                <a:cubicBezTo>
                  <a:pt x="3525" y="679"/>
                  <a:pt x="3525" y="679"/>
                  <a:pt x="3525" y="679"/>
                </a:cubicBezTo>
                <a:cubicBezTo>
                  <a:pt x="3525" y="679"/>
                  <a:pt x="3524" y="680"/>
                  <a:pt x="3524" y="681"/>
                </a:cubicBezTo>
                <a:cubicBezTo>
                  <a:pt x="3524" y="681"/>
                  <a:pt x="3524" y="682"/>
                  <a:pt x="3524" y="682"/>
                </a:cubicBezTo>
                <a:cubicBezTo>
                  <a:pt x="3523" y="683"/>
                  <a:pt x="3522" y="683"/>
                  <a:pt x="3523" y="684"/>
                </a:cubicBezTo>
                <a:cubicBezTo>
                  <a:pt x="3523" y="685"/>
                  <a:pt x="3523" y="684"/>
                  <a:pt x="3524" y="684"/>
                </a:cubicBezTo>
                <a:cubicBezTo>
                  <a:pt x="3524" y="684"/>
                  <a:pt x="3524" y="684"/>
                  <a:pt x="3524" y="684"/>
                </a:cubicBezTo>
                <a:cubicBezTo>
                  <a:pt x="3524" y="684"/>
                  <a:pt x="3524" y="684"/>
                  <a:pt x="3525" y="684"/>
                </a:cubicBezTo>
                <a:close/>
                <a:moveTo>
                  <a:pt x="3591" y="1406"/>
                </a:moveTo>
                <a:cubicBezTo>
                  <a:pt x="3591" y="1406"/>
                  <a:pt x="3590" y="1405"/>
                  <a:pt x="3589" y="1405"/>
                </a:cubicBezTo>
                <a:cubicBezTo>
                  <a:pt x="3589" y="1405"/>
                  <a:pt x="3588" y="1405"/>
                  <a:pt x="3587" y="1405"/>
                </a:cubicBezTo>
                <a:cubicBezTo>
                  <a:pt x="3586" y="1405"/>
                  <a:pt x="3585" y="1405"/>
                  <a:pt x="3584" y="1404"/>
                </a:cubicBezTo>
                <a:cubicBezTo>
                  <a:pt x="3583" y="1404"/>
                  <a:pt x="3583" y="1404"/>
                  <a:pt x="3583" y="1403"/>
                </a:cubicBezTo>
                <a:cubicBezTo>
                  <a:pt x="3582" y="1403"/>
                  <a:pt x="3582" y="1403"/>
                  <a:pt x="3581" y="1403"/>
                </a:cubicBezTo>
                <a:cubicBezTo>
                  <a:pt x="3580" y="1403"/>
                  <a:pt x="3580" y="1403"/>
                  <a:pt x="3580" y="1403"/>
                </a:cubicBezTo>
                <a:cubicBezTo>
                  <a:pt x="3580" y="1403"/>
                  <a:pt x="3580" y="1404"/>
                  <a:pt x="3580" y="1404"/>
                </a:cubicBezTo>
                <a:cubicBezTo>
                  <a:pt x="3580" y="1406"/>
                  <a:pt x="3581" y="1407"/>
                  <a:pt x="3583" y="1409"/>
                </a:cubicBezTo>
                <a:cubicBezTo>
                  <a:pt x="3584" y="1410"/>
                  <a:pt x="3586" y="1409"/>
                  <a:pt x="3588" y="1409"/>
                </a:cubicBezTo>
                <a:cubicBezTo>
                  <a:pt x="3588" y="1409"/>
                  <a:pt x="3588" y="1409"/>
                  <a:pt x="3589" y="1409"/>
                </a:cubicBezTo>
                <a:cubicBezTo>
                  <a:pt x="3589" y="1410"/>
                  <a:pt x="3589" y="1410"/>
                  <a:pt x="3590" y="1410"/>
                </a:cubicBezTo>
                <a:cubicBezTo>
                  <a:pt x="3590" y="1410"/>
                  <a:pt x="3591" y="1410"/>
                  <a:pt x="3592" y="1410"/>
                </a:cubicBezTo>
                <a:cubicBezTo>
                  <a:pt x="3593" y="1410"/>
                  <a:pt x="3593" y="1409"/>
                  <a:pt x="3593" y="1408"/>
                </a:cubicBezTo>
                <a:cubicBezTo>
                  <a:pt x="3593" y="1408"/>
                  <a:pt x="3592" y="1407"/>
                  <a:pt x="3591" y="1406"/>
                </a:cubicBezTo>
                <a:close/>
                <a:moveTo>
                  <a:pt x="3556" y="1381"/>
                </a:moveTo>
                <a:cubicBezTo>
                  <a:pt x="3555" y="1380"/>
                  <a:pt x="3555" y="1381"/>
                  <a:pt x="3555" y="1380"/>
                </a:cubicBezTo>
                <a:cubicBezTo>
                  <a:pt x="3554" y="1380"/>
                  <a:pt x="3553" y="1380"/>
                  <a:pt x="3553" y="1379"/>
                </a:cubicBezTo>
                <a:cubicBezTo>
                  <a:pt x="3552" y="1378"/>
                  <a:pt x="3552" y="1378"/>
                  <a:pt x="3551" y="1377"/>
                </a:cubicBezTo>
                <a:cubicBezTo>
                  <a:pt x="3551" y="1376"/>
                  <a:pt x="3550" y="1375"/>
                  <a:pt x="3549" y="1375"/>
                </a:cubicBezTo>
                <a:cubicBezTo>
                  <a:pt x="3549" y="1375"/>
                  <a:pt x="3548" y="1375"/>
                  <a:pt x="3547" y="1374"/>
                </a:cubicBezTo>
                <a:cubicBezTo>
                  <a:pt x="3547" y="1374"/>
                  <a:pt x="3546" y="1372"/>
                  <a:pt x="3545" y="1372"/>
                </a:cubicBezTo>
                <a:cubicBezTo>
                  <a:pt x="3545" y="1373"/>
                  <a:pt x="3543" y="1373"/>
                  <a:pt x="3543" y="1373"/>
                </a:cubicBezTo>
                <a:cubicBezTo>
                  <a:pt x="3543" y="1374"/>
                  <a:pt x="3544" y="1374"/>
                  <a:pt x="3544" y="1374"/>
                </a:cubicBezTo>
                <a:cubicBezTo>
                  <a:pt x="3545" y="1375"/>
                  <a:pt x="3545" y="1375"/>
                  <a:pt x="3545" y="1375"/>
                </a:cubicBezTo>
                <a:cubicBezTo>
                  <a:pt x="3545" y="1375"/>
                  <a:pt x="3545" y="1375"/>
                  <a:pt x="3546" y="1376"/>
                </a:cubicBezTo>
                <a:cubicBezTo>
                  <a:pt x="3546" y="1376"/>
                  <a:pt x="3546" y="1376"/>
                  <a:pt x="3546" y="1377"/>
                </a:cubicBezTo>
                <a:cubicBezTo>
                  <a:pt x="3547" y="1377"/>
                  <a:pt x="3547" y="1377"/>
                  <a:pt x="3548" y="1377"/>
                </a:cubicBezTo>
                <a:cubicBezTo>
                  <a:pt x="3548" y="1378"/>
                  <a:pt x="3549" y="1379"/>
                  <a:pt x="3549" y="1379"/>
                </a:cubicBezTo>
                <a:cubicBezTo>
                  <a:pt x="3550" y="1380"/>
                  <a:pt x="3551" y="1380"/>
                  <a:pt x="3552" y="1380"/>
                </a:cubicBezTo>
                <a:cubicBezTo>
                  <a:pt x="3552" y="1381"/>
                  <a:pt x="3553" y="1382"/>
                  <a:pt x="3554" y="1382"/>
                </a:cubicBezTo>
                <a:cubicBezTo>
                  <a:pt x="3554" y="1382"/>
                  <a:pt x="3554" y="1381"/>
                  <a:pt x="3555" y="1381"/>
                </a:cubicBezTo>
                <a:cubicBezTo>
                  <a:pt x="3555" y="1381"/>
                  <a:pt x="3556" y="1381"/>
                  <a:pt x="3556" y="1381"/>
                </a:cubicBezTo>
                <a:cubicBezTo>
                  <a:pt x="3556" y="1381"/>
                  <a:pt x="3556" y="1381"/>
                  <a:pt x="3556" y="1381"/>
                </a:cubicBezTo>
                <a:close/>
                <a:moveTo>
                  <a:pt x="3540" y="663"/>
                </a:moveTo>
                <a:cubicBezTo>
                  <a:pt x="3540" y="662"/>
                  <a:pt x="3539" y="662"/>
                  <a:pt x="3538" y="662"/>
                </a:cubicBezTo>
                <a:cubicBezTo>
                  <a:pt x="3537" y="663"/>
                  <a:pt x="3537" y="663"/>
                  <a:pt x="3537" y="664"/>
                </a:cubicBezTo>
                <a:cubicBezTo>
                  <a:pt x="3537" y="665"/>
                  <a:pt x="3536" y="666"/>
                  <a:pt x="3536" y="667"/>
                </a:cubicBezTo>
                <a:cubicBezTo>
                  <a:pt x="3535" y="667"/>
                  <a:pt x="3535" y="669"/>
                  <a:pt x="3534" y="669"/>
                </a:cubicBezTo>
                <a:cubicBezTo>
                  <a:pt x="3533" y="669"/>
                  <a:pt x="3533" y="668"/>
                  <a:pt x="3532" y="669"/>
                </a:cubicBezTo>
                <a:cubicBezTo>
                  <a:pt x="3532" y="669"/>
                  <a:pt x="3531" y="669"/>
                  <a:pt x="3531" y="669"/>
                </a:cubicBezTo>
                <a:cubicBezTo>
                  <a:pt x="3531" y="670"/>
                  <a:pt x="3529" y="670"/>
                  <a:pt x="3530" y="671"/>
                </a:cubicBezTo>
                <a:cubicBezTo>
                  <a:pt x="3531" y="671"/>
                  <a:pt x="3529" y="672"/>
                  <a:pt x="3530" y="673"/>
                </a:cubicBezTo>
                <a:cubicBezTo>
                  <a:pt x="3530" y="673"/>
                  <a:pt x="3530" y="673"/>
                  <a:pt x="3530" y="673"/>
                </a:cubicBezTo>
                <a:cubicBezTo>
                  <a:pt x="3531" y="674"/>
                  <a:pt x="3531" y="674"/>
                  <a:pt x="3531" y="674"/>
                </a:cubicBezTo>
                <a:cubicBezTo>
                  <a:pt x="3532" y="675"/>
                  <a:pt x="3532" y="674"/>
                  <a:pt x="3533" y="673"/>
                </a:cubicBezTo>
                <a:cubicBezTo>
                  <a:pt x="3533" y="673"/>
                  <a:pt x="3534" y="672"/>
                  <a:pt x="3534" y="672"/>
                </a:cubicBezTo>
                <a:cubicBezTo>
                  <a:pt x="3535" y="671"/>
                  <a:pt x="3535" y="670"/>
                  <a:pt x="3536" y="670"/>
                </a:cubicBezTo>
                <a:cubicBezTo>
                  <a:pt x="3537" y="669"/>
                  <a:pt x="3540" y="668"/>
                  <a:pt x="3540" y="666"/>
                </a:cubicBezTo>
                <a:cubicBezTo>
                  <a:pt x="3540" y="665"/>
                  <a:pt x="3540" y="665"/>
                  <a:pt x="3540" y="665"/>
                </a:cubicBezTo>
                <a:cubicBezTo>
                  <a:pt x="3540" y="664"/>
                  <a:pt x="3540" y="664"/>
                  <a:pt x="3540" y="663"/>
                </a:cubicBezTo>
                <a:close/>
                <a:moveTo>
                  <a:pt x="3537" y="1370"/>
                </a:moveTo>
                <a:cubicBezTo>
                  <a:pt x="3537" y="1370"/>
                  <a:pt x="3537" y="1370"/>
                  <a:pt x="3536" y="1369"/>
                </a:cubicBezTo>
                <a:cubicBezTo>
                  <a:pt x="3536" y="1369"/>
                  <a:pt x="3536" y="1369"/>
                  <a:pt x="3535" y="1369"/>
                </a:cubicBezTo>
                <a:cubicBezTo>
                  <a:pt x="3535" y="1368"/>
                  <a:pt x="3535" y="1368"/>
                  <a:pt x="3535" y="1368"/>
                </a:cubicBezTo>
                <a:cubicBezTo>
                  <a:pt x="3534" y="1367"/>
                  <a:pt x="3533" y="1368"/>
                  <a:pt x="3533" y="1367"/>
                </a:cubicBezTo>
                <a:cubicBezTo>
                  <a:pt x="3532" y="1367"/>
                  <a:pt x="3532" y="1366"/>
                  <a:pt x="3532" y="1366"/>
                </a:cubicBezTo>
                <a:cubicBezTo>
                  <a:pt x="3532" y="1366"/>
                  <a:pt x="3532" y="1365"/>
                  <a:pt x="3531" y="1365"/>
                </a:cubicBezTo>
                <a:cubicBezTo>
                  <a:pt x="3531" y="1365"/>
                  <a:pt x="3531" y="1364"/>
                  <a:pt x="3531" y="1364"/>
                </a:cubicBezTo>
                <a:cubicBezTo>
                  <a:pt x="3530" y="1364"/>
                  <a:pt x="3530" y="1364"/>
                  <a:pt x="3530" y="1363"/>
                </a:cubicBezTo>
                <a:cubicBezTo>
                  <a:pt x="3530" y="1363"/>
                  <a:pt x="3529" y="1363"/>
                  <a:pt x="3529" y="1363"/>
                </a:cubicBezTo>
                <a:cubicBezTo>
                  <a:pt x="3529" y="1362"/>
                  <a:pt x="3529" y="1362"/>
                  <a:pt x="3529" y="1361"/>
                </a:cubicBezTo>
                <a:cubicBezTo>
                  <a:pt x="3529" y="1361"/>
                  <a:pt x="3528" y="1361"/>
                  <a:pt x="3528" y="1361"/>
                </a:cubicBezTo>
                <a:cubicBezTo>
                  <a:pt x="3527" y="1360"/>
                  <a:pt x="3526" y="1360"/>
                  <a:pt x="3526" y="1360"/>
                </a:cubicBezTo>
                <a:cubicBezTo>
                  <a:pt x="3525" y="1360"/>
                  <a:pt x="3525" y="1359"/>
                  <a:pt x="3525" y="1359"/>
                </a:cubicBezTo>
                <a:cubicBezTo>
                  <a:pt x="3524" y="1359"/>
                  <a:pt x="3524" y="1360"/>
                  <a:pt x="3524" y="1360"/>
                </a:cubicBezTo>
                <a:cubicBezTo>
                  <a:pt x="3524" y="1361"/>
                  <a:pt x="3524" y="1362"/>
                  <a:pt x="3524" y="1363"/>
                </a:cubicBezTo>
                <a:cubicBezTo>
                  <a:pt x="3524" y="1363"/>
                  <a:pt x="3524" y="1363"/>
                  <a:pt x="3524" y="1364"/>
                </a:cubicBezTo>
                <a:cubicBezTo>
                  <a:pt x="3524" y="1364"/>
                  <a:pt x="3524" y="1365"/>
                  <a:pt x="3525" y="1365"/>
                </a:cubicBezTo>
                <a:cubicBezTo>
                  <a:pt x="3525" y="1365"/>
                  <a:pt x="3525" y="1366"/>
                  <a:pt x="3526" y="1366"/>
                </a:cubicBezTo>
                <a:cubicBezTo>
                  <a:pt x="3526" y="1366"/>
                  <a:pt x="3526" y="1367"/>
                  <a:pt x="3526" y="1367"/>
                </a:cubicBezTo>
                <a:cubicBezTo>
                  <a:pt x="3526" y="1368"/>
                  <a:pt x="3527" y="1368"/>
                  <a:pt x="3527" y="1368"/>
                </a:cubicBezTo>
                <a:cubicBezTo>
                  <a:pt x="3527" y="1369"/>
                  <a:pt x="3527" y="1369"/>
                  <a:pt x="3528" y="1369"/>
                </a:cubicBezTo>
                <a:cubicBezTo>
                  <a:pt x="3528" y="1370"/>
                  <a:pt x="3528" y="1370"/>
                  <a:pt x="3529" y="1370"/>
                </a:cubicBezTo>
                <a:cubicBezTo>
                  <a:pt x="3529" y="1371"/>
                  <a:pt x="3529" y="1372"/>
                  <a:pt x="3530" y="1372"/>
                </a:cubicBezTo>
                <a:cubicBezTo>
                  <a:pt x="3530" y="1373"/>
                  <a:pt x="3531" y="1374"/>
                  <a:pt x="3531" y="1374"/>
                </a:cubicBezTo>
                <a:cubicBezTo>
                  <a:pt x="3532" y="1374"/>
                  <a:pt x="3532" y="1374"/>
                  <a:pt x="3533" y="1374"/>
                </a:cubicBezTo>
                <a:cubicBezTo>
                  <a:pt x="3533" y="1374"/>
                  <a:pt x="3533" y="1375"/>
                  <a:pt x="3534" y="1375"/>
                </a:cubicBezTo>
                <a:cubicBezTo>
                  <a:pt x="3534" y="1375"/>
                  <a:pt x="3535" y="1376"/>
                  <a:pt x="3536" y="1375"/>
                </a:cubicBezTo>
                <a:cubicBezTo>
                  <a:pt x="3536" y="1374"/>
                  <a:pt x="3536" y="1374"/>
                  <a:pt x="3537" y="1374"/>
                </a:cubicBezTo>
                <a:cubicBezTo>
                  <a:pt x="3537" y="1374"/>
                  <a:pt x="3538" y="1374"/>
                  <a:pt x="3538" y="1374"/>
                </a:cubicBezTo>
                <a:cubicBezTo>
                  <a:pt x="3538" y="1373"/>
                  <a:pt x="3538" y="1372"/>
                  <a:pt x="3538" y="1372"/>
                </a:cubicBezTo>
                <a:cubicBezTo>
                  <a:pt x="3537" y="1371"/>
                  <a:pt x="3537" y="1371"/>
                  <a:pt x="3537" y="1370"/>
                </a:cubicBezTo>
                <a:close/>
                <a:moveTo>
                  <a:pt x="3635" y="535"/>
                </a:moveTo>
                <a:cubicBezTo>
                  <a:pt x="3636" y="535"/>
                  <a:pt x="3637" y="535"/>
                  <a:pt x="3638" y="534"/>
                </a:cubicBezTo>
                <a:cubicBezTo>
                  <a:pt x="3638" y="533"/>
                  <a:pt x="3638" y="532"/>
                  <a:pt x="3638" y="531"/>
                </a:cubicBezTo>
                <a:cubicBezTo>
                  <a:pt x="3638" y="531"/>
                  <a:pt x="3637" y="530"/>
                  <a:pt x="3637" y="529"/>
                </a:cubicBezTo>
                <a:cubicBezTo>
                  <a:pt x="3637" y="529"/>
                  <a:pt x="3637" y="529"/>
                  <a:pt x="3637" y="528"/>
                </a:cubicBezTo>
                <a:cubicBezTo>
                  <a:pt x="3637" y="528"/>
                  <a:pt x="3636" y="528"/>
                  <a:pt x="3636" y="528"/>
                </a:cubicBezTo>
                <a:cubicBezTo>
                  <a:pt x="3635" y="528"/>
                  <a:pt x="3635" y="528"/>
                  <a:pt x="3635" y="529"/>
                </a:cubicBezTo>
                <a:cubicBezTo>
                  <a:pt x="3634" y="529"/>
                  <a:pt x="3634" y="529"/>
                  <a:pt x="3634" y="529"/>
                </a:cubicBezTo>
                <a:cubicBezTo>
                  <a:pt x="3633" y="529"/>
                  <a:pt x="3632" y="530"/>
                  <a:pt x="3632" y="530"/>
                </a:cubicBezTo>
                <a:cubicBezTo>
                  <a:pt x="3631" y="531"/>
                  <a:pt x="3630" y="531"/>
                  <a:pt x="3630" y="531"/>
                </a:cubicBezTo>
                <a:cubicBezTo>
                  <a:pt x="3629" y="531"/>
                  <a:pt x="3629" y="531"/>
                  <a:pt x="3629" y="531"/>
                </a:cubicBezTo>
                <a:cubicBezTo>
                  <a:pt x="3628" y="531"/>
                  <a:pt x="3628" y="531"/>
                  <a:pt x="3627" y="531"/>
                </a:cubicBezTo>
                <a:cubicBezTo>
                  <a:pt x="3627" y="531"/>
                  <a:pt x="3626" y="532"/>
                  <a:pt x="3627" y="532"/>
                </a:cubicBezTo>
                <a:cubicBezTo>
                  <a:pt x="3628" y="532"/>
                  <a:pt x="3628" y="532"/>
                  <a:pt x="3628" y="533"/>
                </a:cubicBezTo>
                <a:cubicBezTo>
                  <a:pt x="3627" y="534"/>
                  <a:pt x="3627" y="534"/>
                  <a:pt x="3626" y="535"/>
                </a:cubicBezTo>
                <a:cubicBezTo>
                  <a:pt x="3626" y="537"/>
                  <a:pt x="3625" y="538"/>
                  <a:pt x="3624" y="539"/>
                </a:cubicBezTo>
                <a:cubicBezTo>
                  <a:pt x="3623" y="539"/>
                  <a:pt x="3623" y="539"/>
                  <a:pt x="3623" y="539"/>
                </a:cubicBezTo>
                <a:cubicBezTo>
                  <a:pt x="3623" y="540"/>
                  <a:pt x="3623" y="540"/>
                  <a:pt x="3623" y="540"/>
                </a:cubicBezTo>
                <a:cubicBezTo>
                  <a:pt x="3624" y="540"/>
                  <a:pt x="3623" y="541"/>
                  <a:pt x="3624" y="541"/>
                </a:cubicBezTo>
                <a:cubicBezTo>
                  <a:pt x="3624" y="541"/>
                  <a:pt x="3624" y="540"/>
                  <a:pt x="3625" y="540"/>
                </a:cubicBezTo>
                <a:cubicBezTo>
                  <a:pt x="3625" y="540"/>
                  <a:pt x="3625" y="540"/>
                  <a:pt x="3626" y="540"/>
                </a:cubicBezTo>
                <a:cubicBezTo>
                  <a:pt x="3626" y="540"/>
                  <a:pt x="3626" y="539"/>
                  <a:pt x="3627" y="539"/>
                </a:cubicBezTo>
                <a:cubicBezTo>
                  <a:pt x="3627" y="539"/>
                  <a:pt x="3628" y="539"/>
                  <a:pt x="3628" y="538"/>
                </a:cubicBezTo>
                <a:cubicBezTo>
                  <a:pt x="3629" y="538"/>
                  <a:pt x="3630" y="538"/>
                  <a:pt x="3631" y="537"/>
                </a:cubicBezTo>
                <a:cubicBezTo>
                  <a:pt x="3632" y="537"/>
                  <a:pt x="3633" y="535"/>
                  <a:pt x="3635" y="535"/>
                </a:cubicBezTo>
                <a:close/>
                <a:moveTo>
                  <a:pt x="3656" y="592"/>
                </a:moveTo>
                <a:cubicBezTo>
                  <a:pt x="3655" y="592"/>
                  <a:pt x="3655" y="592"/>
                  <a:pt x="3655" y="592"/>
                </a:cubicBezTo>
                <a:cubicBezTo>
                  <a:pt x="3654" y="592"/>
                  <a:pt x="3653" y="592"/>
                  <a:pt x="3652" y="592"/>
                </a:cubicBezTo>
                <a:cubicBezTo>
                  <a:pt x="3651" y="592"/>
                  <a:pt x="3651" y="592"/>
                  <a:pt x="3651" y="592"/>
                </a:cubicBezTo>
                <a:cubicBezTo>
                  <a:pt x="3651" y="592"/>
                  <a:pt x="3650" y="592"/>
                  <a:pt x="3650" y="593"/>
                </a:cubicBezTo>
                <a:cubicBezTo>
                  <a:pt x="3650" y="593"/>
                  <a:pt x="3651" y="593"/>
                  <a:pt x="3651" y="593"/>
                </a:cubicBezTo>
                <a:cubicBezTo>
                  <a:pt x="3652" y="593"/>
                  <a:pt x="3652" y="594"/>
                  <a:pt x="3652" y="594"/>
                </a:cubicBezTo>
                <a:cubicBezTo>
                  <a:pt x="3652" y="594"/>
                  <a:pt x="3652" y="594"/>
                  <a:pt x="3653" y="594"/>
                </a:cubicBezTo>
                <a:cubicBezTo>
                  <a:pt x="3653" y="595"/>
                  <a:pt x="3653" y="595"/>
                  <a:pt x="3653" y="595"/>
                </a:cubicBezTo>
                <a:cubicBezTo>
                  <a:pt x="3653" y="595"/>
                  <a:pt x="3653" y="595"/>
                  <a:pt x="3653" y="595"/>
                </a:cubicBezTo>
                <a:cubicBezTo>
                  <a:pt x="3654" y="596"/>
                  <a:pt x="3654" y="596"/>
                  <a:pt x="3654" y="596"/>
                </a:cubicBezTo>
                <a:cubicBezTo>
                  <a:pt x="3654" y="596"/>
                  <a:pt x="3654" y="597"/>
                  <a:pt x="3654" y="597"/>
                </a:cubicBezTo>
                <a:cubicBezTo>
                  <a:pt x="3654" y="597"/>
                  <a:pt x="3655" y="597"/>
                  <a:pt x="3655" y="597"/>
                </a:cubicBezTo>
                <a:cubicBezTo>
                  <a:pt x="3655" y="598"/>
                  <a:pt x="3656" y="598"/>
                  <a:pt x="3656" y="599"/>
                </a:cubicBezTo>
                <a:cubicBezTo>
                  <a:pt x="3656" y="599"/>
                  <a:pt x="3656" y="599"/>
                  <a:pt x="3657" y="600"/>
                </a:cubicBezTo>
                <a:cubicBezTo>
                  <a:pt x="3657" y="600"/>
                  <a:pt x="3657" y="600"/>
                  <a:pt x="3657" y="600"/>
                </a:cubicBezTo>
                <a:cubicBezTo>
                  <a:pt x="3657" y="601"/>
                  <a:pt x="3658" y="600"/>
                  <a:pt x="3658" y="601"/>
                </a:cubicBezTo>
                <a:cubicBezTo>
                  <a:pt x="3658" y="601"/>
                  <a:pt x="3659" y="601"/>
                  <a:pt x="3659" y="601"/>
                </a:cubicBezTo>
                <a:cubicBezTo>
                  <a:pt x="3659" y="601"/>
                  <a:pt x="3659" y="602"/>
                  <a:pt x="3659" y="602"/>
                </a:cubicBezTo>
                <a:cubicBezTo>
                  <a:pt x="3659" y="602"/>
                  <a:pt x="3660" y="602"/>
                  <a:pt x="3660" y="602"/>
                </a:cubicBezTo>
                <a:cubicBezTo>
                  <a:pt x="3660" y="602"/>
                  <a:pt x="3660" y="602"/>
                  <a:pt x="3660" y="601"/>
                </a:cubicBezTo>
                <a:cubicBezTo>
                  <a:pt x="3660" y="601"/>
                  <a:pt x="3660" y="600"/>
                  <a:pt x="3660" y="600"/>
                </a:cubicBezTo>
                <a:cubicBezTo>
                  <a:pt x="3660" y="600"/>
                  <a:pt x="3660" y="599"/>
                  <a:pt x="3659" y="599"/>
                </a:cubicBezTo>
                <a:cubicBezTo>
                  <a:pt x="3659" y="599"/>
                  <a:pt x="3659" y="599"/>
                  <a:pt x="3659" y="599"/>
                </a:cubicBezTo>
                <a:cubicBezTo>
                  <a:pt x="3658" y="598"/>
                  <a:pt x="3658" y="598"/>
                  <a:pt x="3658" y="597"/>
                </a:cubicBezTo>
                <a:cubicBezTo>
                  <a:pt x="3657" y="597"/>
                  <a:pt x="3657" y="596"/>
                  <a:pt x="3657" y="596"/>
                </a:cubicBezTo>
                <a:cubicBezTo>
                  <a:pt x="3656" y="596"/>
                  <a:pt x="3656" y="595"/>
                  <a:pt x="3656" y="595"/>
                </a:cubicBezTo>
                <a:cubicBezTo>
                  <a:pt x="3656" y="595"/>
                  <a:pt x="3656" y="595"/>
                  <a:pt x="3656" y="595"/>
                </a:cubicBezTo>
                <a:cubicBezTo>
                  <a:pt x="3655" y="594"/>
                  <a:pt x="3655" y="594"/>
                  <a:pt x="3656" y="593"/>
                </a:cubicBezTo>
                <a:cubicBezTo>
                  <a:pt x="3656" y="593"/>
                  <a:pt x="3656" y="592"/>
                  <a:pt x="3656" y="592"/>
                </a:cubicBezTo>
                <a:close/>
                <a:moveTo>
                  <a:pt x="3493" y="719"/>
                </a:moveTo>
                <a:cubicBezTo>
                  <a:pt x="3494" y="718"/>
                  <a:pt x="3494" y="718"/>
                  <a:pt x="3495" y="717"/>
                </a:cubicBezTo>
                <a:cubicBezTo>
                  <a:pt x="3495" y="717"/>
                  <a:pt x="3496" y="717"/>
                  <a:pt x="3496" y="716"/>
                </a:cubicBezTo>
                <a:cubicBezTo>
                  <a:pt x="3495" y="716"/>
                  <a:pt x="3494" y="717"/>
                  <a:pt x="3494" y="717"/>
                </a:cubicBezTo>
                <a:cubicBezTo>
                  <a:pt x="3493" y="718"/>
                  <a:pt x="3493" y="718"/>
                  <a:pt x="3492" y="719"/>
                </a:cubicBezTo>
                <a:cubicBezTo>
                  <a:pt x="3491" y="719"/>
                  <a:pt x="3490" y="720"/>
                  <a:pt x="3490" y="721"/>
                </a:cubicBezTo>
                <a:cubicBezTo>
                  <a:pt x="3492" y="721"/>
                  <a:pt x="3492" y="719"/>
                  <a:pt x="3493" y="719"/>
                </a:cubicBezTo>
                <a:close/>
                <a:moveTo>
                  <a:pt x="3600" y="1407"/>
                </a:moveTo>
                <a:cubicBezTo>
                  <a:pt x="3601" y="1406"/>
                  <a:pt x="3600" y="1406"/>
                  <a:pt x="3600" y="1405"/>
                </a:cubicBezTo>
                <a:cubicBezTo>
                  <a:pt x="3601" y="1405"/>
                  <a:pt x="3601" y="1407"/>
                  <a:pt x="3601" y="1407"/>
                </a:cubicBezTo>
                <a:cubicBezTo>
                  <a:pt x="3601" y="1408"/>
                  <a:pt x="3602" y="1408"/>
                  <a:pt x="3602" y="1408"/>
                </a:cubicBezTo>
                <a:cubicBezTo>
                  <a:pt x="3602" y="1409"/>
                  <a:pt x="3602" y="1409"/>
                  <a:pt x="3602" y="1409"/>
                </a:cubicBezTo>
                <a:cubicBezTo>
                  <a:pt x="3603" y="1408"/>
                  <a:pt x="3602" y="1407"/>
                  <a:pt x="3602" y="1407"/>
                </a:cubicBezTo>
                <a:cubicBezTo>
                  <a:pt x="3601" y="1406"/>
                  <a:pt x="3601" y="1405"/>
                  <a:pt x="3601" y="1404"/>
                </a:cubicBezTo>
                <a:cubicBezTo>
                  <a:pt x="3601" y="1404"/>
                  <a:pt x="3600" y="1404"/>
                  <a:pt x="3600" y="1404"/>
                </a:cubicBezTo>
                <a:cubicBezTo>
                  <a:pt x="3600" y="1404"/>
                  <a:pt x="3600" y="1405"/>
                  <a:pt x="3599" y="1405"/>
                </a:cubicBezTo>
                <a:cubicBezTo>
                  <a:pt x="3599" y="1405"/>
                  <a:pt x="3599" y="1403"/>
                  <a:pt x="3599" y="1402"/>
                </a:cubicBezTo>
                <a:cubicBezTo>
                  <a:pt x="3599" y="1402"/>
                  <a:pt x="3598" y="1401"/>
                  <a:pt x="3598" y="1400"/>
                </a:cubicBezTo>
                <a:cubicBezTo>
                  <a:pt x="3597" y="1399"/>
                  <a:pt x="3597" y="1399"/>
                  <a:pt x="3596" y="1399"/>
                </a:cubicBezTo>
                <a:cubicBezTo>
                  <a:pt x="3596" y="1398"/>
                  <a:pt x="3596" y="1397"/>
                  <a:pt x="3596" y="1396"/>
                </a:cubicBezTo>
                <a:cubicBezTo>
                  <a:pt x="3596" y="1396"/>
                  <a:pt x="3596" y="1396"/>
                  <a:pt x="3595" y="1395"/>
                </a:cubicBezTo>
                <a:cubicBezTo>
                  <a:pt x="3595" y="1395"/>
                  <a:pt x="3595" y="1395"/>
                  <a:pt x="3595" y="1394"/>
                </a:cubicBezTo>
                <a:cubicBezTo>
                  <a:pt x="3594" y="1394"/>
                  <a:pt x="3594" y="1393"/>
                  <a:pt x="3593" y="1392"/>
                </a:cubicBezTo>
                <a:cubicBezTo>
                  <a:pt x="3593" y="1391"/>
                  <a:pt x="3592" y="1392"/>
                  <a:pt x="3591" y="1392"/>
                </a:cubicBezTo>
                <a:cubicBezTo>
                  <a:pt x="3591" y="1392"/>
                  <a:pt x="3590" y="1392"/>
                  <a:pt x="3591" y="1393"/>
                </a:cubicBezTo>
                <a:cubicBezTo>
                  <a:pt x="3591" y="1393"/>
                  <a:pt x="3591" y="1394"/>
                  <a:pt x="3592" y="1394"/>
                </a:cubicBezTo>
                <a:cubicBezTo>
                  <a:pt x="3592" y="1394"/>
                  <a:pt x="3592" y="1394"/>
                  <a:pt x="3592" y="1395"/>
                </a:cubicBezTo>
                <a:cubicBezTo>
                  <a:pt x="3593" y="1396"/>
                  <a:pt x="3592" y="1397"/>
                  <a:pt x="3592" y="1398"/>
                </a:cubicBezTo>
                <a:cubicBezTo>
                  <a:pt x="3592" y="1400"/>
                  <a:pt x="3595" y="1402"/>
                  <a:pt x="3596" y="1403"/>
                </a:cubicBezTo>
                <a:cubicBezTo>
                  <a:pt x="3596" y="1404"/>
                  <a:pt x="3597" y="1405"/>
                  <a:pt x="3598" y="1405"/>
                </a:cubicBezTo>
                <a:cubicBezTo>
                  <a:pt x="3598" y="1406"/>
                  <a:pt x="3599" y="1406"/>
                  <a:pt x="3599" y="1406"/>
                </a:cubicBezTo>
                <a:cubicBezTo>
                  <a:pt x="3599" y="1407"/>
                  <a:pt x="3600" y="1408"/>
                  <a:pt x="3600" y="1407"/>
                </a:cubicBezTo>
                <a:close/>
                <a:moveTo>
                  <a:pt x="3610" y="1418"/>
                </a:moveTo>
                <a:cubicBezTo>
                  <a:pt x="3609" y="1418"/>
                  <a:pt x="3609" y="1417"/>
                  <a:pt x="3609" y="1417"/>
                </a:cubicBezTo>
                <a:cubicBezTo>
                  <a:pt x="3608" y="1417"/>
                  <a:pt x="3608" y="1417"/>
                  <a:pt x="3608" y="1417"/>
                </a:cubicBezTo>
                <a:cubicBezTo>
                  <a:pt x="3606" y="1417"/>
                  <a:pt x="3606" y="1416"/>
                  <a:pt x="3605" y="1416"/>
                </a:cubicBezTo>
                <a:cubicBezTo>
                  <a:pt x="3604" y="1415"/>
                  <a:pt x="3603" y="1415"/>
                  <a:pt x="3602" y="1414"/>
                </a:cubicBezTo>
                <a:cubicBezTo>
                  <a:pt x="3601" y="1413"/>
                  <a:pt x="3600" y="1413"/>
                  <a:pt x="3599" y="1414"/>
                </a:cubicBezTo>
                <a:cubicBezTo>
                  <a:pt x="3598" y="1415"/>
                  <a:pt x="3600" y="1415"/>
                  <a:pt x="3600" y="1415"/>
                </a:cubicBezTo>
                <a:cubicBezTo>
                  <a:pt x="3602" y="1415"/>
                  <a:pt x="3601" y="1416"/>
                  <a:pt x="3601" y="1417"/>
                </a:cubicBezTo>
                <a:cubicBezTo>
                  <a:pt x="3602" y="1418"/>
                  <a:pt x="3603" y="1418"/>
                  <a:pt x="3603" y="1419"/>
                </a:cubicBezTo>
                <a:cubicBezTo>
                  <a:pt x="3604" y="1419"/>
                  <a:pt x="3604" y="1419"/>
                  <a:pt x="3604" y="1420"/>
                </a:cubicBezTo>
                <a:cubicBezTo>
                  <a:pt x="3605" y="1420"/>
                  <a:pt x="3605" y="1420"/>
                  <a:pt x="3605" y="1420"/>
                </a:cubicBezTo>
                <a:cubicBezTo>
                  <a:pt x="3606" y="1420"/>
                  <a:pt x="3607" y="1421"/>
                  <a:pt x="3608" y="1421"/>
                </a:cubicBezTo>
                <a:cubicBezTo>
                  <a:pt x="3608" y="1421"/>
                  <a:pt x="3609" y="1421"/>
                  <a:pt x="3609" y="1421"/>
                </a:cubicBezTo>
                <a:cubicBezTo>
                  <a:pt x="3610" y="1421"/>
                  <a:pt x="3610" y="1421"/>
                  <a:pt x="3611" y="1421"/>
                </a:cubicBezTo>
                <a:cubicBezTo>
                  <a:pt x="3611" y="1421"/>
                  <a:pt x="3612" y="1421"/>
                  <a:pt x="3612" y="1421"/>
                </a:cubicBezTo>
                <a:cubicBezTo>
                  <a:pt x="3612" y="1420"/>
                  <a:pt x="3611" y="1420"/>
                  <a:pt x="3611" y="1420"/>
                </a:cubicBezTo>
                <a:cubicBezTo>
                  <a:pt x="3611" y="1419"/>
                  <a:pt x="3610" y="1419"/>
                  <a:pt x="3610" y="1418"/>
                </a:cubicBezTo>
                <a:close/>
                <a:moveTo>
                  <a:pt x="3677" y="1875"/>
                </a:moveTo>
                <a:cubicBezTo>
                  <a:pt x="3677" y="1875"/>
                  <a:pt x="3677" y="1876"/>
                  <a:pt x="3677" y="1875"/>
                </a:cubicBezTo>
                <a:cubicBezTo>
                  <a:pt x="3676" y="1875"/>
                  <a:pt x="3676" y="1875"/>
                  <a:pt x="3676" y="1875"/>
                </a:cubicBezTo>
                <a:cubicBezTo>
                  <a:pt x="3676" y="1874"/>
                  <a:pt x="3676" y="1874"/>
                  <a:pt x="3677" y="1874"/>
                </a:cubicBezTo>
                <a:cubicBezTo>
                  <a:pt x="3678" y="1874"/>
                  <a:pt x="3676" y="1873"/>
                  <a:pt x="3676" y="1872"/>
                </a:cubicBezTo>
                <a:cubicBezTo>
                  <a:pt x="3675" y="1872"/>
                  <a:pt x="3675" y="1872"/>
                  <a:pt x="3674" y="1872"/>
                </a:cubicBezTo>
                <a:cubicBezTo>
                  <a:pt x="3673" y="1871"/>
                  <a:pt x="3672" y="1872"/>
                  <a:pt x="3672" y="1873"/>
                </a:cubicBezTo>
                <a:cubicBezTo>
                  <a:pt x="3673" y="1874"/>
                  <a:pt x="3673" y="1874"/>
                  <a:pt x="3673" y="1875"/>
                </a:cubicBezTo>
                <a:cubicBezTo>
                  <a:pt x="3673" y="1876"/>
                  <a:pt x="3672" y="1876"/>
                  <a:pt x="3672" y="1876"/>
                </a:cubicBezTo>
                <a:cubicBezTo>
                  <a:pt x="3672" y="1877"/>
                  <a:pt x="3671" y="1877"/>
                  <a:pt x="3671" y="1878"/>
                </a:cubicBezTo>
                <a:cubicBezTo>
                  <a:pt x="3671" y="1878"/>
                  <a:pt x="3671" y="1879"/>
                  <a:pt x="3670" y="1879"/>
                </a:cubicBezTo>
                <a:cubicBezTo>
                  <a:pt x="3670" y="1879"/>
                  <a:pt x="3670" y="1880"/>
                  <a:pt x="3670" y="1880"/>
                </a:cubicBezTo>
                <a:cubicBezTo>
                  <a:pt x="3670" y="1881"/>
                  <a:pt x="3671" y="1880"/>
                  <a:pt x="3671" y="1880"/>
                </a:cubicBezTo>
                <a:cubicBezTo>
                  <a:pt x="3671" y="1879"/>
                  <a:pt x="3671" y="1879"/>
                  <a:pt x="3671" y="1879"/>
                </a:cubicBezTo>
                <a:cubicBezTo>
                  <a:pt x="3672" y="1878"/>
                  <a:pt x="3672" y="1879"/>
                  <a:pt x="3672" y="1879"/>
                </a:cubicBezTo>
                <a:cubicBezTo>
                  <a:pt x="3673" y="1879"/>
                  <a:pt x="3674" y="1879"/>
                  <a:pt x="3675" y="1878"/>
                </a:cubicBezTo>
                <a:cubicBezTo>
                  <a:pt x="3676" y="1878"/>
                  <a:pt x="3677" y="1878"/>
                  <a:pt x="3677" y="1878"/>
                </a:cubicBezTo>
                <a:cubicBezTo>
                  <a:pt x="3678" y="1877"/>
                  <a:pt x="3678" y="1877"/>
                  <a:pt x="3678" y="1877"/>
                </a:cubicBezTo>
                <a:cubicBezTo>
                  <a:pt x="3678" y="1876"/>
                  <a:pt x="3678" y="1876"/>
                  <a:pt x="3678" y="1875"/>
                </a:cubicBezTo>
                <a:cubicBezTo>
                  <a:pt x="3678" y="1875"/>
                  <a:pt x="3678" y="1875"/>
                  <a:pt x="3677" y="1875"/>
                </a:cubicBezTo>
                <a:close/>
                <a:moveTo>
                  <a:pt x="3428" y="1360"/>
                </a:moveTo>
                <a:cubicBezTo>
                  <a:pt x="3427" y="1360"/>
                  <a:pt x="3426" y="1360"/>
                  <a:pt x="3426" y="1360"/>
                </a:cubicBezTo>
                <a:cubicBezTo>
                  <a:pt x="3425" y="1360"/>
                  <a:pt x="3425" y="1360"/>
                  <a:pt x="3424" y="1360"/>
                </a:cubicBezTo>
                <a:cubicBezTo>
                  <a:pt x="3424" y="1360"/>
                  <a:pt x="3423" y="1360"/>
                  <a:pt x="3423" y="1360"/>
                </a:cubicBezTo>
                <a:cubicBezTo>
                  <a:pt x="3422" y="1360"/>
                  <a:pt x="3422" y="1359"/>
                  <a:pt x="3422" y="1359"/>
                </a:cubicBezTo>
                <a:cubicBezTo>
                  <a:pt x="3422" y="1358"/>
                  <a:pt x="3422" y="1358"/>
                  <a:pt x="3422" y="1357"/>
                </a:cubicBezTo>
                <a:cubicBezTo>
                  <a:pt x="3422" y="1357"/>
                  <a:pt x="3422" y="1356"/>
                  <a:pt x="3422" y="1356"/>
                </a:cubicBezTo>
                <a:cubicBezTo>
                  <a:pt x="3422" y="1355"/>
                  <a:pt x="3423" y="1354"/>
                  <a:pt x="3422" y="1353"/>
                </a:cubicBezTo>
                <a:cubicBezTo>
                  <a:pt x="3422" y="1353"/>
                  <a:pt x="3422" y="1353"/>
                  <a:pt x="3421" y="1353"/>
                </a:cubicBezTo>
                <a:cubicBezTo>
                  <a:pt x="3421" y="1352"/>
                  <a:pt x="3421" y="1352"/>
                  <a:pt x="3421" y="1351"/>
                </a:cubicBezTo>
                <a:cubicBezTo>
                  <a:pt x="3420" y="1351"/>
                  <a:pt x="3420" y="1350"/>
                  <a:pt x="3419" y="1349"/>
                </a:cubicBezTo>
                <a:cubicBezTo>
                  <a:pt x="3419" y="1349"/>
                  <a:pt x="3419" y="1349"/>
                  <a:pt x="3418" y="1348"/>
                </a:cubicBezTo>
                <a:cubicBezTo>
                  <a:pt x="3418" y="1348"/>
                  <a:pt x="3418" y="1348"/>
                  <a:pt x="3418" y="1347"/>
                </a:cubicBezTo>
                <a:cubicBezTo>
                  <a:pt x="3417" y="1347"/>
                  <a:pt x="3416" y="1347"/>
                  <a:pt x="3415" y="1346"/>
                </a:cubicBezTo>
                <a:cubicBezTo>
                  <a:pt x="3413" y="1345"/>
                  <a:pt x="3412" y="1345"/>
                  <a:pt x="3410" y="1344"/>
                </a:cubicBezTo>
                <a:cubicBezTo>
                  <a:pt x="3409" y="1343"/>
                  <a:pt x="3408" y="1342"/>
                  <a:pt x="3408" y="1341"/>
                </a:cubicBezTo>
                <a:cubicBezTo>
                  <a:pt x="3407" y="1341"/>
                  <a:pt x="3407" y="1341"/>
                  <a:pt x="3407" y="1340"/>
                </a:cubicBezTo>
                <a:cubicBezTo>
                  <a:pt x="3406" y="1340"/>
                  <a:pt x="3406" y="1340"/>
                  <a:pt x="3406" y="1340"/>
                </a:cubicBezTo>
                <a:cubicBezTo>
                  <a:pt x="3405" y="1340"/>
                  <a:pt x="3403" y="1340"/>
                  <a:pt x="3402" y="1339"/>
                </a:cubicBezTo>
                <a:cubicBezTo>
                  <a:pt x="3401" y="1339"/>
                  <a:pt x="3400" y="1338"/>
                  <a:pt x="3399" y="1337"/>
                </a:cubicBezTo>
                <a:cubicBezTo>
                  <a:pt x="3398" y="1337"/>
                  <a:pt x="3397" y="1337"/>
                  <a:pt x="3395" y="1337"/>
                </a:cubicBezTo>
                <a:cubicBezTo>
                  <a:pt x="3394" y="1336"/>
                  <a:pt x="3393" y="1336"/>
                  <a:pt x="3392" y="1335"/>
                </a:cubicBezTo>
                <a:cubicBezTo>
                  <a:pt x="3389" y="1334"/>
                  <a:pt x="3387" y="1334"/>
                  <a:pt x="3384" y="1333"/>
                </a:cubicBezTo>
                <a:cubicBezTo>
                  <a:pt x="3382" y="1331"/>
                  <a:pt x="3379" y="1331"/>
                  <a:pt x="3377" y="1330"/>
                </a:cubicBezTo>
                <a:cubicBezTo>
                  <a:pt x="3376" y="1329"/>
                  <a:pt x="3374" y="1329"/>
                  <a:pt x="3372" y="1328"/>
                </a:cubicBezTo>
                <a:cubicBezTo>
                  <a:pt x="3371" y="1328"/>
                  <a:pt x="3369" y="1327"/>
                  <a:pt x="3367" y="1327"/>
                </a:cubicBezTo>
                <a:cubicBezTo>
                  <a:pt x="3366" y="1327"/>
                  <a:pt x="3365" y="1327"/>
                  <a:pt x="3365" y="1326"/>
                </a:cubicBezTo>
                <a:cubicBezTo>
                  <a:pt x="3364" y="1326"/>
                  <a:pt x="3364" y="1325"/>
                  <a:pt x="3364" y="1325"/>
                </a:cubicBezTo>
                <a:cubicBezTo>
                  <a:pt x="3363" y="1324"/>
                  <a:pt x="3362" y="1325"/>
                  <a:pt x="3361" y="1324"/>
                </a:cubicBezTo>
                <a:cubicBezTo>
                  <a:pt x="3360" y="1324"/>
                  <a:pt x="3359" y="1324"/>
                  <a:pt x="3358" y="1324"/>
                </a:cubicBezTo>
                <a:cubicBezTo>
                  <a:pt x="3356" y="1324"/>
                  <a:pt x="3354" y="1324"/>
                  <a:pt x="3352" y="1323"/>
                </a:cubicBezTo>
                <a:cubicBezTo>
                  <a:pt x="3351" y="1323"/>
                  <a:pt x="3350" y="1322"/>
                  <a:pt x="3349" y="1322"/>
                </a:cubicBezTo>
                <a:cubicBezTo>
                  <a:pt x="3349" y="1321"/>
                  <a:pt x="3348" y="1321"/>
                  <a:pt x="3347" y="1320"/>
                </a:cubicBezTo>
                <a:cubicBezTo>
                  <a:pt x="3346" y="1320"/>
                  <a:pt x="3345" y="1320"/>
                  <a:pt x="3344" y="1320"/>
                </a:cubicBezTo>
                <a:cubicBezTo>
                  <a:pt x="3343" y="1319"/>
                  <a:pt x="3342" y="1318"/>
                  <a:pt x="3341" y="1318"/>
                </a:cubicBezTo>
                <a:cubicBezTo>
                  <a:pt x="3341" y="1318"/>
                  <a:pt x="3340" y="1317"/>
                  <a:pt x="3340" y="1317"/>
                </a:cubicBezTo>
                <a:cubicBezTo>
                  <a:pt x="3339" y="1317"/>
                  <a:pt x="3339" y="1317"/>
                  <a:pt x="3338" y="1316"/>
                </a:cubicBezTo>
                <a:cubicBezTo>
                  <a:pt x="3337" y="1315"/>
                  <a:pt x="3335" y="1315"/>
                  <a:pt x="3334" y="1314"/>
                </a:cubicBezTo>
                <a:cubicBezTo>
                  <a:pt x="3333" y="1314"/>
                  <a:pt x="3332" y="1313"/>
                  <a:pt x="3331" y="1314"/>
                </a:cubicBezTo>
                <a:cubicBezTo>
                  <a:pt x="3331" y="1314"/>
                  <a:pt x="3331" y="1314"/>
                  <a:pt x="3330" y="1315"/>
                </a:cubicBezTo>
                <a:cubicBezTo>
                  <a:pt x="3330" y="1315"/>
                  <a:pt x="3329" y="1315"/>
                  <a:pt x="3329" y="1315"/>
                </a:cubicBezTo>
                <a:cubicBezTo>
                  <a:pt x="3328" y="1315"/>
                  <a:pt x="3328" y="1315"/>
                  <a:pt x="3328" y="1316"/>
                </a:cubicBezTo>
                <a:cubicBezTo>
                  <a:pt x="3327" y="1316"/>
                  <a:pt x="3327" y="1316"/>
                  <a:pt x="3327" y="1316"/>
                </a:cubicBezTo>
                <a:cubicBezTo>
                  <a:pt x="3326" y="1317"/>
                  <a:pt x="3323" y="1317"/>
                  <a:pt x="3324" y="1318"/>
                </a:cubicBezTo>
                <a:cubicBezTo>
                  <a:pt x="3324" y="1319"/>
                  <a:pt x="3324" y="1319"/>
                  <a:pt x="3324" y="1319"/>
                </a:cubicBezTo>
                <a:cubicBezTo>
                  <a:pt x="3324" y="1320"/>
                  <a:pt x="3324" y="1320"/>
                  <a:pt x="3324" y="1321"/>
                </a:cubicBezTo>
                <a:cubicBezTo>
                  <a:pt x="3323" y="1321"/>
                  <a:pt x="3322" y="1321"/>
                  <a:pt x="3322" y="1321"/>
                </a:cubicBezTo>
                <a:cubicBezTo>
                  <a:pt x="3321" y="1322"/>
                  <a:pt x="3321" y="1322"/>
                  <a:pt x="3320" y="1322"/>
                </a:cubicBezTo>
                <a:cubicBezTo>
                  <a:pt x="3320" y="1322"/>
                  <a:pt x="3319" y="1323"/>
                  <a:pt x="3319" y="1323"/>
                </a:cubicBezTo>
                <a:cubicBezTo>
                  <a:pt x="3318" y="1323"/>
                  <a:pt x="3318" y="1323"/>
                  <a:pt x="3317" y="1323"/>
                </a:cubicBezTo>
                <a:cubicBezTo>
                  <a:pt x="3317" y="1322"/>
                  <a:pt x="3317" y="1322"/>
                  <a:pt x="3317" y="1322"/>
                </a:cubicBezTo>
                <a:cubicBezTo>
                  <a:pt x="3316" y="1322"/>
                  <a:pt x="3315" y="1323"/>
                  <a:pt x="3315" y="1323"/>
                </a:cubicBezTo>
                <a:cubicBezTo>
                  <a:pt x="3314" y="1324"/>
                  <a:pt x="3314" y="1324"/>
                  <a:pt x="3314" y="1324"/>
                </a:cubicBezTo>
                <a:cubicBezTo>
                  <a:pt x="3313" y="1324"/>
                  <a:pt x="3313" y="1325"/>
                  <a:pt x="3313" y="1325"/>
                </a:cubicBezTo>
                <a:cubicBezTo>
                  <a:pt x="3312" y="1326"/>
                  <a:pt x="3312" y="1327"/>
                  <a:pt x="3311" y="1328"/>
                </a:cubicBezTo>
                <a:cubicBezTo>
                  <a:pt x="3310" y="1328"/>
                  <a:pt x="3310" y="1329"/>
                  <a:pt x="3310" y="1330"/>
                </a:cubicBezTo>
                <a:cubicBezTo>
                  <a:pt x="3309" y="1331"/>
                  <a:pt x="3309" y="1331"/>
                  <a:pt x="3308" y="1332"/>
                </a:cubicBezTo>
                <a:cubicBezTo>
                  <a:pt x="3307" y="1332"/>
                  <a:pt x="3307" y="1333"/>
                  <a:pt x="3306" y="1333"/>
                </a:cubicBezTo>
                <a:cubicBezTo>
                  <a:pt x="3305" y="1334"/>
                  <a:pt x="3305" y="1335"/>
                  <a:pt x="3304" y="1335"/>
                </a:cubicBezTo>
                <a:cubicBezTo>
                  <a:pt x="3303" y="1336"/>
                  <a:pt x="3303" y="1336"/>
                  <a:pt x="3302" y="1336"/>
                </a:cubicBezTo>
                <a:cubicBezTo>
                  <a:pt x="3302" y="1335"/>
                  <a:pt x="3301" y="1335"/>
                  <a:pt x="3301" y="1335"/>
                </a:cubicBezTo>
                <a:cubicBezTo>
                  <a:pt x="3300" y="1335"/>
                  <a:pt x="3299" y="1335"/>
                  <a:pt x="3299" y="1334"/>
                </a:cubicBezTo>
                <a:cubicBezTo>
                  <a:pt x="3298" y="1333"/>
                  <a:pt x="3298" y="1333"/>
                  <a:pt x="3298" y="1332"/>
                </a:cubicBezTo>
                <a:cubicBezTo>
                  <a:pt x="3298" y="1332"/>
                  <a:pt x="3298" y="1329"/>
                  <a:pt x="3297" y="1330"/>
                </a:cubicBezTo>
                <a:cubicBezTo>
                  <a:pt x="3297" y="1331"/>
                  <a:pt x="3297" y="1331"/>
                  <a:pt x="3296" y="1331"/>
                </a:cubicBezTo>
                <a:cubicBezTo>
                  <a:pt x="3296" y="1331"/>
                  <a:pt x="3296" y="1330"/>
                  <a:pt x="3296" y="1330"/>
                </a:cubicBezTo>
                <a:cubicBezTo>
                  <a:pt x="3295" y="1329"/>
                  <a:pt x="3295" y="1328"/>
                  <a:pt x="3296" y="1327"/>
                </a:cubicBezTo>
                <a:cubicBezTo>
                  <a:pt x="3296" y="1326"/>
                  <a:pt x="3296" y="1326"/>
                  <a:pt x="3296" y="1326"/>
                </a:cubicBezTo>
                <a:cubicBezTo>
                  <a:pt x="3296" y="1325"/>
                  <a:pt x="3295" y="1325"/>
                  <a:pt x="3294" y="1325"/>
                </a:cubicBezTo>
                <a:cubicBezTo>
                  <a:pt x="3294" y="1325"/>
                  <a:pt x="3294" y="1325"/>
                  <a:pt x="3294" y="1326"/>
                </a:cubicBezTo>
                <a:cubicBezTo>
                  <a:pt x="3294" y="1326"/>
                  <a:pt x="3294" y="1326"/>
                  <a:pt x="3293" y="1326"/>
                </a:cubicBezTo>
                <a:cubicBezTo>
                  <a:pt x="3293" y="1326"/>
                  <a:pt x="3293" y="1327"/>
                  <a:pt x="3293" y="1327"/>
                </a:cubicBezTo>
                <a:cubicBezTo>
                  <a:pt x="3293" y="1328"/>
                  <a:pt x="3294" y="1329"/>
                  <a:pt x="3293" y="1329"/>
                </a:cubicBezTo>
                <a:cubicBezTo>
                  <a:pt x="3293" y="1329"/>
                  <a:pt x="3293" y="1328"/>
                  <a:pt x="3292" y="1327"/>
                </a:cubicBezTo>
                <a:cubicBezTo>
                  <a:pt x="3292" y="1327"/>
                  <a:pt x="3292" y="1326"/>
                  <a:pt x="3291" y="1325"/>
                </a:cubicBezTo>
                <a:cubicBezTo>
                  <a:pt x="3291" y="1324"/>
                  <a:pt x="3291" y="1323"/>
                  <a:pt x="3291" y="1323"/>
                </a:cubicBezTo>
                <a:cubicBezTo>
                  <a:pt x="3291" y="1322"/>
                  <a:pt x="3290" y="1322"/>
                  <a:pt x="3290" y="1322"/>
                </a:cubicBezTo>
                <a:cubicBezTo>
                  <a:pt x="3290" y="1321"/>
                  <a:pt x="3290" y="1321"/>
                  <a:pt x="3290" y="1321"/>
                </a:cubicBezTo>
                <a:cubicBezTo>
                  <a:pt x="3290" y="1320"/>
                  <a:pt x="3290" y="1319"/>
                  <a:pt x="3290" y="1318"/>
                </a:cubicBezTo>
                <a:cubicBezTo>
                  <a:pt x="3291" y="1318"/>
                  <a:pt x="3291" y="1318"/>
                  <a:pt x="3291" y="1317"/>
                </a:cubicBezTo>
                <a:cubicBezTo>
                  <a:pt x="3291" y="1317"/>
                  <a:pt x="3290" y="1317"/>
                  <a:pt x="3290" y="1317"/>
                </a:cubicBezTo>
                <a:cubicBezTo>
                  <a:pt x="3290" y="1317"/>
                  <a:pt x="3290" y="1318"/>
                  <a:pt x="3289" y="1318"/>
                </a:cubicBezTo>
                <a:cubicBezTo>
                  <a:pt x="3289" y="1317"/>
                  <a:pt x="3289" y="1317"/>
                  <a:pt x="3289" y="1316"/>
                </a:cubicBezTo>
                <a:cubicBezTo>
                  <a:pt x="3290" y="1315"/>
                  <a:pt x="3290" y="1315"/>
                  <a:pt x="3291" y="1314"/>
                </a:cubicBezTo>
                <a:cubicBezTo>
                  <a:pt x="3291" y="1313"/>
                  <a:pt x="3291" y="1313"/>
                  <a:pt x="3291" y="1312"/>
                </a:cubicBezTo>
                <a:cubicBezTo>
                  <a:pt x="3291" y="1311"/>
                  <a:pt x="3290" y="1311"/>
                  <a:pt x="3290" y="1311"/>
                </a:cubicBezTo>
                <a:cubicBezTo>
                  <a:pt x="3290" y="1310"/>
                  <a:pt x="3289" y="1310"/>
                  <a:pt x="3289" y="1309"/>
                </a:cubicBezTo>
                <a:cubicBezTo>
                  <a:pt x="3289" y="1309"/>
                  <a:pt x="3289" y="1308"/>
                  <a:pt x="3289" y="1308"/>
                </a:cubicBezTo>
                <a:cubicBezTo>
                  <a:pt x="3289" y="1308"/>
                  <a:pt x="3289" y="1308"/>
                  <a:pt x="3289" y="1308"/>
                </a:cubicBezTo>
                <a:cubicBezTo>
                  <a:pt x="3290" y="1306"/>
                  <a:pt x="3288" y="1307"/>
                  <a:pt x="3288" y="1307"/>
                </a:cubicBezTo>
                <a:cubicBezTo>
                  <a:pt x="3287" y="1306"/>
                  <a:pt x="3286" y="1306"/>
                  <a:pt x="3285" y="1306"/>
                </a:cubicBezTo>
                <a:cubicBezTo>
                  <a:pt x="3283" y="1306"/>
                  <a:pt x="3281" y="1306"/>
                  <a:pt x="3280" y="1305"/>
                </a:cubicBezTo>
                <a:cubicBezTo>
                  <a:pt x="3279" y="1304"/>
                  <a:pt x="3278" y="1304"/>
                  <a:pt x="3278" y="1303"/>
                </a:cubicBezTo>
                <a:cubicBezTo>
                  <a:pt x="3277" y="1302"/>
                  <a:pt x="3276" y="1302"/>
                  <a:pt x="3275" y="1302"/>
                </a:cubicBezTo>
                <a:cubicBezTo>
                  <a:pt x="3274" y="1302"/>
                  <a:pt x="3274" y="1301"/>
                  <a:pt x="3273" y="1301"/>
                </a:cubicBezTo>
                <a:cubicBezTo>
                  <a:pt x="3272" y="1301"/>
                  <a:pt x="3271" y="1301"/>
                  <a:pt x="3270" y="1301"/>
                </a:cubicBezTo>
                <a:cubicBezTo>
                  <a:pt x="3269" y="1302"/>
                  <a:pt x="3268" y="1302"/>
                  <a:pt x="3268" y="1302"/>
                </a:cubicBezTo>
                <a:cubicBezTo>
                  <a:pt x="3267" y="1302"/>
                  <a:pt x="3266" y="1303"/>
                  <a:pt x="3265" y="1304"/>
                </a:cubicBezTo>
                <a:cubicBezTo>
                  <a:pt x="3264" y="1304"/>
                  <a:pt x="3264" y="1305"/>
                  <a:pt x="3263" y="1305"/>
                </a:cubicBezTo>
                <a:cubicBezTo>
                  <a:pt x="3262" y="1305"/>
                  <a:pt x="3261" y="1305"/>
                  <a:pt x="3260" y="1306"/>
                </a:cubicBezTo>
                <a:cubicBezTo>
                  <a:pt x="3259" y="1306"/>
                  <a:pt x="3259" y="1305"/>
                  <a:pt x="3258" y="1306"/>
                </a:cubicBezTo>
                <a:cubicBezTo>
                  <a:pt x="3258" y="1306"/>
                  <a:pt x="3257" y="1306"/>
                  <a:pt x="3257" y="1306"/>
                </a:cubicBezTo>
                <a:cubicBezTo>
                  <a:pt x="3257" y="1306"/>
                  <a:pt x="3256" y="1306"/>
                  <a:pt x="3256" y="1307"/>
                </a:cubicBezTo>
                <a:cubicBezTo>
                  <a:pt x="3256" y="1308"/>
                  <a:pt x="3257" y="1307"/>
                  <a:pt x="3257" y="1308"/>
                </a:cubicBezTo>
                <a:cubicBezTo>
                  <a:pt x="3257" y="1308"/>
                  <a:pt x="3256" y="1309"/>
                  <a:pt x="3256" y="1309"/>
                </a:cubicBezTo>
                <a:cubicBezTo>
                  <a:pt x="3255" y="1310"/>
                  <a:pt x="3255" y="1311"/>
                  <a:pt x="3254" y="1312"/>
                </a:cubicBezTo>
                <a:cubicBezTo>
                  <a:pt x="3254" y="1312"/>
                  <a:pt x="3254" y="1312"/>
                  <a:pt x="3254" y="1312"/>
                </a:cubicBezTo>
                <a:cubicBezTo>
                  <a:pt x="3254" y="1312"/>
                  <a:pt x="3253" y="1313"/>
                  <a:pt x="3253" y="1313"/>
                </a:cubicBezTo>
                <a:cubicBezTo>
                  <a:pt x="3252" y="1313"/>
                  <a:pt x="3254" y="1313"/>
                  <a:pt x="3254" y="1313"/>
                </a:cubicBezTo>
                <a:cubicBezTo>
                  <a:pt x="3255" y="1313"/>
                  <a:pt x="3255" y="1313"/>
                  <a:pt x="3255" y="1313"/>
                </a:cubicBezTo>
                <a:cubicBezTo>
                  <a:pt x="3256" y="1314"/>
                  <a:pt x="3257" y="1314"/>
                  <a:pt x="3258" y="1314"/>
                </a:cubicBezTo>
                <a:cubicBezTo>
                  <a:pt x="3259" y="1314"/>
                  <a:pt x="3260" y="1314"/>
                  <a:pt x="3260" y="1314"/>
                </a:cubicBezTo>
                <a:cubicBezTo>
                  <a:pt x="3261" y="1314"/>
                  <a:pt x="3262" y="1314"/>
                  <a:pt x="3263" y="1314"/>
                </a:cubicBezTo>
                <a:cubicBezTo>
                  <a:pt x="3263" y="1314"/>
                  <a:pt x="3264" y="1314"/>
                  <a:pt x="3264" y="1315"/>
                </a:cubicBezTo>
                <a:cubicBezTo>
                  <a:pt x="3264" y="1315"/>
                  <a:pt x="3264" y="1316"/>
                  <a:pt x="3264" y="1316"/>
                </a:cubicBezTo>
                <a:cubicBezTo>
                  <a:pt x="3264" y="1316"/>
                  <a:pt x="3264" y="1316"/>
                  <a:pt x="3264" y="1317"/>
                </a:cubicBezTo>
                <a:cubicBezTo>
                  <a:pt x="3265" y="1317"/>
                  <a:pt x="3264" y="1318"/>
                  <a:pt x="3264" y="1319"/>
                </a:cubicBezTo>
                <a:cubicBezTo>
                  <a:pt x="3265" y="1320"/>
                  <a:pt x="3265" y="1320"/>
                  <a:pt x="3266" y="1320"/>
                </a:cubicBezTo>
                <a:cubicBezTo>
                  <a:pt x="3266" y="1321"/>
                  <a:pt x="3266" y="1321"/>
                  <a:pt x="3267" y="1322"/>
                </a:cubicBezTo>
                <a:cubicBezTo>
                  <a:pt x="3267" y="1322"/>
                  <a:pt x="3267" y="1322"/>
                  <a:pt x="3268" y="1322"/>
                </a:cubicBezTo>
                <a:cubicBezTo>
                  <a:pt x="3268" y="1322"/>
                  <a:pt x="3269" y="1323"/>
                  <a:pt x="3270" y="1323"/>
                </a:cubicBezTo>
                <a:cubicBezTo>
                  <a:pt x="3270" y="1323"/>
                  <a:pt x="3271" y="1322"/>
                  <a:pt x="3272" y="1322"/>
                </a:cubicBezTo>
                <a:cubicBezTo>
                  <a:pt x="3272" y="1322"/>
                  <a:pt x="3272" y="1322"/>
                  <a:pt x="3273" y="1322"/>
                </a:cubicBezTo>
                <a:cubicBezTo>
                  <a:pt x="3273" y="1322"/>
                  <a:pt x="3274" y="1322"/>
                  <a:pt x="3274" y="1322"/>
                </a:cubicBezTo>
                <a:cubicBezTo>
                  <a:pt x="3274" y="1322"/>
                  <a:pt x="3275" y="1323"/>
                  <a:pt x="3275" y="1323"/>
                </a:cubicBezTo>
                <a:cubicBezTo>
                  <a:pt x="3275" y="1323"/>
                  <a:pt x="3276" y="1323"/>
                  <a:pt x="3276" y="1323"/>
                </a:cubicBezTo>
                <a:cubicBezTo>
                  <a:pt x="3277" y="1323"/>
                  <a:pt x="3277" y="1323"/>
                  <a:pt x="3277" y="1323"/>
                </a:cubicBezTo>
                <a:cubicBezTo>
                  <a:pt x="3278" y="1323"/>
                  <a:pt x="3278" y="1322"/>
                  <a:pt x="3278" y="1322"/>
                </a:cubicBezTo>
                <a:cubicBezTo>
                  <a:pt x="3279" y="1322"/>
                  <a:pt x="3280" y="1322"/>
                  <a:pt x="3281" y="1323"/>
                </a:cubicBezTo>
                <a:cubicBezTo>
                  <a:pt x="3281" y="1323"/>
                  <a:pt x="3281" y="1323"/>
                  <a:pt x="3282" y="1323"/>
                </a:cubicBezTo>
                <a:cubicBezTo>
                  <a:pt x="3282" y="1323"/>
                  <a:pt x="3283" y="1322"/>
                  <a:pt x="3283" y="1322"/>
                </a:cubicBezTo>
                <a:cubicBezTo>
                  <a:pt x="3284" y="1322"/>
                  <a:pt x="3284" y="1322"/>
                  <a:pt x="3285" y="1322"/>
                </a:cubicBezTo>
                <a:cubicBezTo>
                  <a:pt x="3285" y="1322"/>
                  <a:pt x="3285" y="1322"/>
                  <a:pt x="3286" y="1321"/>
                </a:cubicBezTo>
                <a:cubicBezTo>
                  <a:pt x="3286" y="1321"/>
                  <a:pt x="3286" y="1321"/>
                  <a:pt x="3286" y="1321"/>
                </a:cubicBezTo>
                <a:cubicBezTo>
                  <a:pt x="3287" y="1321"/>
                  <a:pt x="3286" y="1322"/>
                  <a:pt x="3286" y="1322"/>
                </a:cubicBezTo>
                <a:cubicBezTo>
                  <a:pt x="3286" y="1322"/>
                  <a:pt x="3286" y="1322"/>
                  <a:pt x="3285" y="1322"/>
                </a:cubicBezTo>
                <a:cubicBezTo>
                  <a:pt x="3285" y="1323"/>
                  <a:pt x="3286" y="1323"/>
                  <a:pt x="3286" y="1323"/>
                </a:cubicBezTo>
                <a:cubicBezTo>
                  <a:pt x="3286" y="1323"/>
                  <a:pt x="3286" y="1324"/>
                  <a:pt x="3286" y="1324"/>
                </a:cubicBezTo>
                <a:cubicBezTo>
                  <a:pt x="3286" y="1324"/>
                  <a:pt x="3287" y="1324"/>
                  <a:pt x="3287" y="1324"/>
                </a:cubicBezTo>
                <a:cubicBezTo>
                  <a:pt x="3287" y="1325"/>
                  <a:pt x="3287" y="1325"/>
                  <a:pt x="3286" y="1325"/>
                </a:cubicBezTo>
                <a:cubicBezTo>
                  <a:pt x="3286" y="1325"/>
                  <a:pt x="3286" y="1326"/>
                  <a:pt x="3286" y="1327"/>
                </a:cubicBezTo>
                <a:cubicBezTo>
                  <a:pt x="3285" y="1327"/>
                  <a:pt x="3286" y="1325"/>
                  <a:pt x="3285" y="1326"/>
                </a:cubicBezTo>
                <a:cubicBezTo>
                  <a:pt x="3285" y="1326"/>
                  <a:pt x="3285" y="1326"/>
                  <a:pt x="3284" y="1326"/>
                </a:cubicBezTo>
                <a:cubicBezTo>
                  <a:pt x="3284" y="1327"/>
                  <a:pt x="3284" y="1326"/>
                  <a:pt x="3284" y="1326"/>
                </a:cubicBezTo>
                <a:cubicBezTo>
                  <a:pt x="3283" y="1326"/>
                  <a:pt x="3283" y="1326"/>
                  <a:pt x="3283" y="1326"/>
                </a:cubicBezTo>
                <a:cubicBezTo>
                  <a:pt x="3283" y="1326"/>
                  <a:pt x="3283" y="1326"/>
                  <a:pt x="3282" y="1326"/>
                </a:cubicBezTo>
                <a:cubicBezTo>
                  <a:pt x="3281" y="1326"/>
                  <a:pt x="3281" y="1325"/>
                  <a:pt x="3280" y="1325"/>
                </a:cubicBezTo>
                <a:cubicBezTo>
                  <a:pt x="3280" y="1324"/>
                  <a:pt x="3279" y="1325"/>
                  <a:pt x="3278" y="1325"/>
                </a:cubicBezTo>
                <a:cubicBezTo>
                  <a:pt x="3277" y="1325"/>
                  <a:pt x="3277" y="1325"/>
                  <a:pt x="3277" y="1325"/>
                </a:cubicBezTo>
                <a:cubicBezTo>
                  <a:pt x="3277" y="1326"/>
                  <a:pt x="3276" y="1326"/>
                  <a:pt x="3276" y="1326"/>
                </a:cubicBezTo>
                <a:cubicBezTo>
                  <a:pt x="3276" y="1326"/>
                  <a:pt x="3276" y="1327"/>
                  <a:pt x="3275" y="1327"/>
                </a:cubicBezTo>
                <a:cubicBezTo>
                  <a:pt x="3275" y="1327"/>
                  <a:pt x="3275" y="1328"/>
                  <a:pt x="3274" y="1328"/>
                </a:cubicBezTo>
                <a:cubicBezTo>
                  <a:pt x="3274" y="1328"/>
                  <a:pt x="3274" y="1329"/>
                  <a:pt x="3273" y="1329"/>
                </a:cubicBezTo>
                <a:cubicBezTo>
                  <a:pt x="3273" y="1329"/>
                  <a:pt x="3272" y="1329"/>
                  <a:pt x="3272" y="1328"/>
                </a:cubicBezTo>
                <a:cubicBezTo>
                  <a:pt x="3272" y="1328"/>
                  <a:pt x="3272" y="1328"/>
                  <a:pt x="3271" y="1328"/>
                </a:cubicBezTo>
                <a:cubicBezTo>
                  <a:pt x="3271" y="1328"/>
                  <a:pt x="3271" y="1328"/>
                  <a:pt x="3271" y="1328"/>
                </a:cubicBezTo>
                <a:cubicBezTo>
                  <a:pt x="3270" y="1328"/>
                  <a:pt x="3270" y="1328"/>
                  <a:pt x="3270" y="1328"/>
                </a:cubicBezTo>
                <a:cubicBezTo>
                  <a:pt x="3270" y="1328"/>
                  <a:pt x="3269" y="1328"/>
                  <a:pt x="3269" y="1328"/>
                </a:cubicBezTo>
                <a:cubicBezTo>
                  <a:pt x="3269" y="1327"/>
                  <a:pt x="3268" y="1327"/>
                  <a:pt x="3267" y="1327"/>
                </a:cubicBezTo>
                <a:cubicBezTo>
                  <a:pt x="3267" y="1328"/>
                  <a:pt x="3266" y="1328"/>
                  <a:pt x="3266" y="1328"/>
                </a:cubicBezTo>
                <a:cubicBezTo>
                  <a:pt x="3265" y="1328"/>
                  <a:pt x="3265" y="1328"/>
                  <a:pt x="3265" y="1328"/>
                </a:cubicBezTo>
                <a:cubicBezTo>
                  <a:pt x="3264" y="1329"/>
                  <a:pt x="3265" y="1329"/>
                  <a:pt x="3265" y="1329"/>
                </a:cubicBezTo>
                <a:cubicBezTo>
                  <a:pt x="3266" y="1329"/>
                  <a:pt x="3266" y="1329"/>
                  <a:pt x="3266" y="1330"/>
                </a:cubicBezTo>
                <a:cubicBezTo>
                  <a:pt x="3267" y="1330"/>
                  <a:pt x="3268" y="1330"/>
                  <a:pt x="3268" y="1330"/>
                </a:cubicBezTo>
                <a:cubicBezTo>
                  <a:pt x="3269" y="1331"/>
                  <a:pt x="3270" y="1331"/>
                  <a:pt x="3270" y="1332"/>
                </a:cubicBezTo>
                <a:cubicBezTo>
                  <a:pt x="3271" y="1332"/>
                  <a:pt x="3272" y="1333"/>
                  <a:pt x="3272" y="1334"/>
                </a:cubicBezTo>
                <a:cubicBezTo>
                  <a:pt x="3272" y="1334"/>
                  <a:pt x="3272" y="1335"/>
                  <a:pt x="3273" y="1335"/>
                </a:cubicBezTo>
                <a:cubicBezTo>
                  <a:pt x="3273" y="1335"/>
                  <a:pt x="3273" y="1334"/>
                  <a:pt x="3274" y="1334"/>
                </a:cubicBezTo>
                <a:cubicBezTo>
                  <a:pt x="3274" y="1334"/>
                  <a:pt x="3275" y="1336"/>
                  <a:pt x="3275" y="1336"/>
                </a:cubicBezTo>
                <a:cubicBezTo>
                  <a:pt x="3275" y="1337"/>
                  <a:pt x="3275" y="1338"/>
                  <a:pt x="3275" y="1338"/>
                </a:cubicBezTo>
                <a:cubicBezTo>
                  <a:pt x="3274" y="1338"/>
                  <a:pt x="3274" y="1338"/>
                  <a:pt x="3274" y="1338"/>
                </a:cubicBezTo>
                <a:cubicBezTo>
                  <a:pt x="3273" y="1339"/>
                  <a:pt x="3273" y="1339"/>
                  <a:pt x="3273" y="1339"/>
                </a:cubicBezTo>
                <a:cubicBezTo>
                  <a:pt x="3273" y="1340"/>
                  <a:pt x="3274" y="1340"/>
                  <a:pt x="3274" y="1340"/>
                </a:cubicBezTo>
                <a:cubicBezTo>
                  <a:pt x="3274" y="1341"/>
                  <a:pt x="3274" y="1342"/>
                  <a:pt x="3275" y="1343"/>
                </a:cubicBezTo>
                <a:cubicBezTo>
                  <a:pt x="3275" y="1343"/>
                  <a:pt x="3275" y="1343"/>
                  <a:pt x="3275" y="1343"/>
                </a:cubicBezTo>
                <a:cubicBezTo>
                  <a:pt x="3275" y="1343"/>
                  <a:pt x="3275" y="1343"/>
                  <a:pt x="3275" y="1344"/>
                </a:cubicBezTo>
                <a:cubicBezTo>
                  <a:pt x="3275" y="1344"/>
                  <a:pt x="3275" y="1344"/>
                  <a:pt x="3276" y="1344"/>
                </a:cubicBezTo>
                <a:cubicBezTo>
                  <a:pt x="3277" y="1345"/>
                  <a:pt x="3277" y="1343"/>
                  <a:pt x="3277" y="1343"/>
                </a:cubicBezTo>
                <a:cubicBezTo>
                  <a:pt x="3278" y="1343"/>
                  <a:pt x="3278" y="1344"/>
                  <a:pt x="3279" y="1343"/>
                </a:cubicBezTo>
                <a:cubicBezTo>
                  <a:pt x="3280" y="1343"/>
                  <a:pt x="3281" y="1342"/>
                  <a:pt x="3281" y="1341"/>
                </a:cubicBezTo>
                <a:cubicBezTo>
                  <a:pt x="3281" y="1341"/>
                  <a:pt x="3281" y="1341"/>
                  <a:pt x="3281" y="1340"/>
                </a:cubicBezTo>
                <a:cubicBezTo>
                  <a:pt x="3281" y="1339"/>
                  <a:pt x="3282" y="1339"/>
                  <a:pt x="3283" y="1338"/>
                </a:cubicBezTo>
                <a:cubicBezTo>
                  <a:pt x="3283" y="1338"/>
                  <a:pt x="3283" y="1337"/>
                  <a:pt x="3283" y="1337"/>
                </a:cubicBezTo>
                <a:cubicBezTo>
                  <a:pt x="3283" y="1337"/>
                  <a:pt x="3283" y="1336"/>
                  <a:pt x="3283" y="1336"/>
                </a:cubicBezTo>
                <a:cubicBezTo>
                  <a:pt x="3283" y="1336"/>
                  <a:pt x="3284" y="1335"/>
                  <a:pt x="3284" y="1335"/>
                </a:cubicBezTo>
                <a:cubicBezTo>
                  <a:pt x="3284" y="1335"/>
                  <a:pt x="3284" y="1334"/>
                  <a:pt x="3284" y="1334"/>
                </a:cubicBezTo>
                <a:cubicBezTo>
                  <a:pt x="3285" y="1334"/>
                  <a:pt x="3284" y="1335"/>
                  <a:pt x="3284" y="1335"/>
                </a:cubicBezTo>
                <a:cubicBezTo>
                  <a:pt x="3284" y="1336"/>
                  <a:pt x="3284" y="1336"/>
                  <a:pt x="3284" y="1336"/>
                </a:cubicBezTo>
                <a:cubicBezTo>
                  <a:pt x="3284" y="1337"/>
                  <a:pt x="3284" y="1337"/>
                  <a:pt x="3284" y="1337"/>
                </a:cubicBezTo>
                <a:cubicBezTo>
                  <a:pt x="3284" y="1338"/>
                  <a:pt x="3284" y="1338"/>
                  <a:pt x="3284" y="1338"/>
                </a:cubicBezTo>
                <a:cubicBezTo>
                  <a:pt x="3284" y="1339"/>
                  <a:pt x="3285" y="1338"/>
                  <a:pt x="3285" y="1338"/>
                </a:cubicBezTo>
                <a:cubicBezTo>
                  <a:pt x="3285" y="1338"/>
                  <a:pt x="3286" y="1338"/>
                  <a:pt x="3286" y="1338"/>
                </a:cubicBezTo>
                <a:cubicBezTo>
                  <a:pt x="3286" y="1338"/>
                  <a:pt x="3286" y="1339"/>
                  <a:pt x="3286" y="1339"/>
                </a:cubicBezTo>
                <a:cubicBezTo>
                  <a:pt x="3286" y="1339"/>
                  <a:pt x="3287" y="1339"/>
                  <a:pt x="3287" y="1339"/>
                </a:cubicBezTo>
                <a:cubicBezTo>
                  <a:pt x="3287" y="1340"/>
                  <a:pt x="3287" y="1340"/>
                  <a:pt x="3287" y="1340"/>
                </a:cubicBezTo>
                <a:cubicBezTo>
                  <a:pt x="3287" y="1341"/>
                  <a:pt x="3287" y="1341"/>
                  <a:pt x="3287" y="1341"/>
                </a:cubicBezTo>
                <a:cubicBezTo>
                  <a:pt x="3288" y="1341"/>
                  <a:pt x="3288" y="1341"/>
                  <a:pt x="3288" y="1341"/>
                </a:cubicBezTo>
                <a:cubicBezTo>
                  <a:pt x="3288" y="1341"/>
                  <a:pt x="3288" y="1341"/>
                  <a:pt x="3288" y="1341"/>
                </a:cubicBezTo>
                <a:cubicBezTo>
                  <a:pt x="3289" y="1341"/>
                  <a:pt x="3289" y="1340"/>
                  <a:pt x="3289" y="1340"/>
                </a:cubicBezTo>
                <a:cubicBezTo>
                  <a:pt x="3290" y="1340"/>
                  <a:pt x="3290" y="1340"/>
                  <a:pt x="3290" y="1341"/>
                </a:cubicBezTo>
                <a:cubicBezTo>
                  <a:pt x="3290" y="1341"/>
                  <a:pt x="3290" y="1341"/>
                  <a:pt x="3290" y="1342"/>
                </a:cubicBezTo>
                <a:cubicBezTo>
                  <a:pt x="3291" y="1342"/>
                  <a:pt x="3291" y="1342"/>
                  <a:pt x="3291" y="1343"/>
                </a:cubicBezTo>
                <a:cubicBezTo>
                  <a:pt x="3292" y="1343"/>
                  <a:pt x="3291" y="1342"/>
                  <a:pt x="3292" y="1342"/>
                </a:cubicBezTo>
                <a:cubicBezTo>
                  <a:pt x="3292" y="1341"/>
                  <a:pt x="3293" y="1342"/>
                  <a:pt x="3293" y="1342"/>
                </a:cubicBezTo>
                <a:cubicBezTo>
                  <a:pt x="3293" y="1342"/>
                  <a:pt x="3293" y="1342"/>
                  <a:pt x="3294" y="1342"/>
                </a:cubicBezTo>
                <a:cubicBezTo>
                  <a:pt x="3294" y="1342"/>
                  <a:pt x="3294" y="1342"/>
                  <a:pt x="3295" y="1342"/>
                </a:cubicBezTo>
                <a:cubicBezTo>
                  <a:pt x="3296" y="1342"/>
                  <a:pt x="3295" y="1342"/>
                  <a:pt x="3296" y="1341"/>
                </a:cubicBezTo>
                <a:cubicBezTo>
                  <a:pt x="3296" y="1341"/>
                  <a:pt x="3297" y="1341"/>
                  <a:pt x="3297" y="1342"/>
                </a:cubicBezTo>
                <a:cubicBezTo>
                  <a:pt x="3296" y="1342"/>
                  <a:pt x="3296" y="1342"/>
                  <a:pt x="3296" y="1342"/>
                </a:cubicBezTo>
                <a:cubicBezTo>
                  <a:pt x="3296" y="1342"/>
                  <a:pt x="3296" y="1343"/>
                  <a:pt x="3295" y="1343"/>
                </a:cubicBezTo>
                <a:cubicBezTo>
                  <a:pt x="3295" y="1344"/>
                  <a:pt x="3295" y="1344"/>
                  <a:pt x="3295" y="1344"/>
                </a:cubicBezTo>
                <a:cubicBezTo>
                  <a:pt x="3296" y="1345"/>
                  <a:pt x="3296" y="1345"/>
                  <a:pt x="3297" y="1345"/>
                </a:cubicBezTo>
                <a:cubicBezTo>
                  <a:pt x="3297" y="1345"/>
                  <a:pt x="3298" y="1346"/>
                  <a:pt x="3298" y="1346"/>
                </a:cubicBezTo>
                <a:cubicBezTo>
                  <a:pt x="3298" y="1346"/>
                  <a:pt x="3299" y="1346"/>
                  <a:pt x="3299" y="1346"/>
                </a:cubicBezTo>
                <a:cubicBezTo>
                  <a:pt x="3300" y="1346"/>
                  <a:pt x="3300" y="1346"/>
                  <a:pt x="3300" y="1347"/>
                </a:cubicBezTo>
                <a:cubicBezTo>
                  <a:pt x="3301" y="1347"/>
                  <a:pt x="3302" y="1347"/>
                  <a:pt x="3303" y="1347"/>
                </a:cubicBezTo>
                <a:cubicBezTo>
                  <a:pt x="3304" y="1347"/>
                  <a:pt x="3304" y="1348"/>
                  <a:pt x="3305" y="1348"/>
                </a:cubicBezTo>
                <a:cubicBezTo>
                  <a:pt x="3306" y="1348"/>
                  <a:pt x="3307" y="1349"/>
                  <a:pt x="3308" y="1349"/>
                </a:cubicBezTo>
                <a:cubicBezTo>
                  <a:pt x="3309" y="1349"/>
                  <a:pt x="3310" y="1349"/>
                  <a:pt x="3310" y="1349"/>
                </a:cubicBezTo>
                <a:cubicBezTo>
                  <a:pt x="3311" y="1350"/>
                  <a:pt x="3312" y="1351"/>
                  <a:pt x="3313" y="1351"/>
                </a:cubicBezTo>
                <a:cubicBezTo>
                  <a:pt x="3314" y="1351"/>
                  <a:pt x="3315" y="1351"/>
                  <a:pt x="3316" y="1351"/>
                </a:cubicBezTo>
                <a:cubicBezTo>
                  <a:pt x="3317" y="1351"/>
                  <a:pt x="3318" y="1352"/>
                  <a:pt x="3319" y="1352"/>
                </a:cubicBezTo>
                <a:cubicBezTo>
                  <a:pt x="3320" y="1352"/>
                  <a:pt x="3321" y="1353"/>
                  <a:pt x="3322" y="1353"/>
                </a:cubicBezTo>
                <a:cubicBezTo>
                  <a:pt x="3323" y="1354"/>
                  <a:pt x="3324" y="1354"/>
                  <a:pt x="3324" y="1354"/>
                </a:cubicBezTo>
                <a:cubicBezTo>
                  <a:pt x="3325" y="1354"/>
                  <a:pt x="3326" y="1355"/>
                  <a:pt x="3327" y="1355"/>
                </a:cubicBezTo>
                <a:cubicBezTo>
                  <a:pt x="3327" y="1355"/>
                  <a:pt x="3327" y="1356"/>
                  <a:pt x="3328" y="1356"/>
                </a:cubicBezTo>
                <a:cubicBezTo>
                  <a:pt x="3328" y="1356"/>
                  <a:pt x="3329" y="1356"/>
                  <a:pt x="3329" y="1356"/>
                </a:cubicBezTo>
                <a:cubicBezTo>
                  <a:pt x="3330" y="1356"/>
                  <a:pt x="3331" y="1357"/>
                  <a:pt x="3331" y="1358"/>
                </a:cubicBezTo>
                <a:cubicBezTo>
                  <a:pt x="3332" y="1358"/>
                  <a:pt x="3333" y="1358"/>
                  <a:pt x="3333" y="1359"/>
                </a:cubicBezTo>
                <a:cubicBezTo>
                  <a:pt x="3334" y="1359"/>
                  <a:pt x="3334" y="1360"/>
                  <a:pt x="3334" y="1361"/>
                </a:cubicBezTo>
                <a:cubicBezTo>
                  <a:pt x="3334" y="1361"/>
                  <a:pt x="3334" y="1361"/>
                  <a:pt x="3334" y="1362"/>
                </a:cubicBezTo>
                <a:cubicBezTo>
                  <a:pt x="3335" y="1362"/>
                  <a:pt x="3335" y="1362"/>
                  <a:pt x="3335" y="1362"/>
                </a:cubicBezTo>
                <a:cubicBezTo>
                  <a:pt x="3335" y="1362"/>
                  <a:pt x="3335" y="1362"/>
                  <a:pt x="3335" y="1363"/>
                </a:cubicBezTo>
                <a:cubicBezTo>
                  <a:pt x="3335" y="1363"/>
                  <a:pt x="3337" y="1363"/>
                  <a:pt x="3337" y="1364"/>
                </a:cubicBezTo>
                <a:cubicBezTo>
                  <a:pt x="3337" y="1364"/>
                  <a:pt x="3336" y="1364"/>
                  <a:pt x="3336" y="1365"/>
                </a:cubicBezTo>
                <a:cubicBezTo>
                  <a:pt x="3336" y="1365"/>
                  <a:pt x="3337" y="1366"/>
                  <a:pt x="3337" y="1366"/>
                </a:cubicBezTo>
                <a:cubicBezTo>
                  <a:pt x="3337" y="1366"/>
                  <a:pt x="3337" y="1367"/>
                  <a:pt x="3338" y="1367"/>
                </a:cubicBezTo>
                <a:cubicBezTo>
                  <a:pt x="3338" y="1368"/>
                  <a:pt x="3338" y="1368"/>
                  <a:pt x="3338" y="1368"/>
                </a:cubicBezTo>
                <a:cubicBezTo>
                  <a:pt x="3338" y="1369"/>
                  <a:pt x="3338" y="1369"/>
                  <a:pt x="3339" y="1369"/>
                </a:cubicBezTo>
                <a:cubicBezTo>
                  <a:pt x="3339" y="1369"/>
                  <a:pt x="3339" y="1370"/>
                  <a:pt x="3339" y="1371"/>
                </a:cubicBezTo>
                <a:cubicBezTo>
                  <a:pt x="3339" y="1371"/>
                  <a:pt x="3340" y="1372"/>
                  <a:pt x="3341" y="1372"/>
                </a:cubicBezTo>
                <a:cubicBezTo>
                  <a:pt x="3342" y="1372"/>
                  <a:pt x="3342" y="1372"/>
                  <a:pt x="3342" y="1373"/>
                </a:cubicBezTo>
                <a:cubicBezTo>
                  <a:pt x="3342" y="1374"/>
                  <a:pt x="3341" y="1372"/>
                  <a:pt x="3341" y="1373"/>
                </a:cubicBezTo>
                <a:cubicBezTo>
                  <a:pt x="3341" y="1373"/>
                  <a:pt x="3342" y="1374"/>
                  <a:pt x="3342" y="1374"/>
                </a:cubicBezTo>
                <a:cubicBezTo>
                  <a:pt x="3342" y="1374"/>
                  <a:pt x="3343" y="1374"/>
                  <a:pt x="3343" y="1375"/>
                </a:cubicBezTo>
                <a:cubicBezTo>
                  <a:pt x="3343" y="1376"/>
                  <a:pt x="3340" y="1375"/>
                  <a:pt x="3340" y="1376"/>
                </a:cubicBezTo>
                <a:cubicBezTo>
                  <a:pt x="3340" y="1376"/>
                  <a:pt x="3340" y="1376"/>
                  <a:pt x="3341" y="1377"/>
                </a:cubicBezTo>
                <a:cubicBezTo>
                  <a:pt x="3341" y="1377"/>
                  <a:pt x="3342" y="1377"/>
                  <a:pt x="3342" y="1377"/>
                </a:cubicBezTo>
                <a:cubicBezTo>
                  <a:pt x="3343" y="1378"/>
                  <a:pt x="3343" y="1378"/>
                  <a:pt x="3344" y="1378"/>
                </a:cubicBezTo>
                <a:cubicBezTo>
                  <a:pt x="3344" y="1378"/>
                  <a:pt x="3344" y="1379"/>
                  <a:pt x="3345" y="1379"/>
                </a:cubicBezTo>
                <a:cubicBezTo>
                  <a:pt x="3345" y="1379"/>
                  <a:pt x="3346" y="1378"/>
                  <a:pt x="3346" y="1379"/>
                </a:cubicBezTo>
                <a:cubicBezTo>
                  <a:pt x="3347" y="1379"/>
                  <a:pt x="3346" y="1379"/>
                  <a:pt x="3346" y="1379"/>
                </a:cubicBezTo>
                <a:cubicBezTo>
                  <a:pt x="3345" y="1379"/>
                  <a:pt x="3345" y="1379"/>
                  <a:pt x="3344" y="1379"/>
                </a:cubicBezTo>
                <a:cubicBezTo>
                  <a:pt x="3344" y="1379"/>
                  <a:pt x="3343" y="1379"/>
                  <a:pt x="3343" y="1379"/>
                </a:cubicBezTo>
                <a:cubicBezTo>
                  <a:pt x="3342" y="1379"/>
                  <a:pt x="3342" y="1379"/>
                  <a:pt x="3342" y="1379"/>
                </a:cubicBezTo>
                <a:cubicBezTo>
                  <a:pt x="3341" y="1379"/>
                  <a:pt x="3341" y="1379"/>
                  <a:pt x="3341" y="1379"/>
                </a:cubicBezTo>
                <a:cubicBezTo>
                  <a:pt x="3341" y="1380"/>
                  <a:pt x="3342" y="1380"/>
                  <a:pt x="3341" y="1381"/>
                </a:cubicBezTo>
                <a:cubicBezTo>
                  <a:pt x="3341" y="1381"/>
                  <a:pt x="3340" y="1381"/>
                  <a:pt x="3340" y="1381"/>
                </a:cubicBezTo>
                <a:cubicBezTo>
                  <a:pt x="3340" y="1381"/>
                  <a:pt x="3339" y="1381"/>
                  <a:pt x="3339" y="1381"/>
                </a:cubicBezTo>
                <a:cubicBezTo>
                  <a:pt x="3338" y="1381"/>
                  <a:pt x="3337" y="1382"/>
                  <a:pt x="3336" y="1382"/>
                </a:cubicBezTo>
                <a:cubicBezTo>
                  <a:pt x="3335" y="1383"/>
                  <a:pt x="3333" y="1385"/>
                  <a:pt x="3332" y="1386"/>
                </a:cubicBezTo>
                <a:cubicBezTo>
                  <a:pt x="3332" y="1387"/>
                  <a:pt x="3332" y="1388"/>
                  <a:pt x="3331" y="1389"/>
                </a:cubicBezTo>
                <a:cubicBezTo>
                  <a:pt x="3330" y="1390"/>
                  <a:pt x="3330" y="1390"/>
                  <a:pt x="3330" y="1391"/>
                </a:cubicBezTo>
                <a:cubicBezTo>
                  <a:pt x="3330" y="1392"/>
                  <a:pt x="3329" y="1394"/>
                  <a:pt x="3330" y="1393"/>
                </a:cubicBezTo>
                <a:cubicBezTo>
                  <a:pt x="3330" y="1393"/>
                  <a:pt x="3331" y="1393"/>
                  <a:pt x="3331" y="1393"/>
                </a:cubicBezTo>
                <a:cubicBezTo>
                  <a:pt x="3332" y="1393"/>
                  <a:pt x="3332" y="1393"/>
                  <a:pt x="3332" y="1393"/>
                </a:cubicBezTo>
                <a:cubicBezTo>
                  <a:pt x="3333" y="1393"/>
                  <a:pt x="3335" y="1393"/>
                  <a:pt x="3336" y="1393"/>
                </a:cubicBezTo>
                <a:cubicBezTo>
                  <a:pt x="3336" y="1393"/>
                  <a:pt x="3337" y="1393"/>
                  <a:pt x="3337" y="1393"/>
                </a:cubicBezTo>
                <a:cubicBezTo>
                  <a:pt x="3338" y="1393"/>
                  <a:pt x="3339" y="1392"/>
                  <a:pt x="3339" y="1392"/>
                </a:cubicBezTo>
                <a:cubicBezTo>
                  <a:pt x="3340" y="1392"/>
                  <a:pt x="3340" y="1393"/>
                  <a:pt x="3340" y="1393"/>
                </a:cubicBezTo>
                <a:cubicBezTo>
                  <a:pt x="3341" y="1393"/>
                  <a:pt x="3341" y="1393"/>
                  <a:pt x="3341" y="1393"/>
                </a:cubicBezTo>
                <a:cubicBezTo>
                  <a:pt x="3342" y="1393"/>
                  <a:pt x="3343" y="1394"/>
                  <a:pt x="3343" y="1393"/>
                </a:cubicBezTo>
                <a:cubicBezTo>
                  <a:pt x="3344" y="1393"/>
                  <a:pt x="3344" y="1392"/>
                  <a:pt x="3344" y="1392"/>
                </a:cubicBezTo>
                <a:cubicBezTo>
                  <a:pt x="3344" y="1392"/>
                  <a:pt x="3344" y="1391"/>
                  <a:pt x="3344" y="1391"/>
                </a:cubicBezTo>
                <a:cubicBezTo>
                  <a:pt x="3345" y="1391"/>
                  <a:pt x="3345" y="1391"/>
                  <a:pt x="3345" y="1391"/>
                </a:cubicBezTo>
                <a:cubicBezTo>
                  <a:pt x="3346" y="1390"/>
                  <a:pt x="3346" y="1390"/>
                  <a:pt x="3346" y="1390"/>
                </a:cubicBezTo>
                <a:cubicBezTo>
                  <a:pt x="3347" y="1389"/>
                  <a:pt x="3348" y="1390"/>
                  <a:pt x="3348" y="1391"/>
                </a:cubicBezTo>
                <a:cubicBezTo>
                  <a:pt x="3349" y="1391"/>
                  <a:pt x="3350" y="1391"/>
                  <a:pt x="3351" y="1390"/>
                </a:cubicBezTo>
                <a:cubicBezTo>
                  <a:pt x="3352" y="1390"/>
                  <a:pt x="3354" y="1390"/>
                  <a:pt x="3355" y="1390"/>
                </a:cubicBezTo>
                <a:cubicBezTo>
                  <a:pt x="3357" y="1390"/>
                  <a:pt x="3356" y="1391"/>
                  <a:pt x="3356" y="1391"/>
                </a:cubicBezTo>
                <a:cubicBezTo>
                  <a:pt x="3357" y="1392"/>
                  <a:pt x="3357" y="1392"/>
                  <a:pt x="3358" y="1392"/>
                </a:cubicBezTo>
                <a:cubicBezTo>
                  <a:pt x="3358" y="1392"/>
                  <a:pt x="3358" y="1393"/>
                  <a:pt x="3358" y="1393"/>
                </a:cubicBezTo>
                <a:cubicBezTo>
                  <a:pt x="3359" y="1393"/>
                  <a:pt x="3359" y="1394"/>
                  <a:pt x="3360" y="1394"/>
                </a:cubicBezTo>
                <a:cubicBezTo>
                  <a:pt x="3360" y="1394"/>
                  <a:pt x="3360" y="1395"/>
                  <a:pt x="3361" y="1395"/>
                </a:cubicBezTo>
                <a:cubicBezTo>
                  <a:pt x="3361" y="1396"/>
                  <a:pt x="3362" y="1396"/>
                  <a:pt x="3363" y="1396"/>
                </a:cubicBezTo>
                <a:cubicBezTo>
                  <a:pt x="3364" y="1397"/>
                  <a:pt x="3365" y="1399"/>
                  <a:pt x="3366" y="1400"/>
                </a:cubicBezTo>
                <a:cubicBezTo>
                  <a:pt x="3366" y="1400"/>
                  <a:pt x="3367" y="1400"/>
                  <a:pt x="3367" y="1400"/>
                </a:cubicBezTo>
                <a:cubicBezTo>
                  <a:pt x="3367" y="1401"/>
                  <a:pt x="3368" y="1401"/>
                  <a:pt x="3368" y="1401"/>
                </a:cubicBezTo>
                <a:cubicBezTo>
                  <a:pt x="3368" y="1402"/>
                  <a:pt x="3369" y="1402"/>
                  <a:pt x="3369" y="1403"/>
                </a:cubicBezTo>
                <a:cubicBezTo>
                  <a:pt x="3370" y="1403"/>
                  <a:pt x="3371" y="1403"/>
                  <a:pt x="3372" y="1403"/>
                </a:cubicBezTo>
                <a:cubicBezTo>
                  <a:pt x="3373" y="1403"/>
                  <a:pt x="3374" y="1403"/>
                  <a:pt x="3376" y="1402"/>
                </a:cubicBezTo>
                <a:cubicBezTo>
                  <a:pt x="3376" y="1402"/>
                  <a:pt x="3377" y="1402"/>
                  <a:pt x="3378" y="1402"/>
                </a:cubicBezTo>
                <a:cubicBezTo>
                  <a:pt x="3379" y="1402"/>
                  <a:pt x="3380" y="1402"/>
                  <a:pt x="3381" y="1402"/>
                </a:cubicBezTo>
                <a:cubicBezTo>
                  <a:pt x="3381" y="1402"/>
                  <a:pt x="3382" y="1402"/>
                  <a:pt x="3382" y="1402"/>
                </a:cubicBezTo>
                <a:cubicBezTo>
                  <a:pt x="3383" y="1402"/>
                  <a:pt x="3383" y="1402"/>
                  <a:pt x="3383" y="1402"/>
                </a:cubicBezTo>
                <a:cubicBezTo>
                  <a:pt x="3384" y="1402"/>
                  <a:pt x="3384" y="1403"/>
                  <a:pt x="3384" y="1403"/>
                </a:cubicBezTo>
                <a:cubicBezTo>
                  <a:pt x="3385" y="1403"/>
                  <a:pt x="3385" y="1403"/>
                  <a:pt x="3385" y="1403"/>
                </a:cubicBezTo>
                <a:cubicBezTo>
                  <a:pt x="3386" y="1404"/>
                  <a:pt x="3387" y="1404"/>
                  <a:pt x="3388" y="1404"/>
                </a:cubicBezTo>
                <a:cubicBezTo>
                  <a:pt x="3388" y="1404"/>
                  <a:pt x="3389" y="1403"/>
                  <a:pt x="3390" y="1402"/>
                </a:cubicBezTo>
                <a:cubicBezTo>
                  <a:pt x="3390" y="1402"/>
                  <a:pt x="3391" y="1402"/>
                  <a:pt x="3392" y="1401"/>
                </a:cubicBezTo>
                <a:cubicBezTo>
                  <a:pt x="3393" y="1401"/>
                  <a:pt x="3393" y="1400"/>
                  <a:pt x="3394" y="1400"/>
                </a:cubicBezTo>
                <a:cubicBezTo>
                  <a:pt x="3394" y="1400"/>
                  <a:pt x="3395" y="1400"/>
                  <a:pt x="3395" y="1399"/>
                </a:cubicBezTo>
                <a:cubicBezTo>
                  <a:pt x="3395" y="1398"/>
                  <a:pt x="3395" y="1398"/>
                  <a:pt x="3395" y="1397"/>
                </a:cubicBezTo>
                <a:cubicBezTo>
                  <a:pt x="3394" y="1397"/>
                  <a:pt x="3395" y="1396"/>
                  <a:pt x="3394" y="1396"/>
                </a:cubicBezTo>
                <a:cubicBezTo>
                  <a:pt x="3394" y="1395"/>
                  <a:pt x="3393" y="1396"/>
                  <a:pt x="3393" y="1395"/>
                </a:cubicBezTo>
                <a:cubicBezTo>
                  <a:pt x="3393" y="1395"/>
                  <a:pt x="3392" y="1394"/>
                  <a:pt x="3392" y="1394"/>
                </a:cubicBezTo>
                <a:cubicBezTo>
                  <a:pt x="3392" y="1394"/>
                  <a:pt x="3391" y="1394"/>
                  <a:pt x="3391" y="1394"/>
                </a:cubicBezTo>
                <a:cubicBezTo>
                  <a:pt x="3391" y="1394"/>
                  <a:pt x="3390" y="1393"/>
                  <a:pt x="3390" y="1393"/>
                </a:cubicBezTo>
                <a:cubicBezTo>
                  <a:pt x="3390" y="1392"/>
                  <a:pt x="3389" y="1392"/>
                  <a:pt x="3389" y="1392"/>
                </a:cubicBezTo>
                <a:cubicBezTo>
                  <a:pt x="3388" y="1392"/>
                  <a:pt x="3388" y="1392"/>
                  <a:pt x="3388" y="1392"/>
                </a:cubicBezTo>
                <a:cubicBezTo>
                  <a:pt x="3388" y="1392"/>
                  <a:pt x="3389" y="1392"/>
                  <a:pt x="3389" y="1392"/>
                </a:cubicBezTo>
                <a:cubicBezTo>
                  <a:pt x="3390" y="1392"/>
                  <a:pt x="3391" y="1392"/>
                  <a:pt x="3391" y="1392"/>
                </a:cubicBezTo>
                <a:cubicBezTo>
                  <a:pt x="3392" y="1392"/>
                  <a:pt x="3392" y="1392"/>
                  <a:pt x="3393" y="1392"/>
                </a:cubicBezTo>
                <a:cubicBezTo>
                  <a:pt x="3393" y="1392"/>
                  <a:pt x="3393" y="1392"/>
                  <a:pt x="3394" y="1392"/>
                </a:cubicBezTo>
                <a:cubicBezTo>
                  <a:pt x="3394" y="1392"/>
                  <a:pt x="3395" y="1391"/>
                  <a:pt x="3395" y="1391"/>
                </a:cubicBezTo>
                <a:cubicBezTo>
                  <a:pt x="3396" y="1391"/>
                  <a:pt x="3397" y="1392"/>
                  <a:pt x="3397" y="1391"/>
                </a:cubicBezTo>
                <a:cubicBezTo>
                  <a:pt x="3398" y="1391"/>
                  <a:pt x="3397" y="1391"/>
                  <a:pt x="3397" y="1390"/>
                </a:cubicBezTo>
                <a:cubicBezTo>
                  <a:pt x="3397" y="1390"/>
                  <a:pt x="3398" y="1390"/>
                  <a:pt x="3398" y="1390"/>
                </a:cubicBezTo>
                <a:cubicBezTo>
                  <a:pt x="3398" y="1390"/>
                  <a:pt x="3398" y="1389"/>
                  <a:pt x="3397" y="1389"/>
                </a:cubicBezTo>
                <a:cubicBezTo>
                  <a:pt x="3397" y="1389"/>
                  <a:pt x="3397" y="1389"/>
                  <a:pt x="3397" y="1389"/>
                </a:cubicBezTo>
                <a:cubicBezTo>
                  <a:pt x="3397" y="1388"/>
                  <a:pt x="3398" y="1388"/>
                  <a:pt x="3398" y="1389"/>
                </a:cubicBezTo>
                <a:cubicBezTo>
                  <a:pt x="3398" y="1389"/>
                  <a:pt x="3399" y="1389"/>
                  <a:pt x="3399" y="1389"/>
                </a:cubicBezTo>
                <a:cubicBezTo>
                  <a:pt x="3399" y="1389"/>
                  <a:pt x="3399" y="1389"/>
                  <a:pt x="3400" y="1389"/>
                </a:cubicBezTo>
                <a:cubicBezTo>
                  <a:pt x="3400" y="1388"/>
                  <a:pt x="3401" y="1389"/>
                  <a:pt x="3401" y="1388"/>
                </a:cubicBezTo>
                <a:cubicBezTo>
                  <a:pt x="3402" y="1388"/>
                  <a:pt x="3401" y="1388"/>
                  <a:pt x="3401" y="1387"/>
                </a:cubicBezTo>
                <a:cubicBezTo>
                  <a:pt x="3401" y="1387"/>
                  <a:pt x="3401" y="1387"/>
                  <a:pt x="3401" y="1386"/>
                </a:cubicBezTo>
                <a:cubicBezTo>
                  <a:pt x="3400" y="1386"/>
                  <a:pt x="3400" y="1386"/>
                  <a:pt x="3400" y="1385"/>
                </a:cubicBezTo>
                <a:cubicBezTo>
                  <a:pt x="3400" y="1385"/>
                  <a:pt x="3400" y="1384"/>
                  <a:pt x="3399" y="1384"/>
                </a:cubicBezTo>
                <a:cubicBezTo>
                  <a:pt x="3399" y="1384"/>
                  <a:pt x="3399" y="1383"/>
                  <a:pt x="3399" y="1383"/>
                </a:cubicBezTo>
                <a:cubicBezTo>
                  <a:pt x="3399" y="1383"/>
                  <a:pt x="3400" y="1383"/>
                  <a:pt x="3400" y="1383"/>
                </a:cubicBezTo>
                <a:cubicBezTo>
                  <a:pt x="3400" y="1384"/>
                  <a:pt x="3400" y="1384"/>
                  <a:pt x="3400" y="1384"/>
                </a:cubicBezTo>
                <a:cubicBezTo>
                  <a:pt x="3401" y="1385"/>
                  <a:pt x="3401" y="1385"/>
                  <a:pt x="3401" y="1385"/>
                </a:cubicBezTo>
                <a:cubicBezTo>
                  <a:pt x="3402" y="1385"/>
                  <a:pt x="3402" y="1385"/>
                  <a:pt x="3402" y="1385"/>
                </a:cubicBezTo>
                <a:cubicBezTo>
                  <a:pt x="3402" y="1385"/>
                  <a:pt x="3403" y="1385"/>
                  <a:pt x="3403" y="1385"/>
                </a:cubicBezTo>
                <a:cubicBezTo>
                  <a:pt x="3404" y="1384"/>
                  <a:pt x="3404" y="1384"/>
                  <a:pt x="3404" y="1384"/>
                </a:cubicBezTo>
                <a:cubicBezTo>
                  <a:pt x="3404" y="1384"/>
                  <a:pt x="3405" y="1384"/>
                  <a:pt x="3405" y="1384"/>
                </a:cubicBezTo>
                <a:cubicBezTo>
                  <a:pt x="3405" y="1385"/>
                  <a:pt x="3405" y="1385"/>
                  <a:pt x="3406" y="1385"/>
                </a:cubicBezTo>
                <a:cubicBezTo>
                  <a:pt x="3406" y="1385"/>
                  <a:pt x="3406" y="1385"/>
                  <a:pt x="3406" y="1385"/>
                </a:cubicBezTo>
                <a:cubicBezTo>
                  <a:pt x="3406" y="1385"/>
                  <a:pt x="3406" y="1385"/>
                  <a:pt x="3407" y="1385"/>
                </a:cubicBezTo>
                <a:cubicBezTo>
                  <a:pt x="3407" y="1385"/>
                  <a:pt x="3407" y="1387"/>
                  <a:pt x="3407" y="1386"/>
                </a:cubicBezTo>
                <a:cubicBezTo>
                  <a:pt x="3408" y="1386"/>
                  <a:pt x="3407" y="1385"/>
                  <a:pt x="3407" y="1385"/>
                </a:cubicBezTo>
                <a:cubicBezTo>
                  <a:pt x="3407" y="1385"/>
                  <a:pt x="3407" y="1385"/>
                  <a:pt x="3407" y="1384"/>
                </a:cubicBezTo>
                <a:cubicBezTo>
                  <a:pt x="3407" y="1384"/>
                  <a:pt x="3406" y="1384"/>
                  <a:pt x="3407" y="1384"/>
                </a:cubicBezTo>
                <a:cubicBezTo>
                  <a:pt x="3407" y="1384"/>
                  <a:pt x="3407" y="1384"/>
                  <a:pt x="3407" y="1384"/>
                </a:cubicBezTo>
                <a:cubicBezTo>
                  <a:pt x="3408" y="1384"/>
                  <a:pt x="3408" y="1384"/>
                  <a:pt x="3408" y="1384"/>
                </a:cubicBezTo>
                <a:cubicBezTo>
                  <a:pt x="3409" y="1384"/>
                  <a:pt x="3409" y="1384"/>
                  <a:pt x="3410" y="1384"/>
                </a:cubicBezTo>
                <a:cubicBezTo>
                  <a:pt x="3411" y="1384"/>
                  <a:pt x="3411" y="1383"/>
                  <a:pt x="3411" y="1384"/>
                </a:cubicBezTo>
                <a:cubicBezTo>
                  <a:pt x="3412" y="1384"/>
                  <a:pt x="3412" y="1384"/>
                  <a:pt x="3412" y="1384"/>
                </a:cubicBezTo>
                <a:cubicBezTo>
                  <a:pt x="3412" y="1385"/>
                  <a:pt x="3411" y="1385"/>
                  <a:pt x="3411" y="1385"/>
                </a:cubicBezTo>
                <a:cubicBezTo>
                  <a:pt x="3412" y="1386"/>
                  <a:pt x="3413" y="1386"/>
                  <a:pt x="3414" y="1386"/>
                </a:cubicBezTo>
                <a:cubicBezTo>
                  <a:pt x="3415" y="1386"/>
                  <a:pt x="3415" y="1386"/>
                  <a:pt x="3416" y="1386"/>
                </a:cubicBezTo>
                <a:cubicBezTo>
                  <a:pt x="3417" y="1387"/>
                  <a:pt x="3419" y="1387"/>
                  <a:pt x="3421" y="1387"/>
                </a:cubicBezTo>
                <a:cubicBezTo>
                  <a:pt x="3421" y="1387"/>
                  <a:pt x="3421" y="1387"/>
                  <a:pt x="3422" y="1387"/>
                </a:cubicBezTo>
                <a:cubicBezTo>
                  <a:pt x="3422" y="1387"/>
                  <a:pt x="3422" y="1388"/>
                  <a:pt x="3422" y="1388"/>
                </a:cubicBezTo>
                <a:cubicBezTo>
                  <a:pt x="3423" y="1389"/>
                  <a:pt x="3423" y="1389"/>
                  <a:pt x="3424" y="1389"/>
                </a:cubicBezTo>
                <a:cubicBezTo>
                  <a:pt x="3425" y="1389"/>
                  <a:pt x="3425" y="1389"/>
                  <a:pt x="3426" y="1389"/>
                </a:cubicBezTo>
                <a:cubicBezTo>
                  <a:pt x="3426" y="1390"/>
                  <a:pt x="3426" y="1390"/>
                  <a:pt x="3426" y="1390"/>
                </a:cubicBezTo>
                <a:cubicBezTo>
                  <a:pt x="3426" y="1391"/>
                  <a:pt x="3427" y="1392"/>
                  <a:pt x="3427" y="1392"/>
                </a:cubicBezTo>
                <a:cubicBezTo>
                  <a:pt x="3428" y="1393"/>
                  <a:pt x="3428" y="1394"/>
                  <a:pt x="3429" y="1395"/>
                </a:cubicBezTo>
                <a:cubicBezTo>
                  <a:pt x="3429" y="1395"/>
                  <a:pt x="3430" y="1396"/>
                  <a:pt x="3431" y="1397"/>
                </a:cubicBezTo>
                <a:cubicBezTo>
                  <a:pt x="3432" y="1398"/>
                  <a:pt x="3431" y="1400"/>
                  <a:pt x="3433" y="1401"/>
                </a:cubicBezTo>
                <a:cubicBezTo>
                  <a:pt x="3434" y="1401"/>
                  <a:pt x="3435" y="1401"/>
                  <a:pt x="3435" y="1402"/>
                </a:cubicBezTo>
                <a:cubicBezTo>
                  <a:pt x="3436" y="1402"/>
                  <a:pt x="3436" y="1403"/>
                  <a:pt x="3436" y="1404"/>
                </a:cubicBezTo>
                <a:cubicBezTo>
                  <a:pt x="3437" y="1405"/>
                  <a:pt x="3437" y="1405"/>
                  <a:pt x="3438" y="1405"/>
                </a:cubicBezTo>
                <a:cubicBezTo>
                  <a:pt x="3439" y="1406"/>
                  <a:pt x="3439" y="1406"/>
                  <a:pt x="3440" y="1407"/>
                </a:cubicBezTo>
                <a:cubicBezTo>
                  <a:pt x="3440" y="1407"/>
                  <a:pt x="3441" y="1408"/>
                  <a:pt x="3441" y="1409"/>
                </a:cubicBezTo>
                <a:cubicBezTo>
                  <a:pt x="3442" y="1410"/>
                  <a:pt x="3443" y="1410"/>
                  <a:pt x="3443" y="1411"/>
                </a:cubicBezTo>
                <a:cubicBezTo>
                  <a:pt x="3444" y="1412"/>
                  <a:pt x="3444" y="1413"/>
                  <a:pt x="3445" y="1413"/>
                </a:cubicBezTo>
                <a:cubicBezTo>
                  <a:pt x="3446" y="1413"/>
                  <a:pt x="3447" y="1413"/>
                  <a:pt x="3449" y="1413"/>
                </a:cubicBezTo>
                <a:cubicBezTo>
                  <a:pt x="3450" y="1413"/>
                  <a:pt x="3452" y="1413"/>
                  <a:pt x="3454" y="1414"/>
                </a:cubicBezTo>
                <a:cubicBezTo>
                  <a:pt x="3455" y="1414"/>
                  <a:pt x="3456" y="1414"/>
                  <a:pt x="3457" y="1414"/>
                </a:cubicBezTo>
                <a:cubicBezTo>
                  <a:pt x="3458" y="1415"/>
                  <a:pt x="3459" y="1415"/>
                  <a:pt x="3460" y="1414"/>
                </a:cubicBezTo>
                <a:cubicBezTo>
                  <a:pt x="3462" y="1414"/>
                  <a:pt x="3464" y="1414"/>
                  <a:pt x="3466" y="1415"/>
                </a:cubicBezTo>
                <a:cubicBezTo>
                  <a:pt x="3467" y="1415"/>
                  <a:pt x="3467" y="1416"/>
                  <a:pt x="3468" y="1416"/>
                </a:cubicBezTo>
                <a:cubicBezTo>
                  <a:pt x="3469" y="1416"/>
                  <a:pt x="3469" y="1416"/>
                  <a:pt x="3470" y="1416"/>
                </a:cubicBezTo>
                <a:cubicBezTo>
                  <a:pt x="3470" y="1416"/>
                  <a:pt x="3470" y="1417"/>
                  <a:pt x="3470" y="1417"/>
                </a:cubicBezTo>
                <a:cubicBezTo>
                  <a:pt x="3470" y="1417"/>
                  <a:pt x="3471" y="1417"/>
                  <a:pt x="3471" y="1417"/>
                </a:cubicBezTo>
                <a:cubicBezTo>
                  <a:pt x="3471" y="1417"/>
                  <a:pt x="3471" y="1418"/>
                  <a:pt x="3472" y="1418"/>
                </a:cubicBezTo>
                <a:cubicBezTo>
                  <a:pt x="3472" y="1418"/>
                  <a:pt x="3472" y="1418"/>
                  <a:pt x="3473" y="1419"/>
                </a:cubicBezTo>
                <a:cubicBezTo>
                  <a:pt x="3474" y="1419"/>
                  <a:pt x="3474" y="1420"/>
                  <a:pt x="3475" y="1419"/>
                </a:cubicBezTo>
                <a:cubicBezTo>
                  <a:pt x="3475" y="1419"/>
                  <a:pt x="3476" y="1419"/>
                  <a:pt x="3476" y="1419"/>
                </a:cubicBezTo>
                <a:cubicBezTo>
                  <a:pt x="3476" y="1419"/>
                  <a:pt x="3477" y="1419"/>
                  <a:pt x="3477" y="1419"/>
                </a:cubicBezTo>
                <a:cubicBezTo>
                  <a:pt x="3478" y="1418"/>
                  <a:pt x="3477" y="1418"/>
                  <a:pt x="3477" y="1417"/>
                </a:cubicBezTo>
                <a:cubicBezTo>
                  <a:pt x="3477" y="1417"/>
                  <a:pt x="3477" y="1417"/>
                  <a:pt x="3477" y="1417"/>
                </a:cubicBezTo>
                <a:cubicBezTo>
                  <a:pt x="3476" y="1417"/>
                  <a:pt x="3476" y="1417"/>
                  <a:pt x="3476" y="1416"/>
                </a:cubicBezTo>
                <a:cubicBezTo>
                  <a:pt x="3476" y="1416"/>
                  <a:pt x="3476" y="1416"/>
                  <a:pt x="3475" y="1416"/>
                </a:cubicBezTo>
                <a:cubicBezTo>
                  <a:pt x="3475" y="1415"/>
                  <a:pt x="3475" y="1415"/>
                  <a:pt x="3475" y="1415"/>
                </a:cubicBezTo>
                <a:cubicBezTo>
                  <a:pt x="3475" y="1415"/>
                  <a:pt x="3475" y="1415"/>
                  <a:pt x="3475" y="1415"/>
                </a:cubicBezTo>
                <a:cubicBezTo>
                  <a:pt x="3476" y="1415"/>
                  <a:pt x="3476" y="1415"/>
                  <a:pt x="3476" y="1415"/>
                </a:cubicBezTo>
                <a:cubicBezTo>
                  <a:pt x="3476" y="1416"/>
                  <a:pt x="3477" y="1415"/>
                  <a:pt x="3477" y="1415"/>
                </a:cubicBezTo>
                <a:cubicBezTo>
                  <a:pt x="3478" y="1415"/>
                  <a:pt x="3478" y="1415"/>
                  <a:pt x="3478" y="1415"/>
                </a:cubicBezTo>
                <a:cubicBezTo>
                  <a:pt x="3479" y="1415"/>
                  <a:pt x="3479" y="1415"/>
                  <a:pt x="3479" y="1415"/>
                </a:cubicBezTo>
                <a:cubicBezTo>
                  <a:pt x="3480" y="1415"/>
                  <a:pt x="3480" y="1415"/>
                  <a:pt x="3480" y="1414"/>
                </a:cubicBezTo>
                <a:cubicBezTo>
                  <a:pt x="3480" y="1414"/>
                  <a:pt x="3480" y="1414"/>
                  <a:pt x="3479" y="1414"/>
                </a:cubicBezTo>
                <a:cubicBezTo>
                  <a:pt x="3478" y="1414"/>
                  <a:pt x="3478" y="1414"/>
                  <a:pt x="3477" y="1414"/>
                </a:cubicBezTo>
                <a:cubicBezTo>
                  <a:pt x="3476" y="1414"/>
                  <a:pt x="3476" y="1414"/>
                  <a:pt x="3475" y="1413"/>
                </a:cubicBezTo>
                <a:cubicBezTo>
                  <a:pt x="3474" y="1413"/>
                  <a:pt x="3474" y="1413"/>
                  <a:pt x="3473" y="1413"/>
                </a:cubicBezTo>
                <a:cubicBezTo>
                  <a:pt x="3472" y="1413"/>
                  <a:pt x="3471" y="1412"/>
                  <a:pt x="3470" y="1411"/>
                </a:cubicBezTo>
                <a:cubicBezTo>
                  <a:pt x="3470" y="1410"/>
                  <a:pt x="3469" y="1411"/>
                  <a:pt x="3468" y="1410"/>
                </a:cubicBezTo>
                <a:cubicBezTo>
                  <a:pt x="3467" y="1410"/>
                  <a:pt x="3467" y="1409"/>
                  <a:pt x="3468" y="1409"/>
                </a:cubicBezTo>
                <a:cubicBezTo>
                  <a:pt x="3468" y="1409"/>
                  <a:pt x="3469" y="1409"/>
                  <a:pt x="3469" y="1409"/>
                </a:cubicBezTo>
                <a:cubicBezTo>
                  <a:pt x="3469" y="1409"/>
                  <a:pt x="3470" y="1409"/>
                  <a:pt x="3470" y="1409"/>
                </a:cubicBezTo>
                <a:cubicBezTo>
                  <a:pt x="3470" y="1409"/>
                  <a:pt x="3470" y="1408"/>
                  <a:pt x="3470" y="1408"/>
                </a:cubicBezTo>
                <a:cubicBezTo>
                  <a:pt x="3470" y="1408"/>
                  <a:pt x="3471" y="1408"/>
                  <a:pt x="3471" y="1408"/>
                </a:cubicBezTo>
                <a:cubicBezTo>
                  <a:pt x="3471" y="1407"/>
                  <a:pt x="3469" y="1407"/>
                  <a:pt x="3469" y="1407"/>
                </a:cubicBezTo>
                <a:cubicBezTo>
                  <a:pt x="3467" y="1407"/>
                  <a:pt x="3465" y="1407"/>
                  <a:pt x="3464" y="1407"/>
                </a:cubicBezTo>
                <a:cubicBezTo>
                  <a:pt x="3463" y="1407"/>
                  <a:pt x="3463" y="1406"/>
                  <a:pt x="3463" y="1406"/>
                </a:cubicBezTo>
                <a:cubicBezTo>
                  <a:pt x="3463" y="1405"/>
                  <a:pt x="3462" y="1405"/>
                  <a:pt x="3462" y="1405"/>
                </a:cubicBezTo>
                <a:cubicBezTo>
                  <a:pt x="3461" y="1405"/>
                  <a:pt x="3461" y="1405"/>
                  <a:pt x="3461" y="1404"/>
                </a:cubicBezTo>
                <a:cubicBezTo>
                  <a:pt x="3461" y="1404"/>
                  <a:pt x="3461" y="1404"/>
                  <a:pt x="3462" y="1403"/>
                </a:cubicBezTo>
                <a:cubicBezTo>
                  <a:pt x="3462" y="1403"/>
                  <a:pt x="3462" y="1402"/>
                  <a:pt x="3462" y="1402"/>
                </a:cubicBezTo>
                <a:cubicBezTo>
                  <a:pt x="3462" y="1401"/>
                  <a:pt x="3463" y="1401"/>
                  <a:pt x="3463" y="1400"/>
                </a:cubicBezTo>
                <a:cubicBezTo>
                  <a:pt x="3463" y="1400"/>
                  <a:pt x="3461" y="1400"/>
                  <a:pt x="3461" y="1400"/>
                </a:cubicBezTo>
                <a:cubicBezTo>
                  <a:pt x="3460" y="1400"/>
                  <a:pt x="3460" y="1400"/>
                  <a:pt x="3460" y="1400"/>
                </a:cubicBezTo>
                <a:cubicBezTo>
                  <a:pt x="3459" y="1400"/>
                  <a:pt x="3459" y="1400"/>
                  <a:pt x="3458" y="1400"/>
                </a:cubicBezTo>
                <a:cubicBezTo>
                  <a:pt x="3458" y="1400"/>
                  <a:pt x="3458" y="1401"/>
                  <a:pt x="3457" y="1401"/>
                </a:cubicBezTo>
                <a:cubicBezTo>
                  <a:pt x="3457" y="1401"/>
                  <a:pt x="3456" y="1401"/>
                  <a:pt x="3456" y="1401"/>
                </a:cubicBezTo>
                <a:cubicBezTo>
                  <a:pt x="3455" y="1401"/>
                  <a:pt x="3454" y="1400"/>
                  <a:pt x="3454" y="1399"/>
                </a:cubicBezTo>
                <a:cubicBezTo>
                  <a:pt x="3454" y="1398"/>
                  <a:pt x="3453" y="1398"/>
                  <a:pt x="3453" y="1397"/>
                </a:cubicBezTo>
                <a:cubicBezTo>
                  <a:pt x="3452" y="1396"/>
                  <a:pt x="3451" y="1396"/>
                  <a:pt x="3451" y="1395"/>
                </a:cubicBezTo>
                <a:cubicBezTo>
                  <a:pt x="3450" y="1395"/>
                  <a:pt x="3450" y="1394"/>
                  <a:pt x="3450" y="1393"/>
                </a:cubicBezTo>
                <a:cubicBezTo>
                  <a:pt x="3450" y="1392"/>
                  <a:pt x="3450" y="1391"/>
                  <a:pt x="3449" y="1391"/>
                </a:cubicBezTo>
                <a:cubicBezTo>
                  <a:pt x="3448" y="1389"/>
                  <a:pt x="3446" y="1388"/>
                  <a:pt x="3445" y="1387"/>
                </a:cubicBezTo>
                <a:cubicBezTo>
                  <a:pt x="3444" y="1386"/>
                  <a:pt x="3442" y="1385"/>
                  <a:pt x="3442" y="1385"/>
                </a:cubicBezTo>
                <a:cubicBezTo>
                  <a:pt x="3441" y="1384"/>
                  <a:pt x="3440" y="1383"/>
                  <a:pt x="3439" y="1382"/>
                </a:cubicBezTo>
                <a:cubicBezTo>
                  <a:pt x="3438" y="1381"/>
                  <a:pt x="3438" y="1381"/>
                  <a:pt x="3437" y="1380"/>
                </a:cubicBezTo>
                <a:cubicBezTo>
                  <a:pt x="3437" y="1379"/>
                  <a:pt x="3436" y="1378"/>
                  <a:pt x="3436" y="1377"/>
                </a:cubicBezTo>
                <a:cubicBezTo>
                  <a:pt x="3435" y="1376"/>
                  <a:pt x="3435" y="1374"/>
                  <a:pt x="3437" y="1374"/>
                </a:cubicBezTo>
                <a:cubicBezTo>
                  <a:pt x="3438" y="1374"/>
                  <a:pt x="3439" y="1374"/>
                  <a:pt x="3440" y="1374"/>
                </a:cubicBezTo>
                <a:cubicBezTo>
                  <a:pt x="3441" y="1374"/>
                  <a:pt x="3441" y="1374"/>
                  <a:pt x="3442" y="1374"/>
                </a:cubicBezTo>
                <a:cubicBezTo>
                  <a:pt x="3443" y="1374"/>
                  <a:pt x="3444" y="1374"/>
                  <a:pt x="3445" y="1374"/>
                </a:cubicBezTo>
                <a:cubicBezTo>
                  <a:pt x="3446" y="1373"/>
                  <a:pt x="3446" y="1372"/>
                  <a:pt x="3446" y="1372"/>
                </a:cubicBezTo>
                <a:cubicBezTo>
                  <a:pt x="3446" y="1371"/>
                  <a:pt x="3446" y="1370"/>
                  <a:pt x="3445" y="1369"/>
                </a:cubicBezTo>
                <a:cubicBezTo>
                  <a:pt x="3445" y="1369"/>
                  <a:pt x="3444" y="1368"/>
                  <a:pt x="3444" y="1367"/>
                </a:cubicBezTo>
                <a:cubicBezTo>
                  <a:pt x="3443" y="1367"/>
                  <a:pt x="3442" y="1366"/>
                  <a:pt x="3442" y="1366"/>
                </a:cubicBezTo>
                <a:cubicBezTo>
                  <a:pt x="3441" y="1365"/>
                  <a:pt x="3441" y="1364"/>
                  <a:pt x="3440" y="1365"/>
                </a:cubicBezTo>
                <a:cubicBezTo>
                  <a:pt x="3439" y="1365"/>
                  <a:pt x="3438" y="1365"/>
                  <a:pt x="3437" y="1365"/>
                </a:cubicBezTo>
                <a:cubicBezTo>
                  <a:pt x="3436" y="1365"/>
                  <a:pt x="3436" y="1365"/>
                  <a:pt x="3435" y="1364"/>
                </a:cubicBezTo>
                <a:cubicBezTo>
                  <a:pt x="3433" y="1363"/>
                  <a:pt x="3432" y="1362"/>
                  <a:pt x="3430" y="1361"/>
                </a:cubicBezTo>
                <a:cubicBezTo>
                  <a:pt x="3429" y="1361"/>
                  <a:pt x="3428" y="1361"/>
                  <a:pt x="3428" y="1360"/>
                </a:cubicBezTo>
                <a:close/>
                <a:moveTo>
                  <a:pt x="3449" y="1814"/>
                </a:moveTo>
                <a:cubicBezTo>
                  <a:pt x="3448" y="1815"/>
                  <a:pt x="3448" y="1815"/>
                  <a:pt x="3448" y="1816"/>
                </a:cubicBezTo>
                <a:cubicBezTo>
                  <a:pt x="3448" y="1816"/>
                  <a:pt x="3448" y="1816"/>
                  <a:pt x="3448" y="1816"/>
                </a:cubicBezTo>
                <a:cubicBezTo>
                  <a:pt x="3449" y="1815"/>
                  <a:pt x="3449" y="1815"/>
                  <a:pt x="3449" y="1815"/>
                </a:cubicBezTo>
                <a:cubicBezTo>
                  <a:pt x="3450" y="1814"/>
                  <a:pt x="3449" y="1814"/>
                  <a:pt x="3449" y="1814"/>
                </a:cubicBezTo>
                <a:close/>
                <a:moveTo>
                  <a:pt x="3411" y="1784"/>
                </a:moveTo>
                <a:cubicBezTo>
                  <a:pt x="3411" y="1784"/>
                  <a:pt x="3411" y="1785"/>
                  <a:pt x="3410" y="1785"/>
                </a:cubicBezTo>
                <a:cubicBezTo>
                  <a:pt x="3410" y="1785"/>
                  <a:pt x="3410" y="1787"/>
                  <a:pt x="3411" y="1787"/>
                </a:cubicBezTo>
                <a:cubicBezTo>
                  <a:pt x="3411" y="1786"/>
                  <a:pt x="3411" y="1786"/>
                  <a:pt x="3411" y="1786"/>
                </a:cubicBezTo>
                <a:cubicBezTo>
                  <a:pt x="3411" y="1785"/>
                  <a:pt x="3412" y="1785"/>
                  <a:pt x="3411" y="1784"/>
                </a:cubicBezTo>
                <a:close/>
                <a:moveTo>
                  <a:pt x="3451" y="1805"/>
                </a:moveTo>
                <a:cubicBezTo>
                  <a:pt x="3450" y="1804"/>
                  <a:pt x="3450" y="1803"/>
                  <a:pt x="3450" y="1802"/>
                </a:cubicBezTo>
                <a:cubicBezTo>
                  <a:pt x="3450" y="1801"/>
                  <a:pt x="3450" y="1800"/>
                  <a:pt x="3450" y="1799"/>
                </a:cubicBezTo>
                <a:cubicBezTo>
                  <a:pt x="3450" y="1798"/>
                  <a:pt x="3451" y="1797"/>
                  <a:pt x="3451" y="1797"/>
                </a:cubicBezTo>
                <a:cubicBezTo>
                  <a:pt x="3451" y="1796"/>
                  <a:pt x="3451" y="1795"/>
                  <a:pt x="3451" y="1794"/>
                </a:cubicBezTo>
                <a:cubicBezTo>
                  <a:pt x="3451" y="1792"/>
                  <a:pt x="3451" y="1791"/>
                  <a:pt x="3449" y="1790"/>
                </a:cubicBezTo>
                <a:cubicBezTo>
                  <a:pt x="3449" y="1790"/>
                  <a:pt x="3449" y="1790"/>
                  <a:pt x="3448" y="1789"/>
                </a:cubicBezTo>
                <a:cubicBezTo>
                  <a:pt x="3448" y="1789"/>
                  <a:pt x="3447" y="1789"/>
                  <a:pt x="3446" y="1790"/>
                </a:cubicBezTo>
                <a:cubicBezTo>
                  <a:pt x="3446" y="1790"/>
                  <a:pt x="3445" y="1790"/>
                  <a:pt x="3444" y="1791"/>
                </a:cubicBezTo>
                <a:cubicBezTo>
                  <a:pt x="3444" y="1791"/>
                  <a:pt x="3443" y="1791"/>
                  <a:pt x="3442" y="1791"/>
                </a:cubicBezTo>
                <a:cubicBezTo>
                  <a:pt x="3441" y="1791"/>
                  <a:pt x="3441" y="1791"/>
                  <a:pt x="3440" y="1792"/>
                </a:cubicBezTo>
                <a:cubicBezTo>
                  <a:pt x="3440" y="1792"/>
                  <a:pt x="3440" y="1792"/>
                  <a:pt x="3439" y="1792"/>
                </a:cubicBezTo>
                <a:cubicBezTo>
                  <a:pt x="3438" y="1793"/>
                  <a:pt x="3435" y="1792"/>
                  <a:pt x="3434" y="1794"/>
                </a:cubicBezTo>
                <a:cubicBezTo>
                  <a:pt x="3434" y="1795"/>
                  <a:pt x="3433" y="1794"/>
                  <a:pt x="3433" y="1794"/>
                </a:cubicBezTo>
                <a:cubicBezTo>
                  <a:pt x="3432" y="1794"/>
                  <a:pt x="3431" y="1794"/>
                  <a:pt x="3430" y="1794"/>
                </a:cubicBezTo>
                <a:cubicBezTo>
                  <a:pt x="3429" y="1794"/>
                  <a:pt x="3429" y="1795"/>
                  <a:pt x="3428" y="1794"/>
                </a:cubicBezTo>
                <a:cubicBezTo>
                  <a:pt x="3427" y="1794"/>
                  <a:pt x="3426" y="1794"/>
                  <a:pt x="3425" y="1793"/>
                </a:cubicBezTo>
                <a:cubicBezTo>
                  <a:pt x="3424" y="1793"/>
                  <a:pt x="3423" y="1793"/>
                  <a:pt x="3422" y="1793"/>
                </a:cubicBezTo>
                <a:cubicBezTo>
                  <a:pt x="3422" y="1793"/>
                  <a:pt x="3422" y="1792"/>
                  <a:pt x="3421" y="1792"/>
                </a:cubicBezTo>
                <a:cubicBezTo>
                  <a:pt x="3421" y="1792"/>
                  <a:pt x="3421" y="1791"/>
                  <a:pt x="3420" y="1791"/>
                </a:cubicBezTo>
                <a:cubicBezTo>
                  <a:pt x="3419" y="1791"/>
                  <a:pt x="3418" y="1790"/>
                  <a:pt x="3417" y="1790"/>
                </a:cubicBezTo>
                <a:cubicBezTo>
                  <a:pt x="3417" y="1789"/>
                  <a:pt x="3416" y="1789"/>
                  <a:pt x="3415" y="1789"/>
                </a:cubicBezTo>
                <a:cubicBezTo>
                  <a:pt x="3414" y="1789"/>
                  <a:pt x="3414" y="1788"/>
                  <a:pt x="3413" y="1787"/>
                </a:cubicBezTo>
                <a:cubicBezTo>
                  <a:pt x="3413" y="1787"/>
                  <a:pt x="3412" y="1788"/>
                  <a:pt x="3411" y="1788"/>
                </a:cubicBezTo>
                <a:cubicBezTo>
                  <a:pt x="3411" y="1788"/>
                  <a:pt x="3410" y="1787"/>
                  <a:pt x="3410" y="1788"/>
                </a:cubicBezTo>
                <a:cubicBezTo>
                  <a:pt x="3409" y="1788"/>
                  <a:pt x="3409" y="1790"/>
                  <a:pt x="3409" y="1790"/>
                </a:cubicBezTo>
                <a:cubicBezTo>
                  <a:pt x="3409" y="1791"/>
                  <a:pt x="3409" y="1792"/>
                  <a:pt x="3409" y="1793"/>
                </a:cubicBezTo>
                <a:cubicBezTo>
                  <a:pt x="3409" y="1794"/>
                  <a:pt x="3409" y="1794"/>
                  <a:pt x="3410" y="1795"/>
                </a:cubicBezTo>
                <a:cubicBezTo>
                  <a:pt x="3410" y="1796"/>
                  <a:pt x="3410" y="1797"/>
                  <a:pt x="3410" y="1798"/>
                </a:cubicBezTo>
                <a:cubicBezTo>
                  <a:pt x="3411" y="1799"/>
                  <a:pt x="3412" y="1800"/>
                  <a:pt x="3412" y="1800"/>
                </a:cubicBezTo>
                <a:cubicBezTo>
                  <a:pt x="3412" y="1801"/>
                  <a:pt x="3412" y="1801"/>
                  <a:pt x="3413" y="1802"/>
                </a:cubicBezTo>
                <a:cubicBezTo>
                  <a:pt x="3413" y="1802"/>
                  <a:pt x="3413" y="1803"/>
                  <a:pt x="3414" y="1803"/>
                </a:cubicBezTo>
                <a:cubicBezTo>
                  <a:pt x="3414" y="1803"/>
                  <a:pt x="3414" y="1804"/>
                  <a:pt x="3415" y="1804"/>
                </a:cubicBezTo>
                <a:cubicBezTo>
                  <a:pt x="3415" y="1804"/>
                  <a:pt x="3415" y="1805"/>
                  <a:pt x="3416" y="1806"/>
                </a:cubicBezTo>
                <a:cubicBezTo>
                  <a:pt x="3416" y="1807"/>
                  <a:pt x="3416" y="1808"/>
                  <a:pt x="3416" y="1809"/>
                </a:cubicBezTo>
                <a:cubicBezTo>
                  <a:pt x="3417" y="1809"/>
                  <a:pt x="3417" y="1810"/>
                  <a:pt x="3417" y="1810"/>
                </a:cubicBezTo>
                <a:cubicBezTo>
                  <a:pt x="3417" y="1810"/>
                  <a:pt x="3417" y="1811"/>
                  <a:pt x="3418" y="1811"/>
                </a:cubicBezTo>
                <a:cubicBezTo>
                  <a:pt x="3418" y="1811"/>
                  <a:pt x="3418" y="1811"/>
                  <a:pt x="3419" y="1811"/>
                </a:cubicBezTo>
                <a:cubicBezTo>
                  <a:pt x="3419" y="1812"/>
                  <a:pt x="3418" y="1813"/>
                  <a:pt x="3418" y="1812"/>
                </a:cubicBezTo>
                <a:cubicBezTo>
                  <a:pt x="3418" y="1811"/>
                  <a:pt x="3418" y="1811"/>
                  <a:pt x="3417" y="1811"/>
                </a:cubicBezTo>
                <a:cubicBezTo>
                  <a:pt x="3417" y="1811"/>
                  <a:pt x="3417" y="1810"/>
                  <a:pt x="3416" y="1810"/>
                </a:cubicBezTo>
                <a:cubicBezTo>
                  <a:pt x="3416" y="1809"/>
                  <a:pt x="3416" y="1809"/>
                  <a:pt x="3416" y="1810"/>
                </a:cubicBezTo>
                <a:cubicBezTo>
                  <a:pt x="3416" y="1811"/>
                  <a:pt x="3416" y="1812"/>
                  <a:pt x="3416" y="1813"/>
                </a:cubicBezTo>
                <a:cubicBezTo>
                  <a:pt x="3416" y="1813"/>
                  <a:pt x="3416" y="1813"/>
                  <a:pt x="3416" y="1814"/>
                </a:cubicBezTo>
                <a:cubicBezTo>
                  <a:pt x="3416" y="1814"/>
                  <a:pt x="3416" y="1814"/>
                  <a:pt x="3417" y="1815"/>
                </a:cubicBezTo>
                <a:cubicBezTo>
                  <a:pt x="3417" y="1815"/>
                  <a:pt x="3417" y="1816"/>
                  <a:pt x="3417" y="1817"/>
                </a:cubicBezTo>
                <a:cubicBezTo>
                  <a:pt x="3417" y="1818"/>
                  <a:pt x="3418" y="1818"/>
                  <a:pt x="3419" y="1818"/>
                </a:cubicBezTo>
                <a:cubicBezTo>
                  <a:pt x="3419" y="1819"/>
                  <a:pt x="3419" y="1819"/>
                  <a:pt x="3420" y="1819"/>
                </a:cubicBezTo>
                <a:cubicBezTo>
                  <a:pt x="3420" y="1819"/>
                  <a:pt x="3420" y="1819"/>
                  <a:pt x="3420" y="1820"/>
                </a:cubicBezTo>
                <a:cubicBezTo>
                  <a:pt x="3420" y="1820"/>
                  <a:pt x="3421" y="1820"/>
                  <a:pt x="3421" y="1821"/>
                </a:cubicBezTo>
                <a:cubicBezTo>
                  <a:pt x="3422" y="1821"/>
                  <a:pt x="3422" y="1822"/>
                  <a:pt x="3422" y="1822"/>
                </a:cubicBezTo>
                <a:cubicBezTo>
                  <a:pt x="3422" y="1823"/>
                  <a:pt x="3422" y="1823"/>
                  <a:pt x="3423" y="1824"/>
                </a:cubicBezTo>
                <a:cubicBezTo>
                  <a:pt x="3423" y="1824"/>
                  <a:pt x="3424" y="1823"/>
                  <a:pt x="3424" y="1823"/>
                </a:cubicBezTo>
                <a:cubicBezTo>
                  <a:pt x="3425" y="1823"/>
                  <a:pt x="3425" y="1823"/>
                  <a:pt x="3426" y="1823"/>
                </a:cubicBezTo>
                <a:cubicBezTo>
                  <a:pt x="3426" y="1823"/>
                  <a:pt x="3426" y="1824"/>
                  <a:pt x="3427" y="1824"/>
                </a:cubicBezTo>
                <a:cubicBezTo>
                  <a:pt x="3427" y="1824"/>
                  <a:pt x="3427" y="1825"/>
                  <a:pt x="3427" y="1825"/>
                </a:cubicBezTo>
                <a:cubicBezTo>
                  <a:pt x="3427" y="1825"/>
                  <a:pt x="3426" y="1825"/>
                  <a:pt x="3426" y="1825"/>
                </a:cubicBezTo>
                <a:cubicBezTo>
                  <a:pt x="3425" y="1825"/>
                  <a:pt x="3425" y="1825"/>
                  <a:pt x="3425" y="1826"/>
                </a:cubicBezTo>
                <a:cubicBezTo>
                  <a:pt x="3425" y="1826"/>
                  <a:pt x="3425" y="1827"/>
                  <a:pt x="3425" y="1827"/>
                </a:cubicBezTo>
                <a:cubicBezTo>
                  <a:pt x="3426" y="1828"/>
                  <a:pt x="3426" y="1827"/>
                  <a:pt x="3426" y="1827"/>
                </a:cubicBezTo>
                <a:cubicBezTo>
                  <a:pt x="3426" y="1826"/>
                  <a:pt x="3427" y="1827"/>
                  <a:pt x="3427" y="1827"/>
                </a:cubicBezTo>
                <a:cubicBezTo>
                  <a:pt x="3428" y="1827"/>
                  <a:pt x="3429" y="1826"/>
                  <a:pt x="3429" y="1826"/>
                </a:cubicBezTo>
                <a:cubicBezTo>
                  <a:pt x="3430" y="1826"/>
                  <a:pt x="3431" y="1827"/>
                  <a:pt x="3431" y="1827"/>
                </a:cubicBezTo>
                <a:cubicBezTo>
                  <a:pt x="3432" y="1827"/>
                  <a:pt x="3432" y="1827"/>
                  <a:pt x="3432" y="1827"/>
                </a:cubicBezTo>
                <a:cubicBezTo>
                  <a:pt x="3433" y="1827"/>
                  <a:pt x="3433" y="1827"/>
                  <a:pt x="3433" y="1827"/>
                </a:cubicBezTo>
                <a:cubicBezTo>
                  <a:pt x="3434" y="1827"/>
                  <a:pt x="3434" y="1827"/>
                  <a:pt x="3434" y="1828"/>
                </a:cubicBezTo>
                <a:cubicBezTo>
                  <a:pt x="3435" y="1828"/>
                  <a:pt x="3435" y="1828"/>
                  <a:pt x="3435" y="1828"/>
                </a:cubicBezTo>
                <a:cubicBezTo>
                  <a:pt x="3436" y="1828"/>
                  <a:pt x="3435" y="1827"/>
                  <a:pt x="3435" y="1827"/>
                </a:cubicBezTo>
                <a:cubicBezTo>
                  <a:pt x="3435" y="1826"/>
                  <a:pt x="3436" y="1826"/>
                  <a:pt x="3436" y="1826"/>
                </a:cubicBezTo>
                <a:cubicBezTo>
                  <a:pt x="3436" y="1825"/>
                  <a:pt x="3436" y="1825"/>
                  <a:pt x="3436" y="1825"/>
                </a:cubicBezTo>
                <a:cubicBezTo>
                  <a:pt x="3436" y="1824"/>
                  <a:pt x="3438" y="1825"/>
                  <a:pt x="3437" y="1824"/>
                </a:cubicBezTo>
                <a:cubicBezTo>
                  <a:pt x="3437" y="1823"/>
                  <a:pt x="3436" y="1823"/>
                  <a:pt x="3436" y="1823"/>
                </a:cubicBezTo>
                <a:cubicBezTo>
                  <a:pt x="3436" y="1822"/>
                  <a:pt x="3436" y="1822"/>
                  <a:pt x="3436" y="1822"/>
                </a:cubicBezTo>
                <a:cubicBezTo>
                  <a:pt x="3437" y="1822"/>
                  <a:pt x="3437" y="1822"/>
                  <a:pt x="3437" y="1823"/>
                </a:cubicBezTo>
                <a:cubicBezTo>
                  <a:pt x="3437" y="1823"/>
                  <a:pt x="3437" y="1823"/>
                  <a:pt x="3437" y="1823"/>
                </a:cubicBezTo>
                <a:cubicBezTo>
                  <a:pt x="3438" y="1823"/>
                  <a:pt x="3438" y="1823"/>
                  <a:pt x="3438" y="1824"/>
                </a:cubicBezTo>
                <a:cubicBezTo>
                  <a:pt x="3438" y="1825"/>
                  <a:pt x="3439" y="1823"/>
                  <a:pt x="3439" y="1822"/>
                </a:cubicBezTo>
                <a:cubicBezTo>
                  <a:pt x="3439" y="1822"/>
                  <a:pt x="3439" y="1822"/>
                  <a:pt x="3439" y="1821"/>
                </a:cubicBezTo>
                <a:cubicBezTo>
                  <a:pt x="3440" y="1821"/>
                  <a:pt x="3440" y="1820"/>
                  <a:pt x="3440" y="1820"/>
                </a:cubicBezTo>
                <a:cubicBezTo>
                  <a:pt x="3440" y="1819"/>
                  <a:pt x="3440" y="1818"/>
                  <a:pt x="3439" y="1818"/>
                </a:cubicBezTo>
                <a:cubicBezTo>
                  <a:pt x="3439" y="1818"/>
                  <a:pt x="3439" y="1818"/>
                  <a:pt x="3439" y="1817"/>
                </a:cubicBezTo>
                <a:cubicBezTo>
                  <a:pt x="3439" y="1817"/>
                  <a:pt x="3439" y="1817"/>
                  <a:pt x="3439" y="1817"/>
                </a:cubicBezTo>
                <a:cubicBezTo>
                  <a:pt x="3440" y="1817"/>
                  <a:pt x="3440" y="1817"/>
                  <a:pt x="3440" y="1818"/>
                </a:cubicBezTo>
                <a:cubicBezTo>
                  <a:pt x="3440" y="1818"/>
                  <a:pt x="3441" y="1818"/>
                  <a:pt x="3441" y="1818"/>
                </a:cubicBezTo>
                <a:cubicBezTo>
                  <a:pt x="3441" y="1819"/>
                  <a:pt x="3441" y="1819"/>
                  <a:pt x="3442" y="1819"/>
                </a:cubicBezTo>
                <a:cubicBezTo>
                  <a:pt x="3442" y="1820"/>
                  <a:pt x="3442" y="1819"/>
                  <a:pt x="3442" y="1819"/>
                </a:cubicBezTo>
                <a:cubicBezTo>
                  <a:pt x="3442" y="1818"/>
                  <a:pt x="3442" y="1817"/>
                  <a:pt x="3443" y="1818"/>
                </a:cubicBezTo>
                <a:cubicBezTo>
                  <a:pt x="3444" y="1818"/>
                  <a:pt x="3444" y="1818"/>
                  <a:pt x="3444" y="1818"/>
                </a:cubicBezTo>
                <a:cubicBezTo>
                  <a:pt x="3445" y="1819"/>
                  <a:pt x="3444" y="1819"/>
                  <a:pt x="3445" y="1819"/>
                </a:cubicBezTo>
                <a:cubicBezTo>
                  <a:pt x="3445" y="1820"/>
                  <a:pt x="3445" y="1819"/>
                  <a:pt x="3446" y="1819"/>
                </a:cubicBezTo>
                <a:cubicBezTo>
                  <a:pt x="3446" y="1820"/>
                  <a:pt x="3446" y="1820"/>
                  <a:pt x="3446" y="1820"/>
                </a:cubicBezTo>
                <a:cubicBezTo>
                  <a:pt x="3445" y="1820"/>
                  <a:pt x="3445" y="1821"/>
                  <a:pt x="3445" y="1821"/>
                </a:cubicBezTo>
                <a:cubicBezTo>
                  <a:pt x="3445" y="1821"/>
                  <a:pt x="3444" y="1821"/>
                  <a:pt x="3444" y="1821"/>
                </a:cubicBezTo>
                <a:cubicBezTo>
                  <a:pt x="3444" y="1822"/>
                  <a:pt x="3444" y="1822"/>
                  <a:pt x="3444" y="1822"/>
                </a:cubicBezTo>
                <a:cubicBezTo>
                  <a:pt x="3445" y="1823"/>
                  <a:pt x="3445" y="1822"/>
                  <a:pt x="3445" y="1822"/>
                </a:cubicBezTo>
                <a:cubicBezTo>
                  <a:pt x="3446" y="1822"/>
                  <a:pt x="3446" y="1823"/>
                  <a:pt x="3447" y="1823"/>
                </a:cubicBezTo>
                <a:cubicBezTo>
                  <a:pt x="3448" y="1823"/>
                  <a:pt x="3447" y="1822"/>
                  <a:pt x="3447" y="1821"/>
                </a:cubicBezTo>
                <a:cubicBezTo>
                  <a:pt x="3447" y="1821"/>
                  <a:pt x="3447" y="1821"/>
                  <a:pt x="3447" y="1820"/>
                </a:cubicBezTo>
                <a:cubicBezTo>
                  <a:pt x="3447" y="1820"/>
                  <a:pt x="3447" y="1820"/>
                  <a:pt x="3447" y="1819"/>
                </a:cubicBezTo>
                <a:cubicBezTo>
                  <a:pt x="3448" y="1819"/>
                  <a:pt x="3448" y="1819"/>
                  <a:pt x="3448" y="1818"/>
                </a:cubicBezTo>
                <a:cubicBezTo>
                  <a:pt x="3447" y="1818"/>
                  <a:pt x="3446" y="1818"/>
                  <a:pt x="3446" y="1817"/>
                </a:cubicBezTo>
                <a:cubicBezTo>
                  <a:pt x="3446" y="1817"/>
                  <a:pt x="3446" y="1816"/>
                  <a:pt x="3446" y="1816"/>
                </a:cubicBezTo>
                <a:cubicBezTo>
                  <a:pt x="3446" y="1815"/>
                  <a:pt x="3447" y="1814"/>
                  <a:pt x="3447" y="1813"/>
                </a:cubicBezTo>
                <a:cubicBezTo>
                  <a:pt x="3447" y="1813"/>
                  <a:pt x="3447" y="1812"/>
                  <a:pt x="3447" y="1811"/>
                </a:cubicBezTo>
                <a:cubicBezTo>
                  <a:pt x="3447" y="1810"/>
                  <a:pt x="3448" y="1810"/>
                  <a:pt x="3448" y="1809"/>
                </a:cubicBezTo>
                <a:cubicBezTo>
                  <a:pt x="3449" y="1809"/>
                  <a:pt x="3449" y="1809"/>
                  <a:pt x="3449" y="1809"/>
                </a:cubicBezTo>
                <a:cubicBezTo>
                  <a:pt x="3450" y="1808"/>
                  <a:pt x="3449" y="1806"/>
                  <a:pt x="3450" y="1805"/>
                </a:cubicBezTo>
                <a:cubicBezTo>
                  <a:pt x="3450" y="1806"/>
                  <a:pt x="3450" y="1807"/>
                  <a:pt x="3450" y="1807"/>
                </a:cubicBezTo>
                <a:cubicBezTo>
                  <a:pt x="3450" y="1807"/>
                  <a:pt x="3451" y="1808"/>
                  <a:pt x="3451" y="1808"/>
                </a:cubicBezTo>
                <a:cubicBezTo>
                  <a:pt x="3451" y="1808"/>
                  <a:pt x="3451" y="1808"/>
                  <a:pt x="3451" y="1809"/>
                </a:cubicBezTo>
                <a:cubicBezTo>
                  <a:pt x="3452" y="1809"/>
                  <a:pt x="3452" y="1809"/>
                  <a:pt x="3452" y="1809"/>
                </a:cubicBezTo>
                <a:cubicBezTo>
                  <a:pt x="3452" y="1808"/>
                  <a:pt x="3452" y="1808"/>
                  <a:pt x="3451" y="1807"/>
                </a:cubicBezTo>
                <a:cubicBezTo>
                  <a:pt x="3451" y="1807"/>
                  <a:pt x="3451" y="1806"/>
                  <a:pt x="3451" y="1805"/>
                </a:cubicBezTo>
                <a:close/>
                <a:moveTo>
                  <a:pt x="3440" y="1821"/>
                </a:moveTo>
                <a:cubicBezTo>
                  <a:pt x="3439" y="1822"/>
                  <a:pt x="3439" y="1823"/>
                  <a:pt x="3439" y="1824"/>
                </a:cubicBezTo>
                <a:cubicBezTo>
                  <a:pt x="3439" y="1824"/>
                  <a:pt x="3439" y="1824"/>
                  <a:pt x="3438" y="1825"/>
                </a:cubicBezTo>
                <a:cubicBezTo>
                  <a:pt x="3438" y="1825"/>
                  <a:pt x="3438" y="1825"/>
                  <a:pt x="3438" y="1826"/>
                </a:cubicBezTo>
                <a:cubicBezTo>
                  <a:pt x="3438" y="1826"/>
                  <a:pt x="3437" y="1826"/>
                  <a:pt x="3437" y="1826"/>
                </a:cubicBezTo>
                <a:cubicBezTo>
                  <a:pt x="3438" y="1826"/>
                  <a:pt x="3438" y="1826"/>
                  <a:pt x="3438" y="1826"/>
                </a:cubicBezTo>
                <a:cubicBezTo>
                  <a:pt x="3438" y="1826"/>
                  <a:pt x="3438" y="1826"/>
                  <a:pt x="3438" y="1827"/>
                </a:cubicBezTo>
                <a:cubicBezTo>
                  <a:pt x="3439" y="1827"/>
                  <a:pt x="3439" y="1827"/>
                  <a:pt x="3439" y="1826"/>
                </a:cubicBezTo>
                <a:cubicBezTo>
                  <a:pt x="3440" y="1826"/>
                  <a:pt x="3439" y="1826"/>
                  <a:pt x="3440" y="1825"/>
                </a:cubicBezTo>
                <a:cubicBezTo>
                  <a:pt x="3440" y="1825"/>
                  <a:pt x="3440" y="1825"/>
                  <a:pt x="3440" y="1824"/>
                </a:cubicBezTo>
                <a:cubicBezTo>
                  <a:pt x="3440" y="1824"/>
                  <a:pt x="3440" y="1823"/>
                  <a:pt x="3440" y="1823"/>
                </a:cubicBezTo>
                <a:cubicBezTo>
                  <a:pt x="3440" y="1823"/>
                  <a:pt x="3441" y="1823"/>
                  <a:pt x="3441" y="1822"/>
                </a:cubicBezTo>
                <a:cubicBezTo>
                  <a:pt x="3441" y="1822"/>
                  <a:pt x="3441" y="1821"/>
                  <a:pt x="3441" y="1821"/>
                </a:cubicBezTo>
                <a:cubicBezTo>
                  <a:pt x="3440" y="1821"/>
                  <a:pt x="3440" y="1821"/>
                  <a:pt x="3440" y="1821"/>
                </a:cubicBezTo>
                <a:close/>
                <a:moveTo>
                  <a:pt x="3403" y="1775"/>
                </a:moveTo>
                <a:cubicBezTo>
                  <a:pt x="3403" y="1774"/>
                  <a:pt x="3403" y="1774"/>
                  <a:pt x="3402" y="1774"/>
                </a:cubicBezTo>
                <a:cubicBezTo>
                  <a:pt x="3402" y="1773"/>
                  <a:pt x="3402" y="1773"/>
                  <a:pt x="3401" y="1773"/>
                </a:cubicBezTo>
                <a:cubicBezTo>
                  <a:pt x="3401" y="1773"/>
                  <a:pt x="3401" y="1774"/>
                  <a:pt x="3401" y="1774"/>
                </a:cubicBezTo>
                <a:cubicBezTo>
                  <a:pt x="3400" y="1775"/>
                  <a:pt x="3400" y="1775"/>
                  <a:pt x="3400" y="1776"/>
                </a:cubicBezTo>
                <a:cubicBezTo>
                  <a:pt x="3400" y="1777"/>
                  <a:pt x="3400" y="1778"/>
                  <a:pt x="3400" y="1779"/>
                </a:cubicBezTo>
                <a:cubicBezTo>
                  <a:pt x="3400" y="1779"/>
                  <a:pt x="3400" y="1779"/>
                  <a:pt x="3400" y="1779"/>
                </a:cubicBezTo>
                <a:cubicBezTo>
                  <a:pt x="3401" y="1779"/>
                  <a:pt x="3400" y="1780"/>
                  <a:pt x="3401" y="1780"/>
                </a:cubicBezTo>
                <a:cubicBezTo>
                  <a:pt x="3401" y="1780"/>
                  <a:pt x="3401" y="1780"/>
                  <a:pt x="3402" y="1780"/>
                </a:cubicBezTo>
                <a:cubicBezTo>
                  <a:pt x="3402" y="1780"/>
                  <a:pt x="3402" y="1780"/>
                  <a:pt x="3402" y="1780"/>
                </a:cubicBezTo>
                <a:cubicBezTo>
                  <a:pt x="3403" y="1779"/>
                  <a:pt x="3403" y="1779"/>
                  <a:pt x="3403" y="1779"/>
                </a:cubicBezTo>
                <a:cubicBezTo>
                  <a:pt x="3404" y="1778"/>
                  <a:pt x="3403" y="1777"/>
                  <a:pt x="3403" y="1777"/>
                </a:cubicBezTo>
                <a:cubicBezTo>
                  <a:pt x="3403" y="1776"/>
                  <a:pt x="3403" y="1775"/>
                  <a:pt x="3403" y="1775"/>
                </a:cubicBezTo>
                <a:close/>
                <a:moveTo>
                  <a:pt x="3511" y="1631"/>
                </a:moveTo>
                <a:cubicBezTo>
                  <a:pt x="3511" y="1630"/>
                  <a:pt x="3511" y="1629"/>
                  <a:pt x="3511" y="1628"/>
                </a:cubicBezTo>
                <a:cubicBezTo>
                  <a:pt x="3510" y="1626"/>
                  <a:pt x="3510" y="1625"/>
                  <a:pt x="3509" y="1623"/>
                </a:cubicBezTo>
                <a:cubicBezTo>
                  <a:pt x="3509" y="1622"/>
                  <a:pt x="3509" y="1621"/>
                  <a:pt x="3509" y="1621"/>
                </a:cubicBezTo>
                <a:cubicBezTo>
                  <a:pt x="3508" y="1620"/>
                  <a:pt x="3508" y="1619"/>
                  <a:pt x="3507" y="1619"/>
                </a:cubicBezTo>
                <a:cubicBezTo>
                  <a:pt x="3507" y="1617"/>
                  <a:pt x="3505" y="1617"/>
                  <a:pt x="3505" y="1615"/>
                </a:cubicBezTo>
                <a:cubicBezTo>
                  <a:pt x="3505" y="1614"/>
                  <a:pt x="3506" y="1614"/>
                  <a:pt x="3507" y="1613"/>
                </a:cubicBezTo>
                <a:cubicBezTo>
                  <a:pt x="3507" y="1613"/>
                  <a:pt x="3507" y="1612"/>
                  <a:pt x="3507" y="1611"/>
                </a:cubicBezTo>
                <a:cubicBezTo>
                  <a:pt x="3507" y="1610"/>
                  <a:pt x="3506" y="1609"/>
                  <a:pt x="3506" y="1609"/>
                </a:cubicBezTo>
                <a:cubicBezTo>
                  <a:pt x="3506" y="1608"/>
                  <a:pt x="3506" y="1607"/>
                  <a:pt x="3506" y="1606"/>
                </a:cubicBezTo>
                <a:cubicBezTo>
                  <a:pt x="3505" y="1606"/>
                  <a:pt x="3505" y="1605"/>
                  <a:pt x="3505" y="1605"/>
                </a:cubicBezTo>
                <a:cubicBezTo>
                  <a:pt x="3505" y="1604"/>
                  <a:pt x="3505" y="1603"/>
                  <a:pt x="3506" y="1603"/>
                </a:cubicBezTo>
                <a:cubicBezTo>
                  <a:pt x="3506" y="1602"/>
                  <a:pt x="3506" y="1601"/>
                  <a:pt x="3507" y="1600"/>
                </a:cubicBezTo>
                <a:cubicBezTo>
                  <a:pt x="3507" y="1600"/>
                  <a:pt x="3507" y="1600"/>
                  <a:pt x="3507" y="1599"/>
                </a:cubicBezTo>
                <a:cubicBezTo>
                  <a:pt x="3507" y="1599"/>
                  <a:pt x="3506" y="1599"/>
                  <a:pt x="3506" y="1599"/>
                </a:cubicBezTo>
                <a:cubicBezTo>
                  <a:pt x="3505" y="1599"/>
                  <a:pt x="3504" y="1599"/>
                  <a:pt x="3504" y="1598"/>
                </a:cubicBezTo>
                <a:cubicBezTo>
                  <a:pt x="3504" y="1597"/>
                  <a:pt x="3504" y="1597"/>
                  <a:pt x="3504" y="1596"/>
                </a:cubicBezTo>
                <a:cubicBezTo>
                  <a:pt x="3503" y="1595"/>
                  <a:pt x="3504" y="1593"/>
                  <a:pt x="3503" y="1592"/>
                </a:cubicBezTo>
                <a:cubicBezTo>
                  <a:pt x="3503" y="1591"/>
                  <a:pt x="3503" y="1591"/>
                  <a:pt x="3503" y="1591"/>
                </a:cubicBezTo>
                <a:cubicBezTo>
                  <a:pt x="3502" y="1591"/>
                  <a:pt x="3502" y="1591"/>
                  <a:pt x="3502" y="1591"/>
                </a:cubicBezTo>
                <a:cubicBezTo>
                  <a:pt x="3502" y="1590"/>
                  <a:pt x="3501" y="1591"/>
                  <a:pt x="3500" y="1590"/>
                </a:cubicBezTo>
                <a:cubicBezTo>
                  <a:pt x="3499" y="1590"/>
                  <a:pt x="3499" y="1589"/>
                  <a:pt x="3499" y="1588"/>
                </a:cubicBezTo>
                <a:cubicBezTo>
                  <a:pt x="3499" y="1588"/>
                  <a:pt x="3499" y="1587"/>
                  <a:pt x="3499" y="1587"/>
                </a:cubicBezTo>
                <a:cubicBezTo>
                  <a:pt x="3499" y="1586"/>
                  <a:pt x="3498" y="1585"/>
                  <a:pt x="3498" y="1585"/>
                </a:cubicBezTo>
                <a:cubicBezTo>
                  <a:pt x="3497" y="1584"/>
                  <a:pt x="3496" y="1584"/>
                  <a:pt x="3496" y="1583"/>
                </a:cubicBezTo>
                <a:cubicBezTo>
                  <a:pt x="3495" y="1583"/>
                  <a:pt x="3494" y="1583"/>
                  <a:pt x="3494" y="1582"/>
                </a:cubicBezTo>
                <a:cubicBezTo>
                  <a:pt x="3493" y="1582"/>
                  <a:pt x="3493" y="1581"/>
                  <a:pt x="3493" y="1580"/>
                </a:cubicBezTo>
                <a:cubicBezTo>
                  <a:pt x="3493" y="1579"/>
                  <a:pt x="3493" y="1578"/>
                  <a:pt x="3492" y="1578"/>
                </a:cubicBezTo>
                <a:cubicBezTo>
                  <a:pt x="3491" y="1577"/>
                  <a:pt x="3491" y="1576"/>
                  <a:pt x="3490" y="1576"/>
                </a:cubicBezTo>
                <a:cubicBezTo>
                  <a:pt x="3489" y="1576"/>
                  <a:pt x="3488" y="1576"/>
                  <a:pt x="3488" y="1576"/>
                </a:cubicBezTo>
                <a:cubicBezTo>
                  <a:pt x="3487" y="1575"/>
                  <a:pt x="3487" y="1575"/>
                  <a:pt x="3486" y="1574"/>
                </a:cubicBezTo>
                <a:cubicBezTo>
                  <a:pt x="3485" y="1574"/>
                  <a:pt x="3485" y="1573"/>
                  <a:pt x="3485" y="1572"/>
                </a:cubicBezTo>
                <a:cubicBezTo>
                  <a:pt x="3485" y="1572"/>
                  <a:pt x="3485" y="1571"/>
                  <a:pt x="3484" y="1570"/>
                </a:cubicBezTo>
                <a:cubicBezTo>
                  <a:pt x="3484" y="1570"/>
                  <a:pt x="3483" y="1570"/>
                  <a:pt x="3483" y="1570"/>
                </a:cubicBezTo>
                <a:cubicBezTo>
                  <a:pt x="3483" y="1570"/>
                  <a:pt x="3483" y="1569"/>
                  <a:pt x="3482" y="1569"/>
                </a:cubicBezTo>
                <a:cubicBezTo>
                  <a:pt x="3482" y="1569"/>
                  <a:pt x="3482" y="1570"/>
                  <a:pt x="3482" y="1570"/>
                </a:cubicBezTo>
                <a:cubicBezTo>
                  <a:pt x="3483" y="1570"/>
                  <a:pt x="3483" y="1570"/>
                  <a:pt x="3483" y="1571"/>
                </a:cubicBezTo>
                <a:cubicBezTo>
                  <a:pt x="3483" y="1571"/>
                  <a:pt x="3483" y="1572"/>
                  <a:pt x="3483" y="1572"/>
                </a:cubicBezTo>
                <a:cubicBezTo>
                  <a:pt x="3483" y="1572"/>
                  <a:pt x="3482" y="1572"/>
                  <a:pt x="3482" y="1571"/>
                </a:cubicBezTo>
                <a:cubicBezTo>
                  <a:pt x="3482" y="1571"/>
                  <a:pt x="3482" y="1571"/>
                  <a:pt x="3481" y="1571"/>
                </a:cubicBezTo>
                <a:cubicBezTo>
                  <a:pt x="3481" y="1570"/>
                  <a:pt x="3480" y="1570"/>
                  <a:pt x="3480" y="1570"/>
                </a:cubicBezTo>
                <a:cubicBezTo>
                  <a:pt x="3480" y="1569"/>
                  <a:pt x="3479" y="1569"/>
                  <a:pt x="3479" y="1568"/>
                </a:cubicBezTo>
                <a:cubicBezTo>
                  <a:pt x="3479" y="1567"/>
                  <a:pt x="3479" y="1566"/>
                  <a:pt x="3479" y="1565"/>
                </a:cubicBezTo>
                <a:cubicBezTo>
                  <a:pt x="3479" y="1564"/>
                  <a:pt x="3479" y="1564"/>
                  <a:pt x="3479" y="1563"/>
                </a:cubicBezTo>
                <a:cubicBezTo>
                  <a:pt x="3479" y="1563"/>
                  <a:pt x="3480" y="1562"/>
                  <a:pt x="3480" y="1561"/>
                </a:cubicBezTo>
                <a:cubicBezTo>
                  <a:pt x="3480" y="1561"/>
                  <a:pt x="3479" y="1560"/>
                  <a:pt x="3479" y="1560"/>
                </a:cubicBezTo>
                <a:cubicBezTo>
                  <a:pt x="3479" y="1560"/>
                  <a:pt x="3479" y="1559"/>
                  <a:pt x="3479" y="1559"/>
                </a:cubicBezTo>
                <a:cubicBezTo>
                  <a:pt x="3479" y="1558"/>
                  <a:pt x="3479" y="1559"/>
                  <a:pt x="3479" y="1559"/>
                </a:cubicBezTo>
                <a:cubicBezTo>
                  <a:pt x="3478" y="1559"/>
                  <a:pt x="3478" y="1558"/>
                  <a:pt x="3478" y="1558"/>
                </a:cubicBezTo>
                <a:cubicBezTo>
                  <a:pt x="3478" y="1558"/>
                  <a:pt x="3479" y="1558"/>
                  <a:pt x="3479" y="1557"/>
                </a:cubicBezTo>
                <a:cubicBezTo>
                  <a:pt x="3479" y="1557"/>
                  <a:pt x="3478" y="1557"/>
                  <a:pt x="3478" y="1557"/>
                </a:cubicBezTo>
                <a:cubicBezTo>
                  <a:pt x="3478" y="1557"/>
                  <a:pt x="3478" y="1556"/>
                  <a:pt x="3477" y="1556"/>
                </a:cubicBezTo>
                <a:cubicBezTo>
                  <a:pt x="3477" y="1556"/>
                  <a:pt x="3477" y="1557"/>
                  <a:pt x="3477" y="1557"/>
                </a:cubicBezTo>
                <a:cubicBezTo>
                  <a:pt x="3477" y="1557"/>
                  <a:pt x="3477" y="1557"/>
                  <a:pt x="3477" y="1558"/>
                </a:cubicBezTo>
                <a:cubicBezTo>
                  <a:pt x="3477" y="1558"/>
                  <a:pt x="3477" y="1558"/>
                  <a:pt x="3476" y="1558"/>
                </a:cubicBezTo>
                <a:cubicBezTo>
                  <a:pt x="3476" y="1558"/>
                  <a:pt x="3475" y="1558"/>
                  <a:pt x="3475" y="1557"/>
                </a:cubicBezTo>
                <a:cubicBezTo>
                  <a:pt x="3474" y="1557"/>
                  <a:pt x="3474" y="1557"/>
                  <a:pt x="3474" y="1557"/>
                </a:cubicBezTo>
                <a:cubicBezTo>
                  <a:pt x="3473" y="1556"/>
                  <a:pt x="3473" y="1556"/>
                  <a:pt x="3472" y="1555"/>
                </a:cubicBezTo>
                <a:cubicBezTo>
                  <a:pt x="3472" y="1555"/>
                  <a:pt x="3472" y="1555"/>
                  <a:pt x="3471" y="1554"/>
                </a:cubicBezTo>
                <a:cubicBezTo>
                  <a:pt x="3471" y="1554"/>
                  <a:pt x="3471" y="1553"/>
                  <a:pt x="3471" y="1553"/>
                </a:cubicBezTo>
                <a:cubicBezTo>
                  <a:pt x="3470" y="1554"/>
                  <a:pt x="3470" y="1554"/>
                  <a:pt x="3471" y="1555"/>
                </a:cubicBezTo>
                <a:cubicBezTo>
                  <a:pt x="3471" y="1555"/>
                  <a:pt x="3470" y="1555"/>
                  <a:pt x="3470" y="1556"/>
                </a:cubicBezTo>
                <a:cubicBezTo>
                  <a:pt x="3470" y="1557"/>
                  <a:pt x="3470" y="1557"/>
                  <a:pt x="3470" y="1558"/>
                </a:cubicBezTo>
                <a:cubicBezTo>
                  <a:pt x="3470" y="1559"/>
                  <a:pt x="3470" y="1559"/>
                  <a:pt x="3470" y="1559"/>
                </a:cubicBezTo>
                <a:cubicBezTo>
                  <a:pt x="3470" y="1558"/>
                  <a:pt x="3470" y="1558"/>
                  <a:pt x="3469" y="1558"/>
                </a:cubicBezTo>
                <a:cubicBezTo>
                  <a:pt x="3469" y="1557"/>
                  <a:pt x="3468" y="1557"/>
                  <a:pt x="3467" y="1557"/>
                </a:cubicBezTo>
                <a:cubicBezTo>
                  <a:pt x="3467" y="1557"/>
                  <a:pt x="3467" y="1557"/>
                  <a:pt x="3467" y="1557"/>
                </a:cubicBezTo>
                <a:cubicBezTo>
                  <a:pt x="3466" y="1557"/>
                  <a:pt x="3466" y="1556"/>
                  <a:pt x="3466" y="1556"/>
                </a:cubicBezTo>
                <a:cubicBezTo>
                  <a:pt x="3466" y="1555"/>
                  <a:pt x="3466" y="1554"/>
                  <a:pt x="3466" y="1554"/>
                </a:cubicBezTo>
                <a:cubicBezTo>
                  <a:pt x="3466" y="1553"/>
                  <a:pt x="3466" y="1553"/>
                  <a:pt x="3465" y="1553"/>
                </a:cubicBezTo>
                <a:cubicBezTo>
                  <a:pt x="3465" y="1552"/>
                  <a:pt x="3465" y="1551"/>
                  <a:pt x="3465" y="1550"/>
                </a:cubicBezTo>
                <a:cubicBezTo>
                  <a:pt x="3465" y="1549"/>
                  <a:pt x="3465" y="1549"/>
                  <a:pt x="3464" y="1548"/>
                </a:cubicBezTo>
                <a:cubicBezTo>
                  <a:pt x="3464" y="1547"/>
                  <a:pt x="3464" y="1546"/>
                  <a:pt x="3463" y="1546"/>
                </a:cubicBezTo>
                <a:cubicBezTo>
                  <a:pt x="3462" y="1545"/>
                  <a:pt x="3462" y="1544"/>
                  <a:pt x="3462" y="1543"/>
                </a:cubicBezTo>
                <a:cubicBezTo>
                  <a:pt x="3462" y="1543"/>
                  <a:pt x="3462" y="1542"/>
                  <a:pt x="3462" y="1541"/>
                </a:cubicBezTo>
                <a:cubicBezTo>
                  <a:pt x="3461" y="1540"/>
                  <a:pt x="3460" y="1540"/>
                  <a:pt x="3460" y="1540"/>
                </a:cubicBezTo>
                <a:cubicBezTo>
                  <a:pt x="3459" y="1540"/>
                  <a:pt x="3458" y="1539"/>
                  <a:pt x="3458" y="1538"/>
                </a:cubicBezTo>
                <a:cubicBezTo>
                  <a:pt x="3457" y="1538"/>
                  <a:pt x="3457" y="1537"/>
                  <a:pt x="3456" y="1537"/>
                </a:cubicBezTo>
                <a:cubicBezTo>
                  <a:pt x="3456" y="1537"/>
                  <a:pt x="3456" y="1536"/>
                  <a:pt x="3456" y="1536"/>
                </a:cubicBezTo>
                <a:cubicBezTo>
                  <a:pt x="3456" y="1536"/>
                  <a:pt x="3456" y="1535"/>
                  <a:pt x="3456" y="1535"/>
                </a:cubicBezTo>
                <a:cubicBezTo>
                  <a:pt x="3456" y="1534"/>
                  <a:pt x="3456" y="1533"/>
                  <a:pt x="3457" y="1534"/>
                </a:cubicBezTo>
                <a:cubicBezTo>
                  <a:pt x="3457" y="1534"/>
                  <a:pt x="3458" y="1534"/>
                  <a:pt x="3458" y="1534"/>
                </a:cubicBezTo>
                <a:cubicBezTo>
                  <a:pt x="3458" y="1534"/>
                  <a:pt x="3458" y="1533"/>
                  <a:pt x="3458" y="1533"/>
                </a:cubicBezTo>
                <a:cubicBezTo>
                  <a:pt x="3457" y="1533"/>
                  <a:pt x="3457" y="1532"/>
                  <a:pt x="3456" y="1532"/>
                </a:cubicBezTo>
                <a:cubicBezTo>
                  <a:pt x="3456" y="1531"/>
                  <a:pt x="3455" y="1530"/>
                  <a:pt x="3455" y="1530"/>
                </a:cubicBezTo>
                <a:cubicBezTo>
                  <a:pt x="3454" y="1530"/>
                  <a:pt x="3454" y="1529"/>
                  <a:pt x="3454" y="1529"/>
                </a:cubicBezTo>
                <a:cubicBezTo>
                  <a:pt x="3454" y="1529"/>
                  <a:pt x="3454" y="1528"/>
                  <a:pt x="3453" y="1529"/>
                </a:cubicBezTo>
                <a:cubicBezTo>
                  <a:pt x="3453" y="1529"/>
                  <a:pt x="3453" y="1531"/>
                  <a:pt x="3452" y="1530"/>
                </a:cubicBezTo>
                <a:cubicBezTo>
                  <a:pt x="3452" y="1530"/>
                  <a:pt x="3452" y="1529"/>
                  <a:pt x="3451" y="1529"/>
                </a:cubicBezTo>
                <a:cubicBezTo>
                  <a:pt x="3451" y="1529"/>
                  <a:pt x="3451" y="1529"/>
                  <a:pt x="3451" y="1529"/>
                </a:cubicBezTo>
                <a:cubicBezTo>
                  <a:pt x="3451" y="1528"/>
                  <a:pt x="3451" y="1528"/>
                  <a:pt x="3451" y="1528"/>
                </a:cubicBezTo>
                <a:cubicBezTo>
                  <a:pt x="3450" y="1527"/>
                  <a:pt x="3450" y="1527"/>
                  <a:pt x="3449" y="1526"/>
                </a:cubicBezTo>
                <a:cubicBezTo>
                  <a:pt x="3449" y="1526"/>
                  <a:pt x="3448" y="1526"/>
                  <a:pt x="3448" y="1526"/>
                </a:cubicBezTo>
                <a:cubicBezTo>
                  <a:pt x="3447" y="1526"/>
                  <a:pt x="3446" y="1525"/>
                  <a:pt x="3446" y="1525"/>
                </a:cubicBezTo>
                <a:cubicBezTo>
                  <a:pt x="3445" y="1525"/>
                  <a:pt x="3445" y="1525"/>
                  <a:pt x="3445" y="1525"/>
                </a:cubicBezTo>
                <a:cubicBezTo>
                  <a:pt x="3444" y="1525"/>
                  <a:pt x="3445" y="1526"/>
                  <a:pt x="3444" y="1526"/>
                </a:cubicBezTo>
                <a:cubicBezTo>
                  <a:pt x="3443" y="1525"/>
                  <a:pt x="3444" y="1525"/>
                  <a:pt x="3444" y="1524"/>
                </a:cubicBezTo>
                <a:cubicBezTo>
                  <a:pt x="3443" y="1524"/>
                  <a:pt x="3443" y="1524"/>
                  <a:pt x="3443" y="1523"/>
                </a:cubicBezTo>
                <a:cubicBezTo>
                  <a:pt x="3442" y="1523"/>
                  <a:pt x="3442" y="1522"/>
                  <a:pt x="3442" y="1521"/>
                </a:cubicBezTo>
                <a:cubicBezTo>
                  <a:pt x="3441" y="1521"/>
                  <a:pt x="3441" y="1519"/>
                  <a:pt x="3440" y="1520"/>
                </a:cubicBezTo>
                <a:cubicBezTo>
                  <a:pt x="3440" y="1520"/>
                  <a:pt x="3440" y="1520"/>
                  <a:pt x="3440" y="1521"/>
                </a:cubicBezTo>
                <a:cubicBezTo>
                  <a:pt x="3440" y="1521"/>
                  <a:pt x="3439" y="1521"/>
                  <a:pt x="3439" y="1521"/>
                </a:cubicBezTo>
                <a:cubicBezTo>
                  <a:pt x="3438" y="1521"/>
                  <a:pt x="3437" y="1520"/>
                  <a:pt x="3437" y="1520"/>
                </a:cubicBezTo>
                <a:cubicBezTo>
                  <a:pt x="3437" y="1520"/>
                  <a:pt x="3437" y="1519"/>
                  <a:pt x="3437" y="1519"/>
                </a:cubicBezTo>
                <a:cubicBezTo>
                  <a:pt x="3436" y="1518"/>
                  <a:pt x="3436" y="1519"/>
                  <a:pt x="3436" y="1519"/>
                </a:cubicBezTo>
                <a:cubicBezTo>
                  <a:pt x="3435" y="1520"/>
                  <a:pt x="3435" y="1519"/>
                  <a:pt x="3434" y="1519"/>
                </a:cubicBezTo>
                <a:cubicBezTo>
                  <a:pt x="3434" y="1519"/>
                  <a:pt x="3434" y="1519"/>
                  <a:pt x="3433" y="1519"/>
                </a:cubicBezTo>
                <a:cubicBezTo>
                  <a:pt x="3433" y="1519"/>
                  <a:pt x="3433" y="1519"/>
                  <a:pt x="3433" y="1518"/>
                </a:cubicBezTo>
                <a:cubicBezTo>
                  <a:pt x="3432" y="1518"/>
                  <a:pt x="3431" y="1518"/>
                  <a:pt x="3431" y="1517"/>
                </a:cubicBezTo>
                <a:cubicBezTo>
                  <a:pt x="3430" y="1517"/>
                  <a:pt x="3430" y="1516"/>
                  <a:pt x="3429" y="1516"/>
                </a:cubicBezTo>
                <a:cubicBezTo>
                  <a:pt x="3428" y="1515"/>
                  <a:pt x="3428" y="1515"/>
                  <a:pt x="3428" y="1514"/>
                </a:cubicBezTo>
                <a:cubicBezTo>
                  <a:pt x="3428" y="1513"/>
                  <a:pt x="3429" y="1512"/>
                  <a:pt x="3429" y="1512"/>
                </a:cubicBezTo>
                <a:cubicBezTo>
                  <a:pt x="3428" y="1511"/>
                  <a:pt x="3428" y="1511"/>
                  <a:pt x="3428" y="1511"/>
                </a:cubicBezTo>
                <a:cubicBezTo>
                  <a:pt x="3428" y="1510"/>
                  <a:pt x="3428" y="1510"/>
                  <a:pt x="3428" y="1510"/>
                </a:cubicBezTo>
                <a:cubicBezTo>
                  <a:pt x="3428" y="1509"/>
                  <a:pt x="3428" y="1509"/>
                  <a:pt x="3428" y="1509"/>
                </a:cubicBezTo>
                <a:cubicBezTo>
                  <a:pt x="3428" y="1508"/>
                  <a:pt x="3428" y="1508"/>
                  <a:pt x="3428" y="1507"/>
                </a:cubicBezTo>
                <a:cubicBezTo>
                  <a:pt x="3429" y="1506"/>
                  <a:pt x="3427" y="1507"/>
                  <a:pt x="3427" y="1507"/>
                </a:cubicBezTo>
                <a:cubicBezTo>
                  <a:pt x="3426" y="1507"/>
                  <a:pt x="3426" y="1507"/>
                  <a:pt x="3426" y="1506"/>
                </a:cubicBezTo>
                <a:cubicBezTo>
                  <a:pt x="3425" y="1505"/>
                  <a:pt x="3425" y="1504"/>
                  <a:pt x="3425" y="1503"/>
                </a:cubicBezTo>
                <a:cubicBezTo>
                  <a:pt x="3425" y="1502"/>
                  <a:pt x="3426" y="1501"/>
                  <a:pt x="3426" y="1500"/>
                </a:cubicBezTo>
                <a:cubicBezTo>
                  <a:pt x="3426" y="1499"/>
                  <a:pt x="3426" y="1498"/>
                  <a:pt x="3426" y="1497"/>
                </a:cubicBezTo>
                <a:cubicBezTo>
                  <a:pt x="3425" y="1496"/>
                  <a:pt x="3425" y="1496"/>
                  <a:pt x="3424" y="1495"/>
                </a:cubicBezTo>
                <a:cubicBezTo>
                  <a:pt x="3424" y="1494"/>
                  <a:pt x="3424" y="1493"/>
                  <a:pt x="3424" y="1493"/>
                </a:cubicBezTo>
                <a:cubicBezTo>
                  <a:pt x="3424" y="1492"/>
                  <a:pt x="3424" y="1490"/>
                  <a:pt x="3423" y="1491"/>
                </a:cubicBezTo>
                <a:cubicBezTo>
                  <a:pt x="3423" y="1491"/>
                  <a:pt x="3423" y="1491"/>
                  <a:pt x="3423" y="1491"/>
                </a:cubicBezTo>
                <a:cubicBezTo>
                  <a:pt x="3423" y="1491"/>
                  <a:pt x="3423" y="1491"/>
                  <a:pt x="3423" y="1491"/>
                </a:cubicBezTo>
                <a:cubicBezTo>
                  <a:pt x="3422" y="1491"/>
                  <a:pt x="3422" y="1491"/>
                  <a:pt x="3422" y="1491"/>
                </a:cubicBezTo>
                <a:cubicBezTo>
                  <a:pt x="3422" y="1490"/>
                  <a:pt x="3421" y="1490"/>
                  <a:pt x="3421" y="1489"/>
                </a:cubicBezTo>
                <a:cubicBezTo>
                  <a:pt x="3420" y="1489"/>
                  <a:pt x="3420" y="1488"/>
                  <a:pt x="3419" y="1487"/>
                </a:cubicBezTo>
                <a:cubicBezTo>
                  <a:pt x="3419" y="1486"/>
                  <a:pt x="3418" y="1486"/>
                  <a:pt x="3418" y="1485"/>
                </a:cubicBezTo>
                <a:cubicBezTo>
                  <a:pt x="3417" y="1484"/>
                  <a:pt x="3418" y="1483"/>
                  <a:pt x="3418" y="1482"/>
                </a:cubicBezTo>
                <a:cubicBezTo>
                  <a:pt x="3418" y="1482"/>
                  <a:pt x="3418" y="1481"/>
                  <a:pt x="3418" y="1480"/>
                </a:cubicBezTo>
                <a:cubicBezTo>
                  <a:pt x="3418" y="1479"/>
                  <a:pt x="3417" y="1478"/>
                  <a:pt x="3417" y="1477"/>
                </a:cubicBezTo>
                <a:cubicBezTo>
                  <a:pt x="3417" y="1476"/>
                  <a:pt x="3417" y="1475"/>
                  <a:pt x="3416" y="1474"/>
                </a:cubicBezTo>
                <a:cubicBezTo>
                  <a:pt x="3416" y="1474"/>
                  <a:pt x="3417" y="1473"/>
                  <a:pt x="3417" y="1472"/>
                </a:cubicBezTo>
                <a:cubicBezTo>
                  <a:pt x="3417" y="1471"/>
                  <a:pt x="3416" y="1471"/>
                  <a:pt x="3417" y="1470"/>
                </a:cubicBezTo>
                <a:cubicBezTo>
                  <a:pt x="3417" y="1470"/>
                  <a:pt x="3417" y="1470"/>
                  <a:pt x="3417" y="1469"/>
                </a:cubicBezTo>
                <a:cubicBezTo>
                  <a:pt x="3417" y="1469"/>
                  <a:pt x="3417" y="1469"/>
                  <a:pt x="3416" y="1468"/>
                </a:cubicBezTo>
                <a:cubicBezTo>
                  <a:pt x="3416" y="1468"/>
                  <a:pt x="3415" y="1467"/>
                  <a:pt x="3415" y="1467"/>
                </a:cubicBezTo>
                <a:cubicBezTo>
                  <a:pt x="3414" y="1467"/>
                  <a:pt x="3413" y="1467"/>
                  <a:pt x="3412" y="1466"/>
                </a:cubicBezTo>
                <a:cubicBezTo>
                  <a:pt x="3412" y="1465"/>
                  <a:pt x="3412" y="1465"/>
                  <a:pt x="3411" y="1464"/>
                </a:cubicBezTo>
                <a:cubicBezTo>
                  <a:pt x="3410" y="1464"/>
                  <a:pt x="3409" y="1464"/>
                  <a:pt x="3409" y="1463"/>
                </a:cubicBezTo>
                <a:cubicBezTo>
                  <a:pt x="3408" y="1462"/>
                  <a:pt x="3408" y="1462"/>
                  <a:pt x="3407" y="1461"/>
                </a:cubicBezTo>
                <a:cubicBezTo>
                  <a:pt x="3407" y="1460"/>
                  <a:pt x="3407" y="1460"/>
                  <a:pt x="3406" y="1461"/>
                </a:cubicBezTo>
                <a:cubicBezTo>
                  <a:pt x="3406" y="1461"/>
                  <a:pt x="3406" y="1461"/>
                  <a:pt x="3405" y="1461"/>
                </a:cubicBezTo>
                <a:cubicBezTo>
                  <a:pt x="3405" y="1461"/>
                  <a:pt x="3404" y="1460"/>
                  <a:pt x="3404" y="1461"/>
                </a:cubicBezTo>
                <a:cubicBezTo>
                  <a:pt x="3404" y="1462"/>
                  <a:pt x="3403" y="1462"/>
                  <a:pt x="3403" y="1463"/>
                </a:cubicBezTo>
                <a:cubicBezTo>
                  <a:pt x="3402" y="1464"/>
                  <a:pt x="3400" y="1464"/>
                  <a:pt x="3400" y="1462"/>
                </a:cubicBezTo>
                <a:cubicBezTo>
                  <a:pt x="3399" y="1461"/>
                  <a:pt x="3399" y="1461"/>
                  <a:pt x="3399" y="1460"/>
                </a:cubicBezTo>
                <a:cubicBezTo>
                  <a:pt x="3399" y="1459"/>
                  <a:pt x="3399" y="1458"/>
                  <a:pt x="3399" y="1457"/>
                </a:cubicBezTo>
                <a:cubicBezTo>
                  <a:pt x="3398" y="1456"/>
                  <a:pt x="3398" y="1456"/>
                  <a:pt x="3398" y="1455"/>
                </a:cubicBezTo>
                <a:cubicBezTo>
                  <a:pt x="3398" y="1451"/>
                  <a:pt x="3395" y="1448"/>
                  <a:pt x="3396" y="1445"/>
                </a:cubicBezTo>
                <a:cubicBezTo>
                  <a:pt x="3396" y="1445"/>
                  <a:pt x="3397" y="1444"/>
                  <a:pt x="3396" y="1444"/>
                </a:cubicBezTo>
                <a:cubicBezTo>
                  <a:pt x="3396" y="1444"/>
                  <a:pt x="3396" y="1445"/>
                  <a:pt x="3395" y="1444"/>
                </a:cubicBezTo>
                <a:cubicBezTo>
                  <a:pt x="3394" y="1444"/>
                  <a:pt x="3395" y="1443"/>
                  <a:pt x="3395" y="1442"/>
                </a:cubicBezTo>
                <a:cubicBezTo>
                  <a:pt x="3395" y="1441"/>
                  <a:pt x="3395" y="1441"/>
                  <a:pt x="3394" y="1440"/>
                </a:cubicBezTo>
                <a:cubicBezTo>
                  <a:pt x="3394" y="1440"/>
                  <a:pt x="3394" y="1440"/>
                  <a:pt x="3393" y="1439"/>
                </a:cubicBezTo>
                <a:cubicBezTo>
                  <a:pt x="3393" y="1439"/>
                  <a:pt x="3393" y="1439"/>
                  <a:pt x="3392" y="1438"/>
                </a:cubicBezTo>
                <a:cubicBezTo>
                  <a:pt x="3392" y="1438"/>
                  <a:pt x="3392" y="1438"/>
                  <a:pt x="3392" y="1437"/>
                </a:cubicBezTo>
                <a:cubicBezTo>
                  <a:pt x="3392" y="1436"/>
                  <a:pt x="3392" y="1436"/>
                  <a:pt x="3392" y="1436"/>
                </a:cubicBezTo>
                <a:cubicBezTo>
                  <a:pt x="3392" y="1436"/>
                  <a:pt x="3392" y="1435"/>
                  <a:pt x="3392" y="1435"/>
                </a:cubicBezTo>
                <a:cubicBezTo>
                  <a:pt x="3393" y="1435"/>
                  <a:pt x="3392" y="1435"/>
                  <a:pt x="3393" y="1434"/>
                </a:cubicBezTo>
                <a:cubicBezTo>
                  <a:pt x="3393" y="1434"/>
                  <a:pt x="3393" y="1434"/>
                  <a:pt x="3393" y="1434"/>
                </a:cubicBezTo>
                <a:cubicBezTo>
                  <a:pt x="3393" y="1433"/>
                  <a:pt x="3391" y="1434"/>
                  <a:pt x="3391" y="1434"/>
                </a:cubicBezTo>
                <a:cubicBezTo>
                  <a:pt x="3390" y="1433"/>
                  <a:pt x="3390" y="1433"/>
                  <a:pt x="3389" y="1433"/>
                </a:cubicBezTo>
                <a:cubicBezTo>
                  <a:pt x="3389" y="1432"/>
                  <a:pt x="3389" y="1431"/>
                  <a:pt x="3388" y="1430"/>
                </a:cubicBezTo>
                <a:cubicBezTo>
                  <a:pt x="3388" y="1429"/>
                  <a:pt x="3388" y="1429"/>
                  <a:pt x="3388" y="1429"/>
                </a:cubicBezTo>
                <a:cubicBezTo>
                  <a:pt x="3388" y="1428"/>
                  <a:pt x="3388" y="1427"/>
                  <a:pt x="3388" y="1426"/>
                </a:cubicBezTo>
                <a:cubicBezTo>
                  <a:pt x="3388" y="1425"/>
                  <a:pt x="3388" y="1425"/>
                  <a:pt x="3387" y="1424"/>
                </a:cubicBezTo>
                <a:cubicBezTo>
                  <a:pt x="3387" y="1423"/>
                  <a:pt x="3387" y="1422"/>
                  <a:pt x="3386" y="1422"/>
                </a:cubicBezTo>
                <a:cubicBezTo>
                  <a:pt x="3386" y="1422"/>
                  <a:pt x="3386" y="1422"/>
                  <a:pt x="3385" y="1421"/>
                </a:cubicBezTo>
                <a:cubicBezTo>
                  <a:pt x="3385" y="1421"/>
                  <a:pt x="3386" y="1420"/>
                  <a:pt x="3386" y="1420"/>
                </a:cubicBezTo>
                <a:cubicBezTo>
                  <a:pt x="3386" y="1420"/>
                  <a:pt x="3385" y="1419"/>
                  <a:pt x="3385" y="1419"/>
                </a:cubicBezTo>
                <a:cubicBezTo>
                  <a:pt x="3385" y="1419"/>
                  <a:pt x="3384" y="1420"/>
                  <a:pt x="3384" y="1420"/>
                </a:cubicBezTo>
                <a:cubicBezTo>
                  <a:pt x="3383" y="1421"/>
                  <a:pt x="3382" y="1421"/>
                  <a:pt x="3382" y="1421"/>
                </a:cubicBezTo>
                <a:cubicBezTo>
                  <a:pt x="3381" y="1422"/>
                  <a:pt x="3381" y="1422"/>
                  <a:pt x="3380" y="1423"/>
                </a:cubicBezTo>
                <a:cubicBezTo>
                  <a:pt x="3380" y="1424"/>
                  <a:pt x="3380" y="1425"/>
                  <a:pt x="3380" y="1425"/>
                </a:cubicBezTo>
                <a:cubicBezTo>
                  <a:pt x="3380" y="1426"/>
                  <a:pt x="3380" y="1427"/>
                  <a:pt x="3380" y="1427"/>
                </a:cubicBezTo>
                <a:cubicBezTo>
                  <a:pt x="3380" y="1428"/>
                  <a:pt x="3379" y="1429"/>
                  <a:pt x="3379" y="1430"/>
                </a:cubicBezTo>
                <a:cubicBezTo>
                  <a:pt x="3379" y="1431"/>
                  <a:pt x="3379" y="1431"/>
                  <a:pt x="3379" y="1432"/>
                </a:cubicBezTo>
                <a:cubicBezTo>
                  <a:pt x="3378" y="1433"/>
                  <a:pt x="3378" y="1434"/>
                  <a:pt x="3377" y="1434"/>
                </a:cubicBezTo>
                <a:cubicBezTo>
                  <a:pt x="3377" y="1435"/>
                  <a:pt x="3376" y="1436"/>
                  <a:pt x="3376" y="1437"/>
                </a:cubicBezTo>
                <a:cubicBezTo>
                  <a:pt x="3376" y="1437"/>
                  <a:pt x="3376" y="1438"/>
                  <a:pt x="3375" y="1438"/>
                </a:cubicBezTo>
                <a:cubicBezTo>
                  <a:pt x="3375" y="1439"/>
                  <a:pt x="3375" y="1439"/>
                  <a:pt x="3375" y="1439"/>
                </a:cubicBezTo>
                <a:cubicBezTo>
                  <a:pt x="3375" y="1440"/>
                  <a:pt x="3374" y="1440"/>
                  <a:pt x="3374" y="1440"/>
                </a:cubicBezTo>
                <a:cubicBezTo>
                  <a:pt x="3375" y="1440"/>
                  <a:pt x="3375" y="1440"/>
                  <a:pt x="3376" y="1440"/>
                </a:cubicBezTo>
                <a:cubicBezTo>
                  <a:pt x="3377" y="1440"/>
                  <a:pt x="3377" y="1441"/>
                  <a:pt x="3377" y="1441"/>
                </a:cubicBezTo>
                <a:cubicBezTo>
                  <a:pt x="3377" y="1441"/>
                  <a:pt x="3378" y="1441"/>
                  <a:pt x="3378" y="1441"/>
                </a:cubicBezTo>
                <a:cubicBezTo>
                  <a:pt x="3378" y="1442"/>
                  <a:pt x="3378" y="1442"/>
                  <a:pt x="3378" y="1442"/>
                </a:cubicBezTo>
                <a:cubicBezTo>
                  <a:pt x="3378" y="1443"/>
                  <a:pt x="3377" y="1442"/>
                  <a:pt x="3377" y="1442"/>
                </a:cubicBezTo>
                <a:cubicBezTo>
                  <a:pt x="3376" y="1443"/>
                  <a:pt x="3376" y="1444"/>
                  <a:pt x="3376" y="1444"/>
                </a:cubicBezTo>
                <a:cubicBezTo>
                  <a:pt x="3375" y="1445"/>
                  <a:pt x="3375" y="1445"/>
                  <a:pt x="3375" y="1445"/>
                </a:cubicBezTo>
                <a:cubicBezTo>
                  <a:pt x="3375" y="1446"/>
                  <a:pt x="3375" y="1446"/>
                  <a:pt x="3375" y="1447"/>
                </a:cubicBezTo>
                <a:cubicBezTo>
                  <a:pt x="3376" y="1448"/>
                  <a:pt x="3375" y="1449"/>
                  <a:pt x="3375" y="1450"/>
                </a:cubicBezTo>
                <a:cubicBezTo>
                  <a:pt x="3374" y="1451"/>
                  <a:pt x="3374" y="1451"/>
                  <a:pt x="3374" y="1451"/>
                </a:cubicBezTo>
                <a:cubicBezTo>
                  <a:pt x="3374" y="1452"/>
                  <a:pt x="3374" y="1453"/>
                  <a:pt x="3373" y="1454"/>
                </a:cubicBezTo>
                <a:cubicBezTo>
                  <a:pt x="3373" y="1455"/>
                  <a:pt x="3374" y="1457"/>
                  <a:pt x="3374" y="1459"/>
                </a:cubicBezTo>
                <a:cubicBezTo>
                  <a:pt x="3374" y="1459"/>
                  <a:pt x="3375" y="1460"/>
                  <a:pt x="3375" y="1461"/>
                </a:cubicBezTo>
                <a:cubicBezTo>
                  <a:pt x="3375" y="1462"/>
                  <a:pt x="3375" y="1463"/>
                  <a:pt x="3374" y="1464"/>
                </a:cubicBezTo>
                <a:cubicBezTo>
                  <a:pt x="3374" y="1464"/>
                  <a:pt x="3374" y="1465"/>
                  <a:pt x="3374" y="1466"/>
                </a:cubicBezTo>
                <a:cubicBezTo>
                  <a:pt x="3375" y="1467"/>
                  <a:pt x="3375" y="1468"/>
                  <a:pt x="3375" y="1469"/>
                </a:cubicBezTo>
                <a:cubicBezTo>
                  <a:pt x="3375" y="1470"/>
                  <a:pt x="3375" y="1471"/>
                  <a:pt x="3374" y="1472"/>
                </a:cubicBezTo>
                <a:cubicBezTo>
                  <a:pt x="3374" y="1472"/>
                  <a:pt x="3374" y="1473"/>
                  <a:pt x="3374" y="1474"/>
                </a:cubicBezTo>
                <a:cubicBezTo>
                  <a:pt x="3374" y="1474"/>
                  <a:pt x="3373" y="1475"/>
                  <a:pt x="3373" y="1476"/>
                </a:cubicBezTo>
                <a:cubicBezTo>
                  <a:pt x="3373" y="1477"/>
                  <a:pt x="3373" y="1478"/>
                  <a:pt x="3373" y="1479"/>
                </a:cubicBezTo>
                <a:cubicBezTo>
                  <a:pt x="3372" y="1479"/>
                  <a:pt x="3372" y="1480"/>
                  <a:pt x="3372" y="1481"/>
                </a:cubicBezTo>
                <a:cubicBezTo>
                  <a:pt x="3372" y="1482"/>
                  <a:pt x="3372" y="1482"/>
                  <a:pt x="3372" y="1482"/>
                </a:cubicBezTo>
                <a:cubicBezTo>
                  <a:pt x="3372" y="1484"/>
                  <a:pt x="3371" y="1485"/>
                  <a:pt x="3371" y="1486"/>
                </a:cubicBezTo>
                <a:cubicBezTo>
                  <a:pt x="3370" y="1487"/>
                  <a:pt x="3370" y="1488"/>
                  <a:pt x="3369" y="1489"/>
                </a:cubicBezTo>
                <a:cubicBezTo>
                  <a:pt x="3369" y="1490"/>
                  <a:pt x="3369" y="1491"/>
                  <a:pt x="3368" y="1492"/>
                </a:cubicBezTo>
                <a:cubicBezTo>
                  <a:pt x="3368" y="1493"/>
                  <a:pt x="3367" y="1495"/>
                  <a:pt x="3366" y="1497"/>
                </a:cubicBezTo>
                <a:cubicBezTo>
                  <a:pt x="3366" y="1497"/>
                  <a:pt x="3366" y="1498"/>
                  <a:pt x="3365" y="1498"/>
                </a:cubicBezTo>
                <a:cubicBezTo>
                  <a:pt x="3365" y="1499"/>
                  <a:pt x="3364" y="1499"/>
                  <a:pt x="3364" y="1499"/>
                </a:cubicBezTo>
                <a:cubicBezTo>
                  <a:pt x="3363" y="1499"/>
                  <a:pt x="3363" y="1500"/>
                  <a:pt x="3362" y="1500"/>
                </a:cubicBezTo>
                <a:cubicBezTo>
                  <a:pt x="3362" y="1500"/>
                  <a:pt x="3362" y="1500"/>
                  <a:pt x="3361" y="1500"/>
                </a:cubicBezTo>
                <a:cubicBezTo>
                  <a:pt x="3361" y="1500"/>
                  <a:pt x="3360" y="1501"/>
                  <a:pt x="3359" y="1501"/>
                </a:cubicBezTo>
                <a:cubicBezTo>
                  <a:pt x="3359" y="1501"/>
                  <a:pt x="3359" y="1501"/>
                  <a:pt x="3358" y="1501"/>
                </a:cubicBezTo>
                <a:cubicBezTo>
                  <a:pt x="3357" y="1501"/>
                  <a:pt x="3357" y="1501"/>
                  <a:pt x="3356" y="1501"/>
                </a:cubicBezTo>
                <a:cubicBezTo>
                  <a:pt x="3355" y="1500"/>
                  <a:pt x="3355" y="1500"/>
                  <a:pt x="3354" y="1499"/>
                </a:cubicBezTo>
                <a:cubicBezTo>
                  <a:pt x="3353" y="1499"/>
                  <a:pt x="3353" y="1498"/>
                  <a:pt x="3352" y="1498"/>
                </a:cubicBezTo>
                <a:cubicBezTo>
                  <a:pt x="3351" y="1497"/>
                  <a:pt x="3350" y="1495"/>
                  <a:pt x="3348" y="1495"/>
                </a:cubicBezTo>
                <a:cubicBezTo>
                  <a:pt x="3348" y="1495"/>
                  <a:pt x="3347" y="1495"/>
                  <a:pt x="3347" y="1494"/>
                </a:cubicBezTo>
                <a:cubicBezTo>
                  <a:pt x="3347" y="1494"/>
                  <a:pt x="3347" y="1493"/>
                  <a:pt x="3347" y="1493"/>
                </a:cubicBezTo>
                <a:cubicBezTo>
                  <a:pt x="3346" y="1493"/>
                  <a:pt x="3345" y="1492"/>
                  <a:pt x="3345" y="1491"/>
                </a:cubicBezTo>
                <a:cubicBezTo>
                  <a:pt x="3344" y="1490"/>
                  <a:pt x="3342" y="1490"/>
                  <a:pt x="3341" y="1490"/>
                </a:cubicBezTo>
                <a:cubicBezTo>
                  <a:pt x="3339" y="1489"/>
                  <a:pt x="3337" y="1488"/>
                  <a:pt x="3336" y="1488"/>
                </a:cubicBezTo>
                <a:cubicBezTo>
                  <a:pt x="3335" y="1488"/>
                  <a:pt x="3334" y="1488"/>
                  <a:pt x="3333" y="1487"/>
                </a:cubicBezTo>
                <a:cubicBezTo>
                  <a:pt x="3333" y="1487"/>
                  <a:pt x="3332" y="1486"/>
                  <a:pt x="3331" y="1486"/>
                </a:cubicBezTo>
                <a:cubicBezTo>
                  <a:pt x="3331" y="1485"/>
                  <a:pt x="3330" y="1485"/>
                  <a:pt x="3329" y="1485"/>
                </a:cubicBezTo>
                <a:cubicBezTo>
                  <a:pt x="3328" y="1484"/>
                  <a:pt x="3328" y="1484"/>
                  <a:pt x="3327" y="1483"/>
                </a:cubicBezTo>
                <a:cubicBezTo>
                  <a:pt x="3326" y="1483"/>
                  <a:pt x="3326" y="1483"/>
                  <a:pt x="3325" y="1482"/>
                </a:cubicBezTo>
                <a:cubicBezTo>
                  <a:pt x="3324" y="1482"/>
                  <a:pt x="3324" y="1481"/>
                  <a:pt x="3323" y="1481"/>
                </a:cubicBezTo>
                <a:cubicBezTo>
                  <a:pt x="3323" y="1480"/>
                  <a:pt x="3322" y="1480"/>
                  <a:pt x="3321" y="1480"/>
                </a:cubicBezTo>
                <a:cubicBezTo>
                  <a:pt x="3321" y="1480"/>
                  <a:pt x="3320" y="1480"/>
                  <a:pt x="3319" y="1480"/>
                </a:cubicBezTo>
                <a:cubicBezTo>
                  <a:pt x="3318" y="1480"/>
                  <a:pt x="3318" y="1479"/>
                  <a:pt x="3317" y="1478"/>
                </a:cubicBezTo>
                <a:cubicBezTo>
                  <a:pt x="3317" y="1478"/>
                  <a:pt x="3317" y="1478"/>
                  <a:pt x="3316" y="1478"/>
                </a:cubicBezTo>
                <a:cubicBezTo>
                  <a:pt x="3316" y="1478"/>
                  <a:pt x="3316" y="1477"/>
                  <a:pt x="3316" y="1477"/>
                </a:cubicBezTo>
                <a:cubicBezTo>
                  <a:pt x="3315" y="1476"/>
                  <a:pt x="3314" y="1476"/>
                  <a:pt x="3314" y="1476"/>
                </a:cubicBezTo>
                <a:cubicBezTo>
                  <a:pt x="3313" y="1475"/>
                  <a:pt x="3313" y="1475"/>
                  <a:pt x="3312" y="1474"/>
                </a:cubicBezTo>
                <a:cubicBezTo>
                  <a:pt x="3311" y="1474"/>
                  <a:pt x="3311" y="1473"/>
                  <a:pt x="3310" y="1473"/>
                </a:cubicBezTo>
                <a:cubicBezTo>
                  <a:pt x="3310" y="1472"/>
                  <a:pt x="3309" y="1472"/>
                  <a:pt x="3308" y="1471"/>
                </a:cubicBezTo>
                <a:cubicBezTo>
                  <a:pt x="3308" y="1471"/>
                  <a:pt x="3308" y="1471"/>
                  <a:pt x="3307" y="1471"/>
                </a:cubicBezTo>
                <a:cubicBezTo>
                  <a:pt x="3307" y="1471"/>
                  <a:pt x="3307" y="1470"/>
                  <a:pt x="3307" y="1470"/>
                </a:cubicBezTo>
                <a:cubicBezTo>
                  <a:pt x="3306" y="1469"/>
                  <a:pt x="3305" y="1469"/>
                  <a:pt x="3305" y="1469"/>
                </a:cubicBezTo>
                <a:cubicBezTo>
                  <a:pt x="3304" y="1468"/>
                  <a:pt x="3305" y="1467"/>
                  <a:pt x="3305" y="1466"/>
                </a:cubicBezTo>
                <a:cubicBezTo>
                  <a:pt x="3305" y="1465"/>
                  <a:pt x="3305" y="1465"/>
                  <a:pt x="3306" y="1464"/>
                </a:cubicBezTo>
                <a:cubicBezTo>
                  <a:pt x="3306" y="1464"/>
                  <a:pt x="3307" y="1463"/>
                  <a:pt x="3307" y="1462"/>
                </a:cubicBezTo>
                <a:cubicBezTo>
                  <a:pt x="3308" y="1461"/>
                  <a:pt x="3308" y="1461"/>
                  <a:pt x="3309" y="1460"/>
                </a:cubicBezTo>
                <a:cubicBezTo>
                  <a:pt x="3309" y="1460"/>
                  <a:pt x="3309" y="1459"/>
                  <a:pt x="3309" y="1458"/>
                </a:cubicBezTo>
                <a:cubicBezTo>
                  <a:pt x="3309" y="1458"/>
                  <a:pt x="3310" y="1458"/>
                  <a:pt x="3310" y="1457"/>
                </a:cubicBezTo>
                <a:cubicBezTo>
                  <a:pt x="3310" y="1457"/>
                  <a:pt x="3310" y="1457"/>
                  <a:pt x="3310" y="1457"/>
                </a:cubicBezTo>
                <a:cubicBezTo>
                  <a:pt x="3310" y="1456"/>
                  <a:pt x="3310" y="1456"/>
                  <a:pt x="3311" y="1456"/>
                </a:cubicBezTo>
                <a:cubicBezTo>
                  <a:pt x="3311" y="1455"/>
                  <a:pt x="3312" y="1454"/>
                  <a:pt x="3311" y="1453"/>
                </a:cubicBezTo>
                <a:cubicBezTo>
                  <a:pt x="3311" y="1453"/>
                  <a:pt x="3311" y="1453"/>
                  <a:pt x="3311" y="1454"/>
                </a:cubicBezTo>
                <a:cubicBezTo>
                  <a:pt x="3311" y="1454"/>
                  <a:pt x="3311" y="1455"/>
                  <a:pt x="3310" y="1455"/>
                </a:cubicBezTo>
                <a:cubicBezTo>
                  <a:pt x="3310" y="1455"/>
                  <a:pt x="3310" y="1454"/>
                  <a:pt x="3310" y="1454"/>
                </a:cubicBezTo>
                <a:cubicBezTo>
                  <a:pt x="3309" y="1454"/>
                  <a:pt x="3309" y="1454"/>
                  <a:pt x="3309" y="1453"/>
                </a:cubicBezTo>
                <a:cubicBezTo>
                  <a:pt x="3309" y="1452"/>
                  <a:pt x="3309" y="1452"/>
                  <a:pt x="3309" y="1451"/>
                </a:cubicBezTo>
                <a:cubicBezTo>
                  <a:pt x="3309" y="1450"/>
                  <a:pt x="3309" y="1450"/>
                  <a:pt x="3310" y="1450"/>
                </a:cubicBezTo>
                <a:cubicBezTo>
                  <a:pt x="3310" y="1449"/>
                  <a:pt x="3311" y="1450"/>
                  <a:pt x="3311" y="1450"/>
                </a:cubicBezTo>
                <a:cubicBezTo>
                  <a:pt x="3311" y="1450"/>
                  <a:pt x="3312" y="1449"/>
                  <a:pt x="3312" y="1449"/>
                </a:cubicBezTo>
                <a:cubicBezTo>
                  <a:pt x="3312" y="1449"/>
                  <a:pt x="3313" y="1449"/>
                  <a:pt x="3313" y="1449"/>
                </a:cubicBezTo>
                <a:cubicBezTo>
                  <a:pt x="3314" y="1449"/>
                  <a:pt x="3314" y="1448"/>
                  <a:pt x="3314" y="1448"/>
                </a:cubicBezTo>
                <a:cubicBezTo>
                  <a:pt x="3314" y="1448"/>
                  <a:pt x="3315" y="1448"/>
                  <a:pt x="3315" y="1448"/>
                </a:cubicBezTo>
                <a:cubicBezTo>
                  <a:pt x="3315" y="1448"/>
                  <a:pt x="3315" y="1449"/>
                  <a:pt x="3315" y="1449"/>
                </a:cubicBezTo>
                <a:cubicBezTo>
                  <a:pt x="3314" y="1449"/>
                  <a:pt x="3315" y="1450"/>
                  <a:pt x="3315" y="1450"/>
                </a:cubicBezTo>
                <a:cubicBezTo>
                  <a:pt x="3315" y="1450"/>
                  <a:pt x="3315" y="1449"/>
                  <a:pt x="3315" y="1449"/>
                </a:cubicBezTo>
                <a:cubicBezTo>
                  <a:pt x="3316" y="1449"/>
                  <a:pt x="3316" y="1449"/>
                  <a:pt x="3316" y="1448"/>
                </a:cubicBezTo>
                <a:cubicBezTo>
                  <a:pt x="3316" y="1448"/>
                  <a:pt x="3316" y="1448"/>
                  <a:pt x="3316" y="1447"/>
                </a:cubicBezTo>
                <a:cubicBezTo>
                  <a:pt x="3316" y="1447"/>
                  <a:pt x="3316" y="1447"/>
                  <a:pt x="3316" y="1446"/>
                </a:cubicBezTo>
                <a:cubicBezTo>
                  <a:pt x="3316" y="1445"/>
                  <a:pt x="3317" y="1446"/>
                  <a:pt x="3318" y="1446"/>
                </a:cubicBezTo>
                <a:cubicBezTo>
                  <a:pt x="3318" y="1446"/>
                  <a:pt x="3318" y="1446"/>
                  <a:pt x="3318" y="1446"/>
                </a:cubicBezTo>
                <a:cubicBezTo>
                  <a:pt x="3318" y="1446"/>
                  <a:pt x="3317" y="1446"/>
                  <a:pt x="3317" y="1445"/>
                </a:cubicBezTo>
                <a:cubicBezTo>
                  <a:pt x="3317" y="1445"/>
                  <a:pt x="3317" y="1445"/>
                  <a:pt x="3317" y="1445"/>
                </a:cubicBezTo>
                <a:cubicBezTo>
                  <a:pt x="3317" y="1444"/>
                  <a:pt x="3316" y="1445"/>
                  <a:pt x="3316" y="1444"/>
                </a:cubicBezTo>
                <a:cubicBezTo>
                  <a:pt x="3317" y="1444"/>
                  <a:pt x="3317" y="1444"/>
                  <a:pt x="3317" y="1444"/>
                </a:cubicBezTo>
                <a:cubicBezTo>
                  <a:pt x="3317" y="1444"/>
                  <a:pt x="3317" y="1444"/>
                  <a:pt x="3318" y="1444"/>
                </a:cubicBezTo>
                <a:cubicBezTo>
                  <a:pt x="3318" y="1444"/>
                  <a:pt x="3318" y="1443"/>
                  <a:pt x="3318" y="1443"/>
                </a:cubicBezTo>
                <a:cubicBezTo>
                  <a:pt x="3318" y="1442"/>
                  <a:pt x="3318" y="1442"/>
                  <a:pt x="3319" y="1442"/>
                </a:cubicBezTo>
                <a:cubicBezTo>
                  <a:pt x="3319" y="1441"/>
                  <a:pt x="3319" y="1441"/>
                  <a:pt x="3319" y="1440"/>
                </a:cubicBezTo>
                <a:cubicBezTo>
                  <a:pt x="3319" y="1440"/>
                  <a:pt x="3320" y="1440"/>
                  <a:pt x="3320" y="1440"/>
                </a:cubicBezTo>
                <a:cubicBezTo>
                  <a:pt x="3320" y="1440"/>
                  <a:pt x="3320" y="1440"/>
                  <a:pt x="3320" y="1439"/>
                </a:cubicBezTo>
                <a:cubicBezTo>
                  <a:pt x="3321" y="1439"/>
                  <a:pt x="3321" y="1439"/>
                  <a:pt x="3321" y="1439"/>
                </a:cubicBezTo>
                <a:cubicBezTo>
                  <a:pt x="3321" y="1439"/>
                  <a:pt x="3322" y="1439"/>
                  <a:pt x="3322" y="1439"/>
                </a:cubicBezTo>
                <a:cubicBezTo>
                  <a:pt x="3322" y="1438"/>
                  <a:pt x="3322" y="1438"/>
                  <a:pt x="3322" y="1438"/>
                </a:cubicBezTo>
                <a:cubicBezTo>
                  <a:pt x="3322" y="1438"/>
                  <a:pt x="3321" y="1438"/>
                  <a:pt x="3321" y="1438"/>
                </a:cubicBezTo>
                <a:cubicBezTo>
                  <a:pt x="3321" y="1437"/>
                  <a:pt x="3321" y="1437"/>
                  <a:pt x="3320" y="1437"/>
                </a:cubicBezTo>
                <a:cubicBezTo>
                  <a:pt x="3320" y="1436"/>
                  <a:pt x="3320" y="1436"/>
                  <a:pt x="3319" y="1436"/>
                </a:cubicBezTo>
                <a:cubicBezTo>
                  <a:pt x="3319" y="1437"/>
                  <a:pt x="3319" y="1437"/>
                  <a:pt x="3319" y="1437"/>
                </a:cubicBezTo>
                <a:cubicBezTo>
                  <a:pt x="3318" y="1438"/>
                  <a:pt x="3318" y="1437"/>
                  <a:pt x="3318" y="1437"/>
                </a:cubicBezTo>
                <a:cubicBezTo>
                  <a:pt x="3318" y="1436"/>
                  <a:pt x="3317" y="1436"/>
                  <a:pt x="3317" y="1435"/>
                </a:cubicBezTo>
                <a:cubicBezTo>
                  <a:pt x="3317" y="1435"/>
                  <a:pt x="3317" y="1434"/>
                  <a:pt x="3317" y="1434"/>
                </a:cubicBezTo>
                <a:cubicBezTo>
                  <a:pt x="3317" y="1434"/>
                  <a:pt x="3318" y="1434"/>
                  <a:pt x="3318" y="1433"/>
                </a:cubicBezTo>
                <a:cubicBezTo>
                  <a:pt x="3317" y="1432"/>
                  <a:pt x="3317" y="1433"/>
                  <a:pt x="3317" y="1433"/>
                </a:cubicBezTo>
                <a:cubicBezTo>
                  <a:pt x="3317" y="1434"/>
                  <a:pt x="3316" y="1434"/>
                  <a:pt x="3316" y="1434"/>
                </a:cubicBezTo>
                <a:cubicBezTo>
                  <a:pt x="3315" y="1434"/>
                  <a:pt x="3315" y="1434"/>
                  <a:pt x="3315" y="1434"/>
                </a:cubicBezTo>
                <a:cubicBezTo>
                  <a:pt x="3314" y="1435"/>
                  <a:pt x="3315" y="1435"/>
                  <a:pt x="3314" y="1434"/>
                </a:cubicBezTo>
                <a:cubicBezTo>
                  <a:pt x="3314" y="1434"/>
                  <a:pt x="3314" y="1434"/>
                  <a:pt x="3314" y="1434"/>
                </a:cubicBezTo>
                <a:cubicBezTo>
                  <a:pt x="3314" y="1434"/>
                  <a:pt x="3313" y="1435"/>
                  <a:pt x="3313" y="1435"/>
                </a:cubicBezTo>
                <a:cubicBezTo>
                  <a:pt x="3313" y="1436"/>
                  <a:pt x="3313" y="1436"/>
                  <a:pt x="3313" y="1437"/>
                </a:cubicBezTo>
                <a:cubicBezTo>
                  <a:pt x="3313" y="1437"/>
                  <a:pt x="3314" y="1436"/>
                  <a:pt x="3314" y="1437"/>
                </a:cubicBezTo>
                <a:cubicBezTo>
                  <a:pt x="3314" y="1437"/>
                  <a:pt x="3315" y="1438"/>
                  <a:pt x="3314" y="1438"/>
                </a:cubicBezTo>
                <a:cubicBezTo>
                  <a:pt x="3314" y="1438"/>
                  <a:pt x="3314" y="1439"/>
                  <a:pt x="3314" y="1439"/>
                </a:cubicBezTo>
                <a:cubicBezTo>
                  <a:pt x="3313" y="1440"/>
                  <a:pt x="3312" y="1439"/>
                  <a:pt x="3312" y="1439"/>
                </a:cubicBezTo>
                <a:cubicBezTo>
                  <a:pt x="3312" y="1439"/>
                  <a:pt x="3312" y="1438"/>
                  <a:pt x="3312" y="1438"/>
                </a:cubicBezTo>
                <a:cubicBezTo>
                  <a:pt x="3312" y="1438"/>
                  <a:pt x="3311" y="1438"/>
                  <a:pt x="3311" y="1438"/>
                </a:cubicBezTo>
                <a:cubicBezTo>
                  <a:pt x="3311" y="1438"/>
                  <a:pt x="3311" y="1437"/>
                  <a:pt x="3311" y="1437"/>
                </a:cubicBezTo>
                <a:cubicBezTo>
                  <a:pt x="3311" y="1437"/>
                  <a:pt x="3311" y="1437"/>
                  <a:pt x="3311" y="1437"/>
                </a:cubicBezTo>
                <a:cubicBezTo>
                  <a:pt x="3311" y="1436"/>
                  <a:pt x="3311" y="1436"/>
                  <a:pt x="3311" y="1436"/>
                </a:cubicBezTo>
                <a:cubicBezTo>
                  <a:pt x="3311" y="1435"/>
                  <a:pt x="3311" y="1435"/>
                  <a:pt x="3311" y="1435"/>
                </a:cubicBezTo>
                <a:cubicBezTo>
                  <a:pt x="3310" y="1436"/>
                  <a:pt x="3310" y="1436"/>
                  <a:pt x="3310" y="1436"/>
                </a:cubicBezTo>
                <a:cubicBezTo>
                  <a:pt x="3309" y="1436"/>
                  <a:pt x="3308" y="1438"/>
                  <a:pt x="3307" y="1437"/>
                </a:cubicBezTo>
                <a:cubicBezTo>
                  <a:pt x="3307" y="1437"/>
                  <a:pt x="3307" y="1436"/>
                  <a:pt x="3307" y="1436"/>
                </a:cubicBezTo>
                <a:cubicBezTo>
                  <a:pt x="3308" y="1436"/>
                  <a:pt x="3308" y="1436"/>
                  <a:pt x="3308" y="1436"/>
                </a:cubicBezTo>
                <a:cubicBezTo>
                  <a:pt x="3308" y="1435"/>
                  <a:pt x="3308" y="1435"/>
                  <a:pt x="3308" y="1435"/>
                </a:cubicBezTo>
                <a:cubicBezTo>
                  <a:pt x="3309" y="1435"/>
                  <a:pt x="3309" y="1435"/>
                  <a:pt x="3310" y="1434"/>
                </a:cubicBezTo>
                <a:cubicBezTo>
                  <a:pt x="3310" y="1434"/>
                  <a:pt x="3309" y="1434"/>
                  <a:pt x="3309" y="1434"/>
                </a:cubicBezTo>
                <a:cubicBezTo>
                  <a:pt x="3309" y="1433"/>
                  <a:pt x="3310" y="1433"/>
                  <a:pt x="3310" y="1432"/>
                </a:cubicBezTo>
                <a:cubicBezTo>
                  <a:pt x="3309" y="1432"/>
                  <a:pt x="3309" y="1432"/>
                  <a:pt x="3309" y="1433"/>
                </a:cubicBezTo>
                <a:cubicBezTo>
                  <a:pt x="3308" y="1433"/>
                  <a:pt x="3308" y="1433"/>
                  <a:pt x="3307" y="1433"/>
                </a:cubicBezTo>
                <a:cubicBezTo>
                  <a:pt x="3307" y="1434"/>
                  <a:pt x="3306" y="1434"/>
                  <a:pt x="3306" y="1435"/>
                </a:cubicBezTo>
                <a:cubicBezTo>
                  <a:pt x="3306" y="1435"/>
                  <a:pt x="3306" y="1436"/>
                  <a:pt x="3305" y="1436"/>
                </a:cubicBezTo>
                <a:cubicBezTo>
                  <a:pt x="3305" y="1436"/>
                  <a:pt x="3305" y="1436"/>
                  <a:pt x="3304" y="1436"/>
                </a:cubicBezTo>
                <a:cubicBezTo>
                  <a:pt x="3304" y="1436"/>
                  <a:pt x="3303" y="1436"/>
                  <a:pt x="3303" y="1436"/>
                </a:cubicBezTo>
                <a:cubicBezTo>
                  <a:pt x="3303" y="1436"/>
                  <a:pt x="3302" y="1436"/>
                  <a:pt x="3302" y="1437"/>
                </a:cubicBezTo>
                <a:cubicBezTo>
                  <a:pt x="3302" y="1437"/>
                  <a:pt x="3303" y="1437"/>
                  <a:pt x="3302" y="1438"/>
                </a:cubicBezTo>
                <a:cubicBezTo>
                  <a:pt x="3302" y="1438"/>
                  <a:pt x="3301" y="1437"/>
                  <a:pt x="3300" y="1437"/>
                </a:cubicBezTo>
                <a:cubicBezTo>
                  <a:pt x="3300" y="1436"/>
                  <a:pt x="3300" y="1436"/>
                  <a:pt x="3299" y="1436"/>
                </a:cubicBezTo>
                <a:cubicBezTo>
                  <a:pt x="3299" y="1436"/>
                  <a:pt x="3299" y="1436"/>
                  <a:pt x="3298" y="1436"/>
                </a:cubicBezTo>
                <a:cubicBezTo>
                  <a:pt x="3298" y="1436"/>
                  <a:pt x="3298" y="1435"/>
                  <a:pt x="3298" y="1435"/>
                </a:cubicBezTo>
                <a:cubicBezTo>
                  <a:pt x="3297" y="1435"/>
                  <a:pt x="3297" y="1434"/>
                  <a:pt x="3297" y="1434"/>
                </a:cubicBezTo>
                <a:cubicBezTo>
                  <a:pt x="3296" y="1434"/>
                  <a:pt x="3295" y="1434"/>
                  <a:pt x="3295" y="1435"/>
                </a:cubicBezTo>
                <a:cubicBezTo>
                  <a:pt x="3294" y="1435"/>
                  <a:pt x="3293" y="1435"/>
                  <a:pt x="3292" y="1435"/>
                </a:cubicBezTo>
                <a:cubicBezTo>
                  <a:pt x="3292" y="1435"/>
                  <a:pt x="3291" y="1435"/>
                  <a:pt x="3291" y="1435"/>
                </a:cubicBezTo>
                <a:cubicBezTo>
                  <a:pt x="3290" y="1435"/>
                  <a:pt x="3290" y="1434"/>
                  <a:pt x="3290" y="1434"/>
                </a:cubicBezTo>
                <a:cubicBezTo>
                  <a:pt x="3290" y="1433"/>
                  <a:pt x="3289" y="1433"/>
                  <a:pt x="3289" y="1433"/>
                </a:cubicBezTo>
                <a:cubicBezTo>
                  <a:pt x="3289" y="1433"/>
                  <a:pt x="3289" y="1433"/>
                  <a:pt x="3288" y="1432"/>
                </a:cubicBezTo>
                <a:cubicBezTo>
                  <a:pt x="3288" y="1432"/>
                  <a:pt x="3288" y="1432"/>
                  <a:pt x="3287" y="1432"/>
                </a:cubicBezTo>
                <a:cubicBezTo>
                  <a:pt x="3287" y="1432"/>
                  <a:pt x="3287" y="1432"/>
                  <a:pt x="3286" y="1431"/>
                </a:cubicBezTo>
                <a:cubicBezTo>
                  <a:pt x="3286" y="1431"/>
                  <a:pt x="3286" y="1431"/>
                  <a:pt x="3285" y="1432"/>
                </a:cubicBezTo>
                <a:cubicBezTo>
                  <a:pt x="3285" y="1432"/>
                  <a:pt x="3284" y="1432"/>
                  <a:pt x="3284" y="1432"/>
                </a:cubicBezTo>
                <a:cubicBezTo>
                  <a:pt x="3284" y="1432"/>
                  <a:pt x="3284" y="1433"/>
                  <a:pt x="3283" y="1432"/>
                </a:cubicBezTo>
                <a:cubicBezTo>
                  <a:pt x="3282" y="1432"/>
                  <a:pt x="3283" y="1432"/>
                  <a:pt x="3283" y="1432"/>
                </a:cubicBezTo>
                <a:cubicBezTo>
                  <a:pt x="3282" y="1431"/>
                  <a:pt x="3282" y="1431"/>
                  <a:pt x="3282" y="1431"/>
                </a:cubicBezTo>
                <a:cubicBezTo>
                  <a:pt x="3281" y="1431"/>
                  <a:pt x="3281" y="1431"/>
                  <a:pt x="3280" y="1431"/>
                </a:cubicBezTo>
                <a:cubicBezTo>
                  <a:pt x="3280" y="1430"/>
                  <a:pt x="3280" y="1430"/>
                  <a:pt x="3279" y="1430"/>
                </a:cubicBezTo>
                <a:cubicBezTo>
                  <a:pt x="3279" y="1430"/>
                  <a:pt x="3278" y="1430"/>
                  <a:pt x="3277" y="1429"/>
                </a:cubicBezTo>
                <a:cubicBezTo>
                  <a:pt x="3277" y="1428"/>
                  <a:pt x="3277" y="1427"/>
                  <a:pt x="3276" y="1427"/>
                </a:cubicBezTo>
                <a:cubicBezTo>
                  <a:pt x="3275" y="1426"/>
                  <a:pt x="3275" y="1427"/>
                  <a:pt x="3274" y="1428"/>
                </a:cubicBezTo>
                <a:cubicBezTo>
                  <a:pt x="3274" y="1428"/>
                  <a:pt x="3273" y="1428"/>
                  <a:pt x="3273" y="1428"/>
                </a:cubicBezTo>
                <a:cubicBezTo>
                  <a:pt x="3272" y="1427"/>
                  <a:pt x="3272" y="1427"/>
                  <a:pt x="3272" y="1426"/>
                </a:cubicBezTo>
                <a:cubicBezTo>
                  <a:pt x="3272" y="1425"/>
                  <a:pt x="3272" y="1425"/>
                  <a:pt x="3272" y="1425"/>
                </a:cubicBezTo>
                <a:cubicBezTo>
                  <a:pt x="3272" y="1424"/>
                  <a:pt x="3272" y="1424"/>
                  <a:pt x="3272" y="1424"/>
                </a:cubicBezTo>
                <a:cubicBezTo>
                  <a:pt x="3272" y="1423"/>
                  <a:pt x="3272" y="1422"/>
                  <a:pt x="3271" y="1422"/>
                </a:cubicBezTo>
                <a:cubicBezTo>
                  <a:pt x="3271" y="1422"/>
                  <a:pt x="3270" y="1423"/>
                  <a:pt x="3270" y="1424"/>
                </a:cubicBezTo>
                <a:cubicBezTo>
                  <a:pt x="3270" y="1424"/>
                  <a:pt x="3271" y="1424"/>
                  <a:pt x="3271" y="1425"/>
                </a:cubicBezTo>
                <a:cubicBezTo>
                  <a:pt x="3271" y="1425"/>
                  <a:pt x="3271" y="1425"/>
                  <a:pt x="3271" y="1426"/>
                </a:cubicBezTo>
                <a:cubicBezTo>
                  <a:pt x="3271" y="1426"/>
                  <a:pt x="3271" y="1426"/>
                  <a:pt x="3271" y="1427"/>
                </a:cubicBezTo>
                <a:cubicBezTo>
                  <a:pt x="3271" y="1427"/>
                  <a:pt x="3270" y="1425"/>
                  <a:pt x="3270" y="1425"/>
                </a:cubicBezTo>
                <a:cubicBezTo>
                  <a:pt x="3270" y="1425"/>
                  <a:pt x="3269" y="1425"/>
                  <a:pt x="3269" y="1425"/>
                </a:cubicBezTo>
                <a:cubicBezTo>
                  <a:pt x="3269" y="1425"/>
                  <a:pt x="3269" y="1425"/>
                  <a:pt x="3269" y="1425"/>
                </a:cubicBezTo>
                <a:cubicBezTo>
                  <a:pt x="3269" y="1424"/>
                  <a:pt x="3269" y="1424"/>
                  <a:pt x="3269" y="1424"/>
                </a:cubicBezTo>
                <a:cubicBezTo>
                  <a:pt x="3268" y="1424"/>
                  <a:pt x="3268" y="1425"/>
                  <a:pt x="3268" y="1425"/>
                </a:cubicBezTo>
                <a:cubicBezTo>
                  <a:pt x="3268" y="1425"/>
                  <a:pt x="3268" y="1425"/>
                  <a:pt x="3268" y="1425"/>
                </a:cubicBezTo>
                <a:cubicBezTo>
                  <a:pt x="3267" y="1424"/>
                  <a:pt x="3267" y="1425"/>
                  <a:pt x="3267" y="1425"/>
                </a:cubicBezTo>
                <a:cubicBezTo>
                  <a:pt x="3267" y="1425"/>
                  <a:pt x="3267" y="1425"/>
                  <a:pt x="3267" y="1426"/>
                </a:cubicBezTo>
                <a:cubicBezTo>
                  <a:pt x="3267" y="1426"/>
                  <a:pt x="3267" y="1426"/>
                  <a:pt x="3267" y="1426"/>
                </a:cubicBezTo>
                <a:cubicBezTo>
                  <a:pt x="3267" y="1427"/>
                  <a:pt x="3267" y="1427"/>
                  <a:pt x="3267" y="1427"/>
                </a:cubicBezTo>
                <a:cubicBezTo>
                  <a:pt x="3266" y="1427"/>
                  <a:pt x="3267" y="1427"/>
                  <a:pt x="3267" y="1426"/>
                </a:cubicBezTo>
                <a:cubicBezTo>
                  <a:pt x="3267" y="1426"/>
                  <a:pt x="3266" y="1426"/>
                  <a:pt x="3266" y="1426"/>
                </a:cubicBezTo>
                <a:cubicBezTo>
                  <a:pt x="3266" y="1425"/>
                  <a:pt x="3266" y="1425"/>
                  <a:pt x="3265" y="1425"/>
                </a:cubicBezTo>
                <a:cubicBezTo>
                  <a:pt x="3265" y="1425"/>
                  <a:pt x="3263" y="1424"/>
                  <a:pt x="3263" y="1425"/>
                </a:cubicBezTo>
                <a:cubicBezTo>
                  <a:pt x="3262" y="1425"/>
                  <a:pt x="3264" y="1426"/>
                  <a:pt x="3264" y="1426"/>
                </a:cubicBezTo>
                <a:cubicBezTo>
                  <a:pt x="3264" y="1426"/>
                  <a:pt x="3264" y="1427"/>
                  <a:pt x="3265" y="1427"/>
                </a:cubicBezTo>
                <a:cubicBezTo>
                  <a:pt x="3265" y="1428"/>
                  <a:pt x="3265" y="1428"/>
                  <a:pt x="3265" y="1428"/>
                </a:cubicBezTo>
                <a:cubicBezTo>
                  <a:pt x="3266" y="1428"/>
                  <a:pt x="3266" y="1429"/>
                  <a:pt x="3266" y="1429"/>
                </a:cubicBezTo>
                <a:cubicBezTo>
                  <a:pt x="3266" y="1429"/>
                  <a:pt x="3267" y="1429"/>
                  <a:pt x="3267" y="1429"/>
                </a:cubicBezTo>
                <a:cubicBezTo>
                  <a:pt x="3268" y="1428"/>
                  <a:pt x="3268" y="1427"/>
                  <a:pt x="3269" y="1428"/>
                </a:cubicBezTo>
                <a:cubicBezTo>
                  <a:pt x="3269" y="1428"/>
                  <a:pt x="3270" y="1428"/>
                  <a:pt x="3270" y="1428"/>
                </a:cubicBezTo>
                <a:cubicBezTo>
                  <a:pt x="3270" y="1429"/>
                  <a:pt x="3271" y="1429"/>
                  <a:pt x="3271" y="1429"/>
                </a:cubicBezTo>
                <a:cubicBezTo>
                  <a:pt x="3271" y="1429"/>
                  <a:pt x="3272" y="1430"/>
                  <a:pt x="3272" y="1430"/>
                </a:cubicBezTo>
                <a:cubicBezTo>
                  <a:pt x="3272" y="1430"/>
                  <a:pt x="3272" y="1430"/>
                  <a:pt x="3272" y="1431"/>
                </a:cubicBezTo>
                <a:cubicBezTo>
                  <a:pt x="3271" y="1431"/>
                  <a:pt x="3271" y="1431"/>
                  <a:pt x="3271" y="1431"/>
                </a:cubicBezTo>
                <a:cubicBezTo>
                  <a:pt x="3272" y="1431"/>
                  <a:pt x="3272" y="1431"/>
                  <a:pt x="3272" y="1431"/>
                </a:cubicBezTo>
                <a:cubicBezTo>
                  <a:pt x="3273" y="1432"/>
                  <a:pt x="3273" y="1433"/>
                  <a:pt x="3272" y="1433"/>
                </a:cubicBezTo>
                <a:cubicBezTo>
                  <a:pt x="3272" y="1434"/>
                  <a:pt x="3272" y="1434"/>
                  <a:pt x="3272" y="1435"/>
                </a:cubicBezTo>
                <a:cubicBezTo>
                  <a:pt x="3272" y="1435"/>
                  <a:pt x="3273" y="1436"/>
                  <a:pt x="3273" y="1436"/>
                </a:cubicBezTo>
                <a:cubicBezTo>
                  <a:pt x="3272" y="1437"/>
                  <a:pt x="3272" y="1436"/>
                  <a:pt x="3271" y="1437"/>
                </a:cubicBezTo>
                <a:cubicBezTo>
                  <a:pt x="3271" y="1437"/>
                  <a:pt x="3271" y="1437"/>
                  <a:pt x="3270" y="1438"/>
                </a:cubicBezTo>
                <a:cubicBezTo>
                  <a:pt x="3270" y="1438"/>
                  <a:pt x="3270" y="1438"/>
                  <a:pt x="3270" y="1438"/>
                </a:cubicBezTo>
                <a:cubicBezTo>
                  <a:pt x="3270" y="1438"/>
                  <a:pt x="3270" y="1437"/>
                  <a:pt x="3270" y="1437"/>
                </a:cubicBezTo>
                <a:cubicBezTo>
                  <a:pt x="3269" y="1437"/>
                  <a:pt x="3269" y="1437"/>
                  <a:pt x="3269" y="1437"/>
                </a:cubicBezTo>
                <a:cubicBezTo>
                  <a:pt x="3269" y="1437"/>
                  <a:pt x="3269" y="1437"/>
                  <a:pt x="3268" y="1437"/>
                </a:cubicBezTo>
                <a:cubicBezTo>
                  <a:pt x="3268" y="1436"/>
                  <a:pt x="3268" y="1436"/>
                  <a:pt x="3268" y="1436"/>
                </a:cubicBezTo>
                <a:cubicBezTo>
                  <a:pt x="3267" y="1436"/>
                  <a:pt x="3267" y="1437"/>
                  <a:pt x="3267" y="1437"/>
                </a:cubicBezTo>
                <a:cubicBezTo>
                  <a:pt x="3267" y="1437"/>
                  <a:pt x="3267" y="1437"/>
                  <a:pt x="3266" y="1437"/>
                </a:cubicBezTo>
                <a:cubicBezTo>
                  <a:pt x="3266" y="1437"/>
                  <a:pt x="3266" y="1438"/>
                  <a:pt x="3266" y="1438"/>
                </a:cubicBezTo>
                <a:cubicBezTo>
                  <a:pt x="3266" y="1438"/>
                  <a:pt x="3265" y="1438"/>
                  <a:pt x="3265" y="1438"/>
                </a:cubicBezTo>
                <a:cubicBezTo>
                  <a:pt x="3264" y="1438"/>
                  <a:pt x="3264" y="1438"/>
                  <a:pt x="3264" y="1438"/>
                </a:cubicBezTo>
                <a:cubicBezTo>
                  <a:pt x="3263" y="1438"/>
                  <a:pt x="3262" y="1438"/>
                  <a:pt x="3261" y="1438"/>
                </a:cubicBezTo>
                <a:cubicBezTo>
                  <a:pt x="3261" y="1438"/>
                  <a:pt x="3260" y="1438"/>
                  <a:pt x="3260" y="1438"/>
                </a:cubicBezTo>
                <a:cubicBezTo>
                  <a:pt x="3260" y="1438"/>
                  <a:pt x="3259" y="1438"/>
                  <a:pt x="3259" y="1438"/>
                </a:cubicBezTo>
                <a:cubicBezTo>
                  <a:pt x="3258" y="1437"/>
                  <a:pt x="3258" y="1437"/>
                  <a:pt x="3258" y="1437"/>
                </a:cubicBezTo>
                <a:cubicBezTo>
                  <a:pt x="3258" y="1437"/>
                  <a:pt x="3257" y="1437"/>
                  <a:pt x="3257" y="1436"/>
                </a:cubicBezTo>
                <a:cubicBezTo>
                  <a:pt x="3257" y="1436"/>
                  <a:pt x="3257" y="1435"/>
                  <a:pt x="3257" y="1435"/>
                </a:cubicBezTo>
                <a:cubicBezTo>
                  <a:pt x="3257" y="1435"/>
                  <a:pt x="3256" y="1435"/>
                  <a:pt x="3256" y="1436"/>
                </a:cubicBezTo>
                <a:cubicBezTo>
                  <a:pt x="3256" y="1436"/>
                  <a:pt x="3256" y="1437"/>
                  <a:pt x="3256" y="1437"/>
                </a:cubicBezTo>
                <a:cubicBezTo>
                  <a:pt x="3256" y="1437"/>
                  <a:pt x="3255" y="1436"/>
                  <a:pt x="3255" y="1436"/>
                </a:cubicBezTo>
                <a:cubicBezTo>
                  <a:pt x="3254" y="1436"/>
                  <a:pt x="3254" y="1437"/>
                  <a:pt x="3254" y="1438"/>
                </a:cubicBezTo>
                <a:cubicBezTo>
                  <a:pt x="3254" y="1439"/>
                  <a:pt x="3253" y="1438"/>
                  <a:pt x="3252" y="1439"/>
                </a:cubicBezTo>
                <a:cubicBezTo>
                  <a:pt x="3252" y="1440"/>
                  <a:pt x="3252" y="1440"/>
                  <a:pt x="3253" y="1440"/>
                </a:cubicBezTo>
                <a:cubicBezTo>
                  <a:pt x="3253" y="1440"/>
                  <a:pt x="3253" y="1441"/>
                  <a:pt x="3253" y="1441"/>
                </a:cubicBezTo>
                <a:cubicBezTo>
                  <a:pt x="3253" y="1441"/>
                  <a:pt x="3252" y="1441"/>
                  <a:pt x="3252" y="1441"/>
                </a:cubicBezTo>
                <a:cubicBezTo>
                  <a:pt x="3251" y="1441"/>
                  <a:pt x="3251" y="1441"/>
                  <a:pt x="3251" y="1440"/>
                </a:cubicBezTo>
                <a:cubicBezTo>
                  <a:pt x="3251" y="1440"/>
                  <a:pt x="3250" y="1439"/>
                  <a:pt x="3250" y="1439"/>
                </a:cubicBezTo>
                <a:cubicBezTo>
                  <a:pt x="3249" y="1439"/>
                  <a:pt x="3248" y="1440"/>
                  <a:pt x="3249" y="1440"/>
                </a:cubicBezTo>
                <a:cubicBezTo>
                  <a:pt x="3249" y="1441"/>
                  <a:pt x="3249" y="1441"/>
                  <a:pt x="3249" y="1442"/>
                </a:cubicBezTo>
                <a:cubicBezTo>
                  <a:pt x="3249" y="1442"/>
                  <a:pt x="3248" y="1442"/>
                  <a:pt x="3247" y="1442"/>
                </a:cubicBezTo>
                <a:cubicBezTo>
                  <a:pt x="3247" y="1442"/>
                  <a:pt x="3246" y="1443"/>
                  <a:pt x="3245" y="1443"/>
                </a:cubicBezTo>
                <a:cubicBezTo>
                  <a:pt x="3245" y="1444"/>
                  <a:pt x="3244" y="1445"/>
                  <a:pt x="3244" y="1445"/>
                </a:cubicBezTo>
                <a:cubicBezTo>
                  <a:pt x="3244" y="1445"/>
                  <a:pt x="3243" y="1446"/>
                  <a:pt x="3243" y="1446"/>
                </a:cubicBezTo>
                <a:cubicBezTo>
                  <a:pt x="3243" y="1447"/>
                  <a:pt x="3244" y="1446"/>
                  <a:pt x="3244" y="1447"/>
                </a:cubicBezTo>
                <a:cubicBezTo>
                  <a:pt x="3245" y="1447"/>
                  <a:pt x="3245" y="1448"/>
                  <a:pt x="3245" y="1448"/>
                </a:cubicBezTo>
                <a:cubicBezTo>
                  <a:pt x="3245" y="1449"/>
                  <a:pt x="3245" y="1449"/>
                  <a:pt x="3245" y="1449"/>
                </a:cubicBezTo>
                <a:cubicBezTo>
                  <a:pt x="3246" y="1450"/>
                  <a:pt x="3244" y="1450"/>
                  <a:pt x="3244" y="1451"/>
                </a:cubicBezTo>
                <a:cubicBezTo>
                  <a:pt x="3243" y="1451"/>
                  <a:pt x="3243" y="1452"/>
                  <a:pt x="3242" y="1452"/>
                </a:cubicBezTo>
                <a:cubicBezTo>
                  <a:pt x="3241" y="1453"/>
                  <a:pt x="3242" y="1450"/>
                  <a:pt x="3241" y="1451"/>
                </a:cubicBezTo>
                <a:cubicBezTo>
                  <a:pt x="3240" y="1451"/>
                  <a:pt x="3240" y="1452"/>
                  <a:pt x="3240" y="1452"/>
                </a:cubicBezTo>
                <a:cubicBezTo>
                  <a:pt x="3240" y="1453"/>
                  <a:pt x="3240" y="1453"/>
                  <a:pt x="3240" y="1454"/>
                </a:cubicBezTo>
                <a:cubicBezTo>
                  <a:pt x="3239" y="1454"/>
                  <a:pt x="3239" y="1455"/>
                  <a:pt x="3239" y="1455"/>
                </a:cubicBezTo>
                <a:cubicBezTo>
                  <a:pt x="3239" y="1456"/>
                  <a:pt x="3239" y="1457"/>
                  <a:pt x="3239" y="1457"/>
                </a:cubicBezTo>
                <a:cubicBezTo>
                  <a:pt x="3239" y="1457"/>
                  <a:pt x="3238" y="1458"/>
                  <a:pt x="3238" y="1458"/>
                </a:cubicBezTo>
                <a:cubicBezTo>
                  <a:pt x="3238" y="1458"/>
                  <a:pt x="3237" y="1458"/>
                  <a:pt x="3237" y="1458"/>
                </a:cubicBezTo>
                <a:cubicBezTo>
                  <a:pt x="3236" y="1458"/>
                  <a:pt x="3236" y="1458"/>
                  <a:pt x="3236" y="1459"/>
                </a:cubicBezTo>
                <a:cubicBezTo>
                  <a:pt x="3235" y="1459"/>
                  <a:pt x="3236" y="1460"/>
                  <a:pt x="3236" y="1460"/>
                </a:cubicBezTo>
                <a:cubicBezTo>
                  <a:pt x="3236" y="1460"/>
                  <a:pt x="3235" y="1461"/>
                  <a:pt x="3235" y="1461"/>
                </a:cubicBezTo>
                <a:cubicBezTo>
                  <a:pt x="3235" y="1462"/>
                  <a:pt x="3236" y="1463"/>
                  <a:pt x="3236" y="1464"/>
                </a:cubicBezTo>
                <a:cubicBezTo>
                  <a:pt x="3237" y="1464"/>
                  <a:pt x="3237" y="1465"/>
                  <a:pt x="3238" y="1466"/>
                </a:cubicBezTo>
                <a:cubicBezTo>
                  <a:pt x="3239" y="1466"/>
                  <a:pt x="3239" y="1466"/>
                  <a:pt x="3240" y="1467"/>
                </a:cubicBezTo>
                <a:cubicBezTo>
                  <a:pt x="3240" y="1467"/>
                  <a:pt x="3241" y="1467"/>
                  <a:pt x="3241" y="1467"/>
                </a:cubicBezTo>
                <a:cubicBezTo>
                  <a:pt x="3241" y="1468"/>
                  <a:pt x="3240" y="1467"/>
                  <a:pt x="3240" y="1467"/>
                </a:cubicBezTo>
                <a:cubicBezTo>
                  <a:pt x="3239" y="1467"/>
                  <a:pt x="3239" y="1468"/>
                  <a:pt x="3239" y="1468"/>
                </a:cubicBezTo>
                <a:cubicBezTo>
                  <a:pt x="3238" y="1468"/>
                  <a:pt x="3238" y="1469"/>
                  <a:pt x="3238" y="1469"/>
                </a:cubicBezTo>
                <a:cubicBezTo>
                  <a:pt x="3237" y="1470"/>
                  <a:pt x="3239" y="1470"/>
                  <a:pt x="3239" y="1471"/>
                </a:cubicBezTo>
                <a:cubicBezTo>
                  <a:pt x="3239" y="1471"/>
                  <a:pt x="3238" y="1471"/>
                  <a:pt x="3238" y="1471"/>
                </a:cubicBezTo>
                <a:cubicBezTo>
                  <a:pt x="3238" y="1471"/>
                  <a:pt x="3238" y="1471"/>
                  <a:pt x="3238" y="1470"/>
                </a:cubicBezTo>
                <a:cubicBezTo>
                  <a:pt x="3238" y="1470"/>
                  <a:pt x="3238" y="1470"/>
                  <a:pt x="3237" y="1470"/>
                </a:cubicBezTo>
                <a:cubicBezTo>
                  <a:pt x="3237" y="1470"/>
                  <a:pt x="3237" y="1469"/>
                  <a:pt x="3237" y="1469"/>
                </a:cubicBezTo>
                <a:cubicBezTo>
                  <a:pt x="3237" y="1469"/>
                  <a:pt x="3236" y="1469"/>
                  <a:pt x="3236" y="1468"/>
                </a:cubicBezTo>
                <a:cubicBezTo>
                  <a:pt x="3235" y="1468"/>
                  <a:pt x="3234" y="1468"/>
                  <a:pt x="3234" y="1468"/>
                </a:cubicBezTo>
                <a:cubicBezTo>
                  <a:pt x="3234" y="1469"/>
                  <a:pt x="3234" y="1469"/>
                  <a:pt x="3234" y="1470"/>
                </a:cubicBezTo>
                <a:cubicBezTo>
                  <a:pt x="3234" y="1470"/>
                  <a:pt x="3234" y="1471"/>
                  <a:pt x="3234" y="1471"/>
                </a:cubicBezTo>
                <a:cubicBezTo>
                  <a:pt x="3233" y="1472"/>
                  <a:pt x="3233" y="1471"/>
                  <a:pt x="3233" y="1471"/>
                </a:cubicBezTo>
                <a:cubicBezTo>
                  <a:pt x="3233" y="1470"/>
                  <a:pt x="3233" y="1469"/>
                  <a:pt x="3232" y="1469"/>
                </a:cubicBezTo>
                <a:cubicBezTo>
                  <a:pt x="3232" y="1468"/>
                  <a:pt x="3232" y="1468"/>
                  <a:pt x="3231" y="1468"/>
                </a:cubicBezTo>
                <a:cubicBezTo>
                  <a:pt x="3231" y="1468"/>
                  <a:pt x="3231" y="1468"/>
                  <a:pt x="3231" y="1468"/>
                </a:cubicBezTo>
                <a:cubicBezTo>
                  <a:pt x="3230" y="1467"/>
                  <a:pt x="3229" y="1467"/>
                  <a:pt x="3228" y="1467"/>
                </a:cubicBezTo>
                <a:cubicBezTo>
                  <a:pt x="3227" y="1467"/>
                  <a:pt x="3226" y="1467"/>
                  <a:pt x="3225" y="1467"/>
                </a:cubicBezTo>
                <a:cubicBezTo>
                  <a:pt x="3225" y="1467"/>
                  <a:pt x="3224" y="1467"/>
                  <a:pt x="3224" y="1467"/>
                </a:cubicBezTo>
                <a:cubicBezTo>
                  <a:pt x="3224" y="1467"/>
                  <a:pt x="3224" y="1468"/>
                  <a:pt x="3224" y="1468"/>
                </a:cubicBezTo>
                <a:cubicBezTo>
                  <a:pt x="3225" y="1468"/>
                  <a:pt x="3225" y="1469"/>
                  <a:pt x="3225" y="1469"/>
                </a:cubicBezTo>
                <a:cubicBezTo>
                  <a:pt x="3224" y="1470"/>
                  <a:pt x="3224" y="1469"/>
                  <a:pt x="3224" y="1469"/>
                </a:cubicBezTo>
                <a:cubicBezTo>
                  <a:pt x="3223" y="1469"/>
                  <a:pt x="3223" y="1469"/>
                  <a:pt x="3222" y="1469"/>
                </a:cubicBezTo>
                <a:cubicBezTo>
                  <a:pt x="3222" y="1469"/>
                  <a:pt x="3222" y="1470"/>
                  <a:pt x="3222" y="1470"/>
                </a:cubicBezTo>
                <a:cubicBezTo>
                  <a:pt x="3222" y="1470"/>
                  <a:pt x="3222" y="1471"/>
                  <a:pt x="3222" y="1471"/>
                </a:cubicBezTo>
                <a:cubicBezTo>
                  <a:pt x="3222" y="1472"/>
                  <a:pt x="3223" y="1472"/>
                  <a:pt x="3223" y="1472"/>
                </a:cubicBezTo>
                <a:cubicBezTo>
                  <a:pt x="3223" y="1473"/>
                  <a:pt x="3223" y="1473"/>
                  <a:pt x="3223" y="1473"/>
                </a:cubicBezTo>
                <a:cubicBezTo>
                  <a:pt x="3222" y="1474"/>
                  <a:pt x="3222" y="1474"/>
                  <a:pt x="3222" y="1473"/>
                </a:cubicBezTo>
                <a:cubicBezTo>
                  <a:pt x="3221" y="1472"/>
                  <a:pt x="3221" y="1474"/>
                  <a:pt x="3221" y="1474"/>
                </a:cubicBezTo>
                <a:cubicBezTo>
                  <a:pt x="3221" y="1474"/>
                  <a:pt x="3221" y="1475"/>
                  <a:pt x="3221" y="1475"/>
                </a:cubicBezTo>
                <a:cubicBezTo>
                  <a:pt x="3220" y="1474"/>
                  <a:pt x="3220" y="1473"/>
                  <a:pt x="3221" y="1472"/>
                </a:cubicBezTo>
                <a:cubicBezTo>
                  <a:pt x="3221" y="1471"/>
                  <a:pt x="3220" y="1471"/>
                  <a:pt x="3220" y="1470"/>
                </a:cubicBezTo>
                <a:cubicBezTo>
                  <a:pt x="3220" y="1469"/>
                  <a:pt x="3221" y="1469"/>
                  <a:pt x="3221" y="1468"/>
                </a:cubicBezTo>
                <a:cubicBezTo>
                  <a:pt x="3221" y="1468"/>
                  <a:pt x="3221" y="1468"/>
                  <a:pt x="3221" y="1467"/>
                </a:cubicBezTo>
                <a:cubicBezTo>
                  <a:pt x="3221" y="1467"/>
                  <a:pt x="3222" y="1467"/>
                  <a:pt x="3222" y="1466"/>
                </a:cubicBezTo>
                <a:cubicBezTo>
                  <a:pt x="3222" y="1465"/>
                  <a:pt x="3221" y="1465"/>
                  <a:pt x="3220" y="1464"/>
                </a:cubicBezTo>
                <a:cubicBezTo>
                  <a:pt x="3220" y="1464"/>
                  <a:pt x="3220" y="1464"/>
                  <a:pt x="3219" y="1463"/>
                </a:cubicBezTo>
                <a:cubicBezTo>
                  <a:pt x="3219" y="1463"/>
                  <a:pt x="3218" y="1463"/>
                  <a:pt x="3218" y="1463"/>
                </a:cubicBezTo>
                <a:cubicBezTo>
                  <a:pt x="3218" y="1462"/>
                  <a:pt x="3218" y="1462"/>
                  <a:pt x="3218" y="1462"/>
                </a:cubicBezTo>
                <a:cubicBezTo>
                  <a:pt x="3217" y="1461"/>
                  <a:pt x="3216" y="1461"/>
                  <a:pt x="3216" y="1460"/>
                </a:cubicBezTo>
                <a:cubicBezTo>
                  <a:pt x="3215" y="1459"/>
                  <a:pt x="3215" y="1459"/>
                  <a:pt x="3214" y="1458"/>
                </a:cubicBezTo>
                <a:cubicBezTo>
                  <a:pt x="3214" y="1458"/>
                  <a:pt x="3213" y="1457"/>
                  <a:pt x="3212" y="1457"/>
                </a:cubicBezTo>
                <a:cubicBezTo>
                  <a:pt x="3212" y="1457"/>
                  <a:pt x="3211" y="1457"/>
                  <a:pt x="3210" y="1457"/>
                </a:cubicBezTo>
                <a:cubicBezTo>
                  <a:pt x="3210" y="1457"/>
                  <a:pt x="3209" y="1457"/>
                  <a:pt x="3209" y="1456"/>
                </a:cubicBezTo>
                <a:cubicBezTo>
                  <a:pt x="3209" y="1456"/>
                  <a:pt x="3208" y="1456"/>
                  <a:pt x="3208" y="1456"/>
                </a:cubicBezTo>
                <a:cubicBezTo>
                  <a:pt x="3208" y="1455"/>
                  <a:pt x="3208" y="1453"/>
                  <a:pt x="3207" y="1454"/>
                </a:cubicBezTo>
                <a:cubicBezTo>
                  <a:pt x="3207" y="1455"/>
                  <a:pt x="3207" y="1456"/>
                  <a:pt x="3207" y="1456"/>
                </a:cubicBezTo>
                <a:cubicBezTo>
                  <a:pt x="3206" y="1457"/>
                  <a:pt x="3206" y="1457"/>
                  <a:pt x="3205" y="1458"/>
                </a:cubicBezTo>
                <a:cubicBezTo>
                  <a:pt x="3205" y="1458"/>
                  <a:pt x="3205" y="1459"/>
                  <a:pt x="3205" y="1459"/>
                </a:cubicBezTo>
                <a:cubicBezTo>
                  <a:pt x="3204" y="1460"/>
                  <a:pt x="3204" y="1460"/>
                  <a:pt x="3203" y="1460"/>
                </a:cubicBezTo>
                <a:cubicBezTo>
                  <a:pt x="3203" y="1460"/>
                  <a:pt x="3203" y="1459"/>
                  <a:pt x="3203" y="1459"/>
                </a:cubicBezTo>
                <a:cubicBezTo>
                  <a:pt x="3202" y="1459"/>
                  <a:pt x="3202" y="1459"/>
                  <a:pt x="3202" y="1458"/>
                </a:cubicBezTo>
                <a:cubicBezTo>
                  <a:pt x="3202" y="1458"/>
                  <a:pt x="3202" y="1458"/>
                  <a:pt x="3203" y="1458"/>
                </a:cubicBezTo>
                <a:cubicBezTo>
                  <a:pt x="3203" y="1457"/>
                  <a:pt x="3203" y="1457"/>
                  <a:pt x="3202" y="1457"/>
                </a:cubicBezTo>
                <a:cubicBezTo>
                  <a:pt x="3202" y="1457"/>
                  <a:pt x="3202" y="1457"/>
                  <a:pt x="3201" y="1458"/>
                </a:cubicBezTo>
                <a:cubicBezTo>
                  <a:pt x="3201" y="1458"/>
                  <a:pt x="3201" y="1458"/>
                  <a:pt x="3200" y="1458"/>
                </a:cubicBezTo>
                <a:cubicBezTo>
                  <a:pt x="3200" y="1458"/>
                  <a:pt x="3200" y="1459"/>
                  <a:pt x="3199" y="1459"/>
                </a:cubicBezTo>
                <a:cubicBezTo>
                  <a:pt x="3199" y="1459"/>
                  <a:pt x="3198" y="1459"/>
                  <a:pt x="3198" y="1458"/>
                </a:cubicBezTo>
                <a:cubicBezTo>
                  <a:pt x="3198" y="1458"/>
                  <a:pt x="3199" y="1458"/>
                  <a:pt x="3199" y="1457"/>
                </a:cubicBezTo>
                <a:cubicBezTo>
                  <a:pt x="3199" y="1457"/>
                  <a:pt x="3198" y="1457"/>
                  <a:pt x="3198" y="1457"/>
                </a:cubicBezTo>
                <a:cubicBezTo>
                  <a:pt x="3198" y="1457"/>
                  <a:pt x="3197" y="1456"/>
                  <a:pt x="3197" y="1456"/>
                </a:cubicBezTo>
                <a:cubicBezTo>
                  <a:pt x="3197" y="1457"/>
                  <a:pt x="3197" y="1457"/>
                  <a:pt x="3197" y="1458"/>
                </a:cubicBezTo>
                <a:cubicBezTo>
                  <a:pt x="3197" y="1458"/>
                  <a:pt x="3196" y="1458"/>
                  <a:pt x="3197" y="1458"/>
                </a:cubicBezTo>
                <a:cubicBezTo>
                  <a:pt x="3197" y="1459"/>
                  <a:pt x="3197" y="1458"/>
                  <a:pt x="3198" y="1459"/>
                </a:cubicBezTo>
                <a:cubicBezTo>
                  <a:pt x="3198" y="1459"/>
                  <a:pt x="3198" y="1460"/>
                  <a:pt x="3198" y="1461"/>
                </a:cubicBezTo>
                <a:cubicBezTo>
                  <a:pt x="3198" y="1461"/>
                  <a:pt x="3197" y="1461"/>
                  <a:pt x="3197" y="1462"/>
                </a:cubicBezTo>
                <a:cubicBezTo>
                  <a:pt x="3197" y="1462"/>
                  <a:pt x="3197" y="1463"/>
                  <a:pt x="3197" y="1463"/>
                </a:cubicBezTo>
                <a:cubicBezTo>
                  <a:pt x="3196" y="1464"/>
                  <a:pt x="3195" y="1464"/>
                  <a:pt x="3195" y="1464"/>
                </a:cubicBezTo>
                <a:cubicBezTo>
                  <a:pt x="3195" y="1463"/>
                  <a:pt x="3195" y="1463"/>
                  <a:pt x="3195" y="1463"/>
                </a:cubicBezTo>
                <a:cubicBezTo>
                  <a:pt x="3195" y="1462"/>
                  <a:pt x="3194" y="1463"/>
                  <a:pt x="3194" y="1463"/>
                </a:cubicBezTo>
                <a:cubicBezTo>
                  <a:pt x="3194" y="1462"/>
                  <a:pt x="3194" y="1462"/>
                  <a:pt x="3193" y="1462"/>
                </a:cubicBezTo>
                <a:cubicBezTo>
                  <a:pt x="3193" y="1462"/>
                  <a:pt x="3192" y="1463"/>
                  <a:pt x="3192" y="1463"/>
                </a:cubicBezTo>
                <a:cubicBezTo>
                  <a:pt x="3192" y="1464"/>
                  <a:pt x="3191" y="1463"/>
                  <a:pt x="3191" y="1464"/>
                </a:cubicBezTo>
                <a:cubicBezTo>
                  <a:pt x="3191" y="1464"/>
                  <a:pt x="3190" y="1464"/>
                  <a:pt x="3190" y="1464"/>
                </a:cubicBezTo>
                <a:cubicBezTo>
                  <a:pt x="3189" y="1464"/>
                  <a:pt x="3189" y="1463"/>
                  <a:pt x="3189" y="1463"/>
                </a:cubicBezTo>
                <a:cubicBezTo>
                  <a:pt x="3188" y="1463"/>
                  <a:pt x="3189" y="1464"/>
                  <a:pt x="3188" y="1464"/>
                </a:cubicBezTo>
                <a:cubicBezTo>
                  <a:pt x="3188" y="1465"/>
                  <a:pt x="3188" y="1465"/>
                  <a:pt x="3187" y="1465"/>
                </a:cubicBezTo>
                <a:cubicBezTo>
                  <a:pt x="3187" y="1465"/>
                  <a:pt x="3187" y="1467"/>
                  <a:pt x="3187" y="1467"/>
                </a:cubicBezTo>
                <a:cubicBezTo>
                  <a:pt x="3187" y="1467"/>
                  <a:pt x="3188" y="1467"/>
                  <a:pt x="3188" y="1467"/>
                </a:cubicBezTo>
                <a:cubicBezTo>
                  <a:pt x="3188" y="1467"/>
                  <a:pt x="3188" y="1467"/>
                  <a:pt x="3188" y="1468"/>
                </a:cubicBezTo>
                <a:cubicBezTo>
                  <a:pt x="3188" y="1468"/>
                  <a:pt x="3189" y="1468"/>
                  <a:pt x="3189" y="1468"/>
                </a:cubicBezTo>
                <a:cubicBezTo>
                  <a:pt x="3189" y="1468"/>
                  <a:pt x="3189" y="1469"/>
                  <a:pt x="3189" y="1469"/>
                </a:cubicBezTo>
                <a:cubicBezTo>
                  <a:pt x="3190" y="1469"/>
                  <a:pt x="3190" y="1469"/>
                  <a:pt x="3190" y="1470"/>
                </a:cubicBezTo>
                <a:cubicBezTo>
                  <a:pt x="3190" y="1470"/>
                  <a:pt x="3190" y="1470"/>
                  <a:pt x="3190" y="1470"/>
                </a:cubicBezTo>
                <a:cubicBezTo>
                  <a:pt x="3189" y="1470"/>
                  <a:pt x="3189" y="1471"/>
                  <a:pt x="3189" y="1471"/>
                </a:cubicBezTo>
                <a:cubicBezTo>
                  <a:pt x="3188" y="1471"/>
                  <a:pt x="3188" y="1470"/>
                  <a:pt x="3188" y="1470"/>
                </a:cubicBezTo>
                <a:cubicBezTo>
                  <a:pt x="3188" y="1470"/>
                  <a:pt x="3187" y="1470"/>
                  <a:pt x="3187" y="1470"/>
                </a:cubicBezTo>
                <a:cubicBezTo>
                  <a:pt x="3187" y="1470"/>
                  <a:pt x="3186" y="1470"/>
                  <a:pt x="3186" y="1469"/>
                </a:cubicBezTo>
                <a:cubicBezTo>
                  <a:pt x="3186" y="1469"/>
                  <a:pt x="3186" y="1469"/>
                  <a:pt x="3185" y="1469"/>
                </a:cubicBezTo>
                <a:cubicBezTo>
                  <a:pt x="3185" y="1470"/>
                  <a:pt x="3186" y="1470"/>
                  <a:pt x="3186" y="1471"/>
                </a:cubicBezTo>
                <a:cubicBezTo>
                  <a:pt x="3186" y="1471"/>
                  <a:pt x="3185" y="1472"/>
                  <a:pt x="3186" y="1473"/>
                </a:cubicBezTo>
                <a:cubicBezTo>
                  <a:pt x="3186" y="1473"/>
                  <a:pt x="3186" y="1473"/>
                  <a:pt x="3187" y="1473"/>
                </a:cubicBezTo>
                <a:cubicBezTo>
                  <a:pt x="3187" y="1473"/>
                  <a:pt x="3187" y="1474"/>
                  <a:pt x="3187" y="1474"/>
                </a:cubicBezTo>
                <a:cubicBezTo>
                  <a:pt x="3186" y="1475"/>
                  <a:pt x="3186" y="1475"/>
                  <a:pt x="3186" y="1475"/>
                </a:cubicBezTo>
                <a:cubicBezTo>
                  <a:pt x="3185" y="1475"/>
                  <a:pt x="3185" y="1475"/>
                  <a:pt x="3185" y="1474"/>
                </a:cubicBezTo>
                <a:cubicBezTo>
                  <a:pt x="3185" y="1474"/>
                  <a:pt x="3185" y="1474"/>
                  <a:pt x="3184" y="1474"/>
                </a:cubicBezTo>
                <a:cubicBezTo>
                  <a:pt x="3184" y="1474"/>
                  <a:pt x="3184" y="1474"/>
                  <a:pt x="3183" y="1473"/>
                </a:cubicBezTo>
                <a:cubicBezTo>
                  <a:pt x="3183" y="1473"/>
                  <a:pt x="3182" y="1472"/>
                  <a:pt x="3182" y="1472"/>
                </a:cubicBezTo>
                <a:cubicBezTo>
                  <a:pt x="3181" y="1472"/>
                  <a:pt x="3180" y="1473"/>
                  <a:pt x="3180" y="1474"/>
                </a:cubicBezTo>
                <a:cubicBezTo>
                  <a:pt x="3179" y="1474"/>
                  <a:pt x="3180" y="1475"/>
                  <a:pt x="3179" y="1475"/>
                </a:cubicBezTo>
                <a:cubicBezTo>
                  <a:pt x="3178" y="1476"/>
                  <a:pt x="3178" y="1477"/>
                  <a:pt x="3178" y="1478"/>
                </a:cubicBezTo>
                <a:cubicBezTo>
                  <a:pt x="3178" y="1478"/>
                  <a:pt x="3178" y="1478"/>
                  <a:pt x="3178" y="1479"/>
                </a:cubicBezTo>
                <a:cubicBezTo>
                  <a:pt x="3178" y="1479"/>
                  <a:pt x="3178" y="1480"/>
                  <a:pt x="3179" y="1480"/>
                </a:cubicBezTo>
                <a:cubicBezTo>
                  <a:pt x="3179" y="1480"/>
                  <a:pt x="3179" y="1481"/>
                  <a:pt x="3179" y="1481"/>
                </a:cubicBezTo>
                <a:cubicBezTo>
                  <a:pt x="3179" y="1481"/>
                  <a:pt x="3180" y="1482"/>
                  <a:pt x="3180" y="1481"/>
                </a:cubicBezTo>
                <a:cubicBezTo>
                  <a:pt x="3180" y="1481"/>
                  <a:pt x="3180" y="1480"/>
                  <a:pt x="3180" y="1480"/>
                </a:cubicBezTo>
                <a:cubicBezTo>
                  <a:pt x="3181" y="1479"/>
                  <a:pt x="3181" y="1480"/>
                  <a:pt x="3181" y="1480"/>
                </a:cubicBezTo>
                <a:cubicBezTo>
                  <a:pt x="3181" y="1481"/>
                  <a:pt x="3180" y="1482"/>
                  <a:pt x="3180" y="1482"/>
                </a:cubicBezTo>
                <a:cubicBezTo>
                  <a:pt x="3179" y="1482"/>
                  <a:pt x="3178" y="1482"/>
                  <a:pt x="3178" y="1483"/>
                </a:cubicBezTo>
                <a:cubicBezTo>
                  <a:pt x="3178" y="1483"/>
                  <a:pt x="3179" y="1483"/>
                  <a:pt x="3179" y="1484"/>
                </a:cubicBezTo>
                <a:cubicBezTo>
                  <a:pt x="3179" y="1484"/>
                  <a:pt x="3178" y="1485"/>
                  <a:pt x="3179" y="1485"/>
                </a:cubicBezTo>
                <a:cubicBezTo>
                  <a:pt x="3179" y="1485"/>
                  <a:pt x="3180" y="1485"/>
                  <a:pt x="3180" y="1485"/>
                </a:cubicBezTo>
                <a:cubicBezTo>
                  <a:pt x="3181" y="1485"/>
                  <a:pt x="3181" y="1485"/>
                  <a:pt x="3180" y="1485"/>
                </a:cubicBezTo>
                <a:cubicBezTo>
                  <a:pt x="3180" y="1486"/>
                  <a:pt x="3179" y="1485"/>
                  <a:pt x="3179" y="1485"/>
                </a:cubicBezTo>
                <a:cubicBezTo>
                  <a:pt x="3179" y="1485"/>
                  <a:pt x="3178" y="1485"/>
                  <a:pt x="3178" y="1485"/>
                </a:cubicBezTo>
                <a:cubicBezTo>
                  <a:pt x="3178" y="1485"/>
                  <a:pt x="3177" y="1485"/>
                  <a:pt x="3177" y="1485"/>
                </a:cubicBezTo>
                <a:cubicBezTo>
                  <a:pt x="3176" y="1486"/>
                  <a:pt x="3176" y="1486"/>
                  <a:pt x="3176" y="1485"/>
                </a:cubicBezTo>
                <a:cubicBezTo>
                  <a:pt x="3176" y="1485"/>
                  <a:pt x="3176" y="1484"/>
                  <a:pt x="3175" y="1484"/>
                </a:cubicBezTo>
                <a:cubicBezTo>
                  <a:pt x="3175" y="1484"/>
                  <a:pt x="3175" y="1484"/>
                  <a:pt x="3174" y="1484"/>
                </a:cubicBezTo>
                <a:cubicBezTo>
                  <a:pt x="3174" y="1484"/>
                  <a:pt x="3174" y="1484"/>
                  <a:pt x="3173" y="1484"/>
                </a:cubicBezTo>
                <a:cubicBezTo>
                  <a:pt x="3172" y="1484"/>
                  <a:pt x="3174" y="1485"/>
                  <a:pt x="3173" y="1485"/>
                </a:cubicBezTo>
                <a:cubicBezTo>
                  <a:pt x="3172" y="1485"/>
                  <a:pt x="3172" y="1485"/>
                  <a:pt x="3172" y="1484"/>
                </a:cubicBezTo>
                <a:cubicBezTo>
                  <a:pt x="3172" y="1484"/>
                  <a:pt x="3172" y="1484"/>
                  <a:pt x="3171" y="1484"/>
                </a:cubicBezTo>
                <a:cubicBezTo>
                  <a:pt x="3171" y="1484"/>
                  <a:pt x="3171" y="1483"/>
                  <a:pt x="3171" y="1483"/>
                </a:cubicBezTo>
                <a:cubicBezTo>
                  <a:pt x="3170" y="1482"/>
                  <a:pt x="3170" y="1483"/>
                  <a:pt x="3170" y="1483"/>
                </a:cubicBezTo>
                <a:cubicBezTo>
                  <a:pt x="3170" y="1484"/>
                  <a:pt x="3170" y="1484"/>
                  <a:pt x="3170" y="1484"/>
                </a:cubicBezTo>
                <a:cubicBezTo>
                  <a:pt x="3170" y="1485"/>
                  <a:pt x="3170" y="1485"/>
                  <a:pt x="3170" y="1485"/>
                </a:cubicBezTo>
                <a:cubicBezTo>
                  <a:pt x="3170" y="1485"/>
                  <a:pt x="3170" y="1485"/>
                  <a:pt x="3170" y="1485"/>
                </a:cubicBezTo>
                <a:cubicBezTo>
                  <a:pt x="3171" y="1486"/>
                  <a:pt x="3170" y="1486"/>
                  <a:pt x="3170" y="1486"/>
                </a:cubicBezTo>
                <a:cubicBezTo>
                  <a:pt x="3169" y="1486"/>
                  <a:pt x="3169" y="1486"/>
                  <a:pt x="3169" y="1486"/>
                </a:cubicBezTo>
                <a:cubicBezTo>
                  <a:pt x="3168" y="1486"/>
                  <a:pt x="3168" y="1486"/>
                  <a:pt x="3168" y="1486"/>
                </a:cubicBezTo>
                <a:cubicBezTo>
                  <a:pt x="3168" y="1487"/>
                  <a:pt x="3168" y="1487"/>
                  <a:pt x="3168" y="1487"/>
                </a:cubicBezTo>
                <a:cubicBezTo>
                  <a:pt x="3168" y="1487"/>
                  <a:pt x="3168" y="1487"/>
                  <a:pt x="3168" y="1487"/>
                </a:cubicBezTo>
                <a:cubicBezTo>
                  <a:pt x="3168" y="1488"/>
                  <a:pt x="3169" y="1488"/>
                  <a:pt x="3169" y="1488"/>
                </a:cubicBezTo>
                <a:cubicBezTo>
                  <a:pt x="3170" y="1488"/>
                  <a:pt x="3170" y="1489"/>
                  <a:pt x="3170" y="1489"/>
                </a:cubicBezTo>
                <a:cubicBezTo>
                  <a:pt x="3170" y="1489"/>
                  <a:pt x="3170" y="1490"/>
                  <a:pt x="3170" y="1490"/>
                </a:cubicBezTo>
                <a:cubicBezTo>
                  <a:pt x="3171" y="1491"/>
                  <a:pt x="3171" y="1490"/>
                  <a:pt x="3171" y="1491"/>
                </a:cubicBezTo>
                <a:cubicBezTo>
                  <a:pt x="3172" y="1491"/>
                  <a:pt x="3172" y="1492"/>
                  <a:pt x="3172" y="1492"/>
                </a:cubicBezTo>
                <a:cubicBezTo>
                  <a:pt x="3172" y="1492"/>
                  <a:pt x="3173" y="1491"/>
                  <a:pt x="3173" y="1491"/>
                </a:cubicBezTo>
                <a:cubicBezTo>
                  <a:pt x="3173" y="1492"/>
                  <a:pt x="3173" y="1492"/>
                  <a:pt x="3172" y="1492"/>
                </a:cubicBezTo>
                <a:cubicBezTo>
                  <a:pt x="3172" y="1492"/>
                  <a:pt x="3172" y="1493"/>
                  <a:pt x="3172" y="1493"/>
                </a:cubicBezTo>
                <a:cubicBezTo>
                  <a:pt x="3172" y="1494"/>
                  <a:pt x="3171" y="1494"/>
                  <a:pt x="3171" y="1494"/>
                </a:cubicBezTo>
                <a:cubicBezTo>
                  <a:pt x="3171" y="1494"/>
                  <a:pt x="3171" y="1493"/>
                  <a:pt x="3171" y="1493"/>
                </a:cubicBezTo>
                <a:cubicBezTo>
                  <a:pt x="3171" y="1493"/>
                  <a:pt x="3170" y="1493"/>
                  <a:pt x="3170" y="1493"/>
                </a:cubicBezTo>
                <a:cubicBezTo>
                  <a:pt x="3170" y="1493"/>
                  <a:pt x="3169" y="1492"/>
                  <a:pt x="3169" y="1493"/>
                </a:cubicBezTo>
                <a:cubicBezTo>
                  <a:pt x="3169" y="1493"/>
                  <a:pt x="3169" y="1494"/>
                  <a:pt x="3169" y="1494"/>
                </a:cubicBezTo>
                <a:cubicBezTo>
                  <a:pt x="3170" y="1494"/>
                  <a:pt x="3170" y="1495"/>
                  <a:pt x="3170" y="1495"/>
                </a:cubicBezTo>
                <a:cubicBezTo>
                  <a:pt x="3170" y="1495"/>
                  <a:pt x="3169" y="1495"/>
                  <a:pt x="3169" y="1495"/>
                </a:cubicBezTo>
                <a:cubicBezTo>
                  <a:pt x="3169" y="1496"/>
                  <a:pt x="3169" y="1496"/>
                  <a:pt x="3169" y="1496"/>
                </a:cubicBezTo>
                <a:cubicBezTo>
                  <a:pt x="3169" y="1497"/>
                  <a:pt x="3169" y="1498"/>
                  <a:pt x="3169" y="1498"/>
                </a:cubicBezTo>
                <a:cubicBezTo>
                  <a:pt x="3169" y="1499"/>
                  <a:pt x="3169" y="1499"/>
                  <a:pt x="3169" y="1499"/>
                </a:cubicBezTo>
                <a:cubicBezTo>
                  <a:pt x="3169" y="1499"/>
                  <a:pt x="3168" y="1499"/>
                  <a:pt x="3168" y="1498"/>
                </a:cubicBezTo>
                <a:cubicBezTo>
                  <a:pt x="3168" y="1498"/>
                  <a:pt x="3168" y="1498"/>
                  <a:pt x="3168" y="1497"/>
                </a:cubicBezTo>
                <a:cubicBezTo>
                  <a:pt x="3168" y="1497"/>
                  <a:pt x="3167" y="1497"/>
                  <a:pt x="3167" y="1496"/>
                </a:cubicBezTo>
                <a:cubicBezTo>
                  <a:pt x="3167" y="1496"/>
                  <a:pt x="3167" y="1496"/>
                  <a:pt x="3167" y="1495"/>
                </a:cubicBezTo>
                <a:cubicBezTo>
                  <a:pt x="3167" y="1495"/>
                  <a:pt x="3167" y="1495"/>
                  <a:pt x="3166" y="1494"/>
                </a:cubicBezTo>
                <a:cubicBezTo>
                  <a:pt x="3166" y="1494"/>
                  <a:pt x="3166" y="1494"/>
                  <a:pt x="3165" y="1493"/>
                </a:cubicBezTo>
                <a:cubicBezTo>
                  <a:pt x="3165" y="1493"/>
                  <a:pt x="3165" y="1492"/>
                  <a:pt x="3165" y="1492"/>
                </a:cubicBezTo>
                <a:cubicBezTo>
                  <a:pt x="3164" y="1491"/>
                  <a:pt x="3164" y="1491"/>
                  <a:pt x="3164" y="1490"/>
                </a:cubicBezTo>
                <a:cubicBezTo>
                  <a:pt x="3164" y="1490"/>
                  <a:pt x="3164" y="1489"/>
                  <a:pt x="3163" y="1489"/>
                </a:cubicBezTo>
                <a:cubicBezTo>
                  <a:pt x="3163" y="1489"/>
                  <a:pt x="3163" y="1489"/>
                  <a:pt x="3163" y="1489"/>
                </a:cubicBezTo>
                <a:cubicBezTo>
                  <a:pt x="3162" y="1488"/>
                  <a:pt x="3162" y="1487"/>
                  <a:pt x="3162" y="1486"/>
                </a:cubicBezTo>
                <a:cubicBezTo>
                  <a:pt x="3163" y="1485"/>
                  <a:pt x="3162" y="1485"/>
                  <a:pt x="3162" y="1485"/>
                </a:cubicBezTo>
                <a:cubicBezTo>
                  <a:pt x="3162" y="1485"/>
                  <a:pt x="3162" y="1486"/>
                  <a:pt x="3162" y="1486"/>
                </a:cubicBezTo>
                <a:cubicBezTo>
                  <a:pt x="3161" y="1487"/>
                  <a:pt x="3161" y="1487"/>
                  <a:pt x="3161" y="1487"/>
                </a:cubicBezTo>
                <a:cubicBezTo>
                  <a:pt x="3161" y="1488"/>
                  <a:pt x="3161" y="1488"/>
                  <a:pt x="3161" y="1489"/>
                </a:cubicBezTo>
                <a:cubicBezTo>
                  <a:pt x="3160" y="1490"/>
                  <a:pt x="3160" y="1490"/>
                  <a:pt x="3159" y="1490"/>
                </a:cubicBezTo>
                <a:cubicBezTo>
                  <a:pt x="3159" y="1490"/>
                  <a:pt x="3158" y="1490"/>
                  <a:pt x="3158" y="1490"/>
                </a:cubicBezTo>
                <a:cubicBezTo>
                  <a:pt x="3157" y="1490"/>
                  <a:pt x="3157" y="1491"/>
                  <a:pt x="3157" y="1491"/>
                </a:cubicBezTo>
                <a:cubicBezTo>
                  <a:pt x="3157" y="1491"/>
                  <a:pt x="3157" y="1492"/>
                  <a:pt x="3157" y="1492"/>
                </a:cubicBezTo>
                <a:cubicBezTo>
                  <a:pt x="3157" y="1492"/>
                  <a:pt x="3156" y="1492"/>
                  <a:pt x="3156" y="1492"/>
                </a:cubicBezTo>
                <a:cubicBezTo>
                  <a:pt x="3155" y="1492"/>
                  <a:pt x="3154" y="1493"/>
                  <a:pt x="3154" y="1494"/>
                </a:cubicBezTo>
                <a:cubicBezTo>
                  <a:pt x="3154" y="1495"/>
                  <a:pt x="3153" y="1496"/>
                  <a:pt x="3153" y="1496"/>
                </a:cubicBezTo>
                <a:cubicBezTo>
                  <a:pt x="3153" y="1497"/>
                  <a:pt x="3153" y="1498"/>
                  <a:pt x="3153" y="1499"/>
                </a:cubicBezTo>
                <a:cubicBezTo>
                  <a:pt x="3153" y="1500"/>
                  <a:pt x="3153" y="1500"/>
                  <a:pt x="3153" y="1501"/>
                </a:cubicBezTo>
                <a:cubicBezTo>
                  <a:pt x="3153" y="1502"/>
                  <a:pt x="3153" y="1503"/>
                  <a:pt x="3153" y="1504"/>
                </a:cubicBezTo>
                <a:cubicBezTo>
                  <a:pt x="3153" y="1504"/>
                  <a:pt x="3154" y="1504"/>
                  <a:pt x="3154" y="1504"/>
                </a:cubicBezTo>
                <a:cubicBezTo>
                  <a:pt x="3154" y="1504"/>
                  <a:pt x="3155" y="1504"/>
                  <a:pt x="3155" y="1504"/>
                </a:cubicBezTo>
                <a:cubicBezTo>
                  <a:pt x="3155" y="1505"/>
                  <a:pt x="3155" y="1505"/>
                  <a:pt x="3155" y="1505"/>
                </a:cubicBezTo>
                <a:cubicBezTo>
                  <a:pt x="3155" y="1506"/>
                  <a:pt x="3155" y="1506"/>
                  <a:pt x="3154" y="1507"/>
                </a:cubicBezTo>
                <a:cubicBezTo>
                  <a:pt x="3153" y="1507"/>
                  <a:pt x="3152" y="1508"/>
                  <a:pt x="3151" y="1508"/>
                </a:cubicBezTo>
                <a:cubicBezTo>
                  <a:pt x="3151" y="1508"/>
                  <a:pt x="3150" y="1508"/>
                  <a:pt x="3150" y="1509"/>
                </a:cubicBezTo>
                <a:cubicBezTo>
                  <a:pt x="3149" y="1509"/>
                  <a:pt x="3149" y="1510"/>
                  <a:pt x="3149" y="1510"/>
                </a:cubicBezTo>
                <a:cubicBezTo>
                  <a:pt x="3148" y="1511"/>
                  <a:pt x="3149" y="1512"/>
                  <a:pt x="3148" y="1513"/>
                </a:cubicBezTo>
                <a:cubicBezTo>
                  <a:pt x="3148" y="1513"/>
                  <a:pt x="3147" y="1513"/>
                  <a:pt x="3147" y="1514"/>
                </a:cubicBezTo>
                <a:cubicBezTo>
                  <a:pt x="3146" y="1515"/>
                  <a:pt x="3146" y="1516"/>
                  <a:pt x="3146" y="1517"/>
                </a:cubicBezTo>
                <a:cubicBezTo>
                  <a:pt x="3145" y="1518"/>
                  <a:pt x="3144" y="1519"/>
                  <a:pt x="3143" y="1520"/>
                </a:cubicBezTo>
                <a:cubicBezTo>
                  <a:pt x="3143" y="1521"/>
                  <a:pt x="3142" y="1521"/>
                  <a:pt x="3142" y="1522"/>
                </a:cubicBezTo>
                <a:cubicBezTo>
                  <a:pt x="3141" y="1522"/>
                  <a:pt x="3141" y="1523"/>
                  <a:pt x="3140" y="1523"/>
                </a:cubicBezTo>
                <a:cubicBezTo>
                  <a:pt x="3140" y="1523"/>
                  <a:pt x="3139" y="1524"/>
                  <a:pt x="3138" y="1524"/>
                </a:cubicBezTo>
                <a:cubicBezTo>
                  <a:pt x="3137" y="1525"/>
                  <a:pt x="3136" y="1525"/>
                  <a:pt x="3135" y="1525"/>
                </a:cubicBezTo>
                <a:cubicBezTo>
                  <a:pt x="3134" y="1526"/>
                  <a:pt x="3133" y="1526"/>
                  <a:pt x="3132" y="1527"/>
                </a:cubicBezTo>
                <a:cubicBezTo>
                  <a:pt x="3131" y="1527"/>
                  <a:pt x="3130" y="1527"/>
                  <a:pt x="3129" y="1527"/>
                </a:cubicBezTo>
                <a:cubicBezTo>
                  <a:pt x="3128" y="1527"/>
                  <a:pt x="3126" y="1528"/>
                  <a:pt x="3125" y="1528"/>
                </a:cubicBezTo>
                <a:cubicBezTo>
                  <a:pt x="3124" y="1529"/>
                  <a:pt x="3123" y="1529"/>
                  <a:pt x="3122" y="1529"/>
                </a:cubicBezTo>
                <a:cubicBezTo>
                  <a:pt x="3121" y="1528"/>
                  <a:pt x="3120" y="1527"/>
                  <a:pt x="3119" y="1528"/>
                </a:cubicBezTo>
                <a:cubicBezTo>
                  <a:pt x="3118" y="1528"/>
                  <a:pt x="3118" y="1529"/>
                  <a:pt x="3117" y="1529"/>
                </a:cubicBezTo>
                <a:cubicBezTo>
                  <a:pt x="3117" y="1529"/>
                  <a:pt x="3117" y="1530"/>
                  <a:pt x="3116" y="1530"/>
                </a:cubicBezTo>
                <a:cubicBezTo>
                  <a:pt x="3116" y="1530"/>
                  <a:pt x="3115" y="1531"/>
                  <a:pt x="3115" y="1531"/>
                </a:cubicBezTo>
                <a:cubicBezTo>
                  <a:pt x="3114" y="1531"/>
                  <a:pt x="3114" y="1531"/>
                  <a:pt x="3114" y="1531"/>
                </a:cubicBezTo>
                <a:cubicBezTo>
                  <a:pt x="3113" y="1531"/>
                  <a:pt x="3113" y="1532"/>
                  <a:pt x="3112" y="1532"/>
                </a:cubicBezTo>
                <a:cubicBezTo>
                  <a:pt x="3112" y="1532"/>
                  <a:pt x="3111" y="1532"/>
                  <a:pt x="3111" y="1532"/>
                </a:cubicBezTo>
                <a:cubicBezTo>
                  <a:pt x="3110" y="1532"/>
                  <a:pt x="3109" y="1532"/>
                  <a:pt x="3108" y="1532"/>
                </a:cubicBezTo>
                <a:cubicBezTo>
                  <a:pt x="3107" y="1532"/>
                  <a:pt x="3106" y="1533"/>
                  <a:pt x="3105" y="1533"/>
                </a:cubicBezTo>
                <a:cubicBezTo>
                  <a:pt x="3104" y="1534"/>
                  <a:pt x="3103" y="1535"/>
                  <a:pt x="3102" y="1535"/>
                </a:cubicBezTo>
                <a:cubicBezTo>
                  <a:pt x="3101" y="1536"/>
                  <a:pt x="3099" y="1536"/>
                  <a:pt x="3097" y="1536"/>
                </a:cubicBezTo>
                <a:cubicBezTo>
                  <a:pt x="3097" y="1536"/>
                  <a:pt x="3097" y="1536"/>
                  <a:pt x="3096" y="1536"/>
                </a:cubicBezTo>
                <a:cubicBezTo>
                  <a:pt x="3096" y="1536"/>
                  <a:pt x="3096" y="1535"/>
                  <a:pt x="3096" y="1535"/>
                </a:cubicBezTo>
                <a:cubicBezTo>
                  <a:pt x="3095" y="1535"/>
                  <a:pt x="3094" y="1536"/>
                  <a:pt x="3093" y="1536"/>
                </a:cubicBezTo>
                <a:cubicBezTo>
                  <a:pt x="3093" y="1536"/>
                  <a:pt x="3092" y="1536"/>
                  <a:pt x="3091" y="1536"/>
                </a:cubicBezTo>
                <a:cubicBezTo>
                  <a:pt x="3091" y="1535"/>
                  <a:pt x="3092" y="1535"/>
                  <a:pt x="3092" y="1535"/>
                </a:cubicBezTo>
                <a:cubicBezTo>
                  <a:pt x="3092" y="1534"/>
                  <a:pt x="3091" y="1535"/>
                  <a:pt x="3091" y="1535"/>
                </a:cubicBezTo>
                <a:cubicBezTo>
                  <a:pt x="3091" y="1535"/>
                  <a:pt x="3090" y="1535"/>
                  <a:pt x="3090" y="1536"/>
                </a:cubicBezTo>
                <a:cubicBezTo>
                  <a:pt x="3090" y="1536"/>
                  <a:pt x="3089" y="1536"/>
                  <a:pt x="3089" y="1537"/>
                </a:cubicBezTo>
                <a:cubicBezTo>
                  <a:pt x="3088" y="1537"/>
                  <a:pt x="3087" y="1538"/>
                  <a:pt x="3086" y="1539"/>
                </a:cubicBezTo>
                <a:cubicBezTo>
                  <a:pt x="3085" y="1539"/>
                  <a:pt x="3084" y="1540"/>
                  <a:pt x="3083" y="1541"/>
                </a:cubicBezTo>
                <a:cubicBezTo>
                  <a:pt x="3081" y="1542"/>
                  <a:pt x="3080" y="1543"/>
                  <a:pt x="3079" y="1544"/>
                </a:cubicBezTo>
                <a:cubicBezTo>
                  <a:pt x="3077" y="1545"/>
                  <a:pt x="3075" y="1545"/>
                  <a:pt x="3073" y="1547"/>
                </a:cubicBezTo>
                <a:cubicBezTo>
                  <a:pt x="3072" y="1547"/>
                  <a:pt x="3072" y="1548"/>
                  <a:pt x="3071" y="1548"/>
                </a:cubicBezTo>
                <a:cubicBezTo>
                  <a:pt x="3070" y="1548"/>
                  <a:pt x="3069" y="1549"/>
                  <a:pt x="3069" y="1549"/>
                </a:cubicBezTo>
                <a:cubicBezTo>
                  <a:pt x="3067" y="1549"/>
                  <a:pt x="3066" y="1551"/>
                  <a:pt x="3065" y="1552"/>
                </a:cubicBezTo>
                <a:cubicBezTo>
                  <a:pt x="3065" y="1554"/>
                  <a:pt x="3065" y="1556"/>
                  <a:pt x="3064" y="1557"/>
                </a:cubicBezTo>
                <a:cubicBezTo>
                  <a:pt x="3064" y="1558"/>
                  <a:pt x="3063" y="1558"/>
                  <a:pt x="3062" y="1558"/>
                </a:cubicBezTo>
                <a:cubicBezTo>
                  <a:pt x="3061" y="1558"/>
                  <a:pt x="3061" y="1557"/>
                  <a:pt x="3061" y="1556"/>
                </a:cubicBezTo>
                <a:cubicBezTo>
                  <a:pt x="3061" y="1556"/>
                  <a:pt x="3061" y="1555"/>
                  <a:pt x="3061" y="1555"/>
                </a:cubicBezTo>
                <a:cubicBezTo>
                  <a:pt x="3061" y="1555"/>
                  <a:pt x="3061" y="1554"/>
                  <a:pt x="3061" y="1554"/>
                </a:cubicBezTo>
                <a:cubicBezTo>
                  <a:pt x="3060" y="1553"/>
                  <a:pt x="3061" y="1552"/>
                  <a:pt x="3061" y="1552"/>
                </a:cubicBezTo>
                <a:cubicBezTo>
                  <a:pt x="3061" y="1551"/>
                  <a:pt x="3060" y="1549"/>
                  <a:pt x="3060" y="1550"/>
                </a:cubicBezTo>
                <a:cubicBezTo>
                  <a:pt x="3059" y="1550"/>
                  <a:pt x="3060" y="1551"/>
                  <a:pt x="3059" y="1551"/>
                </a:cubicBezTo>
                <a:cubicBezTo>
                  <a:pt x="3059" y="1551"/>
                  <a:pt x="3059" y="1552"/>
                  <a:pt x="3059" y="1552"/>
                </a:cubicBezTo>
                <a:cubicBezTo>
                  <a:pt x="3059" y="1553"/>
                  <a:pt x="3059" y="1554"/>
                  <a:pt x="3058" y="1554"/>
                </a:cubicBezTo>
                <a:cubicBezTo>
                  <a:pt x="3058" y="1555"/>
                  <a:pt x="3057" y="1556"/>
                  <a:pt x="3057" y="1556"/>
                </a:cubicBezTo>
                <a:cubicBezTo>
                  <a:pt x="3057" y="1557"/>
                  <a:pt x="3056" y="1557"/>
                  <a:pt x="3056" y="1558"/>
                </a:cubicBezTo>
                <a:cubicBezTo>
                  <a:pt x="3056" y="1558"/>
                  <a:pt x="3056" y="1559"/>
                  <a:pt x="3056" y="1559"/>
                </a:cubicBezTo>
                <a:cubicBezTo>
                  <a:pt x="3056" y="1560"/>
                  <a:pt x="3056" y="1560"/>
                  <a:pt x="3057" y="1561"/>
                </a:cubicBezTo>
                <a:cubicBezTo>
                  <a:pt x="3057" y="1561"/>
                  <a:pt x="3057" y="1561"/>
                  <a:pt x="3057" y="1562"/>
                </a:cubicBezTo>
                <a:cubicBezTo>
                  <a:pt x="3057" y="1562"/>
                  <a:pt x="3057" y="1563"/>
                  <a:pt x="3057" y="1563"/>
                </a:cubicBezTo>
                <a:cubicBezTo>
                  <a:pt x="3057" y="1564"/>
                  <a:pt x="3058" y="1566"/>
                  <a:pt x="3058" y="1567"/>
                </a:cubicBezTo>
                <a:cubicBezTo>
                  <a:pt x="3058" y="1568"/>
                  <a:pt x="3058" y="1569"/>
                  <a:pt x="3057" y="1569"/>
                </a:cubicBezTo>
                <a:cubicBezTo>
                  <a:pt x="3057" y="1570"/>
                  <a:pt x="3056" y="1571"/>
                  <a:pt x="3056" y="1571"/>
                </a:cubicBezTo>
                <a:cubicBezTo>
                  <a:pt x="3055" y="1572"/>
                  <a:pt x="3054" y="1573"/>
                  <a:pt x="3054" y="1573"/>
                </a:cubicBezTo>
                <a:cubicBezTo>
                  <a:pt x="3054" y="1574"/>
                  <a:pt x="3054" y="1575"/>
                  <a:pt x="3054" y="1576"/>
                </a:cubicBezTo>
                <a:cubicBezTo>
                  <a:pt x="3053" y="1577"/>
                  <a:pt x="3053" y="1577"/>
                  <a:pt x="3053" y="1578"/>
                </a:cubicBezTo>
                <a:cubicBezTo>
                  <a:pt x="3053" y="1579"/>
                  <a:pt x="3053" y="1580"/>
                  <a:pt x="3053" y="1581"/>
                </a:cubicBezTo>
                <a:cubicBezTo>
                  <a:pt x="3054" y="1581"/>
                  <a:pt x="3054" y="1581"/>
                  <a:pt x="3054" y="1582"/>
                </a:cubicBezTo>
                <a:cubicBezTo>
                  <a:pt x="3054" y="1583"/>
                  <a:pt x="3054" y="1583"/>
                  <a:pt x="3055" y="1584"/>
                </a:cubicBezTo>
                <a:cubicBezTo>
                  <a:pt x="3055" y="1585"/>
                  <a:pt x="3056" y="1585"/>
                  <a:pt x="3056" y="1586"/>
                </a:cubicBezTo>
                <a:cubicBezTo>
                  <a:pt x="3057" y="1587"/>
                  <a:pt x="3057" y="1588"/>
                  <a:pt x="3057" y="1588"/>
                </a:cubicBezTo>
                <a:cubicBezTo>
                  <a:pt x="3057" y="1589"/>
                  <a:pt x="3057" y="1589"/>
                  <a:pt x="3057" y="1590"/>
                </a:cubicBezTo>
                <a:cubicBezTo>
                  <a:pt x="3058" y="1590"/>
                  <a:pt x="3058" y="1590"/>
                  <a:pt x="3058" y="1590"/>
                </a:cubicBezTo>
                <a:cubicBezTo>
                  <a:pt x="3058" y="1591"/>
                  <a:pt x="3058" y="1591"/>
                  <a:pt x="3058" y="1592"/>
                </a:cubicBezTo>
                <a:cubicBezTo>
                  <a:pt x="3058" y="1592"/>
                  <a:pt x="3059" y="1593"/>
                  <a:pt x="3059" y="1594"/>
                </a:cubicBezTo>
                <a:cubicBezTo>
                  <a:pt x="3060" y="1594"/>
                  <a:pt x="3060" y="1595"/>
                  <a:pt x="3060" y="1596"/>
                </a:cubicBezTo>
                <a:cubicBezTo>
                  <a:pt x="3061" y="1596"/>
                  <a:pt x="3062" y="1597"/>
                  <a:pt x="3062" y="1597"/>
                </a:cubicBezTo>
                <a:cubicBezTo>
                  <a:pt x="3062" y="1598"/>
                  <a:pt x="3062" y="1599"/>
                  <a:pt x="3062" y="1600"/>
                </a:cubicBezTo>
                <a:cubicBezTo>
                  <a:pt x="3062" y="1601"/>
                  <a:pt x="3062" y="1602"/>
                  <a:pt x="3062" y="1602"/>
                </a:cubicBezTo>
                <a:cubicBezTo>
                  <a:pt x="3061" y="1603"/>
                  <a:pt x="3061" y="1604"/>
                  <a:pt x="3061" y="1604"/>
                </a:cubicBezTo>
                <a:cubicBezTo>
                  <a:pt x="3060" y="1605"/>
                  <a:pt x="3060" y="1605"/>
                  <a:pt x="3060" y="1605"/>
                </a:cubicBezTo>
                <a:cubicBezTo>
                  <a:pt x="3059" y="1604"/>
                  <a:pt x="3059" y="1604"/>
                  <a:pt x="3059" y="1604"/>
                </a:cubicBezTo>
                <a:cubicBezTo>
                  <a:pt x="3059" y="1603"/>
                  <a:pt x="3059" y="1603"/>
                  <a:pt x="3059" y="1603"/>
                </a:cubicBezTo>
                <a:cubicBezTo>
                  <a:pt x="3058" y="1602"/>
                  <a:pt x="3059" y="1602"/>
                  <a:pt x="3059" y="1602"/>
                </a:cubicBezTo>
                <a:cubicBezTo>
                  <a:pt x="3059" y="1601"/>
                  <a:pt x="3059" y="1599"/>
                  <a:pt x="3058" y="1600"/>
                </a:cubicBezTo>
                <a:cubicBezTo>
                  <a:pt x="3057" y="1600"/>
                  <a:pt x="3058" y="1601"/>
                  <a:pt x="3058" y="1602"/>
                </a:cubicBezTo>
                <a:cubicBezTo>
                  <a:pt x="3058" y="1603"/>
                  <a:pt x="3057" y="1603"/>
                  <a:pt x="3056" y="1602"/>
                </a:cubicBezTo>
                <a:cubicBezTo>
                  <a:pt x="3056" y="1602"/>
                  <a:pt x="3056" y="1601"/>
                  <a:pt x="3056" y="1601"/>
                </a:cubicBezTo>
                <a:cubicBezTo>
                  <a:pt x="3056" y="1600"/>
                  <a:pt x="3056" y="1600"/>
                  <a:pt x="3057" y="1600"/>
                </a:cubicBezTo>
                <a:cubicBezTo>
                  <a:pt x="3057" y="1599"/>
                  <a:pt x="3056" y="1599"/>
                  <a:pt x="3057" y="1599"/>
                </a:cubicBezTo>
                <a:cubicBezTo>
                  <a:pt x="3057" y="1598"/>
                  <a:pt x="3057" y="1598"/>
                  <a:pt x="3057" y="1598"/>
                </a:cubicBezTo>
                <a:cubicBezTo>
                  <a:pt x="3057" y="1597"/>
                  <a:pt x="3056" y="1597"/>
                  <a:pt x="3056" y="1597"/>
                </a:cubicBezTo>
                <a:cubicBezTo>
                  <a:pt x="3056" y="1597"/>
                  <a:pt x="3055" y="1597"/>
                  <a:pt x="3055" y="1596"/>
                </a:cubicBezTo>
                <a:cubicBezTo>
                  <a:pt x="3055" y="1596"/>
                  <a:pt x="3055" y="1596"/>
                  <a:pt x="3054" y="1595"/>
                </a:cubicBezTo>
                <a:cubicBezTo>
                  <a:pt x="3054" y="1595"/>
                  <a:pt x="3054" y="1594"/>
                  <a:pt x="3054" y="1594"/>
                </a:cubicBezTo>
                <a:cubicBezTo>
                  <a:pt x="3053" y="1593"/>
                  <a:pt x="3053" y="1595"/>
                  <a:pt x="3053" y="1596"/>
                </a:cubicBezTo>
                <a:cubicBezTo>
                  <a:pt x="3053" y="1597"/>
                  <a:pt x="3053" y="1597"/>
                  <a:pt x="3054" y="1598"/>
                </a:cubicBezTo>
                <a:cubicBezTo>
                  <a:pt x="3054" y="1599"/>
                  <a:pt x="3054" y="1599"/>
                  <a:pt x="3055" y="1599"/>
                </a:cubicBezTo>
                <a:cubicBezTo>
                  <a:pt x="3055" y="1600"/>
                  <a:pt x="3054" y="1600"/>
                  <a:pt x="3055" y="1601"/>
                </a:cubicBezTo>
                <a:cubicBezTo>
                  <a:pt x="3055" y="1601"/>
                  <a:pt x="3055" y="1601"/>
                  <a:pt x="3055" y="1601"/>
                </a:cubicBezTo>
                <a:cubicBezTo>
                  <a:pt x="3056" y="1602"/>
                  <a:pt x="3056" y="1602"/>
                  <a:pt x="3056" y="1602"/>
                </a:cubicBezTo>
                <a:cubicBezTo>
                  <a:pt x="3056" y="1603"/>
                  <a:pt x="3057" y="1603"/>
                  <a:pt x="3057" y="1603"/>
                </a:cubicBezTo>
                <a:cubicBezTo>
                  <a:pt x="3057" y="1603"/>
                  <a:pt x="3058" y="1603"/>
                  <a:pt x="3058" y="1603"/>
                </a:cubicBezTo>
                <a:cubicBezTo>
                  <a:pt x="3058" y="1604"/>
                  <a:pt x="3058" y="1604"/>
                  <a:pt x="3058" y="1604"/>
                </a:cubicBezTo>
                <a:cubicBezTo>
                  <a:pt x="3058" y="1605"/>
                  <a:pt x="3058" y="1605"/>
                  <a:pt x="3058" y="1605"/>
                </a:cubicBezTo>
                <a:cubicBezTo>
                  <a:pt x="3057" y="1606"/>
                  <a:pt x="3057" y="1607"/>
                  <a:pt x="3057" y="1607"/>
                </a:cubicBezTo>
                <a:cubicBezTo>
                  <a:pt x="3057" y="1608"/>
                  <a:pt x="3056" y="1608"/>
                  <a:pt x="3056" y="1608"/>
                </a:cubicBezTo>
                <a:cubicBezTo>
                  <a:pt x="3055" y="1608"/>
                  <a:pt x="3055" y="1607"/>
                  <a:pt x="3055" y="1607"/>
                </a:cubicBezTo>
                <a:cubicBezTo>
                  <a:pt x="3055" y="1607"/>
                  <a:pt x="3055" y="1606"/>
                  <a:pt x="3055" y="1606"/>
                </a:cubicBezTo>
                <a:cubicBezTo>
                  <a:pt x="3054" y="1606"/>
                  <a:pt x="3055" y="1605"/>
                  <a:pt x="3055" y="1605"/>
                </a:cubicBezTo>
                <a:cubicBezTo>
                  <a:pt x="3055" y="1604"/>
                  <a:pt x="3054" y="1604"/>
                  <a:pt x="3053" y="1603"/>
                </a:cubicBezTo>
                <a:cubicBezTo>
                  <a:pt x="3053" y="1602"/>
                  <a:pt x="3053" y="1602"/>
                  <a:pt x="3053" y="1602"/>
                </a:cubicBezTo>
                <a:cubicBezTo>
                  <a:pt x="3053" y="1601"/>
                  <a:pt x="3053" y="1601"/>
                  <a:pt x="3053" y="1600"/>
                </a:cubicBezTo>
                <a:cubicBezTo>
                  <a:pt x="3052" y="1600"/>
                  <a:pt x="3052" y="1600"/>
                  <a:pt x="3052" y="1600"/>
                </a:cubicBezTo>
                <a:cubicBezTo>
                  <a:pt x="3052" y="1601"/>
                  <a:pt x="3052" y="1601"/>
                  <a:pt x="3052" y="1602"/>
                </a:cubicBezTo>
                <a:cubicBezTo>
                  <a:pt x="3052" y="1602"/>
                  <a:pt x="3052" y="1603"/>
                  <a:pt x="3052" y="1603"/>
                </a:cubicBezTo>
                <a:cubicBezTo>
                  <a:pt x="3052" y="1603"/>
                  <a:pt x="3051" y="1603"/>
                  <a:pt x="3051" y="1602"/>
                </a:cubicBezTo>
                <a:cubicBezTo>
                  <a:pt x="3051" y="1602"/>
                  <a:pt x="3051" y="1601"/>
                  <a:pt x="3051" y="1600"/>
                </a:cubicBezTo>
                <a:cubicBezTo>
                  <a:pt x="3050" y="1600"/>
                  <a:pt x="3050" y="1600"/>
                  <a:pt x="3050" y="1599"/>
                </a:cubicBezTo>
                <a:cubicBezTo>
                  <a:pt x="3050" y="1598"/>
                  <a:pt x="3050" y="1598"/>
                  <a:pt x="3050" y="1597"/>
                </a:cubicBezTo>
                <a:cubicBezTo>
                  <a:pt x="3049" y="1597"/>
                  <a:pt x="3049" y="1597"/>
                  <a:pt x="3049" y="1597"/>
                </a:cubicBezTo>
                <a:cubicBezTo>
                  <a:pt x="3048" y="1596"/>
                  <a:pt x="3049" y="1595"/>
                  <a:pt x="3048" y="1594"/>
                </a:cubicBezTo>
                <a:cubicBezTo>
                  <a:pt x="3048" y="1594"/>
                  <a:pt x="3048" y="1594"/>
                  <a:pt x="3048" y="1594"/>
                </a:cubicBezTo>
                <a:cubicBezTo>
                  <a:pt x="3048" y="1595"/>
                  <a:pt x="3048" y="1595"/>
                  <a:pt x="3048" y="1596"/>
                </a:cubicBezTo>
                <a:cubicBezTo>
                  <a:pt x="3048" y="1596"/>
                  <a:pt x="3048" y="1597"/>
                  <a:pt x="3048" y="1598"/>
                </a:cubicBezTo>
                <a:cubicBezTo>
                  <a:pt x="3048" y="1599"/>
                  <a:pt x="3049" y="1599"/>
                  <a:pt x="3049" y="1600"/>
                </a:cubicBezTo>
                <a:cubicBezTo>
                  <a:pt x="3050" y="1600"/>
                  <a:pt x="3051" y="1601"/>
                  <a:pt x="3050" y="1602"/>
                </a:cubicBezTo>
                <a:cubicBezTo>
                  <a:pt x="3050" y="1602"/>
                  <a:pt x="3049" y="1602"/>
                  <a:pt x="3050" y="1602"/>
                </a:cubicBezTo>
                <a:cubicBezTo>
                  <a:pt x="3050" y="1603"/>
                  <a:pt x="3050" y="1603"/>
                  <a:pt x="3050" y="1603"/>
                </a:cubicBezTo>
                <a:cubicBezTo>
                  <a:pt x="3052" y="1604"/>
                  <a:pt x="3052" y="1605"/>
                  <a:pt x="3053" y="1606"/>
                </a:cubicBezTo>
                <a:cubicBezTo>
                  <a:pt x="3054" y="1607"/>
                  <a:pt x="3054" y="1608"/>
                  <a:pt x="3054" y="1609"/>
                </a:cubicBezTo>
                <a:cubicBezTo>
                  <a:pt x="3055" y="1609"/>
                  <a:pt x="3055" y="1610"/>
                  <a:pt x="3056" y="1610"/>
                </a:cubicBezTo>
                <a:cubicBezTo>
                  <a:pt x="3057" y="1611"/>
                  <a:pt x="3057" y="1612"/>
                  <a:pt x="3058" y="1613"/>
                </a:cubicBezTo>
                <a:cubicBezTo>
                  <a:pt x="3058" y="1614"/>
                  <a:pt x="3059" y="1614"/>
                  <a:pt x="3059" y="1615"/>
                </a:cubicBezTo>
                <a:cubicBezTo>
                  <a:pt x="3060" y="1617"/>
                  <a:pt x="3060" y="1618"/>
                  <a:pt x="3060" y="1620"/>
                </a:cubicBezTo>
                <a:cubicBezTo>
                  <a:pt x="3060" y="1621"/>
                  <a:pt x="3060" y="1622"/>
                  <a:pt x="3061" y="1622"/>
                </a:cubicBezTo>
                <a:cubicBezTo>
                  <a:pt x="3061" y="1623"/>
                  <a:pt x="3061" y="1624"/>
                  <a:pt x="3061" y="1625"/>
                </a:cubicBezTo>
                <a:cubicBezTo>
                  <a:pt x="3061" y="1626"/>
                  <a:pt x="3062" y="1626"/>
                  <a:pt x="3062" y="1627"/>
                </a:cubicBezTo>
                <a:cubicBezTo>
                  <a:pt x="3063" y="1628"/>
                  <a:pt x="3063" y="1628"/>
                  <a:pt x="3064" y="1629"/>
                </a:cubicBezTo>
                <a:cubicBezTo>
                  <a:pt x="3064" y="1630"/>
                  <a:pt x="3065" y="1630"/>
                  <a:pt x="3065" y="1631"/>
                </a:cubicBezTo>
                <a:cubicBezTo>
                  <a:pt x="3066" y="1632"/>
                  <a:pt x="3066" y="1633"/>
                  <a:pt x="3066" y="1634"/>
                </a:cubicBezTo>
                <a:cubicBezTo>
                  <a:pt x="3067" y="1635"/>
                  <a:pt x="3069" y="1636"/>
                  <a:pt x="3069" y="1638"/>
                </a:cubicBezTo>
                <a:cubicBezTo>
                  <a:pt x="3070" y="1640"/>
                  <a:pt x="3070" y="1642"/>
                  <a:pt x="3070" y="1644"/>
                </a:cubicBezTo>
                <a:cubicBezTo>
                  <a:pt x="3070" y="1645"/>
                  <a:pt x="3070" y="1646"/>
                  <a:pt x="3070" y="1647"/>
                </a:cubicBezTo>
                <a:cubicBezTo>
                  <a:pt x="3070" y="1648"/>
                  <a:pt x="3071" y="1649"/>
                  <a:pt x="3071" y="1650"/>
                </a:cubicBezTo>
                <a:cubicBezTo>
                  <a:pt x="3071" y="1650"/>
                  <a:pt x="3071" y="1651"/>
                  <a:pt x="3071" y="1652"/>
                </a:cubicBezTo>
                <a:cubicBezTo>
                  <a:pt x="3071" y="1653"/>
                  <a:pt x="3071" y="1653"/>
                  <a:pt x="3072" y="1654"/>
                </a:cubicBezTo>
                <a:cubicBezTo>
                  <a:pt x="3072" y="1654"/>
                  <a:pt x="3072" y="1655"/>
                  <a:pt x="3072" y="1655"/>
                </a:cubicBezTo>
                <a:cubicBezTo>
                  <a:pt x="3073" y="1656"/>
                  <a:pt x="3073" y="1657"/>
                  <a:pt x="3073" y="1658"/>
                </a:cubicBezTo>
                <a:cubicBezTo>
                  <a:pt x="3073" y="1660"/>
                  <a:pt x="3075" y="1662"/>
                  <a:pt x="3075" y="1664"/>
                </a:cubicBezTo>
                <a:cubicBezTo>
                  <a:pt x="3076" y="1666"/>
                  <a:pt x="3077" y="1668"/>
                  <a:pt x="3078" y="1670"/>
                </a:cubicBezTo>
                <a:cubicBezTo>
                  <a:pt x="3079" y="1670"/>
                  <a:pt x="3079" y="1671"/>
                  <a:pt x="3079" y="1672"/>
                </a:cubicBezTo>
                <a:cubicBezTo>
                  <a:pt x="3080" y="1672"/>
                  <a:pt x="3080" y="1673"/>
                  <a:pt x="3080" y="1673"/>
                </a:cubicBezTo>
                <a:cubicBezTo>
                  <a:pt x="3080" y="1674"/>
                  <a:pt x="3080" y="1674"/>
                  <a:pt x="3080" y="1675"/>
                </a:cubicBezTo>
                <a:cubicBezTo>
                  <a:pt x="3080" y="1676"/>
                  <a:pt x="3080" y="1677"/>
                  <a:pt x="3080" y="1678"/>
                </a:cubicBezTo>
                <a:cubicBezTo>
                  <a:pt x="3080" y="1679"/>
                  <a:pt x="3080" y="1680"/>
                  <a:pt x="3080" y="1681"/>
                </a:cubicBezTo>
                <a:cubicBezTo>
                  <a:pt x="3080" y="1681"/>
                  <a:pt x="3080" y="1685"/>
                  <a:pt x="3079" y="1684"/>
                </a:cubicBezTo>
                <a:cubicBezTo>
                  <a:pt x="3079" y="1684"/>
                  <a:pt x="3079" y="1683"/>
                  <a:pt x="3078" y="1683"/>
                </a:cubicBezTo>
                <a:cubicBezTo>
                  <a:pt x="3078" y="1682"/>
                  <a:pt x="3078" y="1682"/>
                  <a:pt x="3078" y="1683"/>
                </a:cubicBezTo>
                <a:cubicBezTo>
                  <a:pt x="3078" y="1683"/>
                  <a:pt x="3078" y="1683"/>
                  <a:pt x="3078" y="1683"/>
                </a:cubicBezTo>
                <a:cubicBezTo>
                  <a:pt x="3078" y="1684"/>
                  <a:pt x="3078" y="1684"/>
                  <a:pt x="3078" y="1685"/>
                </a:cubicBezTo>
                <a:cubicBezTo>
                  <a:pt x="3078" y="1685"/>
                  <a:pt x="3079" y="1686"/>
                  <a:pt x="3079" y="1687"/>
                </a:cubicBezTo>
                <a:cubicBezTo>
                  <a:pt x="3079" y="1688"/>
                  <a:pt x="3079" y="1689"/>
                  <a:pt x="3079" y="1690"/>
                </a:cubicBezTo>
                <a:cubicBezTo>
                  <a:pt x="3079" y="1690"/>
                  <a:pt x="3079" y="1691"/>
                  <a:pt x="3078" y="1692"/>
                </a:cubicBezTo>
                <a:cubicBezTo>
                  <a:pt x="3078" y="1692"/>
                  <a:pt x="3077" y="1692"/>
                  <a:pt x="3077" y="1693"/>
                </a:cubicBezTo>
                <a:cubicBezTo>
                  <a:pt x="3077" y="1693"/>
                  <a:pt x="3077" y="1693"/>
                  <a:pt x="3076" y="1694"/>
                </a:cubicBezTo>
                <a:cubicBezTo>
                  <a:pt x="3076" y="1694"/>
                  <a:pt x="3076" y="1694"/>
                  <a:pt x="3075" y="1694"/>
                </a:cubicBezTo>
                <a:cubicBezTo>
                  <a:pt x="3075" y="1694"/>
                  <a:pt x="3075" y="1694"/>
                  <a:pt x="3074" y="1694"/>
                </a:cubicBezTo>
                <a:cubicBezTo>
                  <a:pt x="3073" y="1695"/>
                  <a:pt x="3072" y="1695"/>
                  <a:pt x="3072" y="1694"/>
                </a:cubicBezTo>
                <a:cubicBezTo>
                  <a:pt x="3072" y="1694"/>
                  <a:pt x="3071" y="1693"/>
                  <a:pt x="3071" y="1694"/>
                </a:cubicBezTo>
                <a:cubicBezTo>
                  <a:pt x="3071" y="1694"/>
                  <a:pt x="3071" y="1695"/>
                  <a:pt x="3071" y="1695"/>
                </a:cubicBezTo>
                <a:cubicBezTo>
                  <a:pt x="3071" y="1695"/>
                  <a:pt x="3071" y="1696"/>
                  <a:pt x="3071" y="1696"/>
                </a:cubicBezTo>
                <a:cubicBezTo>
                  <a:pt x="3071" y="1697"/>
                  <a:pt x="3071" y="1698"/>
                  <a:pt x="3071" y="1699"/>
                </a:cubicBezTo>
                <a:cubicBezTo>
                  <a:pt x="3071" y="1700"/>
                  <a:pt x="3071" y="1701"/>
                  <a:pt x="3071" y="1701"/>
                </a:cubicBezTo>
                <a:cubicBezTo>
                  <a:pt x="3071" y="1702"/>
                  <a:pt x="3071" y="1702"/>
                  <a:pt x="3072" y="1703"/>
                </a:cubicBezTo>
                <a:cubicBezTo>
                  <a:pt x="3073" y="1704"/>
                  <a:pt x="3073" y="1705"/>
                  <a:pt x="3075" y="1705"/>
                </a:cubicBezTo>
                <a:cubicBezTo>
                  <a:pt x="3076" y="1705"/>
                  <a:pt x="3076" y="1706"/>
                  <a:pt x="3077" y="1706"/>
                </a:cubicBezTo>
                <a:cubicBezTo>
                  <a:pt x="3079" y="1707"/>
                  <a:pt x="3080" y="1708"/>
                  <a:pt x="3081" y="1709"/>
                </a:cubicBezTo>
                <a:cubicBezTo>
                  <a:pt x="3082" y="1710"/>
                  <a:pt x="3082" y="1711"/>
                  <a:pt x="3083" y="1711"/>
                </a:cubicBezTo>
                <a:cubicBezTo>
                  <a:pt x="3084" y="1711"/>
                  <a:pt x="3085" y="1712"/>
                  <a:pt x="3085" y="1712"/>
                </a:cubicBezTo>
                <a:cubicBezTo>
                  <a:pt x="3086" y="1712"/>
                  <a:pt x="3087" y="1712"/>
                  <a:pt x="3088" y="1713"/>
                </a:cubicBezTo>
                <a:cubicBezTo>
                  <a:pt x="3089" y="1713"/>
                  <a:pt x="3089" y="1713"/>
                  <a:pt x="3090" y="1714"/>
                </a:cubicBezTo>
                <a:cubicBezTo>
                  <a:pt x="3091" y="1714"/>
                  <a:pt x="3092" y="1714"/>
                  <a:pt x="3093" y="1714"/>
                </a:cubicBezTo>
                <a:cubicBezTo>
                  <a:pt x="3093" y="1714"/>
                  <a:pt x="3094" y="1714"/>
                  <a:pt x="3094" y="1714"/>
                </a:cubicBezTo>
                <a:cubicBezTo>
                  <a:pt x="3094" y="1714"/>
                  <a:pt x="3094" y="1713"/>
                  <a:pt x="3095" y="1713"/>
                </a:cubicBezTo>
                <a:cubicBezTo>
                  <a:pt x="3096" y="1713"/>
                  <a:pt x="3096" y="1713"/>
                  <a:pt x="3097" y="1713"/>
                </a:cubicBezTo>
                <a:cubicBezTo>
                  <a:pt x="3098" y="1714"/>
                  <a:pt x="3099" y="1714"/>
                  <a:pt x="3100" y="1714"/>
                </a:cubicBezTo>
                <a:cubicBezTo>
                  <a:pt x="3102" y="1714"/>
                  <a:pt x="3103" y="1714"/>
                  <a:pt x="3105" y="1714"/>
                </a:cubicBezTo>
                <a:cubicBezTo>
                  <a:pt x="3106" y="1713"/>
                  <a:pt x="3107" y="1713"/>
                  <a:pt x="3108" y="1713"/>
                </a:cubicBezTo>
                <a:cubicBezTo>
                  <a:pt x="3108" y="1713"/>
                  <a:pt x="3108" y="1713"/>
                  <a:pt x="3109" y="1712"/>
                </a:cubicBezTo>
                <a:cubicBezTo>
                  <a:pt x="3109" y="1712"/>
                  <a:pt x="3110" y="1712"/>
                  <a:pt x="3110" y="1711"/>
                </a:cubicBezTo>
                <a:cubicBezTo>
                  <a:pt x="3111" y="1711"/>
                  <a:pt x="3111" y="1711"/>
                  <a:pt x="3111" y="1710"/>
                </a:cubicBezTo>
                <a:cubicBezTo>
                  <a:pt x="3112" y="1710"/>
                  <a:pt x="3113" y="1710"/>
                  <a:pt x="3114" y="1709"/>
                </a:cubicBezTo>
                <a:cubicBezTo>
                  <a:pt x="3114" y="1708"/>
                  <a:pt x="3115" y="1707"/>
                  <a:pt x="3116" y="1707"/>
                </a:cubicBezTo>
                <a:cubicBezTo>
                  <a:pt x="3116" y="1707"/>
                  <a:pt x="3117" y="1706"/>
                  <a:pt x="3118" y="1706"/>
                </a:cubicBezTo>
                <a:cubicBezTo>
                  <a:pt x="3119" y="1706"/>
                  <a:pt x="3119" y="1707"/>
                  <a:pt x="3119" y="1707"/>
                </a:cubicBezTo>
                <a:cubicBezTo>
                  <a:pt x="3120" y="1707"/>
                  <a:pt x="3120" y="1707"/>
                  <a:pt x="3121" y="1707"/>
                </a:cubicBezTo>
                <a:cubicBezTo>
                  <a:pt x="3121" y="1707"/>
                  <a:pt x="3122" y="1706"/>
                  <a:pt x="3122" y="1705"/>
                </a:cubicBezTo>
                <a:cubicBezTo>
                  <a:pt x="3123" y="1703"/>
                  <a:pt x="3124" y="1702"/>
                  <a:pt x="3126" y="1701"/>
                </a:cubicBezTo>
                <a:cubicBezTo>
                  <a:pt x="3127" y="1700"/>
                  <a:pt x="3129" y="1700"/>
                  <a:pt x="3130" y="1700"/>
                </a:cubicBezTo>
                <a:cubicBezTo>
                  <a:pt x="3131" y="1700"/>
                  <a:pt x="3131" y="1700"/>
                  <a:pt x="3132" y="1700"/>
                </a:cubicBezTo>
                <a:cubicBezTo>
                  <a:pt x="3133" y="1699"/>
                  <a:pt x="3134" y="1699"/>
                  <a:pt x="3135" y="1699"/>
                </a:cubicBezTo>
                <a:cubicBezTo>
                  <a:pt x="3136" y="1699"/>
                  <a:pt x="3137" y="1698"/>
                  <a:pt x="3138" y="1698"/>
                </a:cubicBezTo>
                <a:cubicBezTo>
                  <a:pt x="3139" y="1698"/>
                  <a:pt x="3141" y="1698"/>
                  <a:pt x="3142" y="1698"/>
                </a:cubicBezTo>
                <a:cubicBezTo>
                  <a:pt x="3143" y="1698"/>
                  <a:pt x="3144" y="1698"/>
                  <a:pt x="3145" y="1698"/>
                </a:cubicBezTo>
                <a:cubicBezTo>
                  <a:pt x="3146" y="1698"/>
                  <a:pt x="3146" y="1698"/>
                  <a:pt x="3147" y="1698"/>
                </a:cubicBezTo>
                <a:cubicBezTo>
                  <a:pt x="3147" y="1698"/>
                  <a:pt x="3148" y="1698"/>
                  <a:pt x="3148" y="1699"/>
                </a:cubicBezTo>
                <a:cubicBezTo>
                  <a:pt x="3149" y="1699"/>
                  <a:pt x="3150" y="1698"/>
                  <a:pt x="3151" y="1698"/>
                </a:cubicBezTo>
                <a:cubicBezTo>
                  <a:pt x="3152" y="1699"/>
                  <a:pt x="3152" y="1699"/>
                  <a:pt x="3152" y="1700"/>
                </a:cubicBezTo>
                <a:cubicBezTo>
                  <a:pt x="3153" y="1701"/>
                  <a:pt x="3154" y="1701"/>
                  <a:pt x="3155" y="1701"/>
                </a:cubicBezTo>
                <a:cubicBezTo>
                  <a:pt x="3156" y="1701"/>
                  <a:pt x="3156" y="1700"/>
                  <a:pt x="3157" y="1700"/>
                </a:cubicBezTo>
                <a:cubicBezTo>
                  <a:pt x="3158" y="1699"/>
                  <a:pt x="3159" y="1699"/>
                  <a:pt x="3160" y="1699"/>
                </a:cubicBezTo>
                <a:cubicBezTo>
                  <a:pt x="3161" y="1699"/>
                  <a:pt x="3162" y="1698"/>
                  <a:pt x="3163" y="1698"/>
                </a:cubicBezTo>
                <a:cubicBezTo>
                  <a:pt x="3163" y="1698"/>
                  <a:pt x="3163" y="1698"/>
                  <a:pt x="3164" y="1699"/>
                </a:cubicBezTo>
                <a:cubicBezTo>
                  <a:pt x="3164" y="1699"/>
                  <a:pt x="3164" y="1699"/>
                  <a:pt x="3164" y="1700"/>
                </a:cubicBezTo>
                <a:cubicBezTo>
                  <a:pt x="3164" y="1700"/>
                  <a:pt x="3165" y="1700"/>
                  <a:pt x="3165" y="1700"/>
                </a:cubicBezTo>
                <a:cubicBezTo>
                  <a:pt x="3166" y="1700"/>
                  <a:pt x="3166" y="1699"/>
                  <a:pt x="3167" y="1699"/>
                </a:cubicBezTo>
                <a:cubicBezTo>
                  <a:pt x="3168" y="1699"/>
                  <a:pt x="3169" y="1699"/>
                  <a:pt x="3169" y="1699"/>
                </a:cubicBezTo>
                <a:cubicBezTo>
                  <a:pt x="3170" y="1699"/>
                  <a:pt x="3170" y="1698"/>
                  <a:pt x="3171" y="1698"/>
                </a:cubicBezTo>
                <a:cubicBezTo>
                  <a:pt x="3171" y="1697"/>
                  <a:pt x="3171" y="1697"/>
                  <a:pt x="3172" y="1696"/>
                </a:cubicBezTo>
                <a:cubicBezTo>
                  <a:pt x="3172" y="1696"/>
                  <a:pt x="3173" y="1695"/>
                  <a:pt x="3173" y="1694"/>
                </a:cubicBezTo>
                <a:cubicBezTo>
                  <a:pt x="3174" y="1693"/>
                  <a:pt x="3175" y="1691"/>
                  <a:pt x="3175" y="1689"/>
                </a:cubicBezTo>
                <a:cubicBezTo>
                  <a:pt x="3176" y="1688"/>
                  <a:pt x="3177" y="1688"/>
                  <a:pt x="3178" y="1687"/>
                </a:cubicBezTo>
                <a:cubicBezTo>
                  <a:pt x="3178" y="1687"/>
                  <a:pt x="3179" y="1687"/>
                  <a:pt x="3179" y="1686"/>
                </a:cubicBezTo>
                <a:cubicBezTo>
                  <a:pt x="3180" y="1686"/>
                  <a:pt x="3181" y="1685"/>
                  <a:pt x="3182" y="1685"/>
                </a:cubicBezTo>
                <a:cubicBezTo>
                  <a:pt x="3183" y="1685"/>
                  <a:pt x="3184" y="1684"/>
                  <a:pt x="3185" y="1684"/>
                </a:cubicBezTo>
                <a:cubicBezTo>
                  <a:pt x="3186" y="1684"/>
                  <a:pt x="3186" y="1684"/>
                  <a:pt x="3187" y="1683"/>
                </a:cubicBezTo>
                <a:cubicBezTo>
                  <a:pt x="3188" y="1683"/>
                  <a:pt x="3189" y="1682"/>
                  <a:pt x="3190" y="1682"/>
                </a:cubicBezTo>
                <a:cubicBezTo>
                  <a:pt x="3191" y="1682"/>
                  <a:pt x="3192" y="1681"/>
                  <a:pt x="3192" y="1681"/>
                </a:cubicBezTo>
                <a:cubicBezTo>
                  <a:pt x="3194" y="1679"/>
                  <a:pt x="3195" y="1678"/>
                  <a:pt x="3197" y="1678"/>
                </a:cubicBezTo>
                <a:cubicBezTo>
                  <a:pt x="3198" y="1678"/>
                  <a:pt x="3199" y="1678"/>
                  <a:pt x="3200" y="1678"/>
                </a:cubicBezTo>
                <a:cubicBezTo>
                  <a:pt x="3201" y="1678"/>
                  <a:pt x="3202" y="1678"/>
                  <a:pt x="3203" y="1678"/>
                </a:cubicBezTo>
                <a:cubicBezTo>
                  <a:pt x="3204" y="1679"/>
                  <a:pt x="3206" y="1679"/>
                  <a:pt x="3207" y="1679"/>
                </a:cubicBezTo>
                <a:cubicBezTo>
                  <a:pt x="3209" y="1679"/>
                  <a:pt x="3212" y="1678"/>
                  <a:pt x="3214" y="1677"/>
                </a:cubicBezTo>
                <a:cubicBezTo>
                  <a:pt x="3215" y="1677"/>
                  <a:pt x="3216" y="1677"/>
                  <a:pt x="3217" y="1676"/>
                </a:cubicBezTo>
                <a:cubicBezTo>
                  <a:pt x="3218" y="1676"/>
                  <a:pt x="3219" y="1675"/>
                  <a:pt x="3220" y="1675"/>
                </a:cubicBezTo>
                <a:cubicBezTo>
                  <a:pt x="3222" y="1674"/>
                  <a:pt x="3224" y="1673"/>
                  <a:pt x="3226" y="1673"/>
                </a:cubicBezTo>
                <a:cubicBezTo>
                  <a:pt x="3228" y="1672"/>
                  <a:pt x="3230" y="1671"/>
                  <a:pt x="3232" y="1671"/>
                </a:cubicBezTo>
                <a:cubicBezTo>
                  <a:pt x="3233" y="1671"/>
                  <a:pt x="3234" y="1671"/>
                  <a:pt x="3235" y="1671"/>
                </a:cubicBezTo>
                <a:cubicBezTo>
                  <a:pt x="3236" y="1671"/>
                  <a:pt x="3236" y="1671"/>
                  <a:pt x="3237" y="1670"/>
                </a:cubicBezTo>
                <a:cubicBezTo>
                  <a:pt x="3237" y="1670"/>
                  <a:pt x="3238" y="1670"/>
                  <a:pt x="3238" y="1670"/>
                </a:cubicBezTo>
                <a:cubicBezTo>
                  <a:pt x="3239" y="1670"/>
                  <a:pt x="3240" y="1670"/>
                  <a:pt x="3240" y="1670"/>
                </a:cubicBezTo>
                <a:cubicBezTo>
                  <a:pt x="3241" y="1670"/>
                  <a:pt x="3242" y="1670"/>
                  <a:pt x="3243" y="1670"/>
                </a:cubicBezTo>
                <a:cubicBezTo>
                  <a:pt x="3244" y="1670"/>
                  <a:pt x="3245" y="1669"/>
                  <a:pt x="3246" y="1670"/>
                </a:cubicBezTo>
                <a:cubicBezTo>
                  <a:pt x="3248" y="1670"/>
                  <a:pt x="3250" y="1670"/>
                  <a:pt x="3252" y="1670"/>
                </a:cubicBezTo>
                <a:cubicBezTo>
                  <a:pt x="3253" y="1670"/>
                  <a:pt x="3253" y="1669"/>
                  <a:pt x="3254" y="1669"/>
                </a:cubicBezTo>
                <a:cubicBezTo>
                  <a:pt x="3254" y="1669"/>
                  <a:pt x="3254" y="1668"/>
                  <a:pt x="3255" y="1668"/>
                </a:cubicBezTo>
                <a:cubicBezTo>
                  <a:pt x="3255" y="1668"/>
                  <a:pt x="3255" y="1668"/>
                  <a:pt x="3256" y="1669"/>
                </a:cubicBezTo>
                <a:cubicBezTo>
                  <a:pt x="3256" y="1669"/>
                  <a:pt x="3257" y="1669"/>
                  <a:pt x="3258" y="1669"/>
                </a:cubicBezTo>
                <a:cubicBezTo>
                  <a:pt x="3259" y="1669"/>
                  <a:pt x="3259" y="1670"/>
                  <a:pt x="3260" y="1670"/>
                </a:cubicBezTo>
                <a:cubicBezTo>
                  <a:pt x="3261" y="1671"/>
                  <a:pt x="3262" y="1670"/>
                  <a:pt x="3262" y="1671"/>
                </a:cubicBezTo>
                <a:cubicBezTo>
                  <a:pt x="3263" y="1671"/>
                  <a:pt x="3264" y="1672"/>
                  <a:pt x="3265" y="1673"/>
                </a:cubicBezTo>
                <a:cubicBezTo>
                  <a:pt x="3266" y="1673"/>
                  <a:pt x="3267" y="1676"/>
                  <a:pt x="3268" y="1675"/>
                </a:cubicBezTo>
                <a:cubicBezTo>
                  <a:pt x="3269" y="1675"/>
                  <a:pt x="3269" y="1675"/>
                  <a:pt x="3269" y="1674"/>
                </a:cubicBezTo>
                <a:cubicBezTo>
                  <a:pt x="3270" y="1674"/>
                  <a:pt x="3270" y="1674"/>
                  <a:pt x="3271" y="1674"/>
                </a:cubicBezTo>
                <a:cubicBezTo>
                  <a:pt x="3272" y="1674"/>
                  <a:pt x="3272" y="1673"/>
                  <a:pt x="3273" y="1674"/>
                </a:cubicBezTo>
                <a:cubicBezTo>
                  <a:pt x="3273" y="1674"/>
                  <a:pt x="3274" y="1674"/>
                  <a:pt x="3274" y="1674"/>
                </a:cubicBezTo>
                <a:cubicBezTo>
                  <a:pt x="3275" y="1674"/>
                  <a:pt x="3275" y="1674"/>
                  <a:pt x="3275" y="1675"/>
                </a:cubicBezTo>
                <a:cubicBezTo>
                  <a:pt x="3276" y="1675"/>
                  <a:pt x="3276" y="1675"/>
                  <a:pt x="3276" y="1675"/>
                </a:cubicBezTo>
                <a:cubicBezTo>
                  <a:pt x="3276" y="1676"/>
                  <a:pt x="3277" y="1675"/>
                  <a:pt x="3277" y="1676"/>
                </a:cubicBezTo>
                <a:cubicBezTo>
                  <a:pt x="3278" y="1676"/>
                  <a:pt x="3278" y="1676"/>
                  <a:pt x="3278" y="1676"/>
                </a:cubicBezTo>
                <a:cubicBezTo>
                  <a:pt x="3279" y="1677"/>
                  <a:pt x="3280" y="1677"/>
                  <a:pt x="3281" y="1677"/>
                </a:cubicBezTo>
                <a:cubicBezTo>
                  <a:pt x="3282" y="1677"/>
                  <a:pt x="3282" y="1676"/>
                  <a:pt x="3283" y="1676"/>
                </a:cubicBezTo>
                <a:cubicBezTo>
                  <a:pt x="3283" y="1676"/>
                  <a:pt x="3284" y="1676"/>
                  <a:pt x="3285" y="1677"/>
                </a:cubicBezTo>
                <a:cubicBezTo>
                  <a:pt x="3285" y="1677"/>
                  <a:pt x="3285" y="1677"/>
                  <a:pt x="3285" y="1678"/>
                </a:cubicBezTo>
                <a:cubicBezTo>
                  <a:pt x="3286" y="1678"/>
                  <a:pt x="3286" y="1678"/>
                  <a:pt x="3286" y="1679"/>
                </a:cubicBezTo>
                <a:cubicBezTo>
                  <a:pt x="3287" y="1680"/>
                  <a:pt x="3286" y="1681"/>
                  <a:pt x="3286" y="1681"/>
                </a:cubicBezTo>
                <a:cubicBezTo>
                  <a:pt x="3286" y="1682"/>
                  <a:pt x="3288" y="1682"/>
                  <a:pt x="3288" y="1681"/>
                </a:cubicBezTo>
                <a:cubicBezTo>
                  <a:pt x="3289" y="1681"/>
                  <a:pt x="3289" y="1681"/>
                  <a:pt x="3289" y="1681"/>
                </a:cubicBezTo>
                <a:cubicBezTo>
                  <a:pt x="3290" y="1681"/>
                  <a:pt x="3290" y="1682"/>
                  <a:pt x="3290" y="1682"/>
                </a:cubicBezTo>
                <a:cubicBezTo>
                  <a:pt x="3290" y="1683"/>
                  <a:pt x="3291" y="1684"/>
                  <a:pt x="3290" y="1684"/>
                </a:cubicBezTo>
                <a:cubicBezTo>
                  <a:pt x="3290" y="1684"/>
                  <a:pt x="3290" y="1684"/>
                  <a:pt x="3290" y="1684"/>
                </a:cubicBezTo>
                <a:cubicBezTo>
                  <a:pt x="3289" y="1683"/>
                  <a:pt x="3289" y="1683"/>
                  <a:pt x="3289" y="1683"/>
                </a:cubicBezTo>
                <a:cubicBezTo>
                  <a:pt x="3288" y="1684"/>
                  <a:pt x="3289" y="1684"/>
                  <a:pt x="3289" y="1684"/>
                </a:cubicBezTo>
                <a:cubicBezTo>
                  <a:pt x="3289" y="1685"/>
                  <a:pt x="3289" y="1685"/>
                  <a:pt x="3289" y="1685"/>
                </a:cubicBezTo>
                <a:cubicBezTo>
                  <a:pt x="3289" y="1686"/>
                  <a:pt x="3288" y="1687"/>
                  <a:pt x="3289" y="1687"/>
                </a:cubicBezTo>
                <a:cubicBezTo>
                  <a:pt x="3290" y="1688"/>
                  <a:pt x="3290" y="1689"/>
                  <a:pt x="3290" y="1689"/>
                </a:cubicBezTo>
                <a:cubicBezTo>
                  <a:pt x="3291" y="1690"/>
                  <a:pt x="3292" y="1690"/>
                  <a:pt x="3293" y="1690"/>
                </a:cubicBezTo>
                <a:cubicBezTo>
                  <a:pt x="3295" y="1690"/>
                  <a:pt x="3296" y="1691"/>
                  <a:pt x="3296" y="1692"/>
                </a:cubicBezTo>
                <a:cubicBezTo>
                  <a:pt x="3296" y="1692"/>
                  <a:pt x="3296" y="1693"/>
                  <a:pt x="3296" y="1693"/>
                </a:cubicBezTo>
                <a:cubicBezTo>
                  <a:pt x="3296" y="1694"/>
                  <a:pt x="3296" y="1694"/>
                  <a:pt x="3297" y="1694"/>
                </a:cubicBezTo>
                <a:cubicBezTo>
                  <a:pt x="3297" y="1694"/>
                  <a:pt x="3297" y="1695"/>
                  <a:pt x="3297" y="1695"/>
                </a:cubicBezTo>
                <a:cubicBezTo>
                  <a:pt x="3297" y="1696"/>
                  <a:pt x="3298" y="1696"/>
                  <a:pt x="3299" y="1697"/>
                </a:cubicBezTo>
                <a:cubicBezTo>
                  <a:pt x="3299" y="1697"/>
                  <a:pt x="3299" y="1697"/>
                  <a:pt x="3300" y="1698"/>
                </a:cubicBezTo>
                <a:cubicBezTo>
                  <a:pt x="3300" y="1698"/>
                  <a:pt x="3300" y="1698"/>
                  <a:pt x="3301" y="1698"/>
                </a:cubicBezTo>
                <a:cubicBezTo>
                  <a:pt x="3301" y="1699"/>
                  <a:pt x="3302" y="1700"/>
                  <a:pt x="3302" y="1701"/>
                </a:cubicBezTo>
                <a:cubicBezTo>
                  <a:pt x="3302" y="1702"/>
                  <a:pt x="3302" y="1702"/>
                  <a:pt x="3303" y="1703"/>
                </a:cubicBezTo>
                <a:cubicBezTo>
                  <a:pt x="3303" y="1704"/>
                  <a:pt x="3303" y="1705"/>
                  <a:pt x="3304" y="1706"/>
                </a:cubicBezTo>
                <a:cubicBezTo>
                  <a:pt x="3304" y="1706"/>
                  <a:pt x="3304" y="1708"/>
                  <a:pt x="3303" y="1708"/>
                </a:cubicBezTo>
                <a:cubicBezTo>
                  <a:pt x="3303" y="1708"/>
                  <a:pt x="3303" y="1707"/>
                  <a:pt x="3303" y="1707"/>
                </a:cubicBezTo>
                <a:cubicBezTo>
                  <a:pt x="3303" y="1707"/>
                  <a:pt x="3303" y="1707"/>
                  <a:pt x="3302" y="1707"/>
                </a:cubicBezTo>
                <a:cubicBezTo>
                  <a:pt x="3302" y="1706"/>
                  <a:pt x="3302" y="1706"/>
                  <a:pt x="3302" y="1706"/>
                </a:cubicBezTo>
                <a:cubicBezTo>
                  <a:pt x="3302" y="1706"/>
                  <a:pt x="3302" y="1705"/>
                  <a:pt x="3301" y="1705"/>
                </a:cubicBezTo>
                <a:cubicBezTo>
                  <a:pt x="3301" y="1706"/>
                  <a:pt x="3301" y="1706"/>
                  <a:pt x="3301" y="1707"/>
                </a:cubicBezTo>
                <a:cubicBezTo>
                  <a:pt x="3301" y="1707"/>
                  <a:pt x="3301" y="1707"/>
                  <a:pt x="3301" y="1708"/>
                </a:cubicBezTo>
                <a:cubicBezTo>
                  <a:pt x="3301" y="1708"/>
                  <a:pt x="3301" y="1708"/>
                  <a:pt x="3302" y="1708"/>
                </a:cubicBezTo>
                <a:cubicBezTo>
                  <a:pt x="3302" y="1708"/>
                  <a:pt x="3302" y="1708"/>
                  <a:pt x="3303" y="1709"/>
                </a:cubicBezTo>
                <a:cubicBezTo>
                  <a:pt x="3303" y="1709"/>
                  <a:pt x="3304" y="1709"/>
                  <a:pt x="3305" y="1710"/>
                </a:cubicBezTo>
                <a:cubicBezTo>
                  <a:pt x="3305" y="1710"/>
                  <a:pt x="3305" y="1710"/>
                  <a:pt x="3305" y="1711"/>
                </a:cubicBezTo>
                <a:cubicBezTo>
                  <a:pt x="3306" y="1711"/>
                  <a:pt x="3306" y="1711"/>
                  <a:pt x="3306" y="1711"/>
                </a:cubicBezTo>
                <a:cubicBezTo>
                  <a:pt x="3307" y="1712"/>
                  <a:pt x="3307" y="1712"/>
                  <a:pt x="3307" y="1712"/>
                </a:cubicBezTo>
                <a:cubicBezTo>
                  <a:pt x="3308" y="1712"/>
                  <a:pt x="3308" y="1711"/>
                  <a:pt x="3309" y="1712"/>
                </a:cubicBezTo>
                <a:cubicBezTo>
                  <a:pt x="3309" y="1712"/>
                  <a:pt x="3309" y="1713"/>
                  <a:pt x="3310" y="1713"/>
                </a:cubicBezTo>
                <a:cubicBezTo>
                  <a:pt x="3311" y="1713"/>
                  <a:pt x="3311" y="1712"/>
                  <a:pt x="3311" y="1712"/>
                </a:cubicBezTo>
                <a:cubicBezTo>
                  <a:pt x="3311" y="1711"/>
                  <a:pt x="3310" y="1711"/>
                  <a:pt x="3310" y="1711"/>
                </a:cubicBezTo>
                <a:cubicBezTo>
                  <a:pt x="3310" y="1710"/>
                  <a:pt x="3310" y="1709"/>
                  <a:pt x="3310" y="1710"/>
                </a:cubicBezTo>
                <a:cubicBezTo>
                  <a:pt x="3310" y="1710"/>
                  <a:pt x="3310" y="1711"/>
                  <a:pt x="3309" y="1710"/>
                </a:cubicBezTo>
                <a:cubicBezTo>
                  <a:pt x="3309" y="1710"/>
                  <a:pt x="3309" y="1709"/>
                  <a:pt x="3309" y="1709"/>
                </a:cubicBezTo>
                <a:cubicBezTo>
                  <a:pt x="3310" y="1709"/>
                  <a:pt x="3310" y="1709"/>
                  <a:pt x="3310" y="1708"/>
                </a:cubicBezTo>
                <a:cubicBezTo>
                  <a:pt x="3310" y="1708"/>
                  <a:pt x="3310" y="1707"/>
                  <a:pt x="3311" y="1707"/>
                </a:cubicBezTo>
                <a:cubicBezTo>
                  <a:pt x="3311" y="1707"/>
                  <a:pt x="3311" y="1707"/>
                  <a:pt x="3312" y="1706"/>
                </a:cubicBezTo>
                <a:cubicBezTo>
                  <a:pt x="3312" y="1706"/>
                  <a:pt x="3312" y="1705"/>
                  <a:pt x="3313" y="1704"/>
                </a:cubicBezTo>
                <a:cubicBezTo>
                  <a:pt x="3313" y="1704"/>
                  <a:pt x="3314" y="1703"/>
                  <a:pt x="3314" y="1703"/>
                </a:cubicBezTo>
                <a:cubicBezTo>
                  <a:pt x="3315" y="1702"/>
                  <a:pt x="3315" y="1702"/>
                  <a:pt x="3315" y="1702"/>
                </a:cubicBezTo>
                <a:cubicBezTo>
                  <a:pt x="3315" y="1701"/>
                  <a:pt x="3316" y="1701"/>
                  <a:pt x="3316" y="1701"/>
                </a:cubicBezTo>
                <a:cubicBezTo>
                  <a:pt x="3317" y="1700"/>
                  <a:pt x="3317" y="1700"/>
                  <a:pt x="3318" y="1699"/>
                </a:cubicBezTo>
                <a:cubicBezTo>
                  <a:pt x="3318" y="1699"/>
                  <a:pt x="3319" y="1698"/>
                  <a:pt x="3320" y="1698"/>
                </a:cubicBezTo>
                <a:cubicBezTo>
                  <a:pt x="3320" y="1698"/>
                  <a:pt x="3321" y="1697"/>
                  <a:pt x="3322" y="1697"/>
                </a:cubicBezTo>
                <a:cubicBezTo>
                  <a:pt x="3323" y="1697"/>
                  <a:pt x="3323" y="1697"/>
                  <a:pt x="3324" y="1696"/>
                </a:cubicBezTo>
                <a:cubicBezTo>
                  <a:pt x="3325" y="1695"/>
                  <a:pt x="3326" y="1694"/>
                  <a:pt x="3326" y="1692"/>
                </a:cubicBezTo>
                <a:cubicBezTo>
                  <a:pt x="3326" y="1691"/>
                  <a:pt x="3327" y="1691"/>
                  <a:pt x="3327" y="1690"/>
                </a:cubicBezTo>
                <a:cubicBezTo>
                  <a:pt x="3327" y="1690"/>
                  <a:pt x="3327" y="1690"/>
                  <a:pt x="3328" y="1689"/>
                </a:cubicBezTo>
                <a:cubicBezTo>
                  <a:pt x="3328" y="1688"/>
                  <a:pt x="3329" y="1687"/>
                  <a:pt x="3330" y="1686"/>
                </a:cubicBezTo>
                <a:cubicBezTo>
                  <a:pt x="3331" y="1686"/>
                  <a:pt x="3331" y="1685"/>
                  <a:pt x="3331" y="1684"/>
                </a:cubicBezTo>
                <a:cubicBezTo>
                  <a:pt x="3331" y="1684"/>
                  <a:pt x="3331" y="1683"/>
                  <a:pt x="3331" y="1683"/>
                </a:cubicBezTo>
                <a:cubicBezTo>
                  <a:pt x="3331" y="1683"/>
                  <a:pt x="3331" y="1682"/>
                  <a:pt x="3331" y="1682"/>
                </a:cubicBezTo>
                <a:cubicBezTo>
                  <a:pt x="3331" y="1682"/>
                  <a:pt x="3332" y="1684"/>
                  <a:pt x="3332" y="1684"/>
                </a:cubicBezTo>
                <a:cubicBezTo>
                  <a:pt x="3332" y="1684"/>
                  <a:pt x="3332" y="1685"/>
                  <a:pt x="3332" y="1685"/>
                </a:cubicBezTo>
                <a:cubicBezTo>
                  <a:pt x="3332" y="1685"/>
                  <a:pt x="3333" y="1685"/>
                  <a:pt x="3333" y="1686"/>
                </a:cubicBezTo>
                <a:cubicBezTo>
                  <a:pt x="3333" y="1686"/>
                  <a:pt x="3333" y="1687"/>
                  <a:pt x="3333" y="1687"/>
                </a:cubicBezTo>
                <a:cubicBezTo>
                  <a:pt x="3333" y="1687"/>
                  <a:pt x="3333" y="1688"/>
                  <a:pt x="3333" y="1688"/>
                </a:cubicBezTo>
                <a:cubicBezTo>
                  <a:pt x="3333" y="1689"/>
                  <a:pt x="3332" y="1689"/>
                  <a:pt x="3332" y="1690"/>
                </a:cubicBezTo>
                <a:cubicBezTo>
                  <a:pt x="3332" y="1690"/>
                  <a:pt x="3331" y="1690"/>
                  <a:pt x="3331" y="1691"/>
                </a:cubicBezTo>
                <a:cubicBezTo>
                  <a:pt x="3331" y="1691"/>
                  <a:pt x="3332" y="1691"/>
                  <a:pt x="3332" y="1692"/>
                </a:cubicBezTo>
                <a:cubicBezTo>
                  <a:pt x="3332" y="1692"/>
                  <a:pt x="3332" y="1693"/>
                  <a:pt x="3332" y="1694"/>
                </a:cubicBezTo>
                <a:cubicBezTo>
                  <a:pt x="3332" y="1695"/>
                  <a:pt x="3331" y="1696"/>
                  <a:pt x="3331" y="1696"/>
                </a:cubicBezTo>
                <a:cubicBezTo>
                  <a:pt x="3330" y="1697"/>
                  <a:pt x="3330" y="1698"/>
                  <a:pt x="3329" y="1698"/>
                </a:cubicBezTo>
                <a:cubicBezTo>
                  <a:pt x="3329" y="1699"/>
                  <a:pt x="3328" y="1700"/>
                  <a:pt x="3328" y="1702"/>
                </a:cubicBezTo>
                <a:cubicBezTo>
                  <a:pt x="3328" y="1703"/>
                  <a:pt x="3328" y="1704"/>
                  <a:pt x="3328" y="1706"/>
                </a:cubicBezTo>
                <a:cubicBezTo>
                  <a:pt x="3328" y="1707"/>
                  <a:pt x="3328" y="1708"/>
                  <a:pt x="3328" y="1709"/>
                </a:cubicBezTo>
                <a:cubicBezTo>
                  <a:pt x="3328" y="1710"/>
                  <a:pt x="3327" y="1710"/>
                  <a:pt x="3327" y="1711"/>
                </a:cubicBezTo>
                <a:cubicBezTo>
                  <a:pt x="3327" y="1712"/>
                  <a:pt x="3326" y="1712"/>
                  <a:pt x="3325" y="1712"/>
                </a:cubicBezTo>
                <a:cubicBezTo>
                  <a:pt x="3325" y="1712"/>
                  <a:pt x="3324" y="1712"/>
                  <a:pt x="3324" y="1712"/>
                </a:cubicBezTo>
                <a:cubicBezTo>
                  <a:pt x="3323" y="1712"/>
                  <a:pt x="3323" y="1712"/>
                  <a:pt x="3323" y="1712"/>
                </a:cubicBezTo>
                <a:cubicBezTo>
                  <a:pt x="3322" y="1712"/>
                  <a:pt x="3322" y="1712"/>
                  <a:pt x="3322" y="1712"/>
                </a:cubicBezTo>
                <a:cubicBezTo>
                  <a:pt x="3322" y="1712"/>
                  <a:pt x="3322" y="1713"/>
                  <a:pt x="3322" y="1713"/>
                </a:cubicBezTo>
                <a:cubicBezTo>
                  <a:pt x="3322" y="1713"/>
                  <a:pt x="3322" y="1713"/>
                  <a:pt x="3321" y="1713"/>
                </a:cubicBezTo>
                <a:cubicBezTo>
                  <a:pt x="3321" y="1714"/>
                  <a:pt x="3321" y="1714"/>
                  <a:pt x="3321" y="1715"/>
                </a:cubicBezTo>
                <a:cubicBezTo>
                  <a:pt x="3321" y="1715"/>
                  <a:pt x="3321" y="1715"/>
                  <a:pt x="3320" y="1716"/>
                </a:cubicBezTo>
                <a:cubicBezTo>
                  <a:pt x="3320" y="1716"/>
                  <a:pt x="3320" y="1716"/>
                  <a:pt x="3320" y="1716"/>
                </a:cubicBezTo>
                <a:cubicBezTo>
                  <a:pt x="3321" y="1716"/>
                  <a:pt x="3321" y="1716"/>
                  <a:pt x="3322" y="1716"/>
                </a:cubicBezTo>
                <a:cubicBezTo>
                  <a:pt x="3322" y="1715"/>
                  <a:pt x="3323" y="1716"/>
                  <a:pt x="3324" y="1715"/>
                </a:cubicBezTo>
                <a:cubicBezTo>
                  <a:pt x="3324" y="1715"/>
                  <a:pt x="3325" y="1715"/>
                  <a:pt x="3325" y="1715"/>
                </a:cubicBezTo>
                <a:cubicBezTo>
                  <a:pt x="3325" y="1715"/>
                  <a:pt x="3326" y="1715"/>
                  <a:pt x="3326" y="1715"/>
                </a:cubicBezTo>
                <a:cubicBezTo>
                  <a:pt x="3327" y="1715"/>
                  <a:pt x="3327" y="1714"/>
                  <a:pt x="3328" y="1715"/>
                </a:cubicBezTo>
                <a:cubicBezTo>
                  <a:pt x="3329" y="1715"/>
                  <a:pt x="3330" y="1716"/>
                  <a:pt x="3330" y="1715"/>
                </a:cubicBezTo>
                <a:cubicBezTo>
                  <a:pt x="3331" y="1714"/>
                  <a:pt x="3331" y="1713"/>
                  <a:pt x="3331" y="1713"/>
                </a:cubicBezTo>
                <a:cubicBezTo>
                  <a:pt x="3331" y="1712"/>
                  <a:pt x="3332" y="1711"/>
                  <a:pt x="3332" y="1710"/>
                </a:cubicBezTo>
                <a:cubicBezTo>
                  <a:pt x="3332" y="1709"/>
                  <a:pt x="3332" y="1708"/>
                  <a:pt x="3332" y="1707"/>
                </a:cubicBezTo>
                <a:cubicBezTo>
                  <a:pt x="3332" y="1707"/>
                  <a:pt x="3333" y="1707"/>
                  <a:pt x="3333" y="1706"/>
                </a:cubicBezTo>
                <a:cubicBezTo>
                  <a:pt x="3333" y="1706"/>
                  <a:pt x="3333" y="1705"/>
                  <a:pt x="3333" y="1705"/>
                </a:cubicBezTo>
                <a:cubicBezTo>
                  <a:pt x="3333" y="1704"/>
                  <a:pt x="3333" y="1704"/>
                  <a:pt x="3333" y="1703"/>
                </a:cubicBezTo>
                <a:cubicBezTo>
                  <a:pt x="3334" y="1703"/>
                  <a:pt x="3334" y="1703"/>
                  <a:pt x="3334" y="1702"/>
                </a:cubicBezTo>
                <a:cubicBezTo>
                  <a:pt x="3335" y="1702"/>
                  <a:pt x="3335" y="1703"/>
                  <a:pt x="3335" y="1704"/>
                </a:cubicBezTo>
                <a:cubicBezTo>
                  <a:pt x="3336" y="1705"/>
                  <a:pt x="3336" y="1705"/>
                  <a:pt x="3337" y="1706"/>
                </a:cubicBezTo>
                <a:cubicBezTo>
                  <a:pt x="3337" y="1706"/>
                  <a:pt x="3337" y="1707"/>
                  <a:pt x="3338" y="1708"/>
                </a:cubicBezTo>
                <a:cubicBezTo>
                  <a:pt x="3338" y="1709"/>
                  <a:pt x="3339" y="1709"/>
                  <a:pt x="3339" y="1710"/>
                </a:cubicBezTo>
                <a:cubicBezTo>
                  <a:pt x="3340" y="1711"/>
                  <a:pt x="3339" y="1713"/>
                  <a:pt x="3339" y="1714"/>
                </a:cubicBezTo>
                <a:cubicBezTo>
                  <a:pt x="3339" y="1716"/>
                  <a:pt x="3338" y="1718"/>
                  <a:pt x="3336" y="1719"/>
                </a:cubicBezTo>
                <a:cubicBezTo>
                  <a:pt x="3335" y="1720"/>
                  <a:pt x="3334" y="1720"/>
                  <a:pt x="3335" y="1721"/>
                </a:cubicBezTo>
                <a:cubicBezTo>
                  <a:pt x="3335" y="1721"/>
                  <a:pt x="3335" y="1721"/>
                  <a:pt x="3336" y="1721"/>
                </a:cubicBezTo>
                <a:cubicBezTo>
                  <a:pt x="3336" y="1721"/>
                  <a:pt x="3336" y="1721"/>
                  <a:pt x="3336" y="1721"/>
                </a:cubicBezTo>
                <a:cubicBezTo>
                  <a:pt x="3337" y="1722"/>
                  <a:pt x="3338" y="1722"/>
                  <a:pt x="3338" y="1722"/>
                </a:cubicBezTo>
                <a:cubicBezTo>
                  <a:pt x="3339" y="1721"/>
                  <a:pt x="3340" y="1721"/>
                  <a:pt x="3340" y="1720"/>
                </a:cubicBezTo>
                <a:cubicBezTo>
                  <a:pt x="3341" y="1720"/>
                  <a:pt x="3342" y="1720"/>
                  <a:pt x="3343" y="1720"/>
                </a:cubicBezTo>
                <a:cubicBezTo>
                  <a:pt x="3343" y="1720"/>
                  <a:pt x="3344" y="1720"/>
                  <a:pt x="3344" y="1719"/>
                </a:cubicBezTo>
                <a:cubicBezTo>
                  <a:pt x="3344" y="1719"/>
                  <a:pt x="3345" y="1719"/>
                  <a:pt x="3345" y="1719"/>
                </a:cubicBezTo>
                <a:cubicBezTo>
                  <a:pt x="3346" y="1719"/>
                  <a:pt x="3346" y="1718"/>
                  <a:pt x="3347" y="1718"/>
                </a:cubicBezTo>
                <a:cubicBezTo>
                  <a:pt x="3347" y="1718"/>
                  <a:pt x="3347" y="1718"/>
                  <a:pt x="3348" y="1718"/>
                </a:cubicBezTo>
                <a:cubicBezTo>
                  <a:pt x="3348" y="1718"/>
                  <a:pt x="3348" y="1718"/>
                  <a:pt x="3348" y="1718"/>
                </a:cubicBezTo>
                <a:cubicBezTo>
                  <a:pt x="3348" y="1719"/>
                  <a:pt x="3347" y="1719"/>
                  <a:pt x="3346" y="1719"/>
                </a:cubicBezTo>
                <a:cubicBezTo>
                  <a:pt x="3346" y="1720"/>
                  <a:pt x="3345" y="1720"/>
                  <a:pt x="3345" y="1720"/>
                </a:cubicBezTo>
                <a:cubicBezTo>
                  <a:pt x="3345" y="1720"/>
                  <a:pt x="3344" y="1720"/>
                  <a:pt x="3344" y="1720"/>
                </a:cubicBezTo>
                <a:cubicBezTo>
                  <a:pt x="3343" y="1720"/>
                  <a:pt x="3344" y="1721"/>
                  <a:pt x="3344" y="1721"/>
                </a:cubicBezTo>
                <a:cubicBezTo>
                  <a:pt x="3345" y="1721"/>
                  <a:pt x="3345" y="1721"/>
                  <a:pt x="3345" y="1722"/>
                </a:cubicBezTo>
                <a:cubicBezTo>
                  <a:pt x="3345" y="1722"/>
                  <a:pt x="3345" y="1723"/>
                  <a:pt x="3346" y="1723"/>
                </a:cubicBezTo>
                <a:cubicBezTo>
                  <a:pt x="3346" y="1723"/>
                  <a:pt x="3346" y="1723"/>
                  <a:pt x="3347" y="1724"/>
                </a:cubicBezTo>
                <a:cubicBezTo>
                  <a:pt x="3348" y="1724"/>
                  <a:pt x="3348" y="1725"/>
                  <a:pt x="3348" y="1725"/>
                </a:cubicBezTo>
                <a:cubicBezTo>
                  <a:pt x="3349" y="1726"/>
                  <a:pt x="3350" y="1726"/>
                  <a:pt x="3350" y="1727"/>
                </a:cubicBezTo>
                <a:cubicBezTo>
                  <a:pt x="3351" y="1727"/>
                  <a:pt x="3351" y="1728"/>
                  <a:pt x="3352" y="1729"/>
                </a:cubicBezTo>
                <a:cubicBezTo>
                  <a:pt x="3353" y="1730"/>
                  <a:pt x="3353" y="1731"/>
                  <a:pt x="3354" y="1732"/>
                </a:cubicBezTo>
                <a:cubicBezTo>
                  <a:pt x="3354" y="1733"/>
                  <a:pt x="3355" y="1735"/>
                  <a:pt x="3354" y="1737"/>
                </a:cubicBezTo>
                <a:cubicBezTo>
                  <a:pt x="3354" y="1737"/>
                  <a:pt x="3353" y="1738"/>
                  <a:pt x="3353" y="1739"/>
                </a:cubicBezTo>
                <a:cubicBezTo>
                  <a:pt x="3353" y="1740"/>
                  <a:pt x="3353" y="1741"/>
                  <a:pt x="3354" y="1742"/>
                </a:cubicBezTo>
                <a:cubicBezTo>
                  <a:pt x="3354" y="1742"/>
                  <a:pt x="3354" y="1742"/>
                  <a:pt x="3354" y="1742"/>
                </a:cubicBezTo>
                <a:cubicBezTo>
                  <a:pt x="3355" y="1743"/>
                  <a:pt x="3355" y="1743"/>
                  <a:pt x="3355" y="1744"/>
                </a:cubicBezTo>
                <a:cubicBezTo>
                  <a:pt x="3356" y="1744"/>
                  <a:pt x="3356" y="1745"/>
                  <a:pt x="3357" y="1745"/>
                </a:cubicBezTo>
                <a:cubicBezTo>
                  <a:pt x="3358" y="1746"/>
                  <a:pt x="3359" y="1748"/>
                  <a:pt x="3360" y="1749"/>
                </a:cubicBezTo>
                <a:cubicBezTo>
                  <a:pt x="3361" y="1751"/>
                  <a:pt x="3362" y="1752"/>
                  <a:pt x="3363" y="1752"/>
                </a:cubicBezTo>
                <a:cubicBezTo>
                  <a:pt x="3364" y="1752"/>
                  <a:pt x="3365" y="1752"/>
                  <a:pt x="3366" y="1753"/>
                </a:cubicBezTo>
                <a:cubicBezTo>
                  <a:pt x="3367" y="1753"/>
                  <a:pt x="3368" y="1753"/>
                  <a:pt x="3368" y="1753"/>
                </a:cubicBezTo>
                <a:cubicBezTo>
                  <a:pt x="3369" y="1754"/>
                  <a:pt x="3369" y="1754"/>
                  <a:pt x="3369" y="1754"/>
                </a:cubicBezTo>
                <a:cubicBezTo>
                  <a:pt x="3370" y="1755"/>
                  <a:pt x="3370" y="1755"/>
                  <a:pt x="3371" y="1755"/>
                </a:cubicBezTo>
                <a:cubicBezTo>
                  <a:pt x="3372" y="1755"/>
                  <a:pt x="3372" y="1755"/>
                  <a:pt x="3372" y="1756"/>
                </a:cubicBezTo>
                <a:cubicBezTo>
                  <a:pt x="3372" y="1757"/>
                  <a:pt x="3372" y="1758"/>
                  <a:pt x="3372" y="1758"/>
                </a:cubicBezTo>
                <a:cubicBezTo>
                  <a:pt x="3373" y="1758"/>
                  <a:pt x="3373" y="1758"/>
                  <a:pt x="3373" y="1758"/>
                </a:cubicBezTo>
                <a:cubicBezTo>
                  <a:pt x="3374" y="1758"/>
                  <a:pt x="3374" y="1757"/>
                  <a:pt x="3374" y="1757"/>
                </a:cubicBezTo>
                <a:cubicBezTo>
                  <a:pt x="3375" y="1757"/>
                  <a:pt x="3375" y="1757"/>
                  <a:pt x="3375" y="1757"/>
                </a:cubicBezTo>
                <a:cubicBezTo>
                  <a:pt x="3376" y="1757"/>
                  <a:pt x="3376" y="1757"/>
                  <a:pt x="3376" y="1756"/>
                </a:cubicBezTo>
                <a:cubicBezTo>
                  <a:pt x="3377" y="1756"/>
                  <a:pt x="3377" y="1756"/>
                  <a:pt x="3378" y="1756"/>
                </a:cubicBezTo>
                <a:cubicBezTo>
                  <a:pt x="3378" y="1756"/>
                  <a:pt x="3379" y="1756"/>
                  <a:pt x="3380" y="1757"/>
                </a:cubicBezTo>
                <a:cubicBezTo>
                  <a:pt x="3381" y="1758"/>
                  <a:pt x="3383" y="1757"/>
                  <a:pt x="3385" y="1757"/>
                </a:cubicBezTo>
                <a:cubicBezTo>
                  <a:pt x="3386" y="1757"/>
                  <a:pt x="3386" y="1758"/>
                  <a:pt x="3387" y="1758"/>
                </a:cubicBezTo>
                <a:cubicBezTo>
                  <a:pt x="3387" y="1759"/>
                  <a:pt x="3387" y="1759"/>
                  <a:pt x="3388" y="1759"/>
                </a:cubicBezTo>
                <a:cubicBezTo>
                  <a:pt x="3388" y="1759"/>
                  <a:pt x="3388" y="1759"/>
                  <a:pt x="3389" y="1760"/>
                </a:cubicBezTo>
                <a:cubicBezTo>
                  <a:pt x="3389" y="1760"/>
                  <a:pt x="3390" y="1761"/>
                  <a:pt x="3391" y="1761"/>
                </a:cubicBezTo>
                <a:cubicBezTo>
                  <a:pt x="3392" y="1761"/>
                  <a:pt x="3392" y="1762"/>
                  <a:pt x="3393" y="1762"/>
                </a:cubicBezTo>
                <a:cubicBezTo>
                  <a:pt x="3393" y="1762"/>
                  <a:pt x="3394" y="1762"/>
                  <a:pt x="3394" y="1762"/>
                </a:cubicBezTo>
                <a:cubicBezTo>
                  <a:pt x="3394" y="1762"/>
                  <a:pt x="3395" y="1763"/>
                  <a:pt x="3395" y="1763"/>
                </a:cubicBezTo>
                <a:cubicBezTo>
                  <a:pt x="3396" y="1763"/>
                  <a:pt x="3397" y="1764"/>
                  <a:pt x="3398" y="1763"/>
                </a:cubicBezTo>
                <a:cubicBezTo>
                  <a:pt x="3398" y="1763"/>
                  <a:pt x="3398" y="1763"/>
                  <a:pt x="3398" y="1762"/>
                </a:cubicBezTo>
                <a:cubicBezTo>
                  <a:pt x="3399" y="1762"/>
                  <a:pt x="3399" y="1761"/>
                  <a:pt x="3399" y="1761"/>
                </a:cubicBezTo>
                <a:cubicBezTo>
                  <a:pt x="3400" y="1761"/>
                  <a:pt x="3401" y="1761"/>
                  <a:pt x="3401" y="1760"/>
                </a:cubicBezTo>
                <a:cubicBezTo>
                  <a:pt x="3401" y="1760"/>
                  <a:pt x="3402" y="1760"/>
                  <a:pt x="3402" y="1759"/>
                </a:cubicBezTo>
                <a:cubicBezTo>
                  <a:pt x="3402" y="1759"/>
                  <a:pt x="3403" y="1759"/>
                  <a:pt x="3403" y="1759"/>
                </a:cubicBezTo>
                <a:cubicBezTo>
                  <a:pt x="3404" y="1758"/>
                  <a:pt x="3404" y="1758"/>
                  <a:pt x="3404" y="1757"/>
                </a:cubicBezTo>
                <a:cubicBezTo>
                  <a:pt x="3405" y="1757"/>
                  <a:pt x="3405" y="1757"/>
                  <a:pt x="3405" y="1757"/>
                </a:cubicBezTo>
                <a:cubicBezTo>
                  <a:pt x="3406" y="1757"/>
                  <a:pt x="3406" y="1757"/>
                  <a:pt x="3406" y="1757"/>
                </a:cubicBezTo>
                <a:cubicBezTo>
                  <a:pt x="3407" y="1756"/>
                  <a:pt x="3407" y="1756"/>
                  <a:pt x="3408" y="1756"/>
                </a:cubicBezTo>
                <a:cubicBezTo>
                  <a:pt x="3409" y="1756"/>
                  <a:pt x="3409" y="1756"/>
                  <a:pt x="3409" y="1755"/>
                </a:cubicBezTo>
                <a:cubicBezTo>
                  <a:pt x="3410" y="1755"/>
                  <a:pt x="3410" y="1755"/>
                  <a:pt x="3410" y="1754"/>
                </a:cubicBezTo>
                <a:cubicBezTo>
                  <a:pt x="3409" y="1754"/>
                  <a:pt x="3409" y="1754"/>
                  <a:pt x="3408" y="1754"/>
                </a:cubicBezTo>
                <a:cubicBezTo>
                  <a:pt x="3408" y="1754"/>
                  <a:pt x="3406" y="1755"/>
                  <a:pt x="3406" y="1754"/>
                </a:cubicBezTo>
                <a:cubicBezTo>
                  <a:pt x="3406" y="1754"/>
                  <a:pt x="3407" y="1754"/>
                  <a:pt x="3407" y="1754"/>
                </a:cubicBezTo>
                <a:cubicBezTo>
                  <a:pt x="3407" y="1753"/>
                  <a:pt x="3407" y="1753"/>
                  <a:pt x="3407" y="1753"/>
                </a:cubicBezTo>
                <a:cubicBezTo>
                  <a:pt x="3407" y="1753"/>
                  <a:pt x="3408" y="1753"/>
                  <a:pt x="3408" y="1753"/>
                </a:cubicBezTo>
                <a:cubicBezTo>
                  <a:pt x="3409" y="1753"/>
                  <a:pt x="3410" y="1752"/>
                  <a:pt x="3410" y="1752"/>
                </a:cubicBezTo>
                <a:cubicBezTo>
                  <a:pt x="3411" y="1752"/>
                  <a:pt x="3412" y="1750"/>
                  <a:pt x="3413" y="1751"/>
                </a:cubicBezTo>
                <a:cubicBezTo>
                  <a:pt x="3413" y="1751"/>
                  <a:pt x="3413" y="1751"/>
                  <a:pt x="3413" y="1752"/>
                </a:cubicBezTo>
                <a:cubicBezTo>
                  <a:pt x="3413" y="1752"/>
                  <a:pt x="3414" y="1752"/>
                  <a:pt x="3414" y="1753"/>
                </a:cubicBezTo>
                <a:cubicBezTo>
                  <a:pt x="3414" y="1753"/>
                  <a:pt x="3414" y="1753"/>
                  <a:pt x="3414" y="1754"/>
                </a:cubicBezTo>
                <a:cubicBezTo>
                  <a:pt x="3414" y="1755"/>
                  <a:pt x="3414" y="1755"/>
                  <a:pt x="3413" y="1756"/>
                </a:cubicBezTo>
                <a:cubicBezTo>
                  <a:pt x="3413" y="1756"/>
                  <a:pt x="3412" y="1757"/>
                  <a:pt x="3411" y="1757"/>
                </a:cubicBezTo>
                <a:cubicBezTo>
                  <a:pt x="3411" y="1757"/>
                  <a:pt x="3411" y="1757"/>
                  <a:pt x="3411" y="1757"/>
                </a:cubicBezTo>
                <a:cubicBezTo>
                  <a:pt x="3411" y="1758"/>
                  <a:pt x="3411" y="1758"/>
                  <a:pt x="3411" y="1758"/>
                </a:cubicBezTo>
                <a:cubicBezTo>
                  <a:pt x="3411" y="1758"/>
                  <a:pt x="3412" y="1759"/>
                  <a:pt x="3412" y="1759"/>
                </a:cubicBezTo>
                <a:cubicBezTo>
                  <a:pt x="3412" y="1759"/>
                  <a:pt x="3413" y="1759"/>
                  <a:pt x="3413" y="1759"/>
                </a:cubicBezTo>
                <a:cubicBezTo>
                  <a:pt x="3413" y="1759"/>
                  <a:pt x="3414" y="1758"/>
                  <a:pt x="3414" y="1758"/>
                </a:cubicBezTo>
                <a:cubicBezTo>
                  <a:pt x="3414" y="1758"/>
                  <a:pt x="3415" y="1758"/>
                  <a:pt x="3415" y="1758"/>
                </a:cubicBezTo>
                <a:cubicBezTo>
                  <a:pt x="3416" y="1757"/>
                  <a:pt x="3416" y="1756"/>
                  <a:pt x="3417" y="1756"/>
                </a:cubicBezTo>
                <a:cubicBezTo>
                  <a:pt x="3417" y="1757"/>
                  <a:pt x="3417" y="1758"/>
                  <a:pt x="3418" y="1758"/>
                </a:cubicBezTo>
                <a:cubicBezTo>
                  <a:pt x="3418" y="1757"/>
                  <a:pt x="3418" y="1757"/>
                  <a:pt x="3418" y="1757"/>
                </a:cubicBezTo>
                <a:cubicBezTo>
                  <a:pt x="3418" y="1757"/>
                  <a:pt x="3418" y="1756"/>
                  <a:pt x="3418" y="1756"/>
                </a:cubicBezTo>
                <a:cubicBezTo>
                  <a:pt x="3418" y="1756"/>
                  <a:pt x="3418" y="1755"/>
                  <a:pt x="3418" y="1756"/>
                </a:cubicBezTo>
                <a:cubicBezTo>
                  <a:pt x="3419" y="1756"/>
                  <a:pt x="3419" y="1757"/>
                  <a:pt x="3419" y="1758"/>
                </a:cubicBezTo>
                <a:cubicBezTo>
                  <a:pt x="3419" y="1758"/>
                  <a:pt x="3417" y="1759"/>
                  <a:pt x="3417" y="1759"/>
                </a:cubicBezTo>
                <a:cubicBezTo>
                  <a:pt x="3417" y="1759"/>
                  <a:pt x="3417" y="1758"/>
                  <a:pt x="3416" y="1758"/>
                </a:cubicBezTo>
                <a:cubicBezTo>
                  <a:pt x="3416" y="1758"/>
                  <a:pt x="3416" y="1758"/>
                  <a:pt x="3415" y="1759"/>
                </a:cubicBezTo>
                <a:cubicBezTo>
                  <a:pt x="3415" y="1759"/>
                  <a:pt x="3414" y="1759"/>
                  <a:pt x="3415" y="1759"/>
                </a:cubicBezTo>
                <a:cubicBezTo>
                  <a:pt x="3415" y="1760"/>
                  <a:pt x="3416" y="1759"/>
                  <a:pt x="3416" y="1759"/>
                </a:cubicBezTo>
                <a:cubicBezTo>
                  <a:pt x="3417" y="1759"/>
                  <a:pt x="3417" y="1760"/>
                  <a:pt x="3417" y="1760"/>
                </a:cubicBezTo>
                <a:cubicBezTo>
                  <a:pt x="3418" y="1760"/>
                  <a:pt x="3418" y="1759"/>
                  <a:pt x="3419" y="1760"/>
                </a:cubicBezTo>
                <a:cubicBezTo>
                  <a:pt x="3419" y="1760"/>
                  <a:pt x="3419" y="1760"/>
                  <a:pt x="3419" y="1760"/>
                </a:cubicBezTo>
                <a:cubicBezTo>
                  <a:pt x="3419" y="1760"/>
                  <a:pt x="3419" y="1760"/>
                  <a:pt x="3419" y="1760"/>
                </a:cubicBezTo>
                <a:cubicBezTo>
                  <a:pt x="3420" y="1760"/>
                  <a:pt x="3420" y="1761"/>
                  <a:pt x="3420" y="1762"/>
                </a:cubicBezTo>
                <a:cubicBezTo>
                  <a:pt x="3421" y="1762"/>
                  <a:pt x="3422" y="1762"/>
                  <a:pt x="3422" y="1763"/>
                </a:cubicBezTo>
                <a:cubicBezTo>
                  <a:pt x="3423" y="1763"/>
                  <a:pt x="3423" y="1764"/>
                  <a:pt x="3424" y="1764"/>
                </a:cubicBezTo>
                <a:cubicBezTo>
                  <a:pt x="3424" y="1764"/>
                  <a:pt x="3425" y="1763"/>
                  <a:pt x="3426" y="1763"/>
                </a:cubicBezTo>
                <a:cubicBezTo>
                  <a:pt x="3426" y="1763"/>
                  <a:pt x="3426" y="1764"/>
                  <a:pt x="3426" y="1764"/>
                </a:cubicBezTo>
                <a:cubicBezTo>
                  <a:pt x="3427" y="1764"/>
                  <a:pt x="3427" y="1764"/>
                  <a:pt x="3427" y="1764"/>
                </a:cubicBezTo>
                <a:cubicBezTo>
                  <a:pt x="3428" y="1765"/>
                  <a:pt x="3428" y="1766"/>
                  <a:pt x="3428" y="1766"/>
                </a:cubicBezTo>
                <a:cubicBezTo>
                  <a:pt x="3428" y="1766"/>
                  <a:pt x="3429" y="1767"/>
                  <a:pt x="3429" y="1767"/>
                </a:cubicBezTo>
                <a:cubicBezTo>
                  <a:pt x="3429" y="1767"/>
                  <a:pt x="3429" y="1767"/>
                  <a:pt x="3429" y="1767"/>
                </a:cubicBezTo>
                <a:cubicBezTo>
                  <a:pt x="3429" y="1767"/>
                  <a:pt x="3429" y="1767"/>
                  <a:pt x="3429" y="1767"/>
                </a:cubicBezTo>
                <a:cubicBezTo>
                  <a:pt x="3429" y="1767"/>
                  <a:pt x="3429" y="1766"/>
                  <a:pt x="3429" y="1766"/>
                </a:cubicBezTo>
                <a:cubicBezTo>
                  <a:pt x="3429" y="1765"/>
                  <a:pt x="3429" y="1765"/>
                  <a:pt x="3429" y="1764"/>
                </a:cubicBezTo>
                <a:cubicBezTo>
                  <a:pt x="3429" y="1763"/>
                  <a:pt x="3428" y="1764"/>
                  <a:pt x="3428" y="1764"/>
                </a:cubicBezTo>
                <a:cubicBezTo>
                  <a:pt x="3427" y="1763"/>
                  <a:pt x="3427" y="1762"/>
                  <a:pt x="3428" y="1762"/>
                </a:cubicBezTo>
                <a:cubicBezTo>
                  <a:pt x="3429" y="1762"/>
                  <a:pt x="3429" y="1762"/>
                  <a:pt x="3429" y="1762"/>
                </a:cubicBezTo>
                <a:cubicBezTo>
                  <a:pt x="3430" y="1761"/>
                  <a:pt x="3431" y="1761"/>
                  <a:pt x="3432" y="1761"/>
                </a:cubicBezTo>
                <a:cubicBezTo>
                  <a:pt x="3432" y="1761"/>
                  <a:pt x="3432" y="1761"/>
                  <a:pt x="3433" y="1761"/>
                </a:cubicBezTo>
                <a:cubicBezTo>
                  <a:pt x="3434" y="1761"/>
                  <a:pt x="3435" y="1761"/>
                  <a:pt x="3435" y="1761"/>
                </a:cubicBezTo>
                <a:cubicBezTo>
                  <a:pt x="3436" y="1760"/>
                  <a:pt x="3436" y="1759"/>
                  <a:pt x="3437" y="1759"/>
                </a:cubicBezTo>
                <a:cubicBezTo>
                  <a:pt x="3437" y="1758"/>
                  <a:pt x="3438" y="1758"/>
                  <a:pt x="3439" y="1757"/>
                </a:cubicBezTo>
                <a:cubicBezTo>
                  <a:pt x="3439" y="1757"/>
                  <a:pt x="3440" y="1756"/>
                  <a:pt x="3441" y="1756"/>
                </a:cubicBezTo>
                <a:cubicBezTo>
                  <a:pt x="3441" y="1755"/>
                  <a:pt x="3442" y="1755"/>
                  <a:pt x="3442" y="1754"/>
                </a:cubicBezTo>
                <a:cubicBezTo>
                  <a:pt x="3443" y="1753"/>
                  <a:pt x="3443" y="1753"/>
                  <a:pt x="3444" y="1753"/>
                </a:cubicBezTo>
                <a:cubicBezTo>
                  <a:pt x="3445" y="1752"/>
                  <a:pt x="3446" y="1752"/>
                  <a:pt x="3446" y="1751"/>
                </a:cubicBezTo>
                <a:cubicBezTo>
                  <a:pt x="3447" y="1750"/>
                  <a:pt x="3450" y="1750"/>
                  <a:pt x="3451" y="1750"/>
                </a:cubicBezTo>
                <a:cubicBezTo>
                  <a:pt x="3452" y="1750"/>
                  <a:pt x="3453" y="1750"/>
                  <a:pt x="3454" y="1750"/>
                </a:cubicBezTo>
                <a:cubicBezTo>
                  <a:pt x="3455" y="1750"/>
                  <a:pt x="3456" y="1749"/>
                  <a:pt x="3457" y="1749"/>
                </a:cubicBezTo>
                <a:cubicBezTo>
                  <a:pt x="3458" y="1750"/>
                  <a:pt x="3459" y="1750"/>
                  <a:pt x="3460" y="1750"/>
                </a:cubicBezTo>
                <a:cubicBezTo>
                  <a:pt x="3460" y="1750"/>
                  <a:pt x="3461" y="1750"/>
                  <a:pt x="3461" y="1750"/>
                </a:cubicBezTo>
                <a:cubicBezTo>
                  <a:pt x="3462" y="1750"/>
                  <a:pt x="3462" y="1750"/>
                  <a:pt x="3463" y="1750"/>
                </a:cubicBezTo>
                <a:cubicBezTo>
                  <a:pt x="3464" y="1749"/>
                  <a:pt x="3464" y="1749"/>
                  <a:pt x="3464" y="1749"/>
                </a:cubicBezTo>
                <a:cubicBezTo>
                  <a:pt x="3464" y="1749"/>
                  <a:pt x="3465" y="1749"/>
                  <a:pt x="3465" y="1749"/>
                </a:cubicBezTo>
                <a:cubicBezTo>
                  <a:pt x="3466" y="1748"/>
                  <a:pt x="3466" y="1747"/>
                  <a:pt x="3466" y="1747"/>
                </a:cubicBezTo>
                <a:cubicBezTo>
                  <a:pt x="3467" y="1745"/>
                  <a:pt x="3470" y="1747"/>
                  <a:pt x="3470" y="1745"/>
                </a:cubicBezTo>
                <a:cubicBezTo>
                  <a:pt x="3470" y="1744"/>
                  <a:pt x="3470" y="1744"/>
                  <a:pt x="3471" y="1744"/>
                </a:cubicBezTo>
                <a:cubicBezTo>
                  <a:pt x="3471" y="1743"/>
                  <a:pt x="3471" y="1743"/>
                  <a:pt x="3471" y="1742"/>
                </a:cubicBezTo>
                <a:cubicBezTo>
                  <a:pt x="3471" y="1742"/>
                  <a:pt x="3470" y="1741"/>
                  <a:pt x="3470" y="1741"/>
                </a:cubicBezTo>
                <a:cubicBezTo>
                  <a:pt x="3469" y="1740"/>
                  <a:pt x="3469" y="1739"/>
                  <a:pt x="3469" y="1738"/>
                </a:cubicBezTo>
                <a:cubicBezTo>
                  <a:pt x="3469" y="1738"/>
                  <a:pt x="3469" y="1737"/>
                  <a:pt x="3469" y="1737"/>
                </a:cubicBezTo>
                <a:cubicBezTo>
                  <a:pt x="3470" y="1736"/>
                  <a:pt x="3470" y="1735"/>
                  <a:pt x="3471" y="1734"/>
                </a:cubicBezTo>
                <a:cubicBezTo>
                  <a:pt x="3471" y="1734"/>
                  <a:pt x="3471" y="1734"/>
                  <a:pt x="3471" y="1733"/>
                </a:cubicBezTo>
                <a:cubicBezTo>
                  <a:pt x="3471" y="1732"/>
                  <a:pt x="3471" y="1731"/>
                  <a:pt x="3472" y="1730"/>
                </a:cubicBezTo>
                <a:cubicBezTo>
                  <a:pt x="3472" y="1729"/>
                  <a:pt x="3472" y="1728"/>
                  <a:pt x="3472" y="1727"/>
                </a:cubicBezTo>
                <a:cubicBezTo>
                  <a:pt x="3472" y="1726"/>
                  <a:pt x="3473" y="1725"/>
                  <a:pt x="3473" y="1724"/>
                </a:cubicBezTo>
                <a:cubicBezTo>
                  <a:pt x="3474" y="1722"/>
                  <a:pt x="3475" y="1720"/>
                  <a:pt x="3476" y="1718"/>
                </a:cubicBezTo>
                <a:cubicBezTo>
                  <a:pt x="3476" y="1718"/>
                  <a:pt x="3476" y="1716"/>
                  <a:pt x="3477" y="1716"/>
                </a:cubicBezTo>
                <a:cubicBezTo>
                  <a:pt x="3477" y="1716"/>
                  <a:pt x="3478" y="1716"/>
                  <a:pt x="3479" y="1715"/>
                </a:cubicBezTo>
                <a:cubicBezTo>
                  <a:pt x="3479" y="1715"/>
                  <a:pt x="3479" y="1715"/>
                  <a:pt x="3479" y="1714"/>
                </a:cubicBezTo>
                <a:cubicBezTo>
                  <a:pt x="3479" y="1714"/>
                  <a:pt x="3479" y="1714"/>
                  <a:pt x="3479" y="1713"/>
                </a:cubicBezTo>
                <a:cubicBezTo>
                  <a:pt x="3480" y="1713"/>
                  <a:pt x="3480" y="1713"/>
                  <a:pt x="3480" y="1712"/>
                </a:cubicBezTo>
                <a:cubicBezTo>
                  <a:pt x="3479" y="1712"/>
                  <a:pt x="3479" y="1712"/>
                  <a:pt x="3479" y="1711"/>
                </a:cubicBezTo>
                <a:cubicBezTo>
                  <a:pt x="3479" y="1710"/>
                  <a:pt x="3479" y="1709"/>
                  <a:pt x="3480" y="1709"/>
                </a:cubicBezTo>
                <a:cubicBezTo>
                  <a:pt x="3480" y="1708"/>
                  <a:pt x="3481" y="1708"/>
                  <a:pt x="3481" y="1707"/>
                </a:cubicBezTo>
                <a:cubicBezTo>
                  <a:pt x="3480" y="1707"/>
                  <a:pt x="3480" y="1707"/>
                  <a:pt x="3480" y="1706"/>
                </a:cubicBezTo>
                <a:cubicBezTo>
                  <a:pt x="3480" y="1705"/>
                  <a:pt x="3481" y="1705"/>
                  <a:pt x="3481" y="1705"/>
                </a:cubicBezTo>
                <a:cubicBezTo>
                  <a:pt x="3482" y="1704"/>
                  <a:pt x="3482" y="1703"/>
                  <a:pt x="3483" y="1702"/>
                </a:cubicBezTo>
                <a:cubicBezTo>
                  <a:pt x="3483" y="1701"/>
                  <a:pt x="3484" y="1701"/>
                  <a:pt x="3484" y="1700"/>
                </a:cubicBezTo>
                <a:cubicBezTo>
                  <a:pt x="3485" y="1699"/>
                  <a:pt x="3485" y="1699"/>
                  <a:pt x="3485" y="1698"/>
                </a:cubicBezTo>
                <a:cubicBezTo>
                  <a:pt x="3485" y="1697"/>
                  <a:pt x="3486" y="1696"/>
                  <a:pt x="3485" y="1695"/>
                </a:cubicBezTo>
                <a:cubicBezTo>
                  <a:pt x="3485" y="1694"/>
                  <a:pt x="3485" y="1694"/>
                  <a:pt x="3486" y="1693"/>
                </a:cubicBezTo>
                <a:cubicBezTo>
                  <a:pt x="3486" y="1692"/>
                  <a:pt x="3487" y="1692"/>
                  <a:pt x="3488" y="1691"/>
                </a:cubicBezTo>
                <a:cubicBezTo>
                  <a:pt x="3489" y="1690"/>
                  <a:pt x="3489" y="1690"/>
                  <a:pt x="3489" y="1689"/>
                </a:cubicBezTo>
                <a:cubicBezTo>
                  <a:pt x="3490" y="1688"/>
                  <a:pt x="3490" y="1687"/>
                  <a:pt x="3491" y="1687"/>
                </a:cubicBezTo>
                <a:cubicBezTo>
                  <a:pt x="3491" y="1686"/>
                  <a:pt x="3492" y="1685"/>
                  <a:pt x="3493" y="1685"/>
                </a:cubicBezTo>
                <a:cubicBezTo>
                  <a:pt x="3494" y="1685"/>
                  <a:pt x="3495" y="1685"/>
                  <a:pt x="3495" y="1684"/>
                </a:cubicBezTo>
                <a:cubicBezTo>
                  <a:pt x="3495" y="1683"/>
                  <a:pt x="3495" y="1682"/>
                  <a:pt x="3497" y="1682"/>
                </a:cubicBezTo>
                <a:cubicBezTo>
                  <a:pt x="3497" y="1681"/>
                  <a:pt x="3498" y="1681"/>
                  <a:pt x="3499" y="1681"/>
                </a:cubicBezTo>
                <a:cubicBezTo>
                  <a:pt x="3499" y="1680"/>
                  <a:pt x="3499" y="1679"/>
                  <a:pt x="3499" y="1678"/>
                </a:cubicBezTo>
                <a:cubicBezTo>
                  <a:pt x="3499" y="1677"/>
                  <a:pt x="3499" y="1677"/>
                  <a:pt x="3499" y="1676"/>
                </a:cubicBezTo>
                <a:cubicBezTo>
                  <a:pt x="3500" y="1675"/>
                  <a:pt x="3500" y="1675"/>
                  <a:pt x="3501" y="1674"/>
                </a:cubicBezTo>
                <a:cubicBezTo>
                  <a:pt x="3501" y="1673"/>
                  <a:pt x="3502" y="1672"/>
                  <a:pt x="3502" y="1672"/>
                </a:cubicBezTo>
                <a:cubicBezTo>
                  <a:pt x="3503" y="1671"/>
                  <a:pt x="3503" y="1670"/>
                  <a:pt x="3503" y="1669"/>
                </a:cubicBezTo>
                <a:cubicBezTo>
                  <a:pt x="3504" y="1668"/>
                  <a:pt x="3504" y="1668"/>
                  <a:pt x="3504" y="1667"/>
                </a:cubicBezTo>
                <a:cubicBezTo>
                  <a:pt x="3504" y="1666"/>
                  <a:pt x="3504" y="1666"/>
                  <a:pt x="3504" y="1665"/>
                </a:cubicBezTo>
                <a:cubicBezTo>
                  <a:pt x="3505" y="1664"/>
                  <a:pt x="3505" y="1663"/>
                  <a:pt x="3505" y="1662"/>
                </a:cubicBezTo>
                <a:cubicBezTo>
                  <a:pt x="3505" y="1662"/>
                  <a:pt x="3505" y="1662"/>
                  <a:pt x="3505" y="1661"/>
                </a:cubicBezTo>
                <a:cubicBezTo>
                  <a:pt x="3505" y="1660"/>
                  <a:pt x="3505" y="1659"/>
                  <a:pt x="3505" y="1657"/>
                </a:cubicBezTo>
                <a:cubicBezTo>
                  <a:pt x="3505" y="1655"/>
                  <a:pt x="3506" y="1653"/>
                  <a:pt x="3507" y="1651"/>
                </a:cubicBezTo>
                <a:cubicBezTo>
                  <a:pt x="3507" y="1650"/>
                  <a:pt x="3508" y="1649"/>
                  <a:pt x="3508" y="1648"/>
                </a:cubicBezTo>
                <a:cubicBezTo>
                  <a:pt x="3508" y="1646"/>
                  <a:pt x="3509" y="1645"/>
                  <a:pt x="3509" y="1643"/>
                </a:cubicBezTo>
                <a:cubicBezTo>
                  <a:pt x="3509" y="1642"/>
                  <a:pt x="3509" y="1642"/>
                  <a:pt x="3509" y="1641"/>
                </a:cubicBezTo>
                <a:cubicBezTo>
                  <a:pt x="3509" y="1639"/>
                  <a:pt x="3510" y="1638"/>
                  <a:pt x="3510" y="1637"/>
                </a:cubicBezTo>
                <a:cubicBezTo>
                  <a:pt x="3511" y="1636"/>
                  <a:pt x="3511" y="1635"/>
                  <a:pt x="3511" y="1635"/>
                </a:cubicBezTo>
                <a:cubicBezTo>
                  <a:pt x="3512" y="1634"/>
                  <a:pt x="3512" y="1634"/>
                  <a:pt x="3511" y="1633"/>
                </a:cubicBezTo>
                <a:cubicBezTo>
                  <a:pt x="3511" y="1632"/>
                  <a:pt x="3511" y="1632"/>
                  <a:pt x="3511" y="1631"/>
                </a:cubicBezTo>
                <a:close/>
                <a:moveTo>
                  <a:pt x="3413" y="1784"/>
                </a:moveTo>
                <a:cubicBezTo>
                  <a:pt x="3413" y="1784"/>
                  <a:pt x="3413" y="1784"/>
                  <a:pt x="3413" y="1784"/>
                </a:cubicBezTo>
                <a:cubicBezTo>
                  <a:pt x="3412" y="1784"/>
                  <a:pt x="3412" y="1785"/>
                  <a:pt x="3412" y="1785"/>
                </a:cubicBezTo>
                <a:cubicBezTo>
                  <a:pt x="3413" y="1785"/>
                  <a:pt x="3413" y="1785"/>
                  <a:pt x="3413" y="1784"/>
                </a:cubicBezTo>
                <a:close/>
                <a:moveTo>
                  <a:pt x="3453" y="1784"/>
                </a:moveTo>
                <a:cubicBezTo>
                  <a:pt x="3453" y="1784"/>
                  <a:pt x="3452" y="1784"/>
                  <a:pt x="3452" y="1784"/>
                </a:cubicBezTo>
                <a:cubicBezTo>
                  <a:pt x="3451" y="1783"/>
                  <a:pt x="3452" y="1783"/>
                  <a:pt x="3451" y="1783"/>
                </a:cubicBezTo>
                <a:cubicBezTo>
                  <a:pt x="3451" y="1783"/>
                  <a:pt x="3450" y="1783"/>
                  <a:pt x="3450" y="1783"/>
                </a:cubicBezTo>
                <a:cubicBezTo>
                  <a:pt x="3449" y="1783"/>
                  <a:pt x="3449" y="1783"/>
                  <a:pt x="3448" y="1783"/>
                </a:cubicBezTo>
                <a:cubicBezTo>
                  <a:pt x="3448" y="1783"/>
                  <a:pt x="3447" y="1784"/>
                  <a:pt x="3448" y="1784"/>
                </a:cubicBezTo>
                <a:cubicBezTo>
                  <a:pt x="3448" y="1784"/>
                  <a:pt x="3449" y="1784"/>
                  <a:pt x="3449" y="1784"/>
                </a:cubicBezTo>
                <a:cubicBezTo>
                  <a:pt x="3449" y="1785"/>
                  <a:pt x="3449" y="1785"/>
                  <a:pt x="3450" y="1785"/>
                </a:cubicBezTo>
                <a:cubicBezTo>
                  <a:pt x="3450" y="1786"/>
                  <a:pt x="3450" y="1785"/>
                  <a:pt x="3451" y="1785"/>
                </a:cubicBezTo>
                <a:cubicBezTo>
                  <a:pt x="3451" y="1785"/>
                  <a:pt x="3452" y="1786"/>
                  <a:pt x="3452" y="1785"/>
                </a:cubicBezTo>
                <a:cubicBezTo>
                  <a:pt x="3452" y="1785"/>
                  <a:pt x="3453" y="1785"/>
                  <a:pt x="3453" y="1785"/>
                </a:cubicBezTo>
                <a:cubicBezTo>
                  <a:pt x="3453" y="1784"/>
                  <a:pt x="3454" y="1784"/>
                  <a:pt x="3453" y="1784"/>
                </a:cubicBezTo>
                <a:close/>
                <a:moveTo>
                  <a:pt x="3450" y="1787"/>
                </a:moveTo>
                <a:cubicBezTo>
                  <a:pt x="3450" y="1787"/>
                  <a:pt x="3450" y="1786"/>
                  <a:pt x="3450" y="1786"/>
                </a:cubicBezTo>
                <a:cubicBezTo>
                  <a:pt x="3450" y="1786"/>
                  <a:pt x="3448" y="1786"/>
                  <a:pt x="3448" y="1786"/>
                </a:cubicBezTo>
                <a:cubicBezTo>
                  <a:pt x="3448" y="1787"/>
                  <a:pt x="3449" y="1786"/>
                  <a:pt x="3449" y="1787"/>
                </a:cubicBezTo>
                <a:cubicBezTo>
                  <a:pt x="3449" y="1787"/>
                  <a:pt x="3449" y="1787"/>
                  <a:pt x="3450" y="1787"/>
                </a:cubicBezTo>
                <a:close/>
                <a:moveTo>
                  <a:pt x="3479" y="1328"/>
                </a:moveTo>
                <a:cubicBezTo>
                  <a:pt x="3479" y="1329"/>
                  <a:pt x="3480" y="1329"/>
                  <a:pt x="3480" y="1329"/>
                </a:cubicBezTo>
                <a:cubicBezTo>
                  <a:pt x="3482" y="1329"/>
                  <a:pt x="3484" y="1331"/>
                  <a:pt x="3485" y="1332"/>
                </a:cubicBezTo>
                <a:cubicBezTo>
                  <a:pt x="3487" y="1332"/>
                  <a:pt x="3488" y="1333"/>
                  <a:pt x="3489" y="1334"/>
                </a:cubicBezTo>
                <a:cubicBezTo>
                  <a:pt x="3490" y="1334"/>
                  <a:pt x="3491" y="1335"/>
                  <a:pt x="3491" y="1335"/>
                </a:cubicBezTo>
                <a:cubicBezTo>
                  <a:pt x="3492" y="1335"/>
                  <a:pt x="3493" y="1336"/>
                  <a:pt x="3493" y="1336"/>
                </a:cubicBezTo>
                <a:cubicBezTo>
                  <a:pt x="3494" y="1337"/>
                  <a:pt x="3494" y="1337"/>
                  <a:pt x="3495" y="1337"/>
                </a:cubicBezTo>
                <a:cubicBezTo>
                  <a:pt x="3496" y="1338"/>
                  <a:pt x="3496" y="1338"/>
                  <a:pt x="3497" y="1339"/>
                </a:cubicBezTo>
                <a:cubicBezTo>
                  <a:pt x="3498" y="1340"/>
                  <a:pt x="3499" y="1341"/>
                  <a:pt x="3500" y="1343"/>
                </a:cubicBezTo>
                <a:cubicBezTo>
                  <a:pt x="3501" y="1343"/>
                  <a:pt x="3501" y="1344"/>
                  <a:pt x="3501" y="1345"/>
                </a:cubicBezTo>
                <a:cubicBezTo>
                  <a:pt x="3501" y="1346"/>
                  <a:pt x="3501" y="1347"/>
                  <a:pt x="3501" y="1348"/>
                </a:cubicBezTo>
                <a:cubicBezTo>
                  <a:pt x="3501" y="1349"/>
                  <a:pt x="3502" y="1349"/>
                  <a:pt x="3502" y="1350"/>
                </a:cubicBezTo>
                <a:cubicBezTo>
                  <a:pt x="3503" y="1351"/>
                  <a:pt x="3503" y="1352"/>
                  <a:pt x="3504" y="1352"/>
                </a:cubicBezTo>
                <a:cubicBezTo>
                  <a:pt x="3505" y="1352"/>
                  <a:pt x="3504" y="1350"/>
                  <a:pt x="3505" y="1350"/>
                </a:cubicBezTo>
                <a:cubicBezTo>
                  <a:pt x="3505" y="1349"/>
                  <a:pt x="3506" y="1349"/>
                  <a:pt x="3506" y="1347"/>
                </a:cubicBezTo>
                <a:cubicBezTo>
                  <a:pt x="3506" y="1347"/>
                  <a:pt x="3506" y="1346"/>
                  <a:pt x="3506" y="1345"/>
                </a:cubicBezTo>
                <a:cubicBezTo>
                  <a:pt x="3505" y="1345"/>
                  <a:pt x="3505" y="1344"/>
                  <a:pt x="3504" y="1344"/>
                </a:cubicBezTo>
                <a:cubicBezTo>
                  <a:pt x="3504" y="1344"/>
                  <a:pt x="3504" y="1343"/>
                  <a:pt x="3504" y="1343"/>
                </a:cubicBezTo>
                <a:cubicBezTo>
                  <a:pt x="3504" y="1342"/>
                  <a:pt x="3503" y="1341"/>
                  <a:pt x="3503" y="1341"/>
                </a:cubicBezTo>
                <a:cubicBezTo>
                  <a:pt x="3502" y="1341"/>
                  <a:pt x="3501" y="1341"/>
                  <a:pt x="3500" y="1340"/>
                </a:cubicBezTo>
                <a:cubicBezTo>
                  <a:pt x="3500" y="1340"/>
                  <a:pt x="3499" y="1339"/>
                  <a:pt x="3499" y="1339"/>
                </a:cubicBezTo>
                <a:cubicBezTo>
                  <a:pt x="3498" y="1338"/>
                  <a:pt x="3498" y="1337"/>
                  <a:pt x="3497" y="1337"/>
                </a:cubicBezTo>
                <a:cubicBezTo>
                  <a:pt x="3496" y="1336"/>
                  <a:pt x="3495" y="1335"/>
                  <a:pt x="3494" y="1334"/>
                </a:cubicBezTo>
                <a:cubicBezTo>
                  <a:pt x="3493" y="1333"/>
                  <a:pt x="3492" y="1333"/>
                  <a:pt x="3491" y="1333"/>
                </a:cubicBezTo>
                <a:cubicBezTo>
                  <a:pt x="3491" y="1332"/>
                  <a:pt x="3490" y="1332"/>
                  <a:pt x="3489" y="1332"/>
                </a:cubicBezTo>
                <a:cubicBezTo>
                  <a:pt x="3489" y="1331"/>
                  <a:pt x="3489" y="1331"/>
                  <a:pt x="3488" y="1330"/>
                </a:cubicBezTo>
                <a:cubicBezTo>
                  <a:pt x="3488" y="1330"/>
                  <a:pt x="3487" y="1330"/>
                  <a:pt x="3486" y="1330"/>
                </a:cubicBezTo>
                <a:cubicBezTo>
                  <a:pt x="3485" y="1330"/>
                  <a:pt x="3485" y="1329"/>
                  <a:pt x="3484" y="1329"/>
                </a:cubicBezTo>
                <a:cubicBezTo>
                  <a:pt x="3484" y="1329"/>
                  <a:pt x="3483" y="1328"/>
                  <a:pt x="3483" y="1328"/>
                </a:cubicBezTo>
                <a:cubicBezTo>
                  <a:pt x="3482" y="1328"/>
                  <a:pt x="3481" y="1327"/>
                  <a:pt x="3481" y="1327"/>
                </a:cubicBezTo>
                <a:cubicBezTo>
                  <a:pt x="3481" y="1327"/>
                  <a:pt x="3480" y="1326"/>
                  <a:pt x="3480" y="1326"/>
                </a:cubicBezTo>
                <a:cubicBezTo>
                  <a:pt x="3479" y="1327"/>
                  <a:pt x="3480" y="1327"/>
                  <a:pt x="3480" y="1327"/>
                </a:cubicBezTo>
                <a:cubicBezTo>
                  <a:pt x="3480" y="1327"/>
                  <a:pt x="3480" y="1328"/>
                  <a:pt x="3480" y="1328"/>
                </a:cubicBezTo>
                <a:cubicBezTo>
                  <a:pt x="3480" y="1328"/>
                  <a:pt x="3479" y="1328"/>
                  <a:pt x="3479" y="1328"/>
                </a:cubicBezTo>
                <a:close/>
                <a:moveTo>
                  <a:pt x="3447" y="1781"/>
                </a:moveTo>
                <a:cubicBezTo>
                  <a:pt x="3447" y="1781"/>
                  <a:pt x="3447" y="1782"/>
                  <a:pt x="3448" y="1782"/>
                </a:cubicBezTo>
                <a:cubicBezTo>
                  <a:pt x="3448" y="1782"/>
                  <a:pt x="3448" y="1783"/>
                  <a:pt x="3448" y="1783"/>
                </a:cubicBezTo>
                <a:cubicBezTo>
                  <a:pt x="3449" y="1783"/>
                  <a:pt x="3450" y="1782"/>
                  <a:pt x="3450" y="1782"/>
                </a:cubicBezTo>
                <a:cubicBezTo>
                  <a:pt x="3451" y="1781"/>
                  <a:pt x="3450" y="1782"/>
                  <a:pt x="3451" y="1782"/>
                </a:cubicBezTo>
                <a:cubicBezTo>
                  <a:pt x="3451" y="1782"/>
                  <a:pt x="3451" y="1782"/>
                  <a:pt x="3452" y="1781"/>
                </a:cubicBezTo>
                <a:cubicBezTo>
                  <a:pt x="3452" y="1781"/>
                  <a:pt x="3452" y="1780"/>
                  <a:pt x="3452" y="1779"/>
                </a:cubicBezTo>
                <a:cubicBezTo>
                  <a:pt x="3451" y="1779"/>
                  <a:pt x="3451" y="1779"/>
                  <a:pt x="3450" y="1779"/>
                </a:cubicBezTo>
                <a:cubicBezTo>
                  <a:pt x="3450" y="1778"/>
                  <a:pt x="3450" y="1778"/>
                  <a:pt x="3449" y="1777"/>
                </a:cubicBezTo>
                <a:cubicBezTo>
                  <a:pt x="3449" y="1777"/>
                  <a:pt x="3449" y="1776"/>
                  <a:pt x="3448" y="1776"/>
                </a:cubicBezTo>
                <a:cubicBezTo>
                  <a:pt x="3448" y="1775"/>
                  <a:pt x="3447" y="1775"/>
                  <a:pt x="3447" y="1775"/>
                </a:cubicBezTo>
                <a:cubicBezTo>
                  <a:pt x="3446" y="1775"/>
                  <a:pt x="3446" y="1776"/>
                  <a:pt x="3446" y="1776"/>
                </a:cubicBezTo>
                <a:cubicBezTo>
                  <a:pt x="3445" y="1777"/>
                  <a:pt x="3445" y="1777"/>
                  <a:pt x="3445" y="1777"/>
                </a:cubicBezTo>
                <a:cubicBezTo>
                  <a:pt x="3444" y="1778"/>
                  <a:pt x="3445" y="1778"/>
                  <a:pt x="3446" y="1779"/>
                </a:cubicBezTo>
                <a:cubicBezTo>
                  <a:pt x="3446" y="1780"/>
                  <a:pt x="3446" y="1781"/>
                  <a:pt x="3447" y="1781"/>
                </a:cubicBezTo>
                <a:close/>
                <a:moveTo>
                  <a:pt x="3059" y="1376"/>
                </a:moveTo>
                <a:cubicBezTo>
                  <a:pt x="3057" y="1376"/>
                  <a:pt x="3055" y="1375"/>
                  <a:pt x="3053" y="1375"/>
                </a:cubicBezTo>
                <a:cubicBezTo>
                  <a:pt x="3052" y="1375"/>
                  <a:pt x="3051" y="1375"/>
                  <a:pt x="3050" y="1375"/>
                </a:cubicBezTo>
                <a:cubicBezTo>
                  <a:pt x="3049" y="1375"/>
                  <a:pt x="3049" y="1375"/>
                  <a:pt x="3049" y="1375"/>
                </a:cubicBezTo>
                <a:cubicBezTo>
                  <a:pt x="3048" y="1375"/>
                  <a:pt x="3048" y="1376"/>
                  <a:pt x="3047" y="1376"/>
                </a:cubicBezTo>
                <a:cubicBezTo>
                  <a:pt x="3046" y="1377"/>
                  <a:pt x="3046" y="1377"/>
                  <a:pt x="3045" y="1377"/>
                </a:cubicBezTo>
                <a:cubicBezTo>
                  <a:pt x="3045" y="1379"/>
                  <a:pt x="3046" y="1378"/>
                  <a:pt x="3047" y="1378"/>
                </a:cubicBezTo>
                <a:cubicBezTo>
                  <a:pt x="3047" y="1378"/>
                  <a:pt x="3047" y="1379"/>
                  <a:pt x="3048" y="1379"/>
                </a:cubicBezTo>
                <a:cubicBezTo>
                  <a:pt x="3048" y="1379"/>
                  <a:pt x="3049" y="1379"/>
                  <a:pt x="3049" y="1379"/>
                </a:cubicBezTo>
                <a:cubicBezTo>
                  <a:pt x="3050" y="1379"/>
                  <a:pt x="3051" y="1379"/>
                  <a:pt x="3052" y="1379"/>
                </a:cubicBezTo>
                <a:cubicBezTo>
                  <a:pt x="3053" y="1379"/>
                  <a:pt x="3053" y="1379"/>
                  <a:pt x="3054" y="1379"/>
                </a:cubicBezTo>
                <a:cubicBezTo>
                  <a:pt x="3055" y="1379"/>
                  <a:pt x="3055" y="1379"/>
                  <a:pt x="3055" y="1378"/>
                </a:cubicBezTo>
                <a:cubicBezTo>
                  <a:pt x="3056" y="1378"/>
                  <a:pt x="3056" y="1378"/>
                  <a:pt x="3057" y="1378"/>
                </a:cubicBezTo>
                <a:cubicBezTo>
                  <a:pt x="3058" y="1378"/>
                  <a:pt x="3058" y="1377"/>
                  <a:pt x="3059" y="1377"/>
                </a:cubicBezTo>
                <a:cubicBezTo>
                  <a:pt x="3059" y="1377"/>
                  <a:pt x="3061" y="1377"/>
                  <a:pt x="3061" y="1376"/>
                </a:cubicBezTo>
                <a:cubicBezTo>
                  <a:pt x="3061" y="1375"/>
                  <a:pt x="3059" y="1376"/>
                  <a:pt x="3059" y="1376"/>
                </a:cubicBezTo>
                <a:close/>
                <a:moveTo>
                  <a:pt x="880" y="987"/>
                </a:moveTo>
                <a:cubicBezTo>
                  <a:pt x="880" y="986"/>
                  <a:pt x="880" y="986"/>
                  <a:pt x="879" y="986"/>
                </a:cubicBezTo>
                <a:cubicBezTo>
                  <a:pt x="879" y="986"/>
                  <a:pt x="879" y="986"/>
                  <a:pt x="878" y="986"/>
                </a:cubicBezTo>
                <a:cubicBezTo>
                  <a:pt x="878" y="985"/>
                  <a:pt x="878" y="985"/>
                  <a:pt x="878" y="985"/>
                </a:cubicBezTo>
                <a:cubicBezTo>
                  <a:pt x="878" y="984"/>
                  <a:pt x="878" y="985"/>
                  <a:pt x="877" y="984"/>
                </a:cubicBezTo>
                <a:cubicBezTo>
                  <a:pt x="877" y="984"/>
                  <a:pt x="877" y="983"/>
                  <a:pt x="876" y="983"/>
                </a:cubicBezTo>
                <a:cubicBezTo>
                  <a:pt x="875" y="982"/>
                  <a:pt x="874" y="982"/>
                  <a:pt x="874" y="982"/>
                </a:cubicBezTo>
                <a:cubicBezTo>
                  <a:pt x="873" y="982"/>
                  <a:pt x="871" y="982"/>
                  <a:pt x="871" y="983"/>
                </a:cubicBezTo>
                <a:cubicBezTo>
                  <a:pt x="872" y="983"/>
                  <a:pt x="873" y="983"/>
                  <a:pt x="873" y="983"/>
                </a:cubicBezTo>
                <a:cubicBezTo>
                  <a:pt x="874" y="983"/>
                  <a:pt x="874" y="983"/>
                  <a:pt x="874" y="983"/>
                </a:cubicBezTo>
                <a:cubicBezTo>
                  <a:pt x="875" y="983"/>
                  <a:pt x="875" y="983"/>
                  <a:pt x="875" y="983"/>
                </a:cubicBezTo>
                <a:cubicBezTo>
                  <a:pt x="876" y="983"/>
                  <a:pt x="876" y="983"/>
                  <a:pt x="876" y="984"/>
                </a:cubicBezTo>
                <a:cubicBezTo>
                  <a:pt x="876" y="984"/>
                  <a:pt x="876" y="984"/>
                  <a:pt x="876" y="985"/>
                </a:cubicBezTo>
                <a:cubicBezTo>
                  <a:pt x="877" y="985"/>
                  <a:pt x="878" y="985"/>
                  <a:pt x="878" y="986"/>
                </a:cubicBezTo>
                <a:cubicBezTo>
                  <a:pt x="878" y="986"/>
                  <a:pt x="878" y="986"/>
                  <a:pt x="878" y="987"/>
                </a:cubicBezTo>
                <a:cubicBezTo>
                  <a:pt x="878" y="987"/>
                  <a:pt x="878" y="987"/>
                  <a:pt x="879" y="987"/>
                </a:cubicBezTo>
                <a:cubicBezTo>
                  <a:pt x="880" y="987"/>
                  <a:pt x="878" y="987"/>
                  <a:pt x="878" y="988"/>
                </a:cubicBezTo>
                <a:cubicBezTo>
                  <a:pt x="879" y="988"/>
                  <a:pt x="879" y="988"/>
                  <a:pt x="879" y="988"/>
                </a:cubicBezTo>
                <a:cubicBezTo>
                  <a:pt x="880" y="988"/>
                  <a:pt x="879" y="988"/>
                  <a:pt x="879" y="988"/>
                </a:cubicBezTo>
                <a:cubicBezTo>
                  <a:pt x="879" y="989"/>
                  <a:pt x="878" y="989"/>
                  <a:pt x="878" y="990"/>
                </a:cubicBezTo>
                <a:cubicBezTo>
                  <a:pt x="878" y="990"/>
                  <a:pt x="880" y="989"/>
                  <a:pt x="879" y="990"/>
                </a:cubicBezTo>
                <a:cubicBezTo>
                  <a:pt x="878" y="990"/>
                  <a:pt x="879" y="991"/>
                  <a:pt x="879" y="992"/>
                </a:cubicBezTo>
                <a:cubicBezTo>
                  <a:pt x="879" y="993"/>
                  <a:pt x="878" y="993"/>
                  <a:pt x="877" y="993"/>
                </a:cubicBezTo>
                <a:cubicBezTo>
                  <a:pt x="877" y="993"/>
                  <a:pt x="877" y="993"/>
                  <a:pt x="877" y="994"/>
                </a:cubicBezTo>
                <a:cubicBezTo>
                  <a:pt x="877" y="994"/>
                  <a:pt x="878" y="994"/>
                  <a:pt x="878" y="994"/>
                </a:cubicBezTo>
                <a:cubicBezTo>
                  <a:pt x="878" y="994"/>
                  <a:pt x="879" y="996"/>
                  <a:pt x="879" y="995"/>
                </a:cubicBezTo>
                <a:cubicBezTo>
                  <a:pt x="880" y="995"/>
                  <a:pt x="879" y="995"/>
                  <a:pt x="879" y="994"/>
                </a:cubicBezTo>
                <a:cubicBezTo>
                  <a:pt x="879" y="994"/>
                  <a:pt x="879" y="993"/>
                  <a:pt x="879" y="992"/>
                </a:cubicBezTo>
                <a:cubicBezTo>
                  <a:pt x="879" y="992"/>
                  <a:pt x="880" y="991"/>
                  <a:pt x="880" y="990"/>
                </a:cubicBezTo>
                <a:cubicBezTo>
                  <a:pt x="881" y="990"/>
                  <a:pt x="881" y="990"/>
                  <a:pt x="881" y="990"/>
                </a:cubicBezTo>
                <a:cubicBezTo>
                  <a:pt x="881" y="990"/>
                  <a:pt x="882" y="990"/>
                  <a:pt x="882" y="989"/>
                </a:cubicBezTo>
                <a:cubicBezTo>
                  <a:pt x="882" y="989"/>
                  <a:pt x="881" y="989"/>
                  <a:pt x="881" y="989"/>
                </a:cubicBezTo>
                <a:cubicBezTo>
                  <a:pt x="881" y="989"/>
                  <a:pt x="881" y="988"/>
                  <a:pt x="881" y="988"/>
                </a:cubicBezTo>
                <a:cubicBezTo>
                  <a:pt x="881" y="988"/>
                  <a:pt x="881" y="987"/>
                  <a:pt x="881" y="987"/>
                </a:cubicBezTo>
                <a:cubicBezTo>
                  <a:pt x="881" y="987"/>
                  <a:pt x="881" y="987"/>
                  <a:pt x="880" y="987"/>
                </a:cubicBezTo>
                <a:close/>
                <a:moveTo>
                  <a:pt x="3126" y="1165"/>
                </a:moveTo>
                <a:cubicBezTo>
                  <a:pt x="3126" y="1165"/>
                  <a:pt x="3125" y="1165"/>
                  <a:pt x="3125" y="1165"/>
                </a:cubicBezTo>
                <a:cubicBezTo>
                  <a:pt x="3125" y="1165"/>
                  <a:pt x="3126" y="1166"/>
                  <a:pt x="3126" y="1166"/>
                </a:cubicBezTo>
                <a:cubicBezTo>
                  <a:pt x="3126" y="1166"/>
                  <a:pt x="3126" y="1166"/>
                  <a:pt x="3127" y="1166"/>
                </a:cubicBezTo>
                <a:cubicBezTo>
                  <a:pt x="3127" y="1166"/>
                  <a:pt x="3127" y="1166"/>
                  <a:pt x="3127" y="1166"/>
                </a:cubicBezTo>
                <a:cubicBezTo>
                  <a:pt x="3127" y="1166"/>
                  <a:pt x="3127" y="1165"/>
                  <a:pt x="3127" y="1165"/>
                </a:cubicBezTo>
                <a:cubicBezTo>
                  <a:pt x="3127" y="1165"/>
                  <a:pt x="3127" y="1164"/>
                  <a:pt x="3126" y="1165"/>
                </a:cubicBezTo>
                <a:cubicBezTo>
                  <a:pt x="3127" y="1165"/>
                  <a:pt x="3127" y="1165"/>
                  <a:pt x="3127" y="1165"/>
                </a:cubicBezTo>
                <a:cubicBezTo>
                  <a:pt x="3127" y="1165"/>
                  <a:pt x="3127" y="1165"/>
                  <a:pt x="3127" y="1165"/>
                </a:cubicBezTo>
                <a:cubicBezTo>
                  <a:pt x="3126" y="1165"/>
                  <a:pt x="3126" y="1165"/>
                  <a:pt x="3126" y="1165"/>
                </a:cubicBezTo>
                <a:cubicBezTo>
                  <a:pt x="3126" y="1165"/>
                  <a:pt x="3126" y="1165"/>
                  <a:pt x="3126" y="1165"/>
                </a:cubicBezTo>
                <a:close/>
                <a:moveTo>
                  <a:pt x="3125" y="1296"/>
                </a:moveTo>
                <a:cubicBezTo>
                  <a:pt x="3124" y="1297"/>
                  <a:pt x="3124" y="1297"/>
                  <a:pt x="3124" y="1297"/>
                </a:cubicBezTo>
                <a:cubicBezTo>
                  <a:pt x="3124" y="1297"/>
                  <a:pt x="3125" y="1297"/>
                  <a:pt x="3125" y="1298"/>
                </a:cubicBezTo>
                <a:cubicBezTo>
                  <a:pt x="3125" y="1298"/>
                  <a:pt x="3125" y="1298"/>
                  <a:pt x="3126" y="1299"/>
                </a:cubicBezTo>
                <a:cubicBezTo>
                  <a:pt x="3126" y="1299"/>
                  <a:pt x="3126" y="1299"/>
                  <a:pt x="3126" y="1300"/>
                </a:cubicBezTo>
                <a:cubicBezTo>
                  <a:pt x="3126" y="1300"/>
                  <a:pt x="3126" y="1301"/>
                  <a:pt x="3126" y="1301"/>
                </a:cubicBezTo>
                <a:cubicBezTo>
                  <a:pt x="3126" y="1302"/>
                  <a:pt x="3127" y="1303"/>
                  <a:pt x="3126" y="1304"/>
                </a:cubicBezTo>
                <a:cubicBezTo>
                  <a:pt x="3126" y="1304"/>
                  <a:pt x="3126" y="1304"/>
                  <a:pt x="3126" y="1305"/>
                </a:cubicBezTo>
                <a:cubicBezTo>
                  <a:pt x="3126" y="1305"/>
                  <a:pt x="3126" y="1305"/>
                  <a:pt x="3126" y="1305"/>
                </a:cubicBezTo>
                <a:cubicBezTo>
                  <a:pt x="3126" y="1306"/>
                  <a:pt x="3126" y="1305"/>
                  <a:pt x="3126" y="1305"/>
                </a:cubicBezTo>
                <a:cubicBezTo>
                  <a:pt x="3125" y="1305"/>
                  <a:pt x="3125" y="1304"/>
                  <a:pt x="3125" y="1304"/>
                </a:cubicBezTo>
                <a:cubicBezTo>
                  <a:pt x="3124" y="1304"/>
                  <a:pt x="3124" y="1305"/>
                  <a:pt x="3124" y="1305"/>
                </a:cubicBezTo>
                <a:cubicBezTo>
                  <a:pt x="3124" y="1306"/>
                  <a:pt x="3123" y="1307"/>
                  <a:pt x="3122" y="1308"/>
                </a:cubicBezTo>
                <a:cubicBezTo>
                  <a:pt x="3122" y="1308"/>
                  <a:pt x="3122" y="1310"/>
                  <a:pt x="3121" y="1310"/>
                </a:cubicBezTo>
                <a:cubicBezTo>
                  <a:pt x="3121" y="1311"/>
                  <a:pt x="3120" y="1311"/>
                  <a:pt x="3120" y="1312"/>
                </a:cubicBezTo>
                <a:cubicBezTo>
                  <a:pt x="3120" y="1313"/>
                  <a:pt x="3120" y="1313"/>
                  <a:pt x="3120" y="1314"/>
                </a:cubicBezTo>
                <a:cubicBezTo>
                  <a:pt x="3120" y="1314"/>
                  <a:pt x="3120" y="1315"/>
                  <a:pt x="3120" y="1315"/>
                </a:cubicBezTo>
                <a:cubicBezTo>
                  <a:pt x="3120" y="1315"/>
                  <a:pt x="3121" y="1315"/>
                  <a:pt x="3121" y="1316"/>
                </a:cubicBezTo>
                <a:cubicBezTo>
                  <a:pt x="3121" y="1317"/>
                  <a:pt x="3120" y="1317"/>
                  <a:pt x="3120" y="1318"/>
                </a:cubicBezTo>
                <a:cubicBezTo>
                  <a:pt x="3120" y="1318"/>
                  <a:pt x="3120" y="1319"/>
                  <a:pt x="3119" y="1320"/>
                </a:cubicBezTo>
                <a:cubicBezTo>
                  <a:pt x="3119" y="1320"/>
                  <a:pt x="3119" y="1321"/>
                  <a:pt x="3119" y="1321"/>
                </a:cubicBezTo>
                <a:cubicBezTo>
                  <a:pt x="3118" y="1322"/>
                  <a:pt x="3117" y="1323"/>
                  <a:pt x="3117" y="1324"/>
                </a:cubicBezTo>
                <a:cubicBezTo>
                  <a:pt x="3117" y="1325"/>
                  <a:pt x="3116" y="1326"/>
                  <a:pt x="3116" y="1327"/>
                </a:cubicBezTo>
                <a:cubicBezTo>
                  <a:pt x="3115" y="1327"/>
                  <a:pt x="3114" y="1327"/>
                  <a:pt x="3114" y="1328"/>
                </a:cubicBezTo>
                <a:cubicBezTo>
                  <a:pt x="3115" y="1329"/>
                  <a:pt x="3115" y="1329"/>
                  <a:pt x="3115" y="1329"/>
                </a:cubicBezTo>
                <a:cubicBezTo>
                  <a:pt x="3115" y="1330"/>
                  <a:pt x="3115" y="1330"/>
                  <a:pt x="3115" y="1331"/>
                </a:cubicBezTo>
                <a:cubicBezTo>
                  <a:pt x="3115" y="1331"/>
                  <a:pt x="3115" y="1331"/>
                  <a:pt x="3115" y="1332"/>
                </a:cubicBezTo>
                <a:cubicBezTo>
                  <a:pt x="3114" y="1332"/>
                  <a:pt x="3115" y="1332"/>
                  <a:pt x="3115" y="1333"/>
                </a:cubicBezTo>
                <a:cubicBezTo>
                  <a:pt x="3115" y="1334"/>
                  <a:pt x="3115" y="1334"/>
                  <a:pt x="3116" y="1335"/>
                </a:cubicBezTo>
                <a:cubicBezTo>
                  <a:pt x="3116" y="1336"/>
                  <a:pt x="3116" y="1337"/>
                  <a:pt x="3117" y="1337"/>
                </a:cubicBezTo>
                <a:cubicBezTo>
                  <a:pt x="3119" y="1337"/>
                  <a:pt x="3121" y="1336"/>
                  <a:pt x="3122" y="1338"/>
                </a:cubicBezTo>
                <a:cubicBezTo>
                  <a:pt x="3122" y="1338"/>
                  <a:pt x="3122" y="1339"/>
                  <a:pt x="3123" y="1340"/>
                </a:cubicBezTo>
                <a:cubicBezTo>
                  <a:pt x="3123" y="1341"/>
                  <a:pt x="3124" y="1342"/>
                  <a:pt x="3124" y="1343"/>
                </a:cubicBezTo>
                <a:cubicBezTo>
                  <a:pt x="3124" y="1344"/>
                  <a:pt x="3124" y="1345"/>
                  <a:pt x="3124" y="1346"/>
                </a:cubicBezTo>
                <a:cubicBezTo>
                  <a:pt x="3124" y="1347"/>
                  <a:pt x="3124" y="1349"/>
                  <a:pt x="3123" y="1350"/>
                </a:cubicBezTo>
                <a:cubicBezTo>
                  <a:pt x="3123" y="1351"/>
                  <a:pt x="3123" y="1352"/>
                  <a:pt x="3123" y="1353"/>
                </a:cubicBezTo>
                <a:cubicBezTo>
                  <a:pt x="3123" y="1354"/>
                  <a:pt x="3122" y="1355"/>
                  <a:pt x="3122" y="1356"/>
                </a:cubicBezTo>
                <a:cubicBezTo>
                  <a:pt x="3121" y="1356"/>
                  <a:pt x="3121" y="1357"/>
                  <a:pt x="3121" y="1358"/>
                </a:cubicBezTo>
                <a:cubicBezTo>
                  <a:pt x="3121" y="1359"/>
                  <a:pt x="3121" y="1360"/>
                  <a:pt x="3121" y="1361"/>
                </a:cubicBezTo>
                <a:cubicBezTo>
                  <a:pt x="3122" y="1361"/>
                  <a:pt x="3123" y="1360"/>
                  <a:pt x="3123" y="1361"/>
                </a:cubicBezTo>
                <a:cubicBezTo>
                  <a:pt x="3123" y="1361"/>
                  <a:pt x="3123" y="1361"/>
                  <a:pt x="3124" y="1361"/>
                </a:cubicBezTo>
                <a:cubicBezTo>
                  <a:pt x="3124" y="1362"/>
                  <a:pt x="3124" y="1362"/>
                  <a:pt x="3125" y="1362"/>
                </a:cubicBezTo>
                <a:cubicBezTo>
                  <a:pt x="3125" y="1362"/>
                  <a:pt x="3126" y="1361"/>
                  <a:pt x="3126" y="1361"/>
                </a:cubicBezTo>
                <a:cubicBezTo>
                  <a:pt x="3126" y="1361"/>
                  <a:pt x="3127" y="1361"/>
                  <a:pt x="3127" y="1361"/>
                </a:cubicBezTo>
                <a:cubicBezTo>
                  <a:pt x="3128" y="1361"/>
                  <a:pt x="3128" y="1361"/>
                  <a:pt x="3128" y="1361"/>
                </a:cubicBezTo>
                <a:cubicBezTo>
                  <a:pt x="3129" y="1361"/>
                  <a:pt x="3129" y="1361"/>
                  <a:pt x="3130" y="1361"/>
                </a:cubicBezTo>
                <a:cubicBezTo>
                  <a:pt x="3130" y="1361"/>
                  <a:pt x="3130" y="1360"/>
                  <a:pt x="3131" y="1360"/>
                </a:cubicBezTo>
                <a:cubicBezTo>
                  <a:pt x="3131" y="1360"/>
                  <a:pt x="3132" y="1360"/>
                  <a:pt x="3133" y="1361"/>
                </a:cubicBezTo>
                <a:cubicBezTo>
                  <a:pt x="3133" y="1361"/>
                  <a:pt x="3133" y="1361"/>
                  <a:pt x="3133" y="1361"/>
                </a:cubicBezTo>
                <a:cubicBezTo>
                  <a:pt x="3134" y="1360"/>
                  <a:pt x="3133" y="1360"/>
                  <a:pt x="3133" y="1360"/>
                </a:cubicBezTo>
                <a:cubicBezTo>
                  <a:pt x="3133" y="1359"/>
                  <a:pt x="3133" y="1359"/>
                  <a:pt x="3133" y="1358"/>
                </a:cubicBezTo>
                <a:cubicBezTo>
                  <a:pt x="3132" y="1358"/>
                  <a:pt x="3132" y="1358"/>
                  <a:pt x="3132" y="1357"/>
                </a:cubicBezTo>
                <a:cubicBezTo>
                  <a:pt x="3131" y="1357"/>
                  <a:pt x="3131" y="1355"/>
                  <a:pt x="3132" y="1354"/>
                </a:cubicBezTo>
                <a:cubicBezTo>
                  <a:pt x="3132" y="1354"/>
                  <a:pt x="3133" y="1353"/>
                  <a:pt x="3133" y="1352"/>
                </a:cubicBezTo>
                <a:cubicBezTo>
                  <a:pt x="3133" y="1351"/>
                  <a:pt x="3133" y="1351"/>
                  <a:pt x="3133" y="1350"/>
                </a:cubicBezTo>
                <a:cubicBezTo>
                  <a:pt x="3134" y="1349"/>
                  <a:pt x="3134" y="1349"/>
                  <a:pt x="3133" y="1348"/>
                </a:cubicBezTo>
                <a:cubicBezTo>
                  <a:pt x="3133" y="1347"/>
                  <a:pt x="3133" y="1347"/>
                  <a:pt x="3133" y="1346"/>
                </a:cubicBezTo>
                <a:cubicBezTo>
                  <a:pt x="3132" y="1345"/>
                  <a:pt x="3133" y="1343"/>
                  <a:pt x="3133" y="1342"/>
                </a:cubicBezTo>
                <a:cubicBezTo>
                  <a:pt x="3133" y="1342"/>
                  <a:pt x="3133" y="1341"/>
                  <a:pt x="3133" y="1341"/>
                </a:cubicBezTo>
                <a:cubicBezTo>
                  <a:pt x="3133" y="1340"/>
                  <a:pt x="3133" y="1339"/>
                  <a:pt x="3133" y="1338"/>
                </a:cubicBezTo>
                <a:cubicBezTo>
                  <a:pt x="3134" y="1336"/>
                  <a:pt x="3133" y="1334"/>
                  <a:pt x="3132" y="1333"/>
                </a:cubicBezTo>
                <a:cubicBezTo>
                  <a:pt x="3132" y="1332"/>
                  <a:pt x="3131" y="1332"/>
                  <a:pt x="3131" y="1331"/>
                </a:cubicBezTo>
                <a:cubicBezTo>
                  <a:pt x="3131" y="1330"/>
                  <a:pt x="3132" y="1330"/>
                  <a:pt x="3133" y="1330"/>
                </a:cubicBezTo>
                <a:cubicBezTo>
                  <a:pt x="3134" y="1329"/>
                  <a:pt x="3134" y="1328"/>
                  <a:pt x="3135" y="1328"/>
                </a:cubicBezTo>
                <a:cubicBezTo>
                  <a:pt x="3135" y="1328"/>
                  <a:pt x="3135" y="1328"/>
                  <a:pt x="3136" y="1328"/>
                </a:cubicBezTo>
                <a:cubicBezTo>
                  <a:pt x="3136" y="1327"/>
                  <a:pt x="3136" y="1327"/>
                  <a:pt x="3137" y="1327"/>
                </a:cubicBezTo>
                <a:cubicBezTo>
                  <a:pt x="3137" y="1327"/>
                  <a:pt x="3139" y="1327"/>
                  <a:pt x="3139" y="1327"/>
                </a:cubicBezTo>
                <a:cubicBezTo>
                  <a:pt x="3140" y="1328"/>
                  <a:pt x="3140" y="1329"/>
                  <a:pt x="3140" y="1329"/>
                </a:cubicBezTo>
                <a:cubicBezTo>
                  <a:pt x="3140" y="1330"/>
                  <a:pt x="3141" y="1331"/>
                  <a:pt x="3140" y="1332"/>
                </a:cubicBezTo>
                <a:cubicBezTo>
                  <a:pt x="3140" y="1334"/>
                  <a:pt x="3139" y="1334"/>
                  <a:pt x="3139" y="1335"/>
                </a:cubicBezTo>
                <a:cubicBezTo>
                  <a:pt x="3139" y="1336"/>
                  <a:pt x="3138" y="1336"/>
                  <a:pt x="3138" y="1336"/>
                </a:cubicBezTo>
                <a:cubicBezTo>
                  <a:pt x="3138" y="1336"/>
                  <a:pt x="3138" y="1337"/>
                  <a:pt x="3138" y="1337"/>
                </a:cubicBezTo>
                <a:cubicBezTo>
                  <a:pt x="3139" y="1337"/>
                  <a:pt x="3139" y="1337"/>
                  <a:pt x="3139" y="1338"/>
                </a:cubicBezTo>
                <a:cubicBezTo>
                  <a:pt x="3139" y="1338"/>
                  <a:pt x="3140" y="1339"/>
                  <a:pt x="3140" y="1340"/>
                </a:cubicBezTo>
                <a:cubicBezTo>
                  <a:pt x="3141" y="1340"/>
                  <a:pt x="3141" y="1340"/>
                  <a:pt x="3141" y="1340"/>
                </a:cubicBezTo>
                <a:cubicBezTo>
                  <a:pt x="3142" y="1340"/>
                  <a:pt x="3142" y="1340"/>
                  <a:pt x="3143" y="1341"/>
                </a:cubicBezTo>
                <a:cubicBezTo>
                  <a:pt x="3143" y="1341"/>
                  <a:pt x="3143" y="1342"/>
                  <a:pt x="3144" y="1342"/>
                </a:cubicBezTo>
                <a:cubicBezTo>
                  <a:pt x="3145" y="1343"/>
                  <a:pt x="3145" y="1343"/>
                  <a:pt x="3146" y="1343"/>
                </a:cubicBezTo>
                <a:cubicBezTo>
                  <a:pt x="3147" y="1344"/>
                  <a:pt x="3146" y="1345"/>
                  <a:pt x="3146" y="1346"/>
                </a:cubicBezTo>
                <a:cubicBezTo>
                  <a:pt x="3146" y="1347"/>
                  <a:pt x="3146" y="1347"/>
                  <a:pt x="3146" y="1347"/>
                </a:cubicBezTo>
                <a:cubicBezTo>
                  <a:pt x="3145" y="1347"/>
                  <a:pt x="3145" y="1348"/>
                  <a:pt x="3145" y="1348"/>
                </a:cubicBezTo>
                <a:cubicBezTo>
                  <a:pt x="3145" y="1348"/>
                  <a:pt x="3145" y="1349"/>
                  <a:pt x="3145" y="1349"/>
                </a:cubicBezTo>
                <a:cubicBezTo>
                  <a:pt x="3146" y="1350"/>
                  <a:pt x="3146" y="1350"/>
                  <a:pt x="3146" y="1351"/>
                </a:cubicBezTo>
                <a:cubicBezTo>
                  <a:pt x="3147" y="1351"/>
                  <a:pt x="3147" y="1351"/>
                  <a:pt x="3147" y="1351"/>
                </a:cubicBezTo>
                <a:cubicBezTo>
                  <a:pt x="3148" y="1352"/>
                  <a:pt x="3148" y="1352"/>
                  <a:pt x="3149" y="1352"/>
                </a:cubicBezTo>
                <a:cubicBezTo>
                  <a:pt x="3150" y="1352"/>
                  <a:pt x="3150" y="1353"/>
                  <a:pt x="3150" y="1353"/>
                </a:cubicBezTo>
                <a:cubicBezTo>
                  <a:pt x="3151" y="1353"/>
                  <a:pt x="3151" y="1353"/>
                  <a:pt x="3152" y="1352"/>
                </a:cubicBezTo>
                <a:cubicBezTo>
                  <a:pt x="3152" y="1352"/>
                  <a:pt x="3152" y="1351"/>
                  <a:pt x="3153" y="1350"/>
                </a:cubicBezTo>
                <a:cubicBezTo>
                  <a:pt x="3153" y="1350"/>
                  <a:pt x="3153" y="1349"/>
                  <a:pt x="3154" y="1348"/>
                </a:cubicBezTo>
                <a:cubicBezTo>
                  <a:pt x="3154" y="1348"/>
                  <a:pt x="3155" y="1348"/>
                  <a:pt x="3156" y="1347"/>
                </a:cubicBezTo>
                <a:cubicBezTo>
                  <a:pt x="3156" y="1347"/>
                  <a:pt x="3157" y="1347"/>
                  <a:pt x="3158" y="1348"/>
                </a:cubicBezTo>
                <a:cubicBezTo>
                  <a:pt x="3159" y="1348"/>
                  <a:pt x="3159" y="1348"/>
                  <a:pt x="3160" y="1348"/>
                </a:cubicBezTo>
                <a:cubicBezTo>
                  <a:pt x="3160" y="1347"/>
                  <a:pt x="3160" y="1347"/>
                  <a:pt x="3161" y="1347"/>
                </a:cubicBezTo>
                <a:cubicBezTo>
                  <a:pt x="3161" y="1347"/>
                  <a:pt x="3161" y="1346"/>
                  <a:pt x="3161" y="1346"/>
                </a:cubicBezTo>
                <a:cubicBezTo>
                  <a:pt x="3162" y="1346"/>
                  <a:pt x="3162" y="1344"/>
                  <a:pt x="3161" y="1344"/>
                </a:cubicBezTo>
                <a:cubicBezTo>
                  <a:pt x="3160" y="1344"/>
                  <a:pt x="3159" y="1344"/>
                  <a:pt x="3158" y="1344"/>
                </a:cubicBezTo>
                <a:cubicBezTo>
                  <a:pt x="3158" y="1343"/>
                  <a:pt x="3158" y="1343"/>
                  <a:pt x="3158" y="1343"/>
                </a:cubicBezTo>
                <a:cubicBezTo>
                  <a:pt x="3158" y="1342"/>
                  <a:pt x="3159" y="1342"/>
                  <a:pt x="3159" y="1342"/>
                </a:cubicBezTo>
                <a:cubicBezTo>
                  <a:pt x="3159" y="1341"/>
                  <a:pt x="3158" y="1341"/>
                  <a:pt x="3158" y="1341"/>
                </a:cubicBezTo>
                <a:cubicBezTo>
                  <a:pt x="3157" y="1341"/>
                  <a:pt x="3157" y="1340"/>
                  <a:pt x="3157" y="1340"/>
                </a:cubicBezTo>
                <a:cubicBezTo>
                  <a:pt x="3156" y="1340"/>
                  <a:pt x="3155" y="1339"/>
                  <a:pt x="3154" y="1339"/>
                </a:cubicBezTo>
                <a:cubicBezTo>
                  <a:pt x="3154" y="1339"/>
                  <a:pt x="3154" y="1339"/>
                  <a:pt x="3154" y="1338"/>
                </a:cubicBezTo>
                <a:cubicBezTo>
                  <a:pt x="3154" y="1338"/>
                  <a:pt x="3154" y="1338"/>
                  <a:pt x="3154" y="1337"/>
                </a:cubicBezTo>
                <a:cubicBezTo>
                  <a:pt x="3155" y="1337"/>
                  <a:pt x="3155" y="1337"/>
                  <a:pt x="3155" y="1336"/>
                </a:cubicBezTo>
                <a:cubicBezTo>
                  <a:pt x="3155" y="1335"/>
                  <a:pt x="3155" y="1335"/>
                  <a:pt x="3155" y="1334"/>
                </a:cubicBezTo>
                <a:cubicBezTo>
                  <a:pt x="3155" y="1334"/>
                  <a:pt x="3156" y="1334"/>
                  <a:pt x="3156" y="1334"/>
                </a:cubicBezTo>
                <a:cubicBezTo>
                  <a:pt x="3157" y="1333"/>
                  <a:pt x="3156" y="1333"/>
                  <a:pt x="3155" y="1332"/>
                </a:cubicBezTo>
                <a:cubicBezTo>
                  <a:pt x="3155" y="1332"/>
                  <a:pt x="3154" y="1332"/>
                  <a:pt x="3154" y="1331"/>
                </a:cubicBezTo>
                <a:cubicBezTo>
                  <a:pt x="3154" y="1330"/>
                  <a:pt x="3153" y="1330"/>
                  <a:pt x="3153" y="1329"/>
                </a:cubicBezTo>
                <a:cubicBezTo>
                  <a:pt x="3152" y="1328"/>
                  <a:pt x="3151" y="1328"/>
                  <a:pt x="3151" y="1328"/>
                </a:cubicBezTo>
                <a:cubicBezTo>
                  <a:pt x="3151" y="1327"/>
                  <a:pt x="3151" y="1326"/>
                  <a:pt x="3151" y="1325"/>
                </a:cubicBezTo>
                <a:cubicBezTo>
                  <a:pt x="3150" y="1324"/>
                  <a:pt x="3150" y="1324"/>
                  <a:pt x="3149" y="1323"/>
                </a:cubicBezTo>
                <a:cubicBezTo>
                  <a:pt x="3149" y="1323"/>
                  <a:pt x="3149" y="1322"/>
                  <a:pt x="3148" y="1322"/>
                </a:cubicBezTo>
                <a:cubicBezTo>
                  <a:pt x="3147" y="1321"/>
                  <a:pt x="3146" y="1322"/>
                  <a:pt x="3146" y="1321"/>
                </a:cubicBezTo>
                <a:cubicBezTo>
                  <a:pt x="3145" y="1321"/>
                  <a:pt x="3145" y="1320"/>
                  <a:pt x="3145" y="1319"/>
                </a:cubicBezTo>
                <a:cubicBezTo>
                  <a:pt x="3145" y="1319"/>
                  <a:pt x="3143" y="1319"/>
                  <a:pt x="3144" y="1318"/>
                </a:cubicBezTo>
                <a:cubicBezTo>
                  <a:pt x="3144" y="1318"/>
                  <a:pt x="3144" y="1319"/>
                  <a:pt x="3145" y="1319"/>
                </a:cubicBezTo>
                <a:cubicBezTo>
                  <a:pt x="3145" y="1319"/>
                  <a:pt x="3145" y="1319"/>
                  <a:pt x="3146" y="1319"/>
                </a:cubicBezTo>
                <a:cubicBezTo>
                  <a:pt x="3147" y="1319"/>
                  <a:pt x="3147" y="1319"/>
                  <a:pt x="3148" y="1318"/>
                </a:cubicBezTo>
                <a:cubicBezTo>
                  <a:pt x="3149" y="1318"/>
                  <a:pt x="3149" y="1317"/>
                  <a:pt x="3150" y="1317"/>
                </a:cubicBezTo>
                <a:cubicBezTo>
                  <a:pt x="3151" y="1316"/>
                  <a:pt x="3151" y="1316"/>
                  <a:pt x="3152" y="1315"/>
                </a:cubicBezTo>
                <a:cubicBezTo>
                  <a:pt x="3153" y="1315"/>
                  <a:pt x="3153" y="1314"/>
                  <a:pt x="3154" y="1314"/>
                </a:cubicBezTo>
                <a:cubicBezTo>
                  <a:pt x="3155" y="1314"/>
                  <a:pt x="3156" y="1313"/>
                  <a:pt x="3156" y="1312"/>
                </a:cubicBezTo>
                <a:cubicBezTo>
                  <a:pt x="3157" y="1312"/>
                  <a:pt x="3157" y="1312"/>
                  <a:pt x="3157" y="1311"/>
                </a:cubicBezTo>
                <a:cubicBezTo>
                  <a:pt x="3158" y="1311"/>
                  <a:pt x="3159" y="1310"/>
                  <a:pt x="3159" y="1309"/>
                </a:cubicBezTo>
                <a:cubicBezTo>
                  <a:pt x="3160" y="1308"/>
                  <a:pt x="3161" y="1307"/>
                  <a:pt x="3163" y="1307"/>
                </a:cubicBezTo>
                <a:cubicBezTo>
                  <a:pt x="3164" y="1307"/>
                  <a:pt x="3165" y="1307"/>
                  <a:pt x="3165" y="1307"/>
                </a:cubicBezTo>
                <a:cubicBezTo>
                  <a:pt x="3166" y="1308"/>
                  <a:pt x="3166" y="1309"/>
                  <a:pt x="3167" y="1309"/>
                </a:cubicBezTo>
                <a:cubicBezTo>
                  <a:pt x="3167" y="1309"/>
                  <a:pt x="3167" y="1308"/>
                  <a:pt x="3167" y="1308"/>
                </a:cubicBezTo>
                <a:cubicBezTo>
                  <a:pt x="3167" y="1307"/>
                  <a:pt x="3167" y="1307"/>
                  <a:pt x="3167" y="1307"/>
                </a:cubicBezTo>
                <a:cubicBezTo>
                  <a:pt x="3167" y="1306"/>
                  <a:pt x="3167" y="1305"/>
                  <a:pt x="3167" y="1305"/>
                </a:cubicBezTo>
                <a:cubicBezTo>
                  <a:pt x="3166" y="1304"/>
                  <a:pt x="3166" y="1303"/>
                  <a:pt x="3165" y="1303"/>
                </a:cubicBezTo>
                <a:cubicBezTo>
                  <a:pt x="3164" y="1303"/>
                  <a:pt x="3163" y="1303"/>
                  <a:pt x="3163" y="1304"/>
                </a:cubicBezTo>
                <a:cubicBezTo>
                  <a:pt x="3162" y="1304"/>
                  <a:pt x="3162" y="1305"/>
                  <a:pt x="3161" y="1305"/>
                </a:cubicBezTo>
                <a:cubicBezTo>
                  <a:pt x="3160" y="1306"/>
                  <a:pt x="3160" y="1306"/>
                  <a:pt x="3159" y="1305"/>
                </a:cubicBezTo>
                <a:cubicBezTo>
                  <a:pt x="3158" y="1305"/>
                  <a:pt x="3158" y="1305"/>
                  <a:pt x="3157" y="1305"/>
                </a:cubicBezTo>
                <a:cubicBezTo>
                  <a:pt x="3156" y="1305"/>
                  <a:pt x="3155" y="1305"/>
                  <a:pt x="3154" y="1305"/>
                </a:cubicBezTo>
                <a:cubicBezTo>
                  <a:pt x="3153" y="1305"/>
                  <a:pt x="3153" y="1306"/>
                  <a:pt x="3152" y="1306"/>
                </a:cubicBezTo>
                <a:cubicBezTo>
                  <a:pt x="3152" y="1306"/>
                  <a:pt x="3151" y="1306"/>
                  <a:pt x="3151" y="1307"/>
                </a:cubicBezTo>
                <a:cubicBezTo>
                  <a:pt x="3150" y="1307"/>
                  <a:pt x="3150" y="1307"/>
                  <a:pt x="3150" y="1307"/>
                </a:cubicBezTo>
                <a:cubicBezTo>
                  <a:pt x="3149" y="1308"/>
                  <a:pt x="3149" y="1307"/>
                  <a:pt x="3148" y="1307"/>
                </a:cubicBezTo>
                <a:cubicBezTo>
                  <a:pt x="3148" y="1307"/>
                  <a:pt x="3147" y="1307"/>
                  <a:pt x="3147" y="1306"/>
                </a:cubicBezTo>
                <a:cubicBezTo>
                  <a:pt x="3147" y="1306"/>
                  <a:pt x="3146" y="1306"/>
                  <a:pt x="3146" y="1306"/>
                </a:cubicBezTo>
                <a:cubicBezTo>
                  <a:pt x="3145" y="1307"/>
                  <a:pt x="3145" y="1308"/>
                  <a:pt x="3145" y="1308"/>
                </a:cubicBezTo>
                <a:cubicBezTo>
                  <a:pt x="3144" y="1309"/>
                  <a:pt x="3143" y="1309"/>
                  <a:pt x="3143" y="1310"/>
                </a:cubicBezTo>
                <a:cubicBezTo>
                  <a:pt x="3142" y="1311"/>
                  <a:pt x="3142" y="1313"/>
                  <a:pt x="3140" y="1313"/>
                </a:cubicBezTo>
                <a:cubicBezTo>
                  <a:pt x="3139" y="1313"/>
                  <a:pt x="3139" y="1312"/>
                  <a:pt x="3138" y="1312"/>
                </a:cubicBezTo>
                <a:cubicBezTo>
                  <a:pt x="3137" y="1312"/>
                  <a:pt x="3136" y="1313"/>
                  <a:pt x="3136" y="1312"/>
                </a:cubicBezTo>
                <a:cubicBezTo>
                  <a:pt x="3135" y="1311"/>
                  <a:pt x="3135" y="1310"/>
                  <a:pt x="3135" y="1309"/>
                </a:cubicBezTo>
                <a:cubicBezTo>
                  <a:pt x="3135" y="1309"/>
                  <a:pt x="3134" y="1309"/>
                  <a:pt x="3134" y="1309"/>
                </a:cubicBezTo>
                <a:cubicBezTo>
                  <a:pt x="3134" y="1308"/>
                  <a:pt x="3134" y="1308"/>
                  <a:pt x="3134" y="1308"/>
                </a:cubicBezTo>
                <a:cubicBezTo>
                  <a:pt x="3133" y="1307"/>
                  <a:pt x="3132" y="1307"/>
                  <a:pt x="3131" y="1307"/>
                </a:cubicBezTo>
                <a:cubicBezTo>
                  <a:pt x="3131" y="1307"/>
                  <a:pt x="3130" y="1307"/>
                  <a:pt x="3130" y="1306"/>
                </a:cubicBezTo>
                <a:cubicBezTo>
                  <a:pt x="3130" y="1305"/>
                  <a:pt x="3130" y="1304"/>
                  <a:pt x="3129" y="1304"/>
                </a:cubicBezTo>
                <a:cubicBezTo>
                  <a:pt x="3129" y="1303"/>
                  <a:pt x="3128" y="1302"/>
                  <a:pt x="3129" y="1301"/>
                </a:cubicBezTo>
                <a:cubicBezTo>
                  <a:pt x="3129" y="1299"/>
                  <a:pt x="3128" y="1298"/>
                  <a:pt x="3129" y="1296"/>
                </a:cubicBezTo>
                <a:cubicBezTo>
                  <a:pt x="3129" y="1295"/>
                  <a:pt x="3130" y="1295"/>
                  <a:pt x="3130" y="1294"/>
                </a:cubicBezTo>
                <a:cubicBezTo>
                  <a:pt x="3131" y="1293"/>
                  <a:pt x="3131" y="1292"/>
                  <a:pt x="3132" y="1292"/>
                </a:cubicBezTo>
                <a:cubicBezTo>
                  <a:pt x="3133" y="1291"/>
                  <a:pt x="3133" y="1291"/>
                  <a:pt x="3134" y="1291"/>
                </a:cubicBezTo>
                <a:cubicBezTo>
                  <a:pt x="3135" y="1291"/>
                  <a:pt x="3136" y="1291"/>
                  <a:pt x="3137" y="1291"/>
                </a:cubicBezTo>
                <a:cubicBezTo>
                  <a:pt x="3138" y="1291"/>
                  <a:pt x="3139" y="1291"/>
                  <a:pt x="3139" y="1291"/>
                </a:cubicBezTo>
                <a:cubicBezTo>
                  <a:pt x="3140" y="1292"/>
                  <a:pt x="3141" y="1292"/>
                  <a:pt x="3142" y="1292"/>
                </a:cubicBezTo>
                <a:cubicBezTo>
                  <a:pt x="3143" y="1292"/>
                  <a:pt x="3144" y="1292"/>
                  <a:pt x="3145" y="1292"/>
                </a:cubicBezTo>
                <a:cubicBezTo>
                  <a:pt x="3146" y="1292"/>
                  <a:pt x="3147" y="1292"/>
                  <a:pt x="3148" y="1292"/>
                </a:cubicBezTo>
                <a:cubicBezTo>
                  <a:pt x="3149" y="1292"/>
                  <a:pt x="3151" y="1291"/>
                  <a:pt x="3153" y="1291"/>
                </a:cubicBezTo>
                <a:cubicBezTo>
                  <a:pt x="3155" y="1291"/>
                  <a:pt x="3157" y="1291"/>
                  <a:pt x="3158" y="1291"/>
                </a:cubicBezTo>
                <a:cubicBezTo>
                  <a:pt x="3159" y="1291"/>
                  <a:pt x="3160" y="1291"/>
                  <a:pt x="3161" y="1291"/>
                </a:cubicBezTo>
                <a:cubicBezTo>
                  <a:pt x="3162" y="1292"/>
                  <a:pt x="3163" y="1292"/>
                  <a:pt x="3163" y="1292"/>
                </a:cubicBezTo>
                <a:cubicBezTo>
                  <a:pt x="3164" y="1292"/>
                  <a:pt x="3165" y="1292"/>
                  <a:pt x="3166" y="1293"/>
                </a:cubicBezTo>
                <a:cubicBezTo>
                  <a:pt x="3167" y="1293"/>
                  <a:pt x="3168" y="1294"/>
                  <a:pt x="3169" y="1294"/>
                </a:cubicBezTo>
                <a:cubicBezTo>
                  <a:pt x="3170" y="1294"/>
                  <a:pt x="3170" y="1294"/>
                  <a:pt x="3171" y="1294"/>
                </a:cubicBezTo>
                <a:cubicBezTo>
                  <a:pt x="3172" y="1294"/>
                  <a:pt x="3173" y="1293"/>
                  <a:pt x="3174" y="1293"/>
                </a:cubicBezTo>
                <a:cubicBezTo>
                  <a:pt x="3175" y="1293"/>
                  <a:pt x="3176" y="1293"/>
                  <a:pt x="3177" y="1292"/>
                </a:cubicBezTo>
                <a:cubicBezTo>
                  <a:pt x="3178" y="1292"/>
                  <a:pt x="3178" y="1292"/>
                  <a:pt x="3178" y="1291"/>
                </a:cubicBezTo>
                <a:cubicBezTo>
                  <a:pt x="3179" y="1291"/>
                  <a:pt x="3179" y="1290"/>
                  <a:pt x="3180" y="1289"/>
                </a:cubicBezTo>
                <a:cubicBezTo>
                  <a:pt x="3181" y="1288"/>
                  <a:pt x="3181" y="1288"/>
                  <a:pt x="3182" y="1287"/>
                </a:cubicBezTo>
                <a:cubicBezTo>
                  <a:pt x="3182" y="1287"/>
                  <a:pt x="3183" y="1287"/>
                  <a:pt x="3184" y="1286"/>
                </a:cubicBezTo>
                <a:cubicBezTo>
                  <a:pt x="3185" y="1286"/>
                  <a:pt x="3185" y="1285"/>
                  <a:pt x="3185" y="1284"/>
                </a:cubicBezTo>
                <a:cubicBezTo>
                  <a:pt x="3185" y="1283"/>
                  <a:pt x="3186" y="1283"/>
                  <a:pt x="3186" y="1282"/>
                </a:cubicBezTo>
                <a:cubicBezTo>
                  <a:pt x="3186" y="1280"/>
                  <a:pt x="3188" y="1279"/>
                  <a:pt x="3187" y="1277"/>
                </a:cubicBezTo>
                <a:cubicBezTo>
                  <a:pt x="3185" y="1275"/>
                  <a:pt x="3184" y="1278"/>
                  <a:pt x="3183" y="1279"/>
                </a:cubicBezTo>
                <a:cubicBezTo>
                  <a:pt x="3183" y="1280"/>
                  <a:pt x="3182" y="1280"/>
                  <a:pt x="3182" y="1281"/>
                </a:cubicBezTo>
                <a:cubicBezTo>
                  <a:pt x="3181" y="1281"/>
                  <a:pt x="3180" y="1281"/>
                  <a:pt x="3180" y="1281"/>
                </a:cubicBezTo>
                <a:cubicBezTo>
                  <a:pt x="3180" y="1282"/>
                  <a:pt x="3181" y="1282"/>
                  <a:pt x="3181" y="1282"/>
                </a:cubicBezTo>
                <a:cubicBezTo>
                  <a:pt x="3181" y="1283"/>
                  <a:pt x="3180" y="1283"/>
                  <a:pt x="3180" y="1283"/>
                </a:cubicBezTo>
                <a:cubicBezTo>
                  <a:pt x="3179" y="1284"/>
                  <a:pt x="3179" y="1285"/>
                  <a:pt x="3178" y="1285"/>
                </a:cubicBezTo>
                <a:cubicBezTo>
                  <a:pt x="3177" y="1285"/>
                  <a:pt x="3176" y="1285"/>
                  <a:pt x="3176" y="1286"/>
                </a:cubicBezTo>
                <a:cubicBezTo>
                  <a:pt x="3175" y="1286"/>
                  <a:pt x="3174" y="1287"/>
                  <a:pt x="3173" y="1287"/>
                </a:cubicBezTo>
                <a:cubicBezTo>
                  <a:pt x="3172" y="1287"/>
                  <a:pt x="3172" y="1287"/>
                  <a:pt x="3171" y="1287"/>
                </a:cubicBezTo>
                <a:cubicBezTo>
                  <a:pt x="3170" y="1287"/>
                  <a:pt x="3169" y="1287"/>
                  <a:pt x="3168" y="1287"/>
                </a:cubicBezTo>
                <a:cubicBezTo>
                  <a:pt x="3168" y="1286"/>
                  <a:pt x="3167" y="1287"/>
                  <a:pt x="3166" y="1286"/>
                </a:cubicBezTo>
                <a:cubicBezTo>
                  <a:pt x="3165" y="1286"/>
                  <a:pt x="3164" y="1286"/>
                  <a:pt x="3163" y="1286"/>
                </a:cubicBezTo>
                <a:cubicBezTo>
                  <a:pt x="3162" y="1287"/>
                  <a:pt x="3161" y="1287"/>
                  <a:pt x="3160" y="1287"/>
                </a:cubicBezTo>
                <a:cubicBezTo>
                  <a:pt x="3160" y="1287"/>
                  <a:pt x="3159" y="1287"/>
                  <a:pt x="3159" y="1287"/>
                </a:cubicBezTo>
                <a:cubicBezTo>
                  <a:pt x="3158" y="1287"/>
                  <a:pt x="3158" y="1287"/>
                  <a:pt x="3158" y="1287"/>
                </a:cubicBezTo>
                <a:cubicBezTo>
                  <a:pt x="3157" y="1286"/>
                  <a:pt x="3156" y="1286"/>
                  <a:pt x="3155" y="1286"/>
                </a:cubicBezTo>
                <a:cubicBezTo>
                  <a:pt x="3155" y="1286"/>
                  <a:pt x="3154" y="1285"/>
                  <a:pt x="3153" y="1285"/>
                </a:cubicBezTo>
                <a:cubicBezTo>
                  <a:pt x="3151" y="1285"/>
                  <a:pt x="3150" y="1285"/>
                  <a:pt x="3148" y="1285"/>
                </a:cubicBezTo>
                <a:cubicBezTo>
                  <a:pt x="3147" y="1285"/>
                  <a:pt x="3146" y="1285"/>
                  <a:pt x="3146" y="1284"/>
                </a:cubicBezTo>
                <a:cubicBezTo>
                  <a:pt x="3145" y="1284"/>
                  <a:pt x="3145" y="1283"/>
                  <a:pt x="3144" y="1283"/>
                </a:cubicBezTo>
                <a:cubicBezTo>
                  <a:pt x="3144" y="1282"/>
                  <a:pt x="3143" y="1282"/>
                  <a:pt x="3142" y="1282"/>
                </a:cubicBezTo>
                <a:cubicBezTo>
                  <a:pt x="3141" y="1282"/>
                  <a:pt x="3140" y="1282"/>
                  <a:pt x="3139" y="1282"/>
                </a:cubicBezTo>
                <a:cubicBezTo>
                  <a:pt x="3139" y="1282"/>
                  <a:pt x="3137" y="1282"/>
                  <a:pt x="3137" y="1283"/>
                </a:cubicBezTo>
                <a:cubicBezTo>
                  <a:pt x="3138" y="1284"/>
                  <a:pt x="3138" y="1284"/>
                  <a:pt x="3137" y="1285"/>
                </a:cubicBezTo>
                <a:cubicBezTo>
                  <a:pt x="3136" y="1286"/>
                  <a:pt x="3136" y="1286"/>
                  <a:pt x="3135" y="1287"/>
                </a:cubicBezTo>
                <a:cubicBezTo>
                  <a:pt x="3135" y="1287"/>
                  <a:pt x="3134" y="1288"/>
                  <a:pt x="3133" y="1288"/>
                </a:cubicBezTo>
                <a:cubicBezTo>
                  <a:pt x="3133" y="1288"/>
                  <a:pt x="3133" y="1287"/>
                  <a:pt x="3132" y="1287"/>
                </a:cubicBezTo>
                <a:cubicBezTo>
                  <a:pt x="3132" y="1287"/>
                  <a:pt x="3132" y="1287"/>
                  <a:pt x="3132" y="1286"/>
                </a:cubicBezTo>
                <a:cubicBezTo>
                  <a:pt x="3132" y="1286"/>
                  <a:pt x="3131" y="1285"/>
                  <a:pt x="3131" y="1286"/>
                </a:cubicBezTo>
                <a:cubicBezTo>
                  <a:pt x="3131" y="1286"/>
                  <a:pt x="3131" y="1287"/>
                  <a:pt x="3131" y="1287"/>
                </a:cubicBezTo>
                <a:cubicBezTo>
                  <a:pt x="3130" y="1288"/>
                  <a:pt x="3130" y="1288"/>
                  <a:pt x="3130" y="1288"/>
                </a:cubicBezTo>
                <a:cubicBezTo>
                  <a:pt x="3129" y="1289"/>
                  <a:pt x="3128" y="1289"/>
                  <a:pt x="3128" y="1290"/>
                </a:cubicBezTo>
                <a:cubicBezTo>
                  <a:pt x="3128" y="1290"/>
                  <a:pt x="3128" y="1291"/>
                  <a:pt x="3128" y="1291"/>
                </a:cubicBezTo>
                <a:cubicBezTo>
                  <a:pt x="3128" y="1292"/>
                  <a:pt x="3127" y="1292"/>
                  <a:pt x="3127" y="1292"/>
                </a:cubicBezTo>
                <a:cubicBezTo>
                  <a:pt x="3126" y="1293"/>
                  <a:pt x="3126" y="1294"/>
                  <a:pt x="3126" y="1294"/>
                </a:cubicBezTo>
                <a:cubicBezTo>
                  <a:pt x="3126" y="1295"/>
                  <a:pt x="3125" y="1296"/>
                  <a:pt x="3125" y="1296"/>
                </a:cubicBezTo>
                <a:close/>
                <a:moveTo>
                  <a:pt x="3122" y="1243"/>
                </a:moveTo>
                <a:cubicBezTo>
                  <a:pt x="3123" y="1243"/>
                  <a:pt x="3123" y="1242"/>
                  <a:pt x="3122" y="1241"/>
                </a:cubicBezTo>
                <a:cubicBezTo>
                  <a:pt x="3122" y="1240"/>
                  <a:pt x="3122" y="1241"/>
                  <a:pt x="3122" y="1242"/>
                </a:cubicBezTo>
                <a:cubicBezTo>
                  <a:pt x="3122" y="1242"/>
                  <a:pt x="3122" y="1243"/>
                  <a:pt x="3122" y="1243"/>
                </a:cubicBezTo>
                <a:cubicBezTo>
                  <a:pt x="3122" y="1243"/>
                  <a:pt x="3122" y="1244"/>
                  <a:pt x="3122" y="1244"/>
                </a:cubicBezTo>
                <a:cubicBezTo>
                  <a:pt x="3122" y="1244"/>
                  <a:pt x="3122" y="1243"/>
                  <a:pt x="3122" y="1243"/>
                </a:cubicBezTo>
                <a:close/>
                <a:moveTo>
                  <a:pt x="3139" y="1140"/>
                </a:moveTo>
                <a:cubicBezTo>
                  <a:pt x="3139" y="1140"/>
                  <a:pt x="3139" y="1140"/>
                  <a:pt x="3139" y="1140"/>
                </a:cubicBezTo>
                <a:cubicBezTo>
                  <a:pt x="3138" y="1140"/>
                  <a:pt x="3138" y="1140"/>
                  <a:pt x="3138" y="1140"/>
                </a:cubicBezTo>
                <a:cubicBezTo>
                  <a:pt x="3138" y="1140"/>
                  <a:pt x="3138" y="1140"/>
                  <a:pt x="3138" y="1140"/>
                </a:cubicBezTo>
                <a:cubicBezTo>
                  <a:pt x="3138" y="1140"/>
                  <a:pt x="3138" y="1140"/>
                  <a:pt x="3139" y="1140"/>
                </a:cubicBezTo>
                <a:cubicBezTo>
                  <a:pt x="3139" y="1140"/>
                  <a:pt x="3140" y="1140"/>
                  <a:pt x="3139" y="1140"/>
                </a:cubicBezTo>
                <a:close/>
                <a:moveTo>
                  <a:pt x="3132" y="1140"/>
                </a:moveTo>
                <a:cubicBezTo>
                  <a:pt x="3132" y="1140"/>
                  <a:pt x="3133" y="1140"/>
                  <a:pt x="3133" y="1140"/>
                </a:cubicBezTo>
                <a:cubicBezTo>
                  <a:pt x="3133" y="1140"/>
                  <a:pt x="3134" y="1140"/>
                  <a:pt x="3133" y="1140"/>
                </a:cubicBezTo>
                <a:cubicBezTo>
                  <a:pt x="3133" y="1140"/>
                  <a:pt x="3133" y="1140"/>
                  <a:pt x="3133" y="1140"/>
                </a:cubicBezTo>
                <a:cubicBezTo>
                  <a:pt x="3133" y="1140"/>
                  <a:pt x="3132" y="1140"/>
                  <a:pt x="3132" y="1139"/>
                </a:cubicBezTo>
                <a:cubicBezTo>
                  <a:pt x="3132" y="1139"/>
                  <a:pt x="3132" y="1138"/>
                  <a:pt x="3131" y="1138"/>
                </a:cubicBezTo>
                <a:cubicBezTo>
                  <a:pt x="3131" y="1138"/>
                  <a:pt x="3131" y="1138"/>
                  <a:pt x="3130" y="1138"/>
                </a:cubicBezTo>
                <a:cubicBezTo>
                  <a:pt x="3130" y="1137"/>
                  <a:pt x="3130" y="1138"/>
                  <a:pt x="3130" y="1138"/>
                </a:cubicBezTo>
                <a:cubicBezTo>
                  <a:pt x="3130" y="1139"/>
                  <a:pt x="3131" y="1139"/>
                  <a:pt x="3131" y="1139"/>
                </a:cubicBezTo>
                <a:cubicBezTo>
                  <a:pt x="3132" y="1139"/>
                  <a:pt x="3131" y="1140"/>
                  <a:pt x="3132" y="1140"/>
                </a:cubicBezTo>
                <a:close/>
                <a:moveTo>
                  <a:pt x="3082" y="1397"/>
                </a:moveTo>
                <a:cubicBezTo>
                  <a:pt x="3082" y="1397"/>
                  <a:pt x="3081" y="1398"/>
                  <a:pt x="3081" y="1398"/>
                </a:cubicBezTo>
                <a:cubicBezTo>
                  <a:pt x="3082" y="1398"/>
                  <a:pt x="3082" y="1398"/>
                  <a:pt x="3082" y="1398"/>
                </a:cubicBezTo>
                <a:cubicBezTo>
                  <a:pt x="3083" y="1398"/>
                  <a:pt x="3083" y="1399"/>
                  <a:pt x="3083" y="1399"/>
                </a:cubicBezTo>
                <a:cubicBezTo>
                  <a:pt x="3084" y="1399"/>
                  <a:pt x="3084" y="1399"/>
                  <a:pt x="3085" y="1399"/>
                </a:cubicBezTo>
                <a:cubicBezTo>
                  <a:pt x="3085" y="1399"/>
                  <a:pt x="3085" y="1399"/>
                  <a:pt x="3086" y="1399"/>
                </a:cubicBezTo>
                <a:cubicBezTo>
                  <a:pt x="3086" y="1399"/>
                  <a:pt x="3086" y="1399"/>
                  <a:pt x="3087" y="1399"/>
                </a:cubicBezTo>
                <a:cubicBezTo>
                  <a:pt x="3088" y="1399"/>
                  <a:pt x="3088" y="1398"/>
                  <a:pt x="3088" y="1398"/>
                </a:cubicBezTo>
                <a:cubicBezTo>
                  <a:pt x="3089" y="1397"/>
                  <a:pt x="3089" y="1397"/>
                  <a:pt x="3089" y="1397"/>
                </a:cubicBezTo>
                <a:cubicBezTo>
                  <a:pt x="3090" y="1397"/>
                  <a:pt x="3089" y="1396"/>
                  <a:pt x="3090" y="1396"/>
                </a:cubicBezTo>
                <a:cubicBezTo>
                  <a:pt x="3090" y="1395"/>
                  <a:pt x="3090" y="1395"/>
                  <a:pt x="3090" y="1395"/>
                </a:cubicBezTo>
                <a:cubicBezTo>
                  <a:pt x="3090" y="1395"/>
                  <a:pt x="3090" y="1394"/>
                  <a:pt x="3090" y="1394"/>
                </a:cubicBezTo>
                <a:cubicBezTo>
                  <a:pt x="3091" y="1393"/>
                  <a:pt x="3091" y="1392"/>
                  <a:pt x="3090" y="1392"/>
                </a:cubicBezTo>
                <a:cubicBezTo>
                  <a:pt x="3090" y="1392"/>
                  <a:pt x="3090" y="1392"/>
                  <a:pt x="3089" y="1392"/>
                </a:cubicBezTo>
                <a:cubicBezTo>
                  <a:pt x="3089" y="1392"/>
                  <a:pt x="3089" y="1391"/>
                  <a:pt x="3088" y="1391"/>
                </a:cubicBezTo>
                <a:cubicBezTo>
                  <a:pt x="3088" y="1391"/>
                  <a:pt x="3087" y="1391"/>
                  <a:pt x="3087" y="1391"/>
                </a:cubicBezTo>
                <a:cubicBezTo>
                  <a:pt x="3086" y="1391"/>
                  <a:pt x="3086" y="1391"/>
                  <a:pt x="3085" y="1391"/>
                </a:cubicBezTo>
                <a:cubicBezTo>
                  <a:pt x="3084" y="1391"/>
                  <a:pt x="3083" y="1392"/>
                  <a:pt x="3083" y="1393"/>
                </a:cubicBezTo>
                <a:cubicBezTo>
                  <a:pt x="3083" y="1394"/>
                  <a:pt x="3084" y="1394"/>
                  <a:pt x="3084" y="1395"/>
                </a:cubicBezTo>
                <a:cubicBezTo>
                  <a:pt x="3083" y="1396"/>
                  <a:pt x="3083" y="1396"/>
                  <a:pt x="3082" y="1397"/>
                </a:cubicBezTo>
                <a:close/>
                <a:moveTo>
                  <a:pt x="3080" y="1393"/>
                </a:moveTo>
                <a:cubicBezTo>
                  <a:pt x="3080" y="1392"/>
                  <a:pt x="3078" y="1392"/>
                  <a:pt x="3078" y="1391"/>
                </a:cubicBezTo>
                <a:cubicBezTo>
                  <a:pt x="3077" y="1391"/>
                  <a:pt x="3077" y="1391"/>
                  <a:pt x="3077" y="1391"/>
                </a:cubicBezTo>
                <a:cubicBezTo>
                  <a:pt x="3077" y="1390"/>
                  <a:pt x="3076" y="1390"/>
                  <a:pt x="3076" y="1390"/>
                </a:cubicBezTo>
                <a:cubicBezTo>
                  <a:pt x="3075" y="1389"/>
                  <a:pt x="3074" y="1389"/>
                  <a:pt x="3073" y="1389"/>
                </a:cubicBezTo>
                <a:cubicBezTo>
                  <a:pt x="3072" y="1389"/>
                  <a:pt x="3071" y="1389"/>
                  <a:pt x="3070" y="1389"/>
                </a:cubicBezTo>
                <a:cubicBezTo>
                  <a:pt x="3069" y="1389"/>
                  <a:pt x="3068" y="1390"/>
                  <a:pt x="3067" y="1390"/>
                </a:cubicBezTo>
                <a:cubicBezTo>
                  <a:pt x="3067" y="1390"/>
                  <a:pt x="3064" y="1390"/>
                  <a:pt x="3065" y="1391"/>
                </a:cubicBezTo>
                <a:cubicBezTo>
                  <a:pt x="3066" y="1391"/>
                  <a:pt x="3066" y="1391"/>
                  <a:pt x="3066" y="1391"/>
                </a:cubicBezTo>
                <a:cubicBezTo>
                  <a:pt x="3066" y="1392"/>
                  <a:pt x="3067" y="1393"/>
                  <a:pt x="3068" y="1393"/>
                </a:cubicBezTo>
                <a:cubicBezTo>
                  <a:pt x="3068" y="1393"/>
                  <a:pt x="3068" y="1393"/>
                  <a:pt x="3069" y="1394"/>
                </a:cubicBezTo>
                <a:cubicBezTo>
                  <a:pt x="3069" y="1394"/>
                  <a:pt x="3070" y="1394"/>
                  <a:pt x="3070" y="1394"/>
                </a:cubicBezTo>
                <a:cubicBezTo>
                  <a:pt x="3071" y="1394"/>
                  <a:pt x="3071" y="1395"/>
                  <a:pt x="3072" y="1395"/>
                </a:cubicBezTo>
                <a:cubicBezTo>
                  <a:pt x="3072" y="1396"/>
                  <a:pt x="3072" y="1396"/>
                  <a:pt x="3072" y="1397"/>
                </a:cubicBezTo>
                <a:cubicBezTo>
                  <a:pt x="3072" y="1398"/>
                  <a:pt x="3072" y="1398"/>
                  <a:pt x="3073" y="1398"/>
                </a:cubicBezTo>
                <a:cubicBezTo>
                  <a:pt x="3074" y="1398"/>
                  <a:pt x="3074" y="1397"/>
                  <a:pt x="3074" y="1396"/>
                </a:cubicBezTo>
                <a:cubicBezTo>
                  <a:pt x="3075" y="1396"/>
                  <a:pt x="3075" y="1396"/>
                  <a:pt x="3075" y="1396"/>
                </a:cubicBezTo>
                <a:cubicBezTo>
                  <a:pt x="3075" y="1396"/>
                  <a:pt x="3076" y="1395"/>
                  <a:pt x="3076" y="1395"/>
                </a:cubicBezTo>
                <a:cubicBezTo>
                  <a:pt x="3076" y="1395"/>
                  <a:pt x="3077" y="1395"/>
                  <a:pt x="3077" y="1395"/>
                </a:cubicBezTo>
                <a:cubicBezTo>
                  <a:pt x="3078" y="1395"/>
                  <a:pt x="3078" y="1394"/>
                  <a:pt x="3078" y="1394"/>
                </a:cubicBezTo>
                <a:cubicBezTo>
                  <a:pt x="3078" y="1393"/>
                  <a:pt x="3080" y="1393"/>
                  <a:pt x="3080" y="1393"/>
                </a:cubicBezTo>
                <a:close/>
                <a:moveTo>
                  <a:pt x="3097" y="1202"/>
                </a:moveTo>
                <a:cubicBezTo>
                  <a:pt x="3097" y="1202"/>
                  <a:pt x="3097" y="1203"/>
                  <a:pt x="3098" y="1203"/>
                </a:cubicBezTo>
                <a:cubicBezTo>
                  <a:pt x="3098" y="1203"/>
                  <a:pt x="3098" y="1202"/>
                  <a:pt x="3098" y="1202"/>
                </a:cubicBezTo>
                <a:cubicBezTo>
                  <a:pt x="3098" y="1202"/>
                  <a:pt x="3098" y="1201"/>
                  <a:pt x="3098" y="1201"/>
                </a:cubicBezTo>
                <a:cubicBezTo>
                  <a:pt x="3098" y="1201"/>
                  <a:pt x="3097" y="1202"/>
                  <a:pt x="3097" y="1202"/>
                </a:cubicBezTo>
                <a:close/>
                <a:moveTo>
                  <a:pt x="3078" y="1396"/>
                </a:moveTo>
                <a:cubicBezTo>
                  <a:pt x="3077" y="1396"/>
                  <a:pt x="3077" y="1397"/>
                  <a:pt x="3078" y="1397"/>
                </a:cubicBezTo>
                <a:cubicBezTo>
                  <a:pt x="3078" y="1397"/>
                  <a:pt x="3078" y="1397"/>
                  <a:pt x="3078" y="1397"/>
                </a:cubicBezTo>
                <a:cubicBezTo>
                  <a:pt x="3078" y="1397"/>
                  <a:pt x="3078" y="1398"/>
                  <a:pt x="3078" y="1397"/>
                </a:cubicBezTo>
                <a:cubicBezTo>
                  <a:pt x="3078" y="1397"/>
                  <a:pt x="3078" y="1396"/>
                  <a:pt x="3078" y="1396"/>
                </a:cubicBezTo>
                <a:close/>
                <a:moveTo>
                  <a:pt x="3095" y="1214"/>
                </a:moveTo>
                <a:cubicBezTo>
                  <a:pt x="3095" y="1214"/>
                  <a:pt x="3095" y="1214"/>
                  <a:pt x="3095" y="1214"/>
                </a:cubicBezTo>
                <a:cubicBezTo>
                  <a:pt x="3094" y="1215"/>
                  <a:pt x="3094" y="1216"/>
                  <a:pt x="3095" y="1216"/>
                </a:cubicBezTo>
                <a:cubicBezTo>
                  <a:pt x="3095" y="1216"/>
                  <a:pt x="3096" y="1215"/>
                  <a:pt x="3096" y="1215"/>
                </a:cubicBezTo>
                <a:cubicBezTo>
                  <a:pt x="3097" y="1215"/>
                  <a:pt x="3097" y="1215"/>
                  <a:pt x="3097" y="1214"/>
                </a:cubicBezTo>
                <a:cubicBezTo>
                  <a:pt x="3097" y="1214"/>
                  <a:pt x="3097" y="1214"/>
                  <a:pt x="3097" y="1213"/>
                </a:cubicBezTo>
                <a:cubicBezTo>
                  <a:pt x="3097" y="1213"/>
                  <a:pt x="3097" y="1213"/>
                  <a:pt x="3097" y="1213"/>
                </a:cubicBezTo>
                <a:cubicBezTo>
                  <a:pt x="3096" y="1213"/>
                  <a:pt x="3096" y="1213"/>
                  <a:pt x="3096" y="1213"/>
                </a:cubicBezTo>
                <a:cubicBezTo>
                  <a:pt x="3096" y="1213"/>
                  <a:pt x="3096" y="1213"/>
                  <a:pt x="3095" y="1214"/>
                </a:cubicBezTo>
                <a:close/>
                <a:moveTo>
                  <a:pt x="3076" y="1377"/>
                </a:moveTo>
                <a:cubicBezTo>
                  <a:pt x="3076" y="1377"/>
                  <a:pt x="3076" y="1377"/>
                  <a:pt x="3077" y="1377"/>
                </a:cubicBezTo>
                <a:cubicBezTo>
                  <a:pt x="3077" y="1376"/>
                  <a:pt x="3077" y="1376"/>
                  <a:pt x="3077" y="1376"/>
                </a:cubicBezTo>
                <a:cubicBezTo>
                  <a:pt x="3078" y="1376"/>
                  <a:pt x="3077" y="1376"/>
                  <a:pt x="3077" y="1376"/>
                </a:cubicBezTo>
                <a:cubicBezTo>
                  <a:pt x="3077" y="1376"/>
                  <a:pt x="3077" y="1376"/>
                  <a:pt x="3076" y="1376"/>
                </a:cubicBezTo>
                <a:cubicBezTo>
                  <a:pt x="3076" y="1375"/>
                  <a:pt x="3076" y="1375"/>
                  <a:pt x="3075" y="1375"/>
                </a:cubicBezTo>
                <a:cubicBezTo>
                  <a:pt x="3074" y="1375"/>
                  <a:pt x="3074" y="1375"/>
                  <a:pt x="3074" y="1376"/>
                </a:cubicBezTo>
                <a:cubicBezTo>
                  <a:pt x="3074" y="1376"/>
                  <a:pt x="3074" y="1377"/>
                  <a:pt x="3075" y="1377"/>
                </a:cubicBezTo>
                <a:cubicBezTo>
                  <a:pt x="3075" y="1377"/>
                  <a:pt x="3075" y="1377"/>
                  <a:pt x="3076" y="1377"/>
                </a:cubicBezTo>
                <a:close/>
                <a:moveTo>
                  <a:pt x="3432" y="1762"/>
                </a:moveTo>
                <a:cubicBezTo>
                  <a:pt x="3431" y="1762"/>
                  <a:pt x="3431" y="1763"/>
                  <a:pt x="3432" y="1763"/>
                </a:cubicBezTo>
                <a:cubicBezTo>
                  <a:pt x="3432" y="1763"/>
                  <a:pt x="3432" y="1762"/>
                  <a:pt x="3432" y="1762"/>
                </a:cubicBezTo>
                <a:close/>
                <a:moveTo>
                  <a:pt x="3279" y="864"/>
                </a:moveTo>
                <a:cubicBezTo>
                  <a:pt x="3279" y="864"/>
                  <a:pt x="3279" y="866"/>
                  <a:pt x="3280" y="865"/>
                </a:cubicBezTo>
                <a:cubicBezTo>
                  <a:pt x="3281" y="865"/>
                  <a:pt x="3280" y="864"/>
                  <a:pt x="3279" y="864"/>
                </a:cubicBezTo>
                <a:close/>
                <a:moveTo>
                  <a:pt x="3371" y="745"/>
                </a:moveTo>
                <a:cubicBezTo>
                  <a:pt x="3371" y="745"/>
                  <a:pt x="3371" y="744"/>
                  <a:pt x="3371" y="744"/>
                </a:cubicBezTo>
                <a:cubicBezTo>
                  <a:pt x="3371" y="744"/>
                  <a:pt x="3371" y="744"/>
                  <a:pt x="3371" y="743"/>
                </a:cubicBezTo>
                <a:cubicBezTo>
                  <a:pt x="3370" y="743"/>
                  <a:pt x="3370" y="743"/>
                  <a:pt x="3370" y="744"/>
                </a:cubicBezTo>
                <a:cubicBezTo>
                  <a:pt x="3370" y="744"/>
                  <a:pt x="3371" y="746"/>
                  <a:pt x="3371" y="745"/>
                </a:cubicBezTo>
                <a:close/>
                <a:moveTo>
                  <a:pt x="3368" y="740"/>
                </a:moveTo>
                <a:cubicBezTo>
                  <a:pt x="3368" y="739"/>
                  <a:pt x="3367" y="740"/>
                  <a:pt x="3367" y="740"/>
                </a:cubicBezTo>
                <a:cubicBezTo>
                  <a:pt x="3367" y="741"/>
                  <a:pt x="3367" y="741"/>
                  <a:pt x="3368" y="741"/>
                </a:cubicBezTo>
                <a:cubicBezTo>
                  <a:pt x="3368" y="741"/>
                  <a:pt x="3368" y="742"/>
                  <a:pt x="3368" y="742"/>
                </a:cubicBezTo>
                <a:cubicBezTo>
                  <a:pt x="3368" y="742"/>
                  <a:pt x="3368" y="742"/>
                  <a:pt x="3368" y="742"/>
                </a:cubicBezTo>
                <a:cubicBezTo>
                  <a:pt x="3368" y="741"/>
                  <a:pt x="3368" y="741"/>
                  <a:pt x="3368" y="740"/>
                </a:cubicBezTo>
                <a:cubicBezTo>
                  <a:pt x="3368" y="740"/>
                  <a:pt x="3368" y="740"/>
                  <a:pt x="3368" y="740"/>
                </a:cubicBezTo>
                <a:close/>
                <a:moveTo>
                  <a:pt x="3336" y="845"/>
                </a:moveTo>
                <a:cubicBezTo>
                  <a:pt x="3336" y="845"/>
                  <a:pt x="3337" y="845"/>
                  <a:pt x="3337" y="845"/>
                </a:cubicBezTo>
                <a:cubicBezTo>
                  <a:pt x="3338" y="844"/>
                  <a:pt x="3337" y="844"/>
                  <a:pt x="3338" y="844"/>
                </a:cubicBezTo>
                <a:cubicBezTo>
                  <a:pt x="3338" y="844"/>
                  <a:pt x="3339" y="844"/>
                  <a:pt x="3339" y="843"/>
                </a:cubicBezTo>
                <a:cubicBezTo>
                  <a:pt x="3339" y="843"/>
                  <a:pt x="3339" y="842"/>
                  <a:pt x="3339" y="841"/>
                </a:cubicBezTo>
                <a:cubicBezTo>
                  <a:pt x="3339" y="840"/>
                  <a:pt x="3340" y="840"/>
                  <a:pt x="3339" y="839"/>
                </a:cubicBezTo>
                <a:cubicBezTo>
                  <a:pt x="3339" y="837"/>
                  <a:pt x="3338" y="839"/>
                  <a:pt x="3337" y="839"/>
                </a:cubicBezTo>
                <a:cubicBezTo>
                  <a:pt x="3337" y="840"/>
                  <a:pt x="3337" y="840"/>
                  <a:pt x="3336" y="840"/>
                </a:cubicBezTo>
                <a:cubicBezTo>
                  <a:pt x="3336" y="841"/>
                  <a:pt x="3336" y="841"/>
                  <a:pt x="3336" y="841"/>
                </a:cubicBezTo>
                <a:cubicBezTo>
                  <a:pt x="3336" y="842"/>
                  <a:pt x="3336" y="842"/>
                  <a:pt x="3336" y="843"/>
                </a:cubicBezTo>
                <a:cubicBezTo>
                  <a:pt x="3337" y="843"/>
                  <a:pt x="3337" y="843"/>
                  <a:pt x="3336" y="844"/>
                </a:cubicBezTo>
                <a:cubicBezTo>
                  <a:pt x="3336" y="844"/>
                  <a:pt x="3336" y="844"/>
                  <a:pt x="3336" y="845"/>
                </a:cubicBezTo>
                <a:close/>
                <a:moveTo>
                  <a:pt x="3350" y="787"/>
                </a:moveTo>
                <a:cubicBezTo>
                  <a:pt x="3351" y="786"/>
                  <a:pt x="3352" y="785"/>
                  <a:pt x="3351" y="785"/>
                </a:cubicBezTo>
                <a:cubicBezTo>
                  <a:pt x="3350" y="785"/>
                  <a:pt x="3350" y="786"/>
                  <a:pt x="3350" y="786"/>
                </a:cubicBezTo>
                <a:cubicBezTo>
                  <a:pt x="3350" y="787"/>
                  <a:pt x="3350" y="788"/>
                  <a:pt x="3350" y="788"/>
                </a:cubicBezTo>
                <a:cubicBezTo>
                  <a:pt x="3351" y="787"/>
                  <a:pt x="3350" y="787"/>
                  <a:pt x="3350" y="787"/>
                </a:cubicBezTo>
                <a:close/>
                <a:moveTo>
                  <a:pt x="3359" y="777"/>
                </a:moveTo>
                <a:cubicBezTo>
                  <a:pt x="3359" y="777"/>
                  <a:pt x="3358" y="777"/>
                  <a:pt x="3358" y="777"/>
                </a:cubicBezTo>
                <a:cubicBezTo>
                  <a:pt x="3358" y="777"/>
                  <a:pt x="3357" y="778"/>
                  <a:pt x="3357" y="778"/>
                </a:cubicBezTo>
                <a:cubicBezTo>
                  <a:pt x="3357" y="779"/>
                  <a:pt x="3356" y="778"/>
                  <a:pt x="3355" y="779"/>
                </a:cubicBezTo>
                <a:cubicBezTo>
                  <a:pt x="3354" y="779"/>
                  <a:pt x="3354" y="780"/>
                  <a:pt x="3354" y="781"/>
                </a:cubicBezTo>
                <a:cubicBezTo>
                  <a:pt x="3354" y="781"/>
                  <a:pt x="3353" y="782"/>
                  <a:pt x="3353" y="783"/>
                </a:cubicBezTo>
                <a:cubicBezTo>
                  <a:pt x="3354" y="784"/>
                  <a:pt x="3354" y="784"/>
                  <a:pt x="3354" y="785"/>
                </a:cubicBezTo>
                <a:cubicBezTo>
                  <a:pt x="3355" y="785"/>
                  <a:pt x="3355" y="785"/>
                  <a:pt x="3355" y="786"/>
                </a:cubicBezTo>
                <a:cubicBezTo>
                  <a:pt x="3356" y="786"/>
                  <a:pt x="3356" y="786"/>
                  <a:pt x="3356" y="787"/>
                </a:cubicBezTo>
                <a:cubicBezTo>
                  <a:pt x="3357" y="787"/>
                  <a:pt x="3357" y="788"/>
                  <a:pt x="3357" y="789"/>
                </a:cubicBezTo>
                <a:cubicBezTo>
                  <a:pt x="3357" y="789"/>
                  <a:pt x="3357" y="790"/>
                  <a:pt x="3357" y="790"/>
                </a:cubicBezTo>
                <a:cubicBezTo>
                  <a:pt x="3357" y="790"/>
                  <a:pt x="3357" y="791"/>
                  <a:pt x="3357" y="791"/>
                </a:cubicBezTo>
                <a:cubicBezTo>
                  <a:pt x="3357" y="792"/>
                  <a:pt x="3357" y="792"/>
                  <a:pt x="3356" y="792"/>
                </a:cubicBezTo>
                <a:cubicBezTo>
                  <a:pt x="3356" y="793"/>
                  <a:pt x="3356" y="793"/>
                  <a:pt x="3356" y="793"/>
                </a:cubicBezTo>
                <a:cubicBezTo>
                  <a:pt x="3356" y="794"/>
                  <a:pt x="3356" y="795"/>
                  <a:pt x="3357" y="795"/>
                </a:cubicBezTo>
                <a:cubicBezTo>
                  <a:pt x="3357" y="795"/>
                  <a:pt x="3358" y="795"/>
                  <a:pt x="3358" y="796"/>
                </a:cubicBezTo>
                <a:cubicBezTo>
                  <a:pt x="3358" y="796"/>
                  <a:pt x="3358" y="797"/>
                  <a:pt x="3359" y="796"/>
                </a:cubicBezTo>
                <a:cubicBezTo>
                  <a:pt x="3359" y="796"/>
                  <a:pt x="3359" y="795"/>
                  <a:pt x="3360" y="794"/>
                </a:cubicBezTo>
                <a:cubicBezTo>
                  <a:pt x="3360" y="794"/>
                  <a:pt x="3360" y="794"/>
                  <a:pt x="3361" y="794"/>
                </a:cubicBezTo>
                <a:cubicBezTo>
                  <a:pt x="3361" y="794"/>
                  <a:pt x="3361" y="793"/>
                  <a:pt x="3361" y="793"/>
                </a:cubicBezTo>
                <a:cubicBezTo>
                  <a:pt x="3362" y="792"/>
                  <a:pt x="3362" y="792"/>
                  <a:pt x="3363" y="792"/>
                </a:cubicBezTo>
                <a:cubicBezTo>
                  <a:pt x="3363" y="791"/>
                  <a:pt x="3363" y="791"/>
                  <a:pt x="3364" y="791"/>
                </a:cubicBezTo>
                <a:cubicBezTo>
                  <a:pt x="3364" y="791"/>
                  <a:pt x="3364" y="791"/>
                  <a:pt x="3364" y="791"/>
                </a:cubicBezTo>
                <a:cubicBezTo>
                  <a:pt x="3365" y="791"/>
                  <a:pt x="3365" y="791"/>
                  <a:pt x="3365" y="791"/>
                </a:cubicBezTo>
                <a:cubicBezTo>
                  <a:pt x="3366" y="791"/>
                  <a:pt x="3366" y="791"/>
                  <a:pt x="3366" y="791"/>
                </a:cubicBezTo>
                <a:cubicBezTo>
                  <a:pt x="3367" y="792"/>
                  <a:pt x="3366" y="792"/>
                  <a:pt x="3367" y="792"/>
                </a:cubicBezTo>
                <a:cubicBezTo>
                  <a:pt x="3367" y="793"/>
                  <a:pt x="3367" y="792"/>
                  <a:pt x="3368" y="792"/>
                </a:cubicBezTo>
                <a:cubicBezTo>
                  <a:pt x="3368" y="792"/>
                  <a:pt x="3368" y="791"/>
                  <a:pt x="3368" y="791"/>
                </a:cubicBezTo>
                <a:cubicBezTo>
                  <a:pt x="3369" y="791"/>
                  <a:pt x="3369" y="791"/>
                  <a:pt x="3369" y="790"/>
                </a:cubicBezTo>
                <a:cubicBezTo>
                  <a:pt x="3369" y="789"/>
                  <a:pt x="3368" y="790"/>
                  <a:pt x="3367" y="789"/>
                </a:cubicBezTo>
                <a:cubicBezTo>
                  <a:pt x="3367" y="789"/>
                  <a:pt x="3367" y="788"/>
                  <a:pt x="3366" y="788"/>
                </a:cubicBezTo>
                <a:cubicBezTo>
                  <a:pt x="3366" y="787"/>
                  <a:pt x="3366" y="787"/>
                  <a:pt x="3365" y="787"/>
                </a:cubicBezTo>
                <a:cubicBezTo>
                  <a:pt x="3365" y="787"/>
                  <a:pt x="3365" y="786"/>
                  <a:pt x="3364" y="786"/>
                </a:cubicBezTo>
                <a:cubicBezTo>
                  <a:pt x="3363" y="786"/>
                  <a:pt x="3363" y="787"/>
                  <a:pt x="3362" y="786"/>
                </a:cubicBezTo>
                <a:cubicBezTo>
                  <a:pt x="3362" y="785"/>
                  <a:pt x="3361" y="785"/>
                  <a:pt x="3360" y="785"/>
                </a:cubicBezTo>
                <a:cubicBezTo>
                  <a:pt x="3360" y="784"/>
                  <a:pt x="3359" y="784"/>
                  <a:pt x="3359" y="783"/>
                </a:cubicBezTo>
                <a:cubicBezTo>
                  <a:pt x="3360" y="783"/>
                  <a:pt x="3360" y="782"/>
                  <a:pt x="3360" y="782"/>
                </a:cubicBezTo>
                <a:cubicBezTo>
                  <a:pt x="3360" y="781"/>
                  <a:pt x="3361" y="781"/>
                  <a:pt x="3361" y="781"/>
                </a:cubicBezTo>
                <a:cubicBezTo>
                  <a:pt x="3361" y="781"/>
                  <a:pt x="3361" y="781"/>
                  <a:pt x="3362" y="780"/>
                </a:cubicBezTo>
                <a:cubicBezTo>
                  <a:pt x="3362" y="780"/>
                  <a:pt x="3363" y="780"/>
                  <a:pt x="3363" y="780"/>
                </a:cubicBezTo>
                <a:cubicBezTo>
                  <a:pt x="3364" y="780"/>
                  <a:pt x="3364" y="780"/>
                  <a:pt x="3365" y="781"/>
                </a:cubicBezTo>
                <a:cubicBezTo>
                  <a:pt x="3365" y="781"/>
                  <a:pt x="3365" y="781"/>
                  <a:pt x="3365" y="781"/>
                </a:cubicBezTo>
                <a:cubicBezTo>
                  <a:pt x="3366" y="782"/>
                  <a:pt x="3366" y="782"/>
                  <a:pt x="3366" y="782"/>
                </a:cubicBezTo>
                <a:cubicBezTo>
                  <a:pt x="3367" y="782"/>
                  <a:pt x="3367" y="782"/>
                  <a:pt x="3367" y="783"/>
                </a:cubicBezTo>
                <a:cubicBezTo>
                  <a:pt x="3367" y="783"/>
                  <a:pt x="3367" y="784"/>
                  <a:pt x="3367" y="784"/>
                </a:cubicBezTo>
                <a:cubicBezTo>
                  <a:pt x="3368" y="784"/>
                  <a:pt x="3368" y="784"/>
                  <a:pt x="3368" y="783"/>
                </a:cubicBezTo>
                <a:cubicBezTo>
                  <a:pt x="3369" y="783"/>
                  <a:pt x="3369" y="783"/>
                  <a:pt x="3369" y="783"/>
                </a:cubicBezTo>
                <a:cubicBezTo>
                  <a:pt x="3370" y="782"/>
                  <a:pt x="3371" y="781"/>
                  <a:pt x="3372" y="780"/>
                </a:cubicBezTo>
                <a:cubicBezTo>
                  <a:pt x="3373" y="780"/>
                  <a:pt x="3374" y="780"/>
                  <a:pt x="3374" y="780"/>
                </a:cubicBezTo>
                <a:cubicBezTo>
                  <a:pt x="3375" y="780"/>
                  <a:pt x="3376" y="779"/>
                  <a:pt x="3376" y="780"/>
                </a:cubicBezTo>
                <a:cubicBezTo>
                  <a:pt x="3376" y="780"/>
                  <a:pt x="3377" y="780"/>
                  <a:pt x="3377" y="780"/>
                </a:cubicBezTo>
                <a:cubicBezTo>
                  <a:pt x="3378" y="781"/>
                  <a:pt x="3378" y="781"/>
                  <a:pt x="3379" y="781"/>
                </a:cubicBezTo>
                <a:cubicBezTo>
                  <a:pt x="3380" y="782"/>
                  <a:pt x="3381" y="782"/>
                  <a:pt x="3381" y="782"/>
                </a:cubicBezTo>
                <a:cubicBezTo>
                  <a:pt x="3381" y="782"/>
                  <a:pt x="3382" y="783"/>
                  <a:pt x="3382" y="783"/>
                </a:cubicBezTo>
                <a:cubicBezTo>
                  <a:pt x="3382" y="783"/>
                  <a:pt x="3383" y="783"/>
                  <a:pt x="3383" y="783"/>
                </a:cubicBezTo>
                <a:cubicBezTo>
                  <a:pt x="3384" y="784"/>
                  <a:pt x="3384" y="784"/>
                  <a:pt x="3385" y="784"/>
                </a:cubicBezTo>
                <a:cubicBezTo>
                  <a:pt x="3385" y="785"/>
                  <a:pt x="3386" y="785"/>
                  <a:pt x="3387" y="785"/>
                </a:cubicBezTo>
                <a:cubicBezTo>
                  <a:pt x="3388" y="786"/>
                  <a:pt x="3388" y="786"/>
                  <a:pt x="3389" y="786"/>
                </a:cubicBezTo>
                <a:cubicBezTo>
                  <a:pt x="3390" y="786"/>
                  <a:pt x="3391" y="787"/>
                  <a:pt x="3391" y="787"/>
                </a:cubicBezTo>
                <a:cubicBezTo>
                  <a:pt x="3391" y="788"/>
                  <a:pt x="3391" y="788"/>
                  <a:pt x="3392" y="788"/>
                </a:cubicBezTo>
                <a:cubicBezTo>
                  <a:pt x="3392" y="788"/>
                  <a:pt x="3392" y="789"/>
                  <a:pt x="3393" y="789"/>
                </a:cubicBezTo>
                <a:cubicBezTo>
                  <a:pt x="3394" y="789"/>
                  <a:pt x="3394" y="786"/>
                  <a:pt x="3394" y="785"/>
                </a:cubicBezTo>
                <a:cubicBezTo>
                  <a:pt x="3394" y="785"/>
                  <a:pt x="3394" y="784"/>
                  <a:pt x="3395" y="783"/>
                </a:cubicBezTo>
                <a:cubicBezTo>
                  <a:pt x="3395" y="782"/>
                  <a:pt x="3396" y="782"/>
                  <a:pt x="3396" y="781"/>
                </a:cubicBezTo>
                <a:cubicBezTo>
                  <a:pt x="3396" y="780"/>
                  <a:pt x="3397" y="779"/>
                  <a:pt x="3398" y="779"/>
                </a:cubicBezTo>
                <a:cubicBezTo>
                  <a:pt x="3399" y="778"/>
                  <a:pt x="3399" y="778"/>
                  <a:pt x="3400" y="777"/>
                </a:cubicBezTo>
                <a:cubicBezTo>
                  <a:pt x="3401" y="776"/>
                  <a:pt x="3403" y="775"/>
                  <a:pt x="3404" y="775"/>
                </a:cubicBezTo>
                <a:cubicBezTo>
                  <a:pt x="3405" y="775"/>
                  <a:pt x="3406" y="775"/>
                  <a:pt x="3407" y="775"/>
                </a:cubicBezTo>
                <a:cubicBezTo>
                  <a:pt x="3408" y="775"/>
                  <a:pt x="3408" y="775"/>
                  <a:pt x="3409" y="775"/>
                </a:cubicBezTo>
                <a:cubicBezTo>
                  <a:pt x="3409" y="775"/>
                  <a:pt x="3409" y="775"/>
                  <a:pt x="3410" y="775"/>
                </a:cubicBezTo>
                <a:cubicBezTo>
                  <a:pt x="3410" y="775"/>
                  <a:pt x="3410" y="775"/>
                  <a:pt x="3410" y="775"/>
                </a:cubicBezTo>
                <a:cubicBezTo>
                  <a:pt x="3411" y="775"/>
                  <a:pt x="3411" y="775"/>
                  <a:pt x="3411" y="774"/>
                </a:cubicBezTo>
                <a:cubicBezTo>
                  <a:pt x="3412" y="774"/>
                  <a:pt x="3412" y="775"/>
                  <a:pt x="3413" y="775"/>
                </a:cubicBezTo>
                <a:cubicBezTo>
                  <a:pt x="3414" y="775"/>
                  <a:pt x="3414" y="774"/>
                  <a:pt x="3415" y="774"/>
                </a:cubicBezTo>
                <a:cubicBezTo>
                  <a:pt x="3415" y="773"/>
                  <a:pt x="3415" y="773"/>
                  <a:pt x="3415" y="773"/>
                </a:cubicBezTo>
                <a:cubicBezTo>
                  <a:pt x="3416" y="773"/>
                  <a:pt x="3417" y="773"/>
                  <a:pt x="3418" y="772"/>
                </a:cubicBezTo>
                <a:cubicBezTo>
                  <a:pt x="3418" y="772"/>
                  <a:pt x="3419" y="771"/>
                  <a:pt x="3419" y="771"/>
                </a:cubicBezTo>
                <a:cubicBezTo>
                  <a:pt x="3420" y="770"/>
                  <a:pt x="3420" y="770"/>
                  <a:pt x="3421" y="770"/>
                </a:cubicBezTo>
                <a:cubicBezTo>
                  <a:pt x="3421" y="770"/>
                  <a:pt x="3422" y="770"/>
                  <a:pt x="3422" y="769"/>
                </a:cubicBezTo>
                <a:cubicBezTo>
                  <a:pt x="3421" y="769"/>
                  <a:pt x="3420" y="770"/>
                  <a:pt x="3420" y="770"/>
                </a:cubicBezTo>
                <a:cubicBezTo>
                  <a:pt x="3419" y="771"/>
                  <a:pt x="3417" y="771"/>
                  <a:pt x="3417" y="769"/>
                </a:cubicBezTo>
                <a:cubicBezTo>
                  <a:pt x="3417" y="768"/>
                  <a:pt x="3417" y="768"/>
                  <a:pt x="3416" y="768"/>
                </a:cubicBezTo>
                <a:cubicBezTo>
                  <a:pt x="3416" y="767"/>
                  <a:pt x="3415" y="767"/>
                  <a:pt x="3416" y="766"/>
                </a:cubicBezTo>
                <a:cubicBezTo>
                  <a:pt x="3416" y="766"/>
                  <a:pt x="3417" y="767"/>
                  <a:pt x="3417" y="766"/>
                </a:cubicBezTo>
                <a:cubicBezTo>
                  <a:pt x="3417" y="766"/>
                  <a:pt x="3416" y="765"/>
                  <a:pt x="3416" y="765"/>
                </a:cubicBezTo>
                <a:cubicBezTo>
                  <a:pt x="3415" y="764"/>
                  <a:pt x="3414" y="764"/>
                  <a:pt x="3414" y="763"/>
                </a:cubicBezTo>
                <a:cubicBezTo>
                  <a:pt x="3414" y="763"/>
                  <a:pt x="3415" y="762"/>
                  <a:pt x="3415" y="762"/>
                </a:cubicBezTo>
                <a:cubicBezTo>
                  <a:pt x="3415" y="762"/>
                  <a:pt x="3415" y="761"/>
                  <a:pt x="3415" y="761"/>
                </a:cubicBezTo>
                <a:cubicBezTo>
                  <a:pt x="3415" y="760"/>
                  <a:pt x="3416" y="760"/>
                  <a:pt x="3416" y="759"/>
                </a:cubicBezTo>
                <a:cubicBezTo>
                  <a:pt x="3417" y="758"/>
                  <a:pt x="3417" y="757"/>
                  <a:pt x="3417" y="757"/>
                </a:cubicBezTo>
                <a:cubicBezTo>
                  <a:pt x="3417" y="756"/>
                  <a:pt x="3418" y="756"/>
                  <a:pt x="3417" y="756"/>
                </a:cubicBezTo>
                <a:cubicBezTo>
                  <a:pt x="3417" y="755"/>
                  <a:pt x="3417" y="756"/>
                  <a:pt x="3417" y="756"/>
                </a:cubicBezTo>
                <a:cubicBezTo>
                  <a:pt x="3415" y="757"/>
                  <a:pt x="3415" y="758"/>
                  <a:pt x="3413" y="759"/>
                </a:cubicBezTo>
                <a:cubicBezTo>
                  <a:pt x="3413" y="760"/>
                  <a:pt x="3412" y="760"/>
                  <a:pt x="3412" y="761"/>
                </a:cubicBezTo>
                <a:cubicBezTo>
                  <a:pt x="3411" y="761"/>
                  <a:pt x="3410" y="761"/>
                  <a:pt x="3409" y="761"/>
                </a:cubicBezTo>
                <a:cubicBezTo>
                  <a:pt x="3409" y="761"/>
                  <a:pt x="3408" y="761"/>
                  <a:pt x="3407" y="761"/>
                </a:cubicBezTo>
                <a:cubicBezTo>
                  <a:pt x="3407" y="761"/>
                  <a:pt x="3406" y="761"/>
                  <a:pt x="3406" y="761"/>
                </a:cubicBezTo>
                <a:cubicBezTo>
                  <a:pt x="3405" y="760"/>
                  <a:pt x="3405" y="761"/>
                  <a:pt x="3405" y="760"/>
                </a:cubicBezTo>
                <a:cubicBezTo>
                  <a:pt x="3404" y="760"/>
                  <a:pt x="3404" y="759"/>
                  <a:pt x="3403" y="759"/>
                </a:cubicBezTo>
                <a:cubicBezTo>
                  <a:pt x="3403" y="758"/>
                  <a:pt x="3402" y="759"/>
                  <a:pt x="3401" y="759"/>
                </a:cubicBezTo>
                <a:cubicBezTo>
                  <a:pt x="3400" y="759"/>
                  <a:pt x="3400" y="759"/>
                  <a:pt x="3399" y="759"/>
                </a:cubicBezTo>
                <a:cubicBezTo>
                  <a:pt x="3398" y="758"/>
                  <a:pt x="3396" y="757"/>
                  <a:pt x="3395" y="756"/>
                </a:cubicBezTo>
                <a:cubicBezTo>
                  <a:pt x="3394" y="754"/>
                  <a:pt x="3391" y="754"/>
                  <a:pt x="3390" y="752"/>
                </a:cubicBezTo>
                <a:cubicBezTo>
                  <a:pt x="3390" y="751"/>
                  <a:pt x="3389" y="750"/>
                  <a:pt x="3388" y="750"/>
                </a:cubicBezTo>
                <a:cubicBezTo>
                  <a:pt x="3388" y="749"/>
                  <a:pt x="3387" y="749"/>
                  <a:pt x="3386" y="748"/>
                </a:cubicBezTo>
                <a:cubicBezTo>
                  <a:pt x="3385" y="747"/>
                  <a:pt x="3385" y="747"/>
                  <a:pt x="3385" y="746"/>
                </a:cubicBezTo>
                <a:cubicBezTo>
                  <a:pt x="3385" y="745"/>
                  <a:pt x="3384" y="745"/>
                  <a:pt x="3384" y="745"/>
                </a:cubicBezTo>
                <a:cubicBezTo>
                  <a:pt x="3383" y="744"/>
                  <a:pt x="3383" y="744"/>
                  <a:pt x="3382" y="744"/>
                </a:cubicBezTo>
                <a:cubicBezTo>
                  <a:pt x="3382" y="744"/>
                  <a:pt x="3382" y="743"/>
                  <a:pt x="3382" y="743"/>
                </a:cubicBezTo>
                <a:cubicBezTo>
                  <a:pt x="3381" y="742"/>
                  <a:pt x="3381" y="742"/>
                  <a:pt x="3381" y="741"/>
                </a:cubicBezTo>
                <a:cubicBezTo>
                  <a:pt x="3380" y="741"/>
                  <a:pt x="3380" y="740"/>
                  <a:pt x="3379" y="740"/>
                </a:cubicBezTo>
                <a:cubicBezTo>
                  <a:pt x="3379" y="739"/>
                  <a:pt x="3379" y="739"/>
                  <a:pt x="3378" y="739"/>
                </a:cubicBezTo>
                <a:cubicBezTo>
                  <a:pt x="3378" y="739"/>
                  <a:pt x="3378" y="739"/>
                  <a:pt x="3378" y="740"/>
                </a:cubicBezTo>
                <a:cubicBezTo>
                  <a:pt x="3378" y="740"/>
                  <a:pt x="3377" y="740"/>
                  <a:pt x="3377" y="740"/>
                </a:cubicBezTo>
                <a:cubicBezTo>
                  <a:pt x="3376" y="741"/>
                  <a:pt x="3376" y="740"/>
                  <a:pt x="3376" y="740"/>
                </a:cubicBezTo>
                <a:cubicBezTo>
                  <a:pt x="3375" y="740"/>
                  <a:pt x="3375" y="740"/>
                  <a:pt x="3375" y="741"/>
                </a:cubicBezTo>
                <a:cubicBezTo>
                  <a:pt x="3375" y="741"/>
                  <a:pt x="3375" y="741"/>
                  <a:pt x="3375" y="742"/>
                </a:cubicBezTo>
                <a:cubicBezTo>
                  <a:pt x="3375" y="742"/>
                  <a:pt x="3375" y="744"/>
                  <a:pt x="3375" y="744"/>
                </a:cubicBezTo>
                <a:cubicBezTo>
                  <a:pt x="3375" y="745"/>
                  <a:pt x="3375" y="745"/>
                  <a:pt x="3375" y="745"/>
                </a:cubicBezTo>
                <a:cubicBezTo>
                  <a:pt x="3375" y="746"/>
                  <a:pt x="3375" y="746"/>
                  <a:pt x="3375" y="747"/>
                </a:cubicBezTo>
                <a:cubicBezTo>
                  <a:pt x="3376" y="747"/>
                  <a:pt x="3376" y="748"/>
                  <a:pt x="3376" y="749"/>
                </a:cubicBezTo>
                <a:cubicBezTo>
                  <a:pt x="3377" y="750"/>
                  <a:pt x="3377" y="751"/>
                  <a:pt x="3376" y="752"/>
                </a:cubicBezTo>
                <a:cubicBezTo>
                  <a:pt x="3376" y="754"/>
                  <a:pt x="3376" y="756"/>
                  <a:pt x="3376" y="758"/>
                </a:cubicBezTo>
                <a:cubicBezTo>
                  <a:pt x="3376" y="760"/>
                  <a:pt x="3375" y="761"/>
                  <a:pt x="3373" y="762"/>
                </a:cubicBezTo>
                <a:cubicBezTo>
                  <a:pt x="3373" y="763"/>
                  <a:pt x="3372" y="763"/>
                  <a:pt x="3372" y="764"/>
                </a:cubicBezTo>
                <a:cubicBezTo>
                  <a:pt x="3372" y="764"/>
                  <a:pt x="3372" y="765"/>
                  <a:pt x="3372" y="766"/>
                </a:cubicBezTo>
                <a:cubicBezTo>
                  <a:pt x="3372" y="766"/>
                  <a:pt x="3372" y="766"/>
                  <a:pt x="3372" y="767"/>
                </a:cubicBezTo>
                <a:cubicBezTo>
                  <a:pt x="3372" y="767"/>
                  <a:pt x="3372" y="768"/>
                  <a:pt x="3372" y="768"/>
                </a:cubicBezTo>
                <a:cubicBezTo>
                  <a:pt x="3372" y="769"/>
                  <a:pt x="3373" y="769"/>
                  <a:pt x="3373" y="769"/>
                </a:cubicBezTo>
                <a:cubicBezTo>
                  <a:pt x="3372" y="770"/>
                  <a:pt x="3372" y="770"/>
                  <a:pt x="3372" y="770"/>
                </a:cubicBezTo>
                <a:cubicBezTo>
                  <a:pt x="3371" y="771"/>
                  <a:pt x="3371" y="771"/>
                  <a:pt x="3371" y="771"/>
                </a:cubicBezTo>
                <a:cubicBezTo>
                  <a:pt x="3371" y="771"/>
                  <a:pt x="3370" y="772"/>
                  <a:pt x="3370" y="772"/>
                </a:cubicBezTo>
                <a:cubicBezTo>
                  <a:pt x="3370" y="772"/>
                  <a:pt x="3370" y="772"/>
                  <a:pt x="3369" y="772"/>
                </a:cubicBezTo>
                <a:cubicBezTo>
                  <a:pt x="3369" y="772"/>
                  <a:pt x="3369" y="772"/>
                  <a:pt x="3368" y="771"/>
                </a:cubicBezTo>
                <a:cubicBezTo>
                  <a:pt x="3368" y="771"/>
                  <a:pt x="3368" y="771"/>
                  <a:pt x="3367" y="771"/>
                </a:cubicBezTo>
                <a:cubicBezTo>
                  <a:pt x="3367" y="771"/>
                  <a:pt x="3366" y="771"/>
                  <a:pt x="3366" y="772"/>
                </a:cubicBezTo>
                <a:cubicBezTo>
                  <a:pt x="3366" y="772"/>
                  <a:pt x="3366" y="771"/>
                  <a:pt x="3365" y="771"/>
                </a:cubicBezTo>
                <a:cubicBezTo>
                  <a:pt x="3365" y="771"/>
                  <a:pt x="3365" y="771"/>
                  <a:pt x="3364" y="771"/>
                </a:cubicBezTo>
                <a:cubicBezTo>
                  <a:pt x="3364" y="770"/>
                  <a:pt x="3364" y="770"/>
                  <a:pt x="3363" y="770"/>
                </a:cubicBezTo>
                <a:cubicBezTo>
                  <a:pt x="3363" y="770"/>
                  <a:pt x="3363" y="770"/>
                  <a:pt x="3363" y="770"/>
                </a:cubicBezTo>
                <a:cubicBezTo>
                  <a:pt x="3362" y="769"/>
                  <a:pt x="3362" y="769"/>
                  <a:pt x="3362" y="769"/>
                </a:cubicBezTo>
                <a:cubicBezTo>
                  <a:pt x="3361" y="769"/>
                  <a:pt x="3361" y="769"/>
                  <a:pt x="3360" y="769"/>
                </a:cubicBezTo>
                <a:cubicBezTo>
                  <a:pt x="3359" y="770"/>
                  <a:pt x="3360" y="771"/>
                  <a:pt x="3361" y="771"/>
                </a:cubicBezTo>
                <a:cubicBezTo>
                  <a:pt x="3361" y="772"/>
                  <a:pt x="3360" y="772"/>
                  <a:pt x="3361" y="772"/>
                </a:cubicBezTo>
                <a:cubicBezTo>
                  <a:pt x="3361" y="773"/>
                  <a:pt x="3362" y="773"/>
                  <a:pt x="3362" y="773"/>
                </a:cubicBezTo>
                <a:cubicBezTo>
                  <a:pt x="3362" y="774"/>
                  <a:pt x="3361" y="775"/>
                  <a:pt x="3361" y="775"/>
                </a:cubicBezTo>
                <a:cubicBezTo>
                  <a:pt x="3360" y="776"/>
                  <a:pt x="3360" y="777"/>
                  <a:pt x="3359" y="777"/>
                </a:cubicBezTo>
                <a:close/>
                <a:moveTo>
                  <a:pt x="3461" y="1360"/>
                </a:moveTo>
                <a:cubicBezTo>
                  <a:pt x="3460" y="1360"/>
                  <a:pt x="3460" y="1359"/>
                  <a:pt x="3459" y="1359"/>
                </a:cubicBezTo>
                <a:cubicBezTo>
                  <a:pt x="3458" y="1359"/>
                  <a:pt x="3458" y="1360"/>
                  <a:pt x="3457" y="1360"/>
                </a:cubicBezTo>
                <a:cubicBezTo>
                  <a:pt x="3456" y="1360"/>
                  <a:pt x="3456" y="1359"/>
                  <a:pt x="3456" y="1359"/>
                </a:cubicBezTo>
                <a:cubicBezTo>
                  <a:pt x="3455" y="1359"/>
                  <a:pt x="3455" y="1360"/>
                  <a:pt x="3455" y="1360"/>
                </a:cubicBezTo>
                <a:cubicBezTo>
                  <a:pt x="3454" y="1360"/>
                  <a:pt x="3453" y="1359"/>
                  <a:pt x="3452" y="1359"/>
                </a:cubicBezTo>
                <a:cubicBezTo>
                  <a:pt x="3451" y="1359"/>
                  <a:pt x="3451" y="1359"/>
                  <a:pt x="3451" y="1360"/>
                </a:cubicBezTo>
                <a:cubicBezTo>
                  <a:pt x="3451" y="1361"/>
                  <a:pt x="3451" y="1362"/>
                  <a:pt x="3451" y="1363"/>
                </a:cubicBezTo>
                <a:cubicBezTo>
                  <a:pt x="3452" y="1363"/>
                  <a:pt x="3452" y="1363"/>
                  <a:pt x="3452" y="1363"/>
                </a:cubicBezTo>
                <a:cubicBezTo>
                  <a:pt x="3453" y="1363"/>
                  <a:pt x="3453" y="1364"/>
                  <a:pt x="3454" y="1364"/>
                </a:cubicBezTo>
                <a:cubicBezTo>
                  <a:pt x="3454" y="1364"/>
                  <a:pt x="3455" y="1364"/>
                  <a:pt x="3456" y="1364"/>
                </a:cubicBezTo>
                <a:cubicBezTo>
                  <a:pt x="3457" y="1365"/>
                  <a:pt x="3457" y="1365"/>
                  <a:pt x="3458" y="1365"/>
                </a:cubicBezTo>
                <a:cubicBezTo>
                  <a:pt x="3458" y="1366"/>
                  <a:pt x="3459" y="1366"/>
                  <a:pt x="3459" y="1366"/>
                </a:cubicBezTo>
                <a:cubicBezTo>
                  <a:pt x="3459" y="1366"/>
                  <a:pt x="3460" y="1367"/>
                  <a:pt x="3460" y="1367"/>
                </a:cubicBezTo>
                <a:cubicBezTo>
                  <a:pt x="3460" y="1367"/>
                  <a:pt x="3459" y="1367"/>
                  <a:pt x="3460" y="1367"/>
                </a:cubicBezTo>
                <a:cubicBezTo>
                  <a:pt x="3460" y="1368"/>
                  <a:pt x="3461" y="1367"/>
                  <a:pt x="3461" y="1367"/>
                </a:cubicBezTo>
                <a:cubicBezTo>
                  <a:pt x="3461" y="1367"/>
                  <a:pt x="3462" y="1367"/>
                  <a:pt x="3462" y="1367"/>
                </a:cubicBezTo>
                <a:cubicBezTo>
                  <a:pt x="3463" y="1367"/>
                  <a:pt x="3464" y="1367"/>
                  <a:pt x="3464" y="1368"/>
                </a:cubicBezTo>
                <a:cubicBezTo>
                  <a:pt x="3465" y="1368"/>
                  <a:pt x="3465" y="1369"/>
                  <a:pt x="3466" y="1369"/>
                </a:cubicBezTo>
                <a:cubicBezTo>
                  <a:pt x="3468" y="1370"/>
                  <a:pt x="3470" y="1370"/>
                  <a:pt x="3472" y="1369"/>
                </a:cubicBezTo>
                <a:cubicBezTo>
                  <a:pt x="3472" y="1369"/>
                  <a:pt x="3473" y="1368"/>
                  <a:pt x="3474" y="1368"/>
                </a:cubicBezTo>
                <a:cubicBezTo>
                  <a:pt x="3475" y="1368"/>
                  <a:pt x="3476" y="1368"/>
                  <a:pt x="3477" y="1368"/>
                </a:cubicBezTo>
                <a:cubicBezTo>
                  <a:pt x="3477" y="1367"/>
                  <a:pt x="3478" y="1367"/>
                  <a:pt x="3479" y="1367"/>
                </a:cubicBezTo>
                <a:cubicBezTo>
                  <a:pt x="3480" y="1366"/>
                  <a:pt x="3481" y="1367"/>
                  <a:pt x="3482" y="1366"/>
                </a:cubicBezTo>
                <a:cubicBezTo>
                  <a:pt x="3483" y="1366"/>
                  <a:pt x="3483" y="1365"/>
                  <a:pt x="3484" y="1365"/>
                </a:cubicBezTo>
                <a:cubicBezTo>
                  <a:pt x="3485" y="1364"/>
                  <a:pt x="3486" y="1364"/>
                  <a:pt x="3486" y="1363"/>
                </a:cubicBezTo>
                <a:cubicBezTo>
                  <a:pt x="3487" y="1363"/>
                  <a:pt x="3487" y="1363"/>
                  <a:pt x="3487" y="1362"/>
                </a:cubicBezTo>
                <a:cubicBezTo>
                  <a:pt x="3487" y="1362"/>
                  <a:pt x="3488" y="1362"/>
                  <a:pt x="3488" y="1361"/>
                </a:cubicBezTo>
                <a:cubicBezTo>
                  <a:pt x="3488" y="1361"/>
                  <a:pt x="3489" y="1360"/>
                  <a:pt x="3490" y="1360"/>
                </a:cubicBezTo>
                <a:cubicBezTo>
                  <a:pt x="3491" y="1360"/>
                  <a:pt x="3491" y="1361"/>
                  <a:pt x="3491" y="1361"/>
                </a:cubicBezTo>
                <a:cubicBezTo>
                  <a:pt x="3492" y="1361"/>
                  <a:pt x="3492" y="1361"/>
                  <a:pt x="3492" y="1360"/>
                </a:cubicBezTo>
                <a:cubicBezTo>
                  <a:pt x="3492" y="1360"/>
                  <a:pt x="3493" y="1360"/>
                  <a:pt x="3493" y="1360"/>
                </a:cubicBezTo>
                <a:cubicBezTo>
                  <a:pt x="3493" y="1360"/>
                  <a:pt x="3494" y="1360"/>
                  <a:pt x="3494" y="1360"/>
                </a:cubicBezTo>
                <a:cubicBezTo>
                  <a:pt x="3494" y="1359"/>
                  <a:pt x="3495" y="1359"/>
                  <a:pt x="3495" y="1358"/>
                </a:cubicBezTo>
                <a:cubicBezTo>
                  <a:pt x="3494" y="1358"/>
                  <a:pt x="3494" y="1357"/>
                  <a:pt x="3494" y="1357"/>
                </a:cubicBezTo>
                <a:cubicBezTo>
                  <a:pt x="3494" y="1357"/>
                  <a:pt x="3494" y="1356"/>
                  <a:pt x="3494" y="1356"/>
                </a:cubicBezTo>
                <a:cubicBezTo>
                  <a:pt x="3493" y="1355"/>
                  <a:pt x="3492" y="1355"/>
                  <a:pt x="3493" y="1354"/>
                </a:cubicBezTo>
                <a:cubicBezTo>
                  <a:pt x="3493" y="1354"/>
                  <a:pt x="3493" y="1353"/>
                  <a:pt x="3494" y="1354"/>
                </a:cubicBezTo>
                <a:cubicBezTo>
                  <a:pt x="3494" y="1354"/>
                  <a:pt x="3494" y="1354"/>
                  <a:pt x="3495" y="1354"/>
                </a:cubicBezTo>
                <a:cubicBezTo>
                  <a:pt x="3495" y="1354"/>
                  <a:pt x="3495" y="1354"/>
                  <a:pt x="3496" y="1354"/>
                </a:cubicBezTo>
                <a:cubicBezTo>
                  <a:pt x="3496" y="1353"/>
                  <a:pt x="3497" y="1353"/>
                  <a:pt x="3497" y="1353"/>
                </a:cubicBezTo>
                <a:cubicBezTo>
                  <a:pt x="3497" y="1353"/>
                  <a:pt x="3497" y="1352"/>
                  <a:pt x="3497" y="1352"/>
                </a:cubicBezTo>
                <a:cubicBezTo>
                  <a:pt x="3497" y="1351"/>
                  <a:pt x="3498" y="1351"/>
                  <a:pt x="3498" y="1351"/>
                </a:cubicBezTo>
                <a:cubicBezTo>
                  <a:pt x="3498" y="1350"/>
                  <a:pt x="3498" y="1350"/>
                  <a:pt x="3498" y="1350"/>
                </a:cubicBezTo>
                <a:cubicBezTo>
                  <a:pt x="3497" y="1349"/>
                  <a:pt x="3497" y="1350"/>
                  <a:pt x="3497" y="1349"/>
                </a:cubicBezTo>
                <a:cubicBezTo>
                  <a:pt x="3497" y="1348"/>
                  <a:pt x="3497" y="1348"/>
                  <a:pt x="3498" y="1348"/>
                </a:cubicBezTo>
                <a:cubicBezTo>
                  <a:pt x="3498" y="1348"/>
                  <a:pt x="3498" y="1347"/>
                  <a:pt x="3498" y="1347"/>
                </a:cubicBezTo>
                <a:cubicBezTo>
                  <a:pt x="3498" y="1346"/>
                  <a:pt x="3497" y="1347"/>
                  <a:pt x="3497" y="1347"/>
                </a:cubicBezTo>
                <a:cubicBezTo>
                  <a:pt x="3496" y="1347"/>
                  <a:pt x="3496" y="1347"/>
                  <a:pt x="3496" y="1346"/>
                </a:cubicBezTo>
                <a:cubicBezTo>
                  <a:pt x="3496" y="1346"/>
                  <a:pt x="3496" y="1346"/>
                  <a:pt x="3495" y="1346"/>
                </a:cubicBezTo>
                <a:cubicBezTo>
                  <a:pt x="3495" y="1346"/>
                  <a:pt x="3495" y="1346"/>
                  <a:pt x="3495" y="1346"/>
                </a:cubicBezTo>
                <a:cubicBezTo>
                  <a:pt x="3494" y="1345"/>
                  <a:pt x="3495" y="1345"/>
                  <a:pt x="3495" y="1345"/>
                </a:cubicBezTo>
                <a:cubicBezTo>
                  <a:pt x="3496" y="1345"/>
                  <a:pt x="3495" y="1345"/>
                  <a:pt x="3495" y="1344"/>
                </a:cubicBezTo>
                <a:cubicBezTo>
                  <a:pt x="3495" y="1344"/>
                  <a:pt x="3494" y="1345"/>
                  <a:pt x="3494" y="1345"/>
                </a:cubicBezTo>
                <a:cubicBezTo>
                  <a:pt x="3493" y="1345"/>
                  <a:pt x="3493" y="1345"/>
                  <a:pt x="3493" y="1345"/>
                </a:cubicBezTo>
                <a:cubicBezTo>
                  <a:pt x="3492" y="1346"/>
                  <a:pt x="3492" y="1346"/>
                  <a:pt x="3492" y="1346"/>
                </a:cubicBezTo>
                <a:cubicBezTo>
                  <a:pt x="3491" y="1345"/>
                  <a:pt x="3491" y="1345"/>
                  <a:pt x="3491" y="1345"/>
                </a:cubicBezTo>
                <a:cubicBezTo>
                  <a:pt x="3490" y="1345"/>
                  <a:pt x="3490" y="1345"/>
                  <a:pt x="3490" y="1345"/>
                </a:cubicBezTo>
                <a:cubicBezTo>
                  <a:pt x="3489" y="1345"/>
                  <a:pt x="3489" y="1344"/>
                  <a:pt x="3488" y="1345"/>
                </a:cubicBezTo>
                <a:cubicBezTo>
                  <a:pt x="3488" y="1345"/>
                  <a:pt x="3488" y="1345"/>
                  <a:pt x="3488" y="1346"/>
                </a:cubicBezTo>
                <a:cubicBezTo>
                  <a:pt x="3488" y="1346"/>
                  <a:pt x="3488" y="1346"/>
                  <a:pt x="3488" y="1347"/>
                </a:cubicBezTo>
                <a:cubicBezTo>
                  <a:pt x="3488" y="1347"/>
                  <a:pt x="3488" y="1348"/>
                  <a:pt x="3489" y="1348"/>
                </a:cubicBezTo>
                <a:cubicBezTo>
                  <a:pt x="3489" y="1349"/>
                  <a:pt x="3488" y="1351"/>
                  <a:pt x="3488" y="1352"/>
                </a:cubicBezTo>
                <a:cubicBezTo>
                  <a:pt x="3489" y="1352"/>
                  <a:pt x="3489" y="1353"/>
                  <a:pt x="3489" y="1353"/>
                </a:cubicBezTo>
                <a:cubicBezTo>
                  <a:pt x="3488" y="1353"/>
                  <a:pt x="3488" y="1353"/>
                  <a:pt x="3487" y="1353"/>
                </a:cubicBezTo>
                <a:cubicBezTo>
                  <a:pt x="3486" y="1353"/>
                  <a:pt x="3485" y="1354"/>
                  <a:pt x="3484" y="1354"/>
                </a:cubicBezTo>
                <a:cubicBezTo>
                  <a:pt x="3483" y="1355"/>
                  <a:pt x="3483" y="1356"/>
                  <a:pt x="3482" y="1356"/>
                </a:cubicBezTo>
                <a:cubicBezTo>
                  <a:pt x="3482" y="1357"/>
                  <a:pt x="3482" y="1358"/>
                  <a:pt x="3481" y="1358"/>
                </a:cubicBezTo>
                <a:cubicBezTo>
                  <a:pt x="3481" y="1359"/>
                  <a:pt x="3480" y="1359"/>
                  <a:pt x="3479" y="1359"/>
                </a:cubicBezTo>
                <a:cubicBezTo>
                  <a:pt x="3479" y="1360"/>
                  <a:pt x="3478" y="1360"/>
                  <a:pt x="3478" y="1360"/>
                </a:cubicBezTo>
                <a:cubicBezTo>
                  <a:pt x="3477" y="1360"/>
                  <a:pt x="3477" y="1360"/>
                  <a:pt x="3476" y="1360"/>
                </a:cubicBezTo>
                <a:cubicBezTo>
                  <a:pt x="3476" y="1359"/>
                  <a:pt x="3475" y="1359"/>
                  <a:pt x="3475" y="1359"/>
                </a:cubicBezTo>
                <a:cubicBezTo>
                  <a:pt x="3474" y="1360"/>
                  <a:pt x="3474" y="1360"/>
                  <a:pt x="3473" y="1360"/>
                </a:cubicBezTo>
                <a:cubicBezTo>
                  <a:pt x="3473" y="1360"/>
                  <a:pt x="3472" y="1360"/>
                  <a:pt x="3472" y="1360"/>
                </a:cubicBezTo>
                <a:cubicBezTo>
                  <a:pt x="3472" y="1360"/>
                  <a:pt x="3471" y="1359"/>
                  <a:pt x="3471" y="1359"/>
                </a:cubicBezTo>
                <a:cubicBezTo>
                  <a:pt x="3471" y="1359"/>
                  <a:pt x="3472" y="1358"/>
                  <a:pt x="3471" y="1358"/>
                </a:cubicBezTo>
                <a:cubicBezTo>
                  <a:pt x="3471" y="1357"/>
                  <a:pt x="3471" y="1358"/>
                  <a:pt x="3471" y="1357"/>
                </a:cubicBezTo>
                <a:cubicBezTo>
                  <a:pt x="3471" y="1357"/>
                  <a:pt x="3471" y="1356"/>
                  <a:pt x="3471" y="1356"/>
                </a:cubicBezTo>
                <a:cubicBezTo>
                  <a:pt x="3471" y="1356"/>
                  <a:pt x="3472" y="1356"/>
                  <a:pt x="3472" y="1355"/>
                </a:cubicBezTo>
                <a:cubicBezTo>
                  <a:pt x="3473" y="1354"/>
                  <a:pt x="3472" y="1354"/>
                  <a:pt x="3471" y="1354"/>
                </a:cubicBezTo>
                <a:cubicBezTo>
                  <a:pt x="3470" y="1355"/>
                  <a:pt x="3470" y="1356"/>
                  <a:pt x="3470" y="1357"/>
                </a:cubicBezTo>
                <a:cubicBezTo>
                  <a:pt x="3470" y="1357"/>
                  <a:pt x="3469" y="1357"/>
                  <a:pt x="3469" y="1358"/>
                </a:cubicBezTo>
                <a:cubicBezTo>
                  <a:pt x="3470" y="1358"/>
                  <a:pt x="3470" y="1358"/>
                  <a:pt x="3470" y="1359"/>
                </a:cubicBezTo>
                <a:cubicBezTo>
                  <a:pt x="3470" y="1360"/>
                  <a:pt x="3469" y="1360"/>
                  <a:pt x="3468" y="1360"/>
                </a:cubicBezTo>
                <a:cubicBezTo>
                  <a:pt x="3467" y="1360"/>
                  <a:pt x="3467" y="1360"/>
                  <a:pt x="3467" y="1360"/>
                </a:cubicBezTo>
                <a:cubicBezTo>
                  <a:pt x="3466" y="1360"/>
                  <a:pt x="3466" y="1360"/>
                  <a:pt x="3466" y="1360"/>
                </a:cubicBezTo>
                <a:cubicBezTo>
                  <a:pt x="3465" y="1360"/>
                  <a:pt x="3464" y="1360"/>
                  <a:pt x="3463" y="1361"/>
                </a:cubicBezTo>
                <a:cubicBezTo>
                  <a:pt x="3463" y="1361"/>
                  <a:pt x="3462" y="1361"/>
                  <a:pt x="3461" y="1360"/>
                </a:cubicBezTo>
                <a:close/>
                <a:moveTo>
                  <a:pt x="3468" y="736"/>
                </a:moveTo>
                <a:cubicBezTo>
                  <a:pt x="3469" y="736"/>
                  <a:pt x="3469" y="735"/>
                  <a:pt x="3470" y="735"/>
                </a:cubicBezTo>
                <a:cubicBezTo>
                  <a:pt x="3471" y="734"/>
                  <a:pt x="3472" y="733"/>
                  <a:pt x="3473" y="732"/>
                </a:cubicBezTo>
                <a:cubicBezTo>
                  <a:pt x="3474" y="732"/>
                  <a:pt x="3475" y="731"/>
                  <a:pt x="3476" y="730"/>
                </a:cubicBezTo>
                <a:cubicBezTo>
                  <a:pt x="3477" y="730"/>
                  <a:pt x="3477" y="729"/>
                  <a:pt x="3476" y="729"/>
                </a:cubicBezTo>
                <a:cubicBezTo>
                  <a:pt x="3475" y="729"/>
                  <a:pt x="3474" y="729"/>
                  <a:pt x="3473" y="729"/>
                </a:cubicBezTo>
                <a:cubicBezTo>
                  <a:pt x="3472" y="730"/>
                  <a:pt x="3472" y="731"/>
                  <a:pt x="3471" y="731"/>
                </a:cubicBezTo>
                <a:cubicBezTo>
                  <a:pt x="3471" y="731"/>
                  <a:pt x="3470" y="731"/>
                  <a:pt x="3470" y="732"/>
                </a:cubicBezTo>
                <a:cubicBezTo>
                  <a:pt x="3469" y="732"/>
                  <a:pt x="3469" y="732"/>
                  <a:pt x="3468" y="733"/>
                </a:cubicBezTo>
                <a:cubicBezTo>
                  <a:pt x="3468" y="733"/>
                  <a:pt x="3468" y="734"/>
                  <a:pt x="3467" y="734"/>
                </a:cubicBezTo>
                <a:cubicBezTo>
                  <a:pt x="3467" y="735"/>
                  <a:pt x="3466" y="736"/>
                  <a:pt x="3466" y="736"/>
                </a:cubicBezTo>
                <a:cubicBezTo>
                  <a:pt x="3465" y="737"/>
                  <a:pt x="3464" y="738"/>
                  <a:pt x="3465" y="738"/>
                </a:cubicBezTo>
                <a:cubicBezTo>
                  <a:pt x="3465" y="739"/>
                  <a:pt x="3465" y="738"/>
                  <a:pt x="3465" y="738"/>
                </a:cubicBezTo>
                <a:cubicBezTo>
                  <a:pt x="3466" y="737"/>
                  <a:pt x="3467" y="737"/>
                  <a:pt x="3468" y="736"/>
                </a:cubicBezTo>
                <a:close/>
                <a:moveTo>
                  <a:pt x="3792" y="654"/>
                </a:moveTo>
                <a:cubicBezTo>
                  <a:pt x="3792" y="655"/>
                  <a:pt x="3793" y="655"/>
                  <a:pt x="3793" y="655"/>
                </a:cubicBezTo>
                <a:cubicBezTo>
                  <a:pt x="3794" y="656"/>
                  <a:pt x="3795" y="656"/>
                  <a:pt x="3796" y="657"/>
                </a:cubicBezTo>
                <a:cubicBezTo>
                  <a:pt x="3796" y="657"/>
                  <a:pt x="3796" y="658"/>
                  <a:pt x="3797" y="658"/>
                </a:cubicBezTo>
                <a:cubicBezTo>
                  <a:pt x="3797" y="658"/>
                  <a:pt x="3797" y="659"/>
                  <a:pt x="3797" y="660"/>
                </a:cubicBezTo>
                <a:cubicBezTo>
                  <a:pt x="3798" y="661"/>
                  <a:pt x="3798" y="660"/>
                  <a:pt x="3798" y="660"/>
                </a:cubicBezTo>
                <a:cubicBezTo>
                  <a:pt x="3798" y="659"/>
                  <a:pt x="3799" y="660"/>
                  <a:pt x="3799" y="660"/>
                </a:cubicBezTo>
                <a:cubicBezTo>
                  <a:pt x="3799" y="660"/>
                  <a:pt x="3800" y="660"/>
                  <a:pt x="3801" y="659"/>
                </a:cubicBezTo>
                <a:cubicBezTo>
                  <a:pt x="3801" y="659"/>
                  <a:pt x="3801" y="659"/>
                  <a:pt x="3800" y="659"/>
                </a:cubicBezTo>
                <a:cubicBezTo>
                  <a:pt x="3800" y="658"/>
                  <a:pt x="3799" y="658"/>
                  <a:pt x="3799" y="658"/>
                </a:cubicBezTo>
                <a:cubicBezTo>
                  <a:pt x="3798" y="659"/>
                  <a:pt x="3798" y="658"/>
                  <a:pt x="3798" y="658"/>
                </a:cubicBezTo>
                <a:cubicBezTo>
                  <a:pt x="3798" y="657"/>
                  <a:pt x="3797" y="657"/>
                  <a:pt x="3796" y="656"/>
                </a:cubicBezTo>
                <a:cubicBezTo>
                  <a:pt x="3796" y="656"/>
                  <a:pt x="3796" y="655"/>
                  <a:pt x="3796" y="655"/>
                </a:cubicBezTo>
                <a:cubicBezTo>
                  <a:pt x="3795" y="655"/>
                  <a:pt x="3794" y="655"/>
                  <a:pt x="3794" y="654"/>
                </a:cubicBezTo>
                <a:cubicBezTo>
                  <a:pt x="3793" y="654"/>
                  <a:pt x="3793" y="654"/>
                  <a:pt x="3793" y="654"/>
                </a:cubicBezTo>
                <a:cubicBezTo>
                  <a:pt x="3793" y="654"/>
                  <a:pt x="3792" y="654"/>
                  <a:pt x="3792" y="654"/>
                </a:cubicBezTo>
                <a:close/>
                <a:moveTo>
                  <a:pt x="3433" y="763"/>
                </a:moveTo>
                <a:cubicBezTo>
                  <a:pt x="3433" y="763"/>
                  <a:pt x="3434" y="763"/>
                  <a:pt x="3434" y="762"/>
                </a:cubicBezTo>
                <a:cubicBezTo>
                  <a:pt x="3434" y="762"/>
                  <a:pt x="3434" y="762"/>
                  <a:pt x="3434" y="762"/>
                </a:cubicBezTo>
                <a:cubicBezTo>
                  <a:pt x="3434" y="762"/>
                  <a:pt x="3434" y="762"/>
                  <a:pt x="3434" y="762"/>
                </a:cubicBezTo>
                <a:cubicBezTo>
                  <a:pt x="3433" y="762"/>
                  <a:pt x="3431" y="763"/>
                  <a:pt x="3432" y="764"/>
                </a:cubicBezTo>
                <a:cubicBezTo>
                  <a:pt x="3432" y="764"/>
                  <a:pt x="3432" y="763"/>
                  <a:pt x="3433" y="763"/>
                </a:cubicBezTo>
                <a:close/>
                <a:moveTo>
                  <a:pt x="3377" y="635"/>
                </a:moveTo>
                <a:cubicBezTo>
                  <a:pt x="3377" y="636"/>
                  <a:pt x="3376" y="636"/>
                  <a:pt x="3376" y="637"/>
                </a:cubicBezTo>
                <a:cubicBezTo>
                  <a:pt x="3376" y="638"/>
                  <a:pt x="3376" y="639"/>
                  <a:pt x="3376" y="640"/>
                </a:cubicBezTo>
                <a:cubicBezTo>
                  <a:pt x="3376" y="640"/>
                  <a:pt x="3376" y="641"/>
                  <a:pt x="3375" y="642"/>
                </a:cubicBezTo>
                <a:cubicBezTo>
                  <a:pt x="3375" y="642"/>
                  <a:pt x="3375" y="643"/>
                  <a:pt x="3375" y="644"/>
                </a:cubicBezTo>
                <a:cubicBezTo>
                  <a:pt x="3375" y="645"/>
                  <a:pt x="3375" y="646"/>
                  <a:pt x="3376" y="647"/>
                </a:cubicBezTo>
                <a:cubicBezTo>
                  <a:pt x="3376" y="647"/>
                  <a:pt x="3377" y="648"/>
                  <a:pt x="3377" y="648"/>
                </a:cubicBezTo>
                <a:cubicBezTo>
                  <a:pt x="3378" y="649"/>
                  <a:pt x="3377" y="650"/>
                  <a:pt x="3378" y="651"/>
                </a:cubicBezTo>
                <a:cubicBezTo>
                  <a:pt x="3378" y="651"/>
                  <a:pt x="3379" y="651"/>
                  <a:pt x="3379" y="652"/>
                </a:cubicBezTo>
                <a:cubicBezTo>
                  <a:pt x="3379" y="652"/>
                  <a:pt x="3379" y="652"/>
                  <a:pt x="3380" y="653"/>
                </a:cubicBezTo>
                <a:cubicBezTo>
                  <a:pt x="3380" y="653"/>
                  <a:pt x="3380" y="654"/>
                  <a:pt x="3380" y="654"/>
                </a:cubicBezTo>
                <a:cubicBezTo>
                  <a:pt x="3380" y="655"/>
                  <a:pt x="3381" y="655"/>
                  <a:pt x="3381" y="655"/>
                </a:cubicBezTo>
                <a:cubicBezTo>
                  <a:pt x="3381" y="656"/>
                  <a:pt x="3382" y="657"/>
                  <a:pt x="3382" y="657"/>
                </a:cubicBezTo>
                <a:cubicBezTo>
                  <a:pt x="3382" y="658"/>
                  <a:pt x="3382" y="659"/>
                  <a:pt x="3381" y="660"/>
                </a:cubicBezTo>
                <a:cubicBezTo>
                  <a:pt x="3381" y="661"/>
                  <a:pt x="3380" y="662"/>
                  <a:pt x="3380" y="663"/>
                </a:cubicBezTo>
                <a:cubicBezTo>
                  <a:pt x="3379" y="665"/>
                  <a:pt x="3381" y="667"/>
                  <a:pt x="3381" y="669"/>
                </a:cubicBezTo>
                <a:cubicBezTo>
                  <a:pt x="3381" y="671"/>
                  <a:pt x="3380" y="672"/>
                  <a:pt x="3381" y="674"/>
                </a:cubicBezTo>
                <a:cubicBezTo>
                  <a:pt x="3381" y="675"/>
                  <a:pt x="3381" y="675"/>
                  <a:pt x="3381" y="675"/>
                </a:cubicBezTo>
                <a:cubicBezTo>
                  <a:pt x="3381" y="676"/>
                  <a:pt x="3381" y="677"/>
                  <a:pt x="3381" y="677"/>
                </a:cubicBezTo>
                <a:cubicBezTo>
                  <a:pt x="3380" y="679"/>
                  <a:pt x="3380" y="680"/>
                  <a:pt x="3380" y="681"/>
                </a:cubicBezTo>
                <a:cubicBezTo>
                  <a:pt x="3379" y="683"/>
                  <a:pt x="3379" y="684"/>
                  <a:pt x="3378" y="686"/>
                </a:cubicBezTo>
                <a:cubicBezTo>
                  <a:pt x="3378" y="688"/>
                  <a:pt x="3377" y="689"/>
                  <a:pt x="3378" y="691"/>
                </a:cubicBezTo>
                <a:cubicBezTo>
                  <a:pt x="3378" y="692"/>
                  <a:pt x="3378" y="693"/>
                  <a:pt x="3378" y="694"/>
                </a:cubicBezTo>
                <a:cubicBezTo>
                  <a:pt x="3378" y="695"/>
                  <a:pt x="3379" y="696"/>
                  <a:pt x="3380" y="697"/>
                </a:cubicBezTo>
                <a:cubicBezTo>
                  <a:pt x="3380" y="697"/>
                  <a:pt x="3380" y="697"/>
                  <a:pt x="3380" y="698"/>
                </a:cubicBezTo>
                <a:cubicBezTo>
                  <a:pt x="3381" y="699"/>
                  <a:pt x="3380" y="699"/>
                  <a:pt x="3381" y="700"/>
                </a:cubicBezTo>
                <a:cubicBezTo>
                  <a:pt x="3381" y="701"/>
                  <a:pt x="3381" y="702"/>
                  <a:pt x="3381" y="703"/>
                </a:cubicBezTo>
                <a:cubicBezTo>
                  <a:pt x="3381" y="703"/>
                  <a:pt x="3381" y="704"/>
                  <a:pt x="3381" y="704"/>
                </a:cubicBezTo>
                <a:cubicBezTo>
                  <a:pt x="3380" y="705"/>
                  <a:pt x="3380" y="705"/>
                  <a:pt x="3380" y="706"/>
                </a:cubicBezTo>
                <a:cubicBezTo>
                  <a:pt x="3379" y="706"/>
                  <a:pt x="3379" y="707"/>
                  <a:pt x="3379" y="708"/>
                </a:cubicBezTo>
                <a:cubicBezTo>
                  <a:pt x="3379" y="709"/>
                  <a:pt x="3379" y="710"/>
                  <a:pt x="3379" y="710"/>
                </a:cubicBezTo>
                <a:cubicBezTo>
                  <a:pt x="3379" y="711"/>
                  <a:pt x="3379" y="712"/>
                  <a:pt x="3379" y="713"/>
                </a:cubicBezTo>
                <a:cubicBezTo>
                  <a:pt x="3380" y="713"/>
                  <a:pt x="3380" y="714"/>
                  <a:pt x="3380" y="715"/>
                </a:cubicBezTo>
                <a:cubicBezTo>
                  <a:pt x="3380" y="716"/>
                  <a:pt x="3380" y="717"/>
                  <a:pt x="3379" y="718"/>
                </a:cubicBezTo>
                <a:cubicBezTo>
                  <a:pt x="3379" y="718"/>
                  <a:pt x="3379" y="719"/>
                  <a:pt x="3379" y="720"/>
                </a:cubicBezTo>
                <a:cubicBezTo>
                  <a:pt x="3378" y="721"/>
                  <a:pt x="3378" y="722"/>
                  <a:pt x="3378" y="722"/>
                </a:cubicBezTo>
                <a:cubicBezTo>
                  <a:pt x="3377" y="723"/>
                  <a:pt x="3377" y="724"/>
                  <a:pt x="3377" y="725"/>
                </a:cubicBezTo>
                <a:cubicBezTo>
                  <a:pt x="3377" y="726"/>
                  <a:pt x="3377" y="726"/>
                  <a:pt x="3378" y="727"/>
                </a:cubicBezTo>
                <a:cubicBezTo>
                  <a:pt x="3378" y="728"/>
                  <a:pt x="3378" y="729"/>
                  <a:pt x="3378" y="730"/>
                </a:cubicBezTo>
                <a:cubicBezTo>
                  <a:pt x="3378" y="731"/>
                  <a:pt x="3378" y="731"/>
                  <a:pt x="3379" y="732"/>
                </a:cubicBezTo>
                <a:cubicBezTo>
                  <a:pt x="3380" y="732"/>
                  <a:pt x="3380" y="733"/>
                  <a:pt x="3380" y="733"/>
                </a:cubicBezTo>
                <a:cubicBezTo>
                  <a:pt x="3381" y="733"/>
                  <a:pt x="3381" y="732"/>
                  <a:pt x="3381" y="732"/>
                </a:cubicBezTo>
                <a:cubicBezTo>
                  <a:pt x="3381" y="731"/>
                  <a:pt x="3381" y="730"/>
                  <a:pt x="3382" y="729"/>
                </a:cubicBezTo>
                <a:cubicBezTo>
                  <a:pt x="3382" y="728"/>
                  <a:pt x="3382" y="728"/>
                  <a:pt x="3383" y="727"/>
                </a:cubicBezTo>
                <a:cubicBezTo>
                  <a:pt x="3384" y="726"/>
                  <a:pt x="3383" y="724"/>
                  <a:pt x="3385" y="723"/>
                </a:cubicBezTo>
                <a:cubicBezTo>
                  <a:pt x="3385" y="722"/>
                  <a:pt x="3386" y="722"/>
                  <a:pt x="3386" y="722"/>
                </a:cubicBezTo>
                <a:cubicBezTo>
                  <a:pt x="3386" y="722"/>
                  <a:pt x="3387" y="722"/>
                  <a:pt x="3387" y="722"/>
                </a:cubicBezTo>
                <a:cubicBezTo>
                  <a:pt x="3388" y="722"/>
                  <a:pt x="3387" y="722"/>
                  <a:pt x="3388" y="723"/>
                </a:cubicBezTo>
                <a:cubicBezTo>
                  <a:pt x="3388" y="723"/>
                  <a:pt x="3388" y="723"/>
                  <a:pt x="3388" y="723"/>
                </a:cubicBezTo>
                <a:cubicBezTo>
                  <a:pt x="3389" y="724"/>
                  <a:pt x="3390" y="724"/>
                  <a:pt x="3391" y="724"/>
                </a:cubicBezTo>
                <a:cubicBezTo>
                  <a:pt x="3391" y="724"/>
                  <a:pt x="3392" y="724"/>
                  <a:pt x="3393" y="724"/>
                </a:cubicBezTo>
                <a:cubicBezTo>
                  <a:pt x="3393" y="724"/>
                  <a:pt x="3393" y="724"/>
                  <a:pt x="3394" y="724"/>
                </a:cubicBezTo>
                <a:cubicBezTo>
                  <a:pt x="3394" y="724"/>
                  <a:pt x="3395" y="725"/>
                  <a:pt x="3395" y="725"/>
                </a:cubicBezTo>
                <a:cubicBezTo>
                  <a:pt x="3395" y="725"/>
                  <a:pt x="3394" y="725"/>
                  <a:pt x="3394" y="726"/>
                </a:cubicBezTo>
                <a:cubicBezTo>
                  <a:pt x="3394" y="726"/>
                  <a:pt x="3395" y="726"/>
                  <a:pt x="3395" y="727"/>
                </a:cubicBezTo>
                <a:cubicBezTo>
                  <a:pt x="3395" y="727"/>
                  <a:pt x="3395" y="728"/>
                  <a:pt x="3395" y="728"/>
                </a:cubicBezTo>
                <a:cubicBezTo>
                  <a:pt x="3395" y="728"/>
                  <a:pt x="3395" y="729"/>
                  <a:pt x="3395" y="729"/>
                </a:cubicBezTo>
                <a:cubicBezTo>
                  <a:pt x="3396" y="729"/>
                  <a:pt x="3395" y="731"/>
                  <a:pt x="3396" y="731"/>
                </a:cubicBezTo>
                <a:cubicBezTo>
                  <a:pt x="3396" y="731"/>
                  <a:pt x="3396" y="730"/>
                  <a:pt x="3396" y="730"/>
                </a:cubicBezTo>
                <a:cubicBezTo>
                  <a:pt x="3396" y="730"/>
                  <a:pt x="3396" y="729"/>
                  <a:pt x="3397" y="729"/>
                </a:cubicBezTo>
                <a:cubicBezTo>
                  <a:pt x="3397" y="728"/>
                  <a:pt x="3398" y="727"/>
                  <a:pt x="3398" y="727"/>
                </a:cubicBezTo>
                <a:cubicBezTo>
                  <a:pt x="3398" y="726"/>
                  <a:pt x="3397" y="726"/>
                  <a:pt x="3397" y="726"/>
                </a:cubicBezTo>
                <a:cubicBezTo>
                  <a:pt x="3397" y="726"/>
                  <a:pt x="3397" y="725"/>
                  <a:pt x="3397" y="725"/>
                </a:cubicBezTo>
                <a:cubicBezTo>
                  <a:pt x="3397" y="724"/>
                  <a:pt x="3396" y="724"/>
                  <a:pt x="3396" y="723"/>
                </a:cubicBezTo>
                <a:cubicBezTo>
                  <a:pt x="3396" y="722"/>
                  <a:pt x="3397" y="721"/>
                  <a:pt x="3396" y="720"/>
                </a:cubicBezTo>
                <a:cubicBezTo>
                  <a:pt x="3395" y="720"/>
                  <a:pt x="3394" y="720"/>
                  <a:pt x="3394" y="720"/>
                </a:cubicBezTo>
                <a:cubicBezTo>
                  <a:pt x="3393" y="720"/>
                  <a:pt x="3393" y="719"/>
                  <a:pt x="3393" y="720"/>
                </a:cubicBezTo>
                <a:cubicBezTo>
                  <a:pt x="3392" y="720"/>
                  <a:pt x="3393" y="720"/>
                  <a:pt x="3393" y="720"/>
                </a:cubicBezTo>
                <a:cubicBezTo>
                  <a:pt x="3393" y="721"/>
                  <a:pt x="3393" y="721"/>
                  <a:pt x="3394" y="721"/>
                </a:cubicBezTo>
                <a:cubicBezTo>
                  <a:pt x="3394" y="721"/>
                  <a:pt x="3394" y="721"/>
                  <a:pt x="3394" y="722"/>
                </a:cubicBezTo>
                <a:cubicBezTo>
                  <a:pt x="3394" y="722"/>
                  <a:pt x="3393" y="722"/>
                  <a:pt x="3393" y="722"/>
                </a:cubicBezTo>
                <a:cubicBezTo>
                  <a:pt x="3393" y="722"/>
                  <a:pt x="3393" y="721"/>
                  <a:pt x="3392" y="721"/>
                </a:cubicBezTo>
                <a:cubicBezTo>
                  <a:pt x="3392" y="720"/>
                  <a:pt x="3392" y="719"/>
                  <a:pt x="3392" y="719"/>
                </a:cubicBezTo>
                <a:cubicBezTo>
                  <a:pt x="3391" y="717"/>
                  <a:pt x="3391" y="715"/>
                  <a:pt x="3390" y="714"/>
                </a:cubicBezTo>
                <a:cubicBezTo>
                  <a:pt x="3389" y="714"/>
                  <a:pt x="3389" y="713"/>
                  <a:pt x="3388" y="712"/>
                </a:cubicBezTo>
                <a:cubicBezTo>
                  <a:pt x="3388" y="712"/>
                  <a:pt x="3388" y="712"/>
                  <a:pt x="3387" y="711"/>
                </a:cubicBezTo>
                <a:cubicBezTo>
                  <a:pt x="3387" y="711"/>
                  <a:pt x="3387" y="710"/>
                  <a:pt x="3387" y="710"/>
                </a:cubicBezTo>
                <a:cubicBezTo>
                  <a:pt x="3387" y="709"/>
                  <a:pt x="3386" y="709"/>
                  <a:pt x="3386" y="708"/>
                </a:cubicBezTo>
                <a:cubicBezTo>
                  <a:pt x="3385" y="706"/>
                  <a:pt x="3385" y="704"/>
                  <a:pt x="3386" y="702"/>
                </a:cubicBezTo>
                <a:cubicBezTo>
                  <a:pt x="3386" y="701"/>
                  <a:pt x="3387" y="701"/>
                  <a:pt x="3387" y="700"/>
                </a:cubicBezTo>
                <a:cubicBezTo>
                  <a:pt x="3387" y="699"/>
                  <a:pt x="3388" y="699"/>
                  <a:pt x="3388" y="698"/>
                </a:cubicBezTo>
                <a:cubicBezTo>
                  <a:pt x="3388" y="697"/>
                  <a:pt x="3388" y="696"/>
                  <a:pt x="3388" y="695"/>
                </a:cubicBezTo>
                <a:cubicBezTo>
                  <a:pt x="3388" y="694"/>
                  <a:pt x="3389" y="694"/>
                  <a:pt x="3389" y="693"/>
                </a:cubicBezTo>
                <a:cubicBezTo>
                  <a:pt x="3390" y="692"/>
                  <a:pt x="3390" y="691"/>
                  <a:pt x="3390" y="690"/>
                </a:cubicBezTo>
                <a:cubicBezTo>
                  <a:pt x="3390" y="690"/>
                  <a:pt x="3391" y="689"/>
                  <a:pt x="3391" y="688"/>
                </a:cubicBezTo>
                <a:cubicBezTo>
                  <a:pt x="3391" y="687"/>
                  <a:pt x="3392" y="686"/>
                  <a:pt x="3392" y="685"/>
                </a:cubicBezTo>
                <a:cubicBezTo>
                  <a:pt x="3394" y="684"/>
                  <a:pt x="3395" y="685"/>
                  <a:pt x="3397" y="685"/>
                </a:cubicBezTo>
                <a:cubicBezTo>
                  <a:pt x="3397" y="684"/>
                  <a:pt x="3398" y="683"/>
                  <a:pt x="3399" y="684"/>
                </a:cubicBezTo>
                <a:cubicBezTo>
                  <a:pt x="3399" y="684"/>
                  <a:pt x="3399" y="684"/>
                  <a:pt x="3399" y="685"/>
                </a:cubicBezTo>
                <a:cubicBezTo>
                  <a:pt x="3400" y="685"/>
                  <a:pt x="3400" y="685"/>
                  <a:pt x="3401" y="685"/>
                </a:cubicBezTo>
                <a:cubicBezTo>
                  <a:pt x="3401" y="685"/>
                  <a:pt x="3402" y="685"/>
                  <a:pt x="3403" y="686"/>
                </a:cubicBezTo>
                <a:cubicBezTo>
                  <a:pt x="3404" y="686"/>
                  <a:pt x="3404" y="686"/>
                  <a:pt x="3404" y="687"/>
                </a:cubicBezTo>
                <a:cubicBezTo>
                  <a:pt x="3405" y="688"/>
                  <a:pt x="3405" y="688"/>
                  <a:pt x="3406" y="689"/>
                </a:cubicBezTo>
                <a:cubicBezTo>
                  <a:pt x="3407" y="689"/>
                  <a:pt x="3407" y="689"/>
                  <a:pt x="3408" y="690"/>
                </a:cubicBezTo>
                <a:cubicBezTo>
                  <a:pt x="3408" y="691"/>
                  <a:pt x="3408" y="691"/>
                  <a:pt x="3409" y="692"/>
                </a:cubicBezTo>
                <a:cubicBezTo>
                  <a:pt x="3409" y="692"/>
                  <a:pt x="3410" y="693"/>
                  <a:pt x="3410" y="692"/>
                </a:cubicBezTo>
                <a:cubicBezTo>
                  <a:pt x="3410" y="691"/>
                  <a:pt x="3408" y="689"/>
                  <a:pt x="3408" y="689"/>
                </a:cubicBezTo>
                <a:cubicBezTo>
                  <a:pt x="3407" y="688"/>
                  <a:pt x="3406" y="687"/>
                  <a:pt x="3406" y="687"/>
                </a:cubicBezTo>
                <a:cubicBezTo>
                  <a:pt x="3405" y="686"/>
                  <a:pt x="3405" y="685"/>
                  <a:pt x="3405" y="684"/>
                </a:cubicBezTo>
                <a:cubicBezTo>
                  <a:pt x="3405" y="683"/>
                  <a:pt x="3405" y="682"/>
                  <a:pt x="3405" y="681"/>
                </a:cubicBezTo>
                <a:cubicBezTo>
                  <a:pt x="3404" y="681"/>
                  <a:pt x="3404" y="680"/>
                  <a:pt x="3404" y="679"/>
                </a:cubicBezTo>
                <a:cubicBezTo>
                  <a:pt x="3403" y="679"/>
                  <a:pt x="3403" y="678"/>
                  <a:pt x="3403" y="677"/>
                </a:cubicBezTo>
                <a:cubicBezTo>
                  <a:pt x="3403" y="675"/>
                  <a:pt x="3402" y="674"/>
                  <a:pt x="3401" y="672"/>
                </a:cubicBezTo>
                <a:cubicBezTo>
                  <a:pt x="3401" y="671"/>
                  <a:pt x="3401" y="670"/>
                  <a:pt x="3400" y="669"/>
                </a:cubicBezTo>
                <a:cubicBezTo>
                  <a:pt x="3400" y="668"/>
                  <a:pt x="3400" y="667"/>
                  <a:pt x="3399" y="666"/>
                </a:cubicBezTo>
                <a:cubicBezTo>
                  <a:pt x="3399" y="665"/>
                  <a:pt x="3399" y="664"/>
                  <a:pt x="3399" y="663"/>
                </a:cubicBezTo>
                <a:cubicBezTo>
                  <a:pt x="3398" y="662"/>
                  <a:pt x="3398" y="660"/>
                  <a:pt x="3398" y="659"/>
                </a:cubicBezTo>
                <a:cubicBezTo>
                  <a:pt x="3398" y="659"/>
                  <a:pt x="3397" y="658"/>
                  <a:pt x="3397" y="658"/>
                </a:cubicBezTo>
                <a:cubicBezTo>
                  <a:pt x="3397" y="657"/>
                  <a:pt x="3397" y="657"/>
                  <a:pt x="3397" y="657"/>
                </a:cubicBezTo>
                <a:cubicBezTo>
                  <a:pt x="3397" y="656"/>
                  <a:pt x="3397" y="655"/>
                  <a:pt x="3396" y="655"/>
                </a:cubicBezTo>
                <a:cubicBezTo>
                  <a:pt x="3396" y="654"/>
                  <a:pt x="3395" y="654"/>
                  <a:pt x="3395" y="654"/>
                </a:cubicBezTo>
                <a:cubicBezTo>
                  <a:pt x="3395" y="654"/>
                  <a:pt x="3395" y="653"/>
                  <a:pt x="3395" y="653"/>
                </a:cubicBezTo>
                <a:cubicBezTo>
                  <a:pt x="3395" y="652"/>
                  <a:pt x="3396" y="652"/>
                  <a:pt x="3395" y="651"/>
                </a:cubicBezTo>
                <a:cubicBezTo>
                  <a:pt x="3395" y="650"/>
                  <a:pt x="3395" y="650"/>
                  <a:pt x="3395" y="650"/>
                </a:cubicBezTo>
                <a:cubicBezTo>
                  <a:pt x="3395" y="650"/>
                  <a:pt x="3395" y="649"/>
                  <a:pt x="3394" y="649"/>
                </a:cubicBezTo>
                <a:cubicBezTo>
                  <a:pt x="3394" y="650"/>
                  <a:pt x="3394" y="651"/>
                  <a:pt x="3393" y="651"/>
                </a:cubicBezTo>
                <a:cubicBezTo>
                  <a:pt x="3393" y="651"/>
                  <a:pt x="3393" y="649"/>
                  <a:pt x="3393" y="649"/>
                </a:cubicBezTo>
                <a:cubicBezTo>
                  <a:pt x="3393" y="648"/>
                  <a:pt x="3393" y="647"/>
                  <a:pt x="3392" y="646"/>
                </a:cubicBezTo>
                <a:cubicBezTo>
                  <a:pt x="3392" y="646"/>
                  <a:pt x="3392" y="645"/>
                  <a:pt x="3392" y="644"/>
                </a:cubicBezTo>
                <a:cubicBezTo>
                  <a:pt x="3392" y="643"/>
                  <a:pt x="3392" y="643"/>
                  <a:pt x="3392" y="642"/>
                </a:cubicBezTo>
                <a:cubicBezTo>
                  <a:pt x="3393" y="641"/>
                  <a:pt x="3392" y="640"/>
                  <a:pt x="3392" y="639"/>
                </a:cubicBezTo>
                <a:cubicBezTo>
                  <a:pt x="3392" y="638"/>
                  <a:pt x="3392" y="637"/>
                  <a:pt x="3393" y="636"/>
                </a:cubicBezTo>
                <a:cubicBezTo>
                  <a:pt x="3393" y="635"/>
                  <a:pt x="3394" y="634"/>
                  <a:pt x="3394" y="633"/>
                </a:cubicBezTo>
                <a:cubicBezTo>
                  <a:pt x="3393" y="632"/>
                  <a:pt x="3393" y="631"/>
                  <a:pt x="3393" y="630"/>
                </a:cubicBezTo>
                <a:cubicBezTo>
                  <a:pt x="3393" y="629"/>
                  <a:pt x="3394" y="628"/>
                  <a:pt x="3393" y="628"/>
                </a:cubicBezTo>
                <a:cubicBezTo>
                  <a:pt x="3393" y="627"/>
                  <a:pt x="3392" y="627"/>
                  <a:pt x="3392" y="627"/>
                </a:cubicBezTo>
                <a:cubicBezTo>
                  <a:pt x="3392" y="627"/>
                  <a:pt x="3392" y="626"/>
                  <a:pt x="3392" y="626"/>
                </a:cubicBezTo>
                <a:cubicBezTo>
                  <a:pt x="3392" y="625"/>
                  <a:pt x="3392" y="624"/>
                  <a:pt x="3392" y="624"/>
                </a:cubicBezTo>
                <a:cubicBezTo>
                  <a:pt x="3392" y="623"/>
                  <a:pt x="3392" y="623"/>
                  <a:pt x="3392" y="623"/>
                </a:cubicBezTo>
                <a:cubicBezTo>
                  <a:pt x="3392" y="624"/>
                  <a:pt x="3392" y="624"/>
                  <a:pt x="3392" y="625"/>
                </a:cubicBezTo>
                <a:cubicBezTo>
                  <a:pt x="3393" y="625"/>
                  <a:pt x="3393" y="625"/>
                  <a:pt x="3393" y="626"/>
                </a:cubicBezTo>
                <a:cubicBezTo>
                  <a:pt x="3393" y="626"/>
                  <a:pt x="3393" y="626"/>
                  <a:pt x="3393" y="627"/>
                </a:cubicBezTo>
                <a:cubicBezTo>
                  <a:pt x="3393" y="627"/>
                  <a:pt x="3394" y="629"/>
                  <a:pt x="3394" y="629"/>
                </a:cubicBezTo>
                <a:cubicBezTo>
                  <a:pt x="3394" y="628"/>
                  <a:pt x="3394" y="627"/>
                  <a:pt x="3394" y="627"/>
                </a:cubicBezTo>
                <a:cubicBezTo>
                  <a:pt x="3394" y="626"/>
                  <a:pt x="3394" y="625"/>
                  <a:pt x="3394" y="624"/>
                </a:cubicBezTo>
                <a:cubicBezTo>
                  <a:pt x="3393" y="624"/>
                  <a:pt x="3393" y="623"/>
                  <a:pt x="3393" y="622"/>
                </a:cubicBezTo>
                <a:cubicBezTo>
                  <a:pt x="3392" y="621"/>
                  <a:pt x="3392" y="621"/>
                  <a:pt x="3392" y="620"/>
                </a:cubicBezTo>
                <a:cubicBezTo>
                  <a:pt x="3391" y="619"/>
                  <a:pt x="3391" y="619"/>
                  <a:pt x="3391" y="618"/>
                </a:cubicBezTo>
                <a:cubicBezTo>
                  <a:pt x="3391" y="617"/>
                  <a:pt x="3390" y="617"/>
                  <a:pt x="3390" y="616"/>
                </a:cubicBezTo>
                <a:cubicBezTo>
                  <a:pt x="3389" y="616"/>
                  <a:pt x="3389" y="614"/>
                  <a:pt x="3390" y="614"/>
                </a:cubicBezTo>
                <a:cubicBezTo>
                  <a:pt x="3390" y="613"/>
                  <a:pt x="3390" y="613"/>
                  <a:pt x="3390" y="613"/>
                </a:cubicBezTo>
                <a:cubicBezTo>
                  <a:pt x="3390" y="613"/>
                  <a:pt x="3390" y="613"/>
                  <a:pt x="3390" y="613"/>
                </a:cubicBezTo>
                <a:cubicBezTo>
                  <a:pt x="3390" y="612"/>
                  <a:pt x="3390" y="612"/>
                  <a:pt x="3390" y="611"/>
                </a:cubicBezTo>
                <a:cubicBezTo>
                  <a:pt x="3390" y="610"/>
                  <a:pt x="3390" y="610"/>
                  <a:pt x="3390" y="609"/>
                </a:cubicBezTo>
                <a:cubicBezTo>
                  <a:pt x="3389" y="609"/>
                  <a:pt x="3389" y="608"/>
                  <a:pt x="3388" y="608"/>
                </a:cubicBezTo>
                <a:cubicBezTo>
                  <a:pt x="3388" y="607"/>
                  <a:pt x="3388" y="606"/>
                  <a:pt x="3387" y="606"/>
                </a:cubicBezTo>
                <a:cubicBezTo>
                  <a:pt x="3387" y="606"/>
                  <a:pt x="3387" y="608"/>
                  <a:pt x="3386" y="608"/>
                </a:cubicBezTo>
                <a:cubicBezTo>
                  <a:pt x="3386" y="608"/>
                  <a:pt x="3386" y="608"/>
                  <a:pt x="3385" y="608"/>
                </a:cubicBezTo>
                <a:cubicBezTo>
                  <a:pt x="3385" y="608"/>
                  <a:pt x="3385" y="609"/>
                  <a:pt x="3384" y="609"/>
                </a:cubicBezTo>
                <a:cubicBezTo>
                  <a:pt x="3384" y="609"/>
                  <a:pt x="3383" y="608"/>
                  <a:pt x="3382" y="608"/>
                </a:cubicBezTo>
                <a:cubicBezTo>
                  <a:pt x="3383" y="609"/>
                  <a:pt x="3383" y="609"/>
                  <a:pt x="3384" y="610"/>
                </a:cubicBezTo>
                <a:cubicBezTo>
                  <a:pt x="3385" y="611"/>
                  <a:pt x="3386" y="611"/>
                  <a:pt x="3386" y="612"/>
                </a:cubicBezTo>
                <a:cubicBezTo>
                  <a:pt x="3386" y="612"/>
                  <a:pt x="3386" y="613"/>
                  <a:pt x="3387" y="613"/>
                </a:cubicBezTo>
                <a:cubicBezTo>
                  <a:pt x="3387" y="613"/>
                  <a:pt x="3387" y="613"/>
                  <a:pt x="3387" y="614"/>
                </a:cubicBezTo>
                <a:cubicBezTo>
                  <a:pt x="3387" y="614"/>
                  <a:pt x="3387" y="615"/>
                  <a:pt x="3387" y="615"/>
                </a:cubicBezTo>
                <a:cubicBezTo>
                  <a:pt x="3387" y="616"/>
                  <a:pt x="3387" y="616"/>
                  <a:pt x="3387" y="616"/>
                </a:cubicBezTo>
                <a:cubicBezTo>
                  <a:pt x="3386" y="616"/>
                  <a:pt x="3386" y="616"/>
                  <a:pt x="3386" y="616"/>
                </a:cubicBezTo>
                <a:cubicBezTo>
                  <a:pt x="3385" y="617"/>
                  <a:pt x="3387" y="617"/>
                  <a:pt x="3387" y="618"/>
                </a:cubicBezTo>
                <a:cubicBezTo>
                  <a:pt x="3387" y="618"/>
                  <a:pt x="3387" y="619"/>
                  <a:pt x="3387" y="618"/>
                </a:cubicBezTo>
                <a:cubicBezTo>
                  <a:pt x="3386" y="618"/>
                  <a:pt x="3387" y="618"/>
                  <a:pt x="3386" y="618"/>
                </a:cubicBezTo>
                <a:cubicBezTo>
                  <a:pt x="3386" y="618"/>
                  <a:pt x="3386" y="619"/>
                  <a:pt x="3385" y="619"/>
                </a:cubicBezTo>
                <a:cubicBezTo>
                  <a:pt x="3385" y="619"/>
                  <a:pt x="3385" y="619"/>
                  <a:pt x="3385" y="620"/>
                </a:cubicBezTo>
                <a:cubicBezTo>
                  <a:pt x="3384" y="621"/>
                  <a:pt x="3386" y="620"/>
                  <a:pt x="3386" y="620"/>
                </a:cubicBezTo>
                <a:cubicBezTo>
                  <a:pt x="3386" y="621"/>
                  <a:pt x="3386" y="621"/>
                  <a:pt x="3386" y="621"/>
                </a:cubicBezTo>
                <a:cubicBezTo>
                  <a:pt x="3385" y="621"/>
                  <a:pt x="3385" y="622"/>
                  <a:pt x="3384" y="622"/>
                </a:cubicBezTo>
                <a:cubicBezTo>
                  <a:pt x="3383" y="623"/>
                  <a:pt x="3382" y="622"/>
                  <a:pt x="3382" y="622"/>
                </a:cubicBezTo>
                <a:cubicBezTo>
                  <a:pt x="3382" y="621"/>
                  <a:pt x="3382" y="620"/>
                  <a:pt x="3380" y="620"/>
                </a:cubicBezTo>
                <a:cubicBezTo>
                  <a:pt x="3380" y="620"/>
                  <a:pt x="3380" y="621"/>
                  <a:pt x="3380" y="621"/>
                </a:cubicBezTo>
                <a:cubicBezTo>
                  <a:pt x="3379" y="621"/>
                  <a:pt x="3379" y="621"/>
                  <a:pt x="3378" y="621"/>
                </a:cubicBezTo>
                <a:cubicBezTo>
                  <a:pt x="3377" y="622"/>
                  <a:pt x="3377" y="622"/>
                  <a:pt x="3377" y="623"/>
                </a:cubicBezTo>
                <a:cubicBezTo>
                  <a:pt x="3376" y="624"/>
                  <a:pt x="3377" y="624"/>
                  <a:pt x="3377" y="625"/>
                </a:cubicBezTo>
                <a:cubicBezTo>
                  <a:pt x="3378" y="627"/>
                  <a:pt x="3377" y="629"/>
                  <a:pt x="3378" y="631"/>
                </a:cubicBezTo>
                <a:cubicBezTo>
                  <a:pt x="3378" y="632"/>
                  <a:pt x="3378" y="633"/>
                  <a:pt x="3378" y="633"/>
                </a:cubicBezTo>
                <a:cubicBezTo>
                  <a:pt x="3377" y="634"/>
                  <a:pt x="3377" y="634"/>
                  <a:pt x="3377" y="635"/>
                </a:cubicBezTo>
                <a:close/>
                <a:moveTo>
                  <a:pt x="3252" y="892"/>
                </a:moveTo>
                <a:cubicBezTo>
                  <a:pt x="3252" y="893"/>
                  <a:pt x="3252" y="893"/>
                  <a:pt x="3252" y="893"/>
                </a:cubicBezTo>
                <a:cubicBezTo>
                  <a:pt x="3253" y="894"/>
                  <a:pt x="3252" y="895"/>
                  <a:pt x="3253" y="895"/>
                </a:cubicBezTo>
                <a:cubicBezTo>
                  <a:pt x="3254" y="895"/>
                  <a:pt x="3254" y="894"/>
                  <a:pt x="3255" y="894"/>
                </a:cubicBezTo>
                <a:cubicBezTo>
                  <a:pt x="3256" y="894"/>
                  <a:pt x="3257" y="894"/>
                  <a:pt x="3258" y="894"/>
                </a:cubicBezTo>
                <a:cubicBezTo>
                  <a:pt x="3259" y="894"/>
                  <a:pt x="3260" y="895"/>
                  <a:pt x="3260" y="894"/>
                </a:cubicBezTo>
                <a:cubicBezTo>
                  <a:pt x="3261" y="894"/>
                  <a:pt x="3261" y="894"/>
                  <a:pt x="3262" y="894"/>
                </a:cubicBezTo>
                <a:cubicBezTo>
                  <a:pt x="3262" y="894"/>
                  <a:pt x="3262" y="894"/>
                  <a:pt x="3263" y="894"/>
                </a:cubicBezTo>
                <a:cubicBezTo>
                  <a:pt x="3263" y="894"/>
                  <a:pt x="3264" y="895"/>
                  <a:pt x="3264" y="895"/>
                </a:cubicBezTo>
                <a:cubicBezTo>
                  <a:pt x="3265" y="895"/>
                  <a:pt x="3265" y="895"/>
                  <a:pt x="3265" y="895"/>
                </a:cubicBezTo>
                <a:cubicBezTo>
                  <a:pt x="3265" y="895"/>
                  <a:pt x="3265" y="896"/>
                  <a:pt x="3266" y="896"/>
                </a:cubicBezTo>
                <a:cubicBezTo>
                  <a:pt x="3267" y="896"/>
                  <a:pt x="3266" y="894"/>
                  <a:pt x="3267" y="894"/>
                </a:cubicBezTo>
                <a:cubicBezTo>
                  <a:pt x="3267" y="894"/>
                  <a:pt x="3267" y="894"/>
                  <a:pt x="3267" y="893"/>
                </a:cubicBezTo>
                <a:cubicBezTo>
                  <a:pt x="3267" y="893"/>
                  <a:pt x="3267" y="892"/>
                  <a:pt x="3267" y="892"/>
                </a:cubicBezTo>
                <a:cubicBezTo>
                  <a:pt x="3267" y="891"/>
                  <a:pt x="3268" y="891"/>
                  <a:pt x="3268" y="891"/>
                </a:cubicBezTo>
                <a:cubicBezTo>
                  <a:pt x="3268" y="891"/>
                  <a:pt x="3268" y="890"/>
                  <a:pt x="3268" y="890"/>
                </a:cubicBezTo>
                <a:cubicBezTo>
                  <a:pt x="3269" y="889"/>
                  <a:pt x="3270" y="889"/>
                  <a:pt x="3270" y="890"/>
                </a:cubicBezTo>
                <a:cubicBezTo>
                  <a:pt x="3271" y="890"/>
                  <a:pt x="3271" y="890"/>
                  <a:pt x="3271" y="891"/>
                </a:cubicBezTo>
                <a:cubicBezTo>
                  <a:pt x="3272" y="891"/>
                  <a:pt x="3272" y="891"/>
                  <a:pt x="3272" y="891"/>
                </a:cubicBezTo>
                <a:cubicBezTo>
                  <a:pt x="3273" y="891"/>
                  <a:pt x="3273" y="892"/>
                  <a:pt x="3273" y="892"/>
                </a:cubicBezTo>
                <a:cubicBezTo>
                  <a:pt x="3274" y="892"/>
                  <a:pt x="3274" y="891"/>
                  <a:pt x="3275" y="891"/>
                </a:cubicBezTo>
                <a:cubicBezTo>
                  <a:pt x="3275" y="891"/>
                  <a:pt x="3275" y="891"/>
                  <a:pt x="3276" y="891"/>
                </a:cubicBezTo>
                <a:cubicBezTo>
                  <a:pt x="3277" y="891"/>
                  <a:pt x="3277" y="890"/>
                  <a:pt x="3278" y="890"/>
                </a:cubicBezTo>
                <a:cubicBezTo>
                  <a:pt x="3279" y="890"/>
                  <a:pt x="3279" y="890"/>
                  <a:pt x="3280" y="889"/>
                </a:cubicBezTo>
                <a:cubicBezTo>
                  <a:pt x="3281" y="888"/>
                  <a:pt x="3281" y="888"/>
                  <a:pt x="3282" y="888"/>
                </a:cubicBezTo>
                <a:cubicBezTo>
                  <a:pt x="3283" y="887"/>
                  <a:pt x="3283" y="888"/>
                  <a:pt x="3284" y="888"/>
                </a:cubicBezTo>
                <a:cubicBezTo>
                  <a:pt x="3285" y="888"/>
                  <a:pt x="3286" y="889"/>
                  <a:pt x="3286" y="888"/>
                </a:cubicBezTo>
                <a:cubicBezTo>
                  <a:pt x="3287" y="888"/>
                  <a:pt x="3287" y="888"/>
                  <a:pt x="3287" y="887"/>
                </a:cubicBezTo>
                <a:cubicBezTo>
                  <a:pt x="3287" y="887"/>
                  <a:pt x="3287" y="887"/>
                  <a:pt x="3288" y="886"/>
                </a:cubicBezTo>
                <a:cubicBezTo>
                  <a:pt x="3288" y="886"/>
                  <a:pt x="3288" y="886"/>
                  <a:pt x="3288" y="886"/>
                </a:cubicBezTo>
                <a:cubicBezTo>
                  <a:pt x="3289" y="885"/>
                  <a:pt x="3289" y="885"/>
                  <a:pt x="3289" y="885"/>
                </a:cubicBezTo>
                <a:cubicBezTo>
                  <a:pt x="3290" y="885"/>
                  <a:pt x="3291" y="885"/>
                  <a:pt x="3292" y="885"/>
                </a:cubicBezTo>
                <a:cubicBezTo>
                  <a:pt x="3293" y="885"/>
                  <a:pt x="3294" y="885"/>
                  <a:pt x="3295" y="885"/>
                </a:cubicBezTo>
                <a:cubicBezTo>
                  <a:pt x="3297" y="885"/>
                  <a:pt x="3298" y="885"/>
                  <a:pt x="3300" y="885"/>
                </a:cubicBezTo>
                <a:cubicBezTo>
                  <a:pt x="3301" y="885"/>
                  <a:pt x="3302" y="885"/>
                  <a:pt x="3303" y="885"/>
                </a:cubicBezTo>
                <a:cubicBezTo>
                  <a:pt x="3303" y="885"/>
                  <a:pt x="3303" y="885"/>
                  <a:pt x="3304" y="885"/>
                </a:cubicBezTo>
                <a:cubicBezTo>
                  <a:pt x="3304" y="885"/>
                  <a:pt x="3305" y="885"/>
                  <a:pt x="3305" y="885"/>
                </a:cubicBezTo>
                <a:cubicBezTo>
                  <a:pt x="3305" y="886"/>
                  <a:pt x="3304" y="886"/>
                  <a:pt x="3304" y="886"/>
                </a:cubicBezTo>
                <a:cubicBezTo>
                  <a:pt x="3304" y="887"/>
                  <a:pt x="3304" y="887"/>
                  <a:pt x="3303" y="887"/>
                </a:cubicBezTo>
                <a:cubicBezTo>
                  <a:pt x="3303" y="888"/>
                  <a:pt x="3303" y="888"/>
                  <a:pt x="3302" y="889"/>
                </a:cubicBezTo>
                <a:cubicBezTo>
                  <a:pt x="3301" y="889"/>
                  <a:pt x="3301" y="889"/>
                  <a:pt x="3301" y="890"/>
                </a:cubicBezTo>
                <a:cubicBezTo>
                  <a:pt x="3301" y="891"/>
                  <a:pt x="3301" y="891"/>
                  <a:pt x="3301" y="891"/>
                </a:cubicBezTo>
                <a:cubicBezTo>
                  <a:pt x="3301" y="892"/>
                  <a:pt x="3301" y="892"/>
                  <a:pt x="3301" y="892"/>
                </a:cubicBezTo>
                <a:cubicBezTo>
                  <a:pt x="3301" y="892"/>
                  <a:pt x="3301" y="893"/>
                  <a:pt x="3301" y="893"/>
                </a:cubicBezTo>
                <a:cubicBezTo>
                  <a:pt x="3301" y="894"/>
                  <a:pt x="3300" y="895"/>
                  <a:pt x="3300" y="895"/>
                </a:cubicBezTo>
                <a:cubicBezTo>
                  <a:pt x="3301" y="895"/>
                  <a:pt x="3301" y="895"/>
                  <a:pt x="3301" y="896"/>
                </a:cubicBezTo>
                <a:cubicBezTo>
                  <a:pt x="3302" y="896"/>
                  <a:pt x="3302" y="896"/>
                  <a:pt x="3302" y="897"/>
                </a:cubicBezTo>
                <a:cubicBezTo>
                  <a:pt x="3303" y="897"/>
                  <a:pt x="3304" y="898"/>
                  <a:pt x="3303" y="898"/>
                </a:cubicBezTo>
                <a:cubicBezTo>
                  <a:pt x="3303" y="899"/>
                  <a:pt x="3305" y="900"/>
                  <a:pt x="3305" y="900"/>
                </a:cubicBezTo>
                <a:cubicBezTo>
                  <a:pt x="3306" y="900"/>
                  <a:pt x="3306" y="900"/>
                  <a:pt x="3307" y="900"/>
                </a:cubicBezTo>
                <a:cubicBezTo>
                  <a:pt x="3307" y="901"/>
                  <a:pt x="3307" y="902"/>
                  <a:pt x="3308" y="901"/>
                </a:cubicBezTo>
                <a:cubicBezTo>
                  <a:pt x="3309" y="901"/>
                  <a:pt x="3309" y="900"/>
                  <a:pt x="3309" y="899"/>
                </a:cubicBezTo>
                <a:cubicBezTo>
                  <a:pt x="3310" y="898"/>
                  <a:pt x="3311" y="898"/>
                  <a:pt x="3312" y="896"/>
                </a:cubicBezTo>
                <a:cubicBezTo>
                  <a:pt x="3312" y="896"/>
                  <a:pt x="3313" y="895"/>
                  <a:pt x="3313" y="895"/>
                </a:cubicBezTo>
                <a:cubicBezTo>
                  <a:pt x="3314" y="894"/>
                  <a:pt x="3315" y="893"/>
                  <a:pt x="3315" y="892"/>
                </a:cubicBezTo>
                <a:cubicBezTo>
                  <a:pt x="3316" y="891"/>
                  <a:pt x="3318" y="890"/>
                  <a:pt x="3319" y="890"/>
                </a:cubicBezTo>
                <a:cubicBezTo>
                  <a:pt x="3320" y="890"/>
                  <a:pt x="3320" y="890"/>
                  <a:pt x="3320" y="890"/>
                </a:cubicBezTo>
                <a:cubicBezTo>
                  <a:pt x="3321" y="891"/>
                  <a:pt x="3321" y="890"/>
                  <a:pt x="3321" y="890"/>
                </a:cubicBezTo>
                <a:cubicBezTo>
                  <a:pt x="3320" y="889"/>
                  <a:pt x="3320" y="889"/>
                  <a:pt x="3319" y="888"/>
                </a:cubicBezTo>
                <a:cubicBezTo>
                  <a:pt x="3319" y="887"/>
                  <a:pt x="3319" y="886"/>
                  <a:pt x="3318" y="886"/>
                </a:cubicBezTo>
                <a:cubicBezTo>
                  <a:pt x="3317" y="885"/>
                  <a:pt x="3317" y="885"/>
                  <a:pt x="3317" y="884"/>
                </a:cubicBezTo>
                <a:cubicBezTo>
                  <a:pt x="3318" y="883"/>
                  <a:pt x="3318" y="883"/>
                  <a:pt x="3318" y="883"/>
                </a:cubicBezTo>
                <a:cubicBezTo>
                  <a:pt x="3318" y="882"/>
                  <a:pt x="3318" y="882"/>
                  <a:pt x="3319" y="881"/>
                </a:cubicBezTo>
                <a:cubicBezTo>
                  <a:pt x="3319" y="881"/>
                  <a:pt x="3320" y="880"/>
                  <a:pt x="3321" y="880"/>
                </a:cubicBezTo>
                <a:cubicBezTo>
                  <a:pt x="3321" y="881"/>
                  <a:pt x="3321" y="881"/>
                  <a:pt x="3320" y="881"/>
                </a:cubicBezTo>
                <a:cubicBezTo>
                  <a:pt x="3320" y="882"/>
                  <a:pt x="3320" y="882"/>
                  <a:pt x="3320" y="882"/>
                </a:cubicBezTo>
                <a:cubicBezTo>
                  <a:pt x="3320" y="883"/>
                  <a:pt x="3320" y="883"/>
                  <a:pt x="3320" y="883"/>
                </a:cubicBezTo>
                <a:cubicBezTo>
                  <a:pt x="3320" y="884"/>
                  <a:pt x="3320" y="884"/>
                  <a:pt x="3321" y="884"/>
                </a:cubicBezTo>
                <a:cubicBezTo>
                  <a:pt x="3321" y="884"/>
                  <a:pt x="3321" y="884"/>
                  <a:pt x="3321" y="884"/>
                </a:cubicBezTo>
                <a:cubicBezTo>
                  <a:pt x="3321" y="884"/>
                  <a:pt x="3321" y="883"/>
                  <a:pt x="3321" y="883"/>
                </a:cubicBezTo>
                <a:cubicBezTo>
                  <a:pt x="3321" y="882"/>
                  <a:pt x="3322" y="883"/>
                  <a:pt x="3322" y="883"/>
                </a:cubicBezTo>
                <a:cubicBezTo>
                  <a:pt x="3322" y="884"/>
                  <a:pt x="3322" y="884"/>
                  <a:pt x="3323" y="884"/>
                </a:cubicBezTo>
                <a:cubicBezTo>
                  <a:pt x="3323" y="884"/>
                  <a:pt x="3323" y="884"/>
                  <a:pt x="3324" y="885"/>
                </a:cubicBezTo>
                <a:cubicBezTo>
                  <a:pt x="3324" y="885"/>
                  <a:pt x="3324" y="885"/>
                  <a:pt x="3323" y="886"/>
                </a:cubicBezTo>
                <a:cubicBezTo>
                  <a:pt x="3323" y="886"/>
                  <a:pt x="3322" y="885"/>
                  <a:pt x="3322" y="886"/>
                </a:cubicBezTo>
                <a:cubicBezTo>
                  <a:pt x="3322" y="887"/>
                  <a:pt x="3324" y="886"/>
                  <a:pt x="3324" y="886"/>
                </a:cubicBezTo>
                <a:cubicBezTo>
                  <a:pt x="3325" y="886"/>
                  <a:pt x="3325" y="886"/>
                  <a:pt x="3325" y="886"/>
                </a:cubicBezTo>
                <a:cubicBezTo>
                  <a:pt x="3326" y="886"/>
                  <a:pt x="3326" y="886"/>
                  <a:pt x="3327" y="886"/>
                </a:cubicBezTo>
                <a:cubicBezTo>
                  <a:pt x="3327" y="886"/>
                  <a:pt x="3327" y="886"/>
                  <a:pt x="3328" y="886"/>
                </a:cubicBezTo>
                <a:cubicBezTo>
                  <a:pt x="3328" y="886"/>
                  <a:pt x="3329" y="885"/>
                  <a:pt x="3329" y="885"/>
                </a:cubicBezTo>
                <a:cubicBezTo>
                  <a:pt x="3330" y="885"/>
                  <a:pt x="3331" y="885"/>
                  <a:pt x="3332" y="885"/>
                </a:cubicBezTo>
                <a:cubicBezTo>
                  <a:pt x="3333" y="885"/>
                  <a:pt x="3334" y="886"/>
                  <a:pt x="3335" y="885"/>
                </a:cubicBezTo>
                <a:cubicBezTo>
                  <a:pt x="3336" y="884"/>
                  <a:pt x="3336" y="884"/>
                  <a:pt x="3337" y="884"/>
                </a:cubicBezTo>
                <a:cubicBezTo>
                  <a:pt x="3338" y="884"/>
                  <a:pt x="3338" y="883"/>
                  <a:pt x="3338" y="882"/>
                </a:cubicBezTo>
                <a:cubicBezTo>
                  <a:pt x="3339" y="882"/>
                  <a:pt x="3339" y="882"/>
                  <a:pt x="3340" y="881"/>
                </a:cubicBezTo>
                <a:cubicBezTo>
                  <a:pt x="3340" y="880"/>
                  <a:pt x="3340" y="880"/>
                  <a:pt x="3341" y="880"/>
                </a:cubicBezTo>
                <a:cubicBezTo>
                  <a:pt x="3342" y="879"/>
                  <a:pt x="3342" y="879"/>
                  <a:pt x="3343" y="880"/>
                </a:cubicBezTo>
                <a:cubicBezTo>
                  <a:pt x="3343" y="880"/>
                  <a:pt x="3343" y="880"/>
                  <a:pt x="3343" y="880"/>
                </a:cubicBezTo>
                <a:cubicBezTo>
                  <a:pt x="3343" y="880"/>
                  <a:pt x="3343" y="880"/>
                  <a:pt x="3343" y="880"/>
                </a:cubicBezTo>
                <a:cubicBezTo>
                  <a:pt x="3344" y="881"/>
                  <a:pt x="3344" y="881"/>
                  <a:pt x="3344" y="881"/>
                </a:cubicBezTo>
                <a:cubicBezTo>
                  <a:pt x="3343" y="881"/>
                  <a:pt x="3343" y="881"/>
                  <a:pt x="3343" y="882"/>
                </a:cubicBezTo>
                <a:cubicBezTo>
                  <a:pt x="3343" y="882"/>
                  <a:pt x="3343" y="883"/>
                  <a:pt x="3343" y="883"/>
                </a:cubicBezTo>
                <a:cubicBezTo>
                  <a:pt x="3343" y="883"/>
                  <a:pt x="3343" y="884"/>
                  <a:pt x="3342" y="884"/>
                </a:cubicBezTo>
                <a:cubicBezTo>
                  <a:pt x="3342" y="885"/>
                  <a:pt x="3342" y="885"/>
                  <a:pt x="3342" y="885"/>
                </a:cubicBezTo>
                <a:cubicBezTo>
                  <a:pt x="3342" y="886"/>
                  <a:pt x="3342" y="886"/>
                  <a:pt x="3343" y="886"/>
                </a:cubicBezTo>
                <a:cubicBezTo>
                  <a:pt x="3343" y="886"/>
                  <a:pt x="3343" y="887"/>
                  <a:pt x="3343" y="887"/>
                </a:cubicBezTo>
                <a:cubicBezTo>
                  <a:pt x="3344" y="887"/>
                  <a:pt x="3344" y="886"/>
                  <a:pt x="3345" y="886"/>
                </a:cubicBezTo>
                <a:cubicBezTo>
                  <a:pt x="3345" y="885"/>
                  <a:pt x="3345" y="885"/>
                  <a:pt x="3346" y="884"/>
                </a:cubicBezTo>
                <a:cubicBezTo>
                  <a:pt x="3346" y="884"/>
                  <a:pt x="3346" y="883"/>
                  <a:pt x="3347" y="883"/>
                </a:cubicBezTo>
                <a:cubicBezTo>
                  <a:pt x="3347" y="883"/>
                  <a:pt x="3346" y="882"/>
                  <a:pt x="3346" y="882"/>
                </a:cubicBezTo>
                <a:cubicBezTo>
                  <a:pt x="3346" y="882"/>
                  <a:pt x="3346" y="881"/>
                  <a:pt x="3346" y="881"/>
                </a:cubicBezTo>
                <a:cubicBezTo>
                  <a:pt x="3346" y="880"/>
                  <a:pt x="3346" y="880"/>
                  <a:pt x="3347" y="880"/>
                </a:cubicBezTo>
                <a:cubicBezTo>
                  <a:pt x="3347" y="879"/>
                  <a:pt x="3347" y="878"/>
                  <a:pt x="3347" y="878"/>
                </a:cubicBezTo>
                <a:cubicBezTo>
                  <a:pt x="3348" y="877"/>
                  <a:pt x="3349" y="877"/>
                  <a:pt x="3350" y="877"/>
                </a:cubicBezTo>
                <a:cubicBezTo>
                  <a:pt x="3350" y="877"/>
                  <a:pt x="3351" y="877"/>
                  <a:pt x="3352" y="878"/>
                </a:cubicBezTo>
                <a:cubicBezTo>
                  <a:pt x="3352" y="878"/>
                  <a:pt x="3352" y="879"/>
                  <a:pt x="3352" y="879"/>
                </a:cubicBezTo>
                <a:cubicBezTo>
                  <a:pt x="3352" y="879"/>
                  <a:pt x="3352" y="878"/>
                  <a:pt x="3352" y="878"/>
                </a:cubicBezTo>
                <a:cubicBezTo>
                  <a:pt x="3352" y="878"/>
                  <a:pt x="3353" y="878"/>
                  <a:pt x="3353" y="878"/>
                </a:cubicBezTo>
                <a:cubicBezTo>
                  <a:pt x="3353" y="877"/>
                  <a:pt x="3353" y="877"/>
                  <a:pt x="3352" y="877"/>
                </a:cubicBezTo>
                <a:cubicBezTo>
                  <a:pt x="3352" y="876"/>
                  <a:pt x="3352" y="876"/>
                  <a:pt x="3352" y="876"/>
                </a:cubicBezTo>
                <a:cubicBezTo>
                  <a:pt x="3352" y="875"/>
                  <a:pt x="3353" y="875"/>
                  <a:pt x="3353" y="875"/>
                </a:cubicBezTo>
                <a:cubicBezTo>
                  <a:pt x="3353" y="875"/>
                  <a:pt x="3354" y="875"/>
                  <a:pt x="3354" y="874"/>
                </a:cubicBezTo>
                <a:cubicBezTo>
                  <a:pt x="3354" y="874"/>
                  <a:pt x="3354" y="874"/>
                  <a:pt x="3354" y="873"/>
                </a:cubicBezTo>
                <a:cubicBezTo>
                  <a:pt x="3355" y="873"/>
                  <a:pt x="3355" y="873"/>
                  <a:pt x="3355" y="873"/>
                </a:cubicBezTo>
                <a:cubicBezTo>
                  <a:pt x="3356" y="874"/>
                  <a:pt x="3356" y="874"/>
                  <a:pt x="3357" y="874"/>
                </a:cubicBezTo>
                <a:cubicBezTo>
                  <a:pt x="3358" y="874"/>
                  <a:pt x="3357" y="874"/>
                  <a:pt x="3357" y="875"/>
                </a:cubicBezTo>
                <a:cubicBezTo>
                  <a:pt x="3356" y="875"/>
                  <a:pt x="3356" y="875"/>
                  <a:pt x="3355" y="875"/>
                </a:cubicBezTo>
                <a:cubicBezTo>
                  <a:pt x="3355" y="875"/>
                  <a:pt x="3355" y="876"/>
                  <a:pt x="3355" y="876"/>
                </a:cubicBezTo>
                <a:cubicBezTo>
                  <a:pt x="3355" y="877"/>
                  <a:pt x="3354" y="876"/>
                  <a:pt x="3354" y="876"/>
                </a:cubicBezTo>
                <a:cubicBezTo>
                  <a:pt x="3354" y="877"/>
                  <a:pt x="3354" y="877"/>
                  <a:pt x="3355" y="877"/>
                </a:cubicBezTo>
                <a:cubicBezTo>
                  <a:pt x="3355" y="878"/>
                  <a:pt x="3355" y="878"/>
                  <a:pt x="3354" y="878"/>
                </a:cubicBezTo>
                <a:cubicBezTo>
                  <a:pt x="3354" y="879"/>
                  <a:pt x="3355" y="879"/>
                  <a:pt x="3355" y="879"/>
                </a:cubicBezTo>
                <a:cubicBezTo>
                  <a:pt x="3355" y="880"/>
                  <a:pt x="3354" y="880"/>
                  <a:pt x="3354" y="880"/>
                </a:cubicBezTo>
                <a:cubicBezTo>
                  <a:pt x="3354" y="881"/>
                  <a:pt x="3355" y="881"/>
                  <a:pt x="3355" y="881"/>
                </a:cubicBezTo>
                <a:cubicBezTo>
                  <a:pt x="3355" y="882"/>
                  <a:pt x="3355" y="882"/>
                  <a:pt x="3356" y="882"/>
                </a:cubicBezTo>
                <a:cubicBezTo>
                  <a:pt x="3356" y="882"/>
                  <a:pt x="3356" y="882"/>
                  <a:pt x="3357" y="882"/>
                </a:cubicBezTo>
                <a:cubicBezTo>
                  <a:pt x="3357" y="881"/>
                  <a:pt x="3358" y="881"/>
                  <a:pt x="3358" y="880"/>
                </a:cubicBezTo>
                <a:cubicBezTo>
                  <a:pt x="3359" y="880"/>
                  <a:pt x="3360" y="880"/>
                  <a:pt x="3360" y="879"/>
                </a:cubicBezTo>
                <a:cubicBezTo>
                  <a:pt x="3360" y="878"/>
                  <a:pt x="3360" y="878"/>
                  <a:pt x="3360" y="878"/>
                </a:cubicBezTo>
                <a:cubicBezTo>
                  <a:pt x="3361" y="877"/>
                  <a:pt x="3361" y="876"/>
                  <a:pt x="3361" y="875"/>
                </a:cubicBezTo>
                <a:cubicBezTo>
                  <a:pt x="3361" y="875"/>
                  <a:pt x="3362" y="875"/>
                  <a:pt x="3362" y="874"/>
                </a:cubicBezTo>
                <a:cubicBezTo>
                  <a:pt x="3362" y="873"/>
                  <a:pt x="3363" y="873"/>
                  <a:pt x="3364" y="873"/>
                </a:cubicBezTo>
                <a:cubicBezTo>
                  <a:pt x="3364" y="873"/>
                  <a:pt x="3365" y="872"/>
                  <a:pt x="3365" y="872"/>
                </a:cubicBezTo>
                <a:cubicBezTo>
                  <a:pt x="3366" y="872"/>
                  <a:pt x="3366" y="872"/>
                  <a:pt x="3366" y="872"/>
                </a:cubicBezTo>
                <a:cubicBezTo>
                  <a:pt x="3367" y="871"/>
                  <a:pt x="3366" y="871"/>
                  <a:pt x="3366" y="871"/>
                </a:cubicBezTo>
                <a:cubicBezTo>
                  <a:pt x="3365" y="871"/>
                  <a:pt x="3365" y="870"/>
                  <a:pt x="3364" y="869"/>
                </a:cubicBezTo>
                <a:cubicBezTo>
                  <a:pt x="3364" y="869"/>
                  <a:pt x="3364" y="869"/>
                  <a:pt x="3364" y="868"/>
                </a:cubicBezTo>
                <a:cubicBezTo>
                  <a:pt x="3364" y="868"/>
                  <a:pt x="3363" y="868"/>
                  <a:pt x="3363" y="868"/>
                </a:cubicBezTo>
                <a:cubicBezTo>
                  <a:pt x="3363" y="867"/>
                  <a:pt x="3363" y="866"/>
                  <a:pt x="3363" y="865"/>
                </a:cubicBezTo>
                <a:cubicBezTo>
                  <a:pt x="3363" y="865"/>
                  <a:pt x="3363" y="864"/>
                  <a:pt x="3364" y="863"/>
                </a:cubicBezTo>
                <a:cubicBezTo>
                  <a:pt x="3364" y="863"/>
                  <a:pt x="3364" y="862"/>
                  <a:pt x="3364" y="861"/>
                </a:cubicBezTo>
                <a:cubicBezTo>
                  <a:pt x="3364" y="860"/>
                  <a:pt x="3365" y="860"/>
                  <a:pt x="3365" y="859"/>
                </a:cubicBezTo>
                <a:cubicBezTo>
                  <a:pt x="3365" y="858"/>
                  <a:pt x="3365" y="857"/>
                  <a:pt x="3366" y="857"/>
                </a:cubicBezTo>
                <a:cubicBezTo>
                  <a:pt x="3366" y="856"/>
                  <a:pt x="3366" y="856"/>
                  <a:pt x="3367" y="856"/>
                </a:cubicBezTo>
                <a:cubicBezTo>
                  <a:pt x="3367" y="856"/>
                  <a:pt x="3368" y="855"/>
                  <a:pt x="3368" y="854"/>
                </a:cubicBezTo>
                <a:cubicBezTo>
                  <a:pt x="3368" y="854"/>
                  <a:pt x="3368" y="853"/>
                  <a:pt x="3368" y="852"/>
                </a:cubicBezTo>
                <a:cubicBezTo>
                  <a:pt x="3368" y="851"/>
                  <a:pt x="3367" y="850"/>
                  <a:pt x="3367" y="850"/>
                </a:cubicBezTo>
                <a:cubicBezTo>
                  <a:pt x="3367" y="848"/>
                  <a:pt x="3367" y="846"/>
                  <a:pt x="3367" y="845"/>
                </a:cubicBezTo>
                <a:cubicBezTo>
                  <a:pt x="3366" y="844"/>
                  <a:pt x="3367" y="843"/>
                  <a:pt x="3367" y="842"/>
                </a:cubicBezTo>
                <a:cubicBezTo>
                  <a:pt x="3367" y="841"/>
                  <a:pt x="3367" y="841"/>
                  <a:pt x="3367" y="840"/>
                </a:cubicBezTo>
                <a:cubicBezTo>
                  <a:pt x="3367" y="839"/>
                  <a:pt x="3367" y="839"/>
                  <a:pt x="3368" y="839"/>
                </a:cubicBezTo>
                <a:cubicBezTo>
                  <a:pt x="3368" y="839"/>
                  <a:pt x="3368" y="838"/>
                  <a:pt x="3368" y="838"/>
                </a:cubicBezTo>
                <a:cubicBezTo>
                  <a:pt x="3369" y="837"/>
                  <a:pt x="3369" y="838"/>
                  <a:pt x="3370" y="837"/>
                </a:cubicBezTo>
                <a:cubicBezTo>
                  <a:pt x="3370" y="837"/>
                  <a:pt x="3370" y="836"/>
                  <a:pt x="3371" y="836"/>
                </a:cubicBezTo>
                <a:cubicBezTo>
                  <a:pt x="3372" y="837"/>
                  <a:pt x="3372" y="837"/>
                  <a:pt x="3373" y="837"/>
                </a:cubicBezTo>
                <a:cubicBezTo>
                  <a:pt x="3373" y="838"/>
                  <a:pt x="3373" y="839"/>
                  <a:pt x="3373" y="838"/>
                </a:cubicBezTo>
                <a:cubicBezTo>
                  <a:pt x="3374" y="837"/>
                  <a:pt x="3373" y="836"/>
                  <a:pt x="3373" y="836"/>
                </a:cubicBezTo>
                <a:cubicBezTo>
                  <a:pt x="3373" y="835"/>
                  <a:pt x="3373" y="834"/>
                  <a:pt x="3373" y="833"/>
                </a:cubicBezTo>
                <a:cubicBezTo>
                  <a:pt x="3373" y="832"/>
                  <a:pt x="3373" y="831"/>
                  <a:pt x="3374" y="831"/>
                </a:cubicBezTo>
                <a:cubicBezTo>
                  <a:pt x="3374" y="830"/>
                  <a:pt x="3375" y="829"/>
                  <a:pt x="3376" y="829"/>
                </a:cubicBezTo>
                <a:cubicBezTo>
                  <a:pt x="3377" y="828"/>
                  <a:pt x="3377" y="828"/>
                  <a:pt x="3378" y="827"/>
                </a:cubicBezTo>
                <a:cubicBezTo>
                  <a:pt x="3379" y="826"/>
                  <a:pt x="3379" y="825"/>
                  <a:pt x="3379" y="824"/>
                </a:cubicBezTo>
                <a:cubicBezTo>
                  <a:pt x="3379" y="824"/>
                  <a:pt x="3379" y="823"/>
                  <a:pt x="3380" y="822"/>
                </a:cubicBezTo>
                <a:cubicBezTo>
                  <a:pt x="3380" y="821"/>
                  <a:pt x="3380" y="820"/>
                  <a:pt x="3379" y="819"/>
                </a:cubicBezTo>
                <a:cubicBezTo>
                  <a:pt x="3379" y="818"/>
                  <a:pt x="3379" y="817"/>
                  <a:pt x="3378" y="816"/>
                </a:cubicBezTo>
                <a:cubicBezTo>
                  <a:pt x="3378" y="815"/>
                  <a:pt x="3377" y="814"/>
                  <a:pt x="3377" y="814"/>
                </a:cubicBezTo>
                <a:cubicBezTo>
                  <a:pt x="3377" y="812"/>
                  <a:pt x="3375" y="811"/>
                  <a:pt x="3375" y="809"/>
                </a:cubicBezTo>
                <a:cubicBezTo>
                  <a:pt x="3375" y="808"/>
                  <a:pt x="3374" y="808"/>
                  <a:pt x="3374" y="807"/>
                </a:cubicBezTo>
                <a:cubicBezTo>
                  <a:pt x="3373" y="806"/>
                  <a:pt x="3373" y="806"/>
                  <a:pt x="3373" y="805"/>
                </a:cubicBezTo>
                <a:cubicBezTo>
                  <a:pt x="3372" y="804"/>
                  <a:pt x="3372" y="804"/>
                  <a:pt x="3372" y="803"/>
                </a:cubicBezTo>
                <a:cubicBezTo>
                  <a:pt x="3372" y="802"/>
                  <a:pt x="3373" y="801"/>
                  <a:pt x="3373" y="800"/>
                </a:cubicBezTo>
                <a:cubicBezTo>
                  <a:pt x="3373" y="799"/>
                  <a:pt x="3372" y="798"/>
                  <a:pt x="3373" y="797"/>
                </a:cubicBezTo>
                <a:cubicBezTo>
                  <a:pt x="3373" y="797"/>
                  <a:pt x="3373" y="797"/>
                  <a:pt x="3373" y="797"/>
                </a:cubicBezTo>
                <a:cubicBezTo>
                  <a:pt x="3373" y="796"/>
                  <a:pt x="3373" y="796"/>
                  <a:pt x="3373" y="796"/>
                </a:cubicBezTo>
                <a:cubicBezTo>
                  <a:pt x="3372" y="796"/>
                  <a:pt x="3371" y="796"/>
                  <a:pt x="3370" y="796"/>
                </a:cubicBezTo>
                <a:cubicBezTo>
                  <a:pt x="3370" y="795"/>
                  <a:pt x="3370" y="795"/>
                  <a:pt x="3369" y="795"/>
                </a:cubicBezTo>
                <a:cubicBezTo>
                  <a:pt x="3369" y="795"/>
                  <a:pt x="3369" y="795"/>
                  <a:pt x="3368" y="795"/>
                </a:cubicBezTo>
                <a:cubicBezTo>
                  <a:pt x="3368" y="794"/>
                  <a:pt x="3367" y="795"/>
                  <a:pt x="3366" y="795"/>
                </a:cubicBezTo>
                <a:cubicBezTo>
                  <a:pt x="3366" y="796"/>
                  <a:pt x="3366" y="796"/>
                  <a:pt x="3366" y="796"/>
                </a:cubicBezTo>
                <a:cubicBezTo>
                  <a:pt x="3366" y="797"/>
                  <a:pt x="3366" y="797"/>
                  <a:pt x="3365" y="797"/>
                </a:cubicBezTo>
                <a:cubicBezTo>
                  <a:pt x="3365" y="798"/>
                  <a:pt x="3365" y="798"/>
                  <a:pt x="3365" y="798"/>
                </a:cubicBezTo>
                <a:cubicBezTo>
                  <a:pt x="3365" y="799"/>
                  <a:pt x="3365" y="799"/>
                  <a:pt x="3365" y="800"/>
                </a:cubicBezTo>
                <a:cubicBezTo>
                  <a:pt x="3365" y="800"/>
                  <a:pt x="3366" y="800"/>
                  <a:pt x="3366" y="800"/>
                </a:cubicBezTo>
                <a:cubicBezTo>
                  <a:pt x="3367" y="800"/>
                  <a:pt x="3367" y="800"/>
                  <a:pt x="3367" y="799"/>
                </a:cubicBezTo>
                <a:cubicBezTo>
                  <a:pt x="3367" y="799"/>
                  <a:pt x="3368" y="799"/>
                  <a:pt x="3369" y="799"/>
                </a:cubicBezTo>
                <a:cubicBezTo>
                  <a:pt x="3369" y="798"/>
                  <a:pt x="3370" y="798"/>
                  <a:pt x="3370" y="798"/>
                </a:cubicBezTo>
                <a:cubicBezTo>
                  <a:pt x="3372" y="799"/>
                  <a:pt x="3370" y="801"/>
                  <a:pt x="3370" y="802"/>
                </a:cubicBezTo>
                <a:cubicBezTo>
                  <a:pt x="3370" y="803"/>
                  <a:pt x="3370" y="804"/>
                  <a:pt x="3369" y="804"/>
                </a:cubicBezTo>
                <a:cubicBezTo>
                  <a:pt x="3368" y="804"/>
                  <a:pt x="3368" y="803"/>
                  <a:pt x="3367" y="803"/>
                </a:cubicBezTo>
                <a:cubicBezTo>
                  <a:pt x="3367" y="803"/>
                  <a:pt x="3367" y="803"/>
                  <a:pt x="3366" y="803"/>
                </a:cubicBezTo>
                <a:cubicBezTo>
                  <a:pt x="3366" y="803"/>
                  <a:pt x="3365" y="804"/>
                  <a:pt x="3365" y="803"/>
                </a:cubicBezTo>
                <a:cubicBezTo>
                  <a:pt x="3364" y="803"/>
                  <a:pt x="3364" y="803"/>
                  <a:pt x="3364" y="803"/>
                </a:cubicBezTo>
                <a:cubicBezTo>
                  <a:pt x="3364" y="802"/>
                  <a:pt x="3363" y="802"/>
                  <a:pt x="3363" y="801"/>
                </a:cubicBezTo>
                <a:cubicBezTo>
                  <a:pt x="3364" y="800"/>
                  <a:pt x="3364" y="799"/>
                  <a:pt x="3363" y="799"/>
                </a:cubicBezTo>
                <a:cubicBezTo>
                  <a:pt x="3362" y="799"/>
                  <a:pt x="3362" y="799"/>
                  <a:pt x="3361" y="799"/>
                </a:cubicBezTo>
                <a:cubicBezTo>
                  <a:pt x="3361" y="798"/>
                  <a:pt x="3361" y="798"/>
                  <a:pt x="3360" y="798"/>
                </a:cubicBezTo>
                <a:cubicBezTo>
                  <a:pt x="3360" y="798"/>
                  <a:pt x="3361" y="800"/>
                  <a:pt x="3361" y="800"/>
                </a:cubicBezTo>
                <a:cubicBezTo>
                  <a:pt x="3361" y="801"/>
                  <a:pt x="3360" y="802"/>
                  <a:pt x="3360" y="802"/>
                </a:cubicBezTo>
                <a:cubicBezTo>
                  <a:pt x="3359" y="803"/>
                  <a:pt x="3358" y="804"/>
                  <a:pt x="3357" y="804"/>
                </a:cubicBezTo>
                <a:cubicBezTo>
                  <a:pt x="3356" y="805"/>
                  <a:pt x="3354" y="806"/>
                  <a:pt x="3355" y="808"/>
                </a:cubicBezTo>
                <a:cubicBezTo>
                  <a:pt x="3356" y="809"/>
                  <a:pt x="3356" y="810"/>
                  <a:pt x="3356" y="811"/>
                </a:cubicBezTo>
                <a:cubicBezTo>
                  <a:pt x="3356" y="811"/>
                  <a:pt x="3355" y="812"/>
                  <a:pt x="3355" y="812"/>
                </a:cubicBezTo>
                <a:cubicBezTo>
                  <a:pt x="3355" y="813"/>
                  <a:pt x="3355" y="814"/>
                  <a:pt x="3355" y="814"/>
                </a:cubicBezTo>
                <a:cubicBezTo>
                  <a:pt x="3355" y="815"/>
                  <a:pt x="3354" y="815"/>
                  <a:pt x="3353" y="815"/>
                </a:cubicBezTo>
                <a:cubicBezTo>
                  <a:pt x="3353" y="815"/>
                  <a:pt x="3353" y="814"/>
                  <a:pt x="3353" y="815"/>
                </a:cubicBezTo>
                <a:cubicBezTo>
                  <a:pt x="3353" y="815"/>
                  <a:pt x="3353" y="815"/>
                  <a:pt x="3353" y="815"/>
                </a:cubicBezTo>
                <a:cubicBezTo>
                  <a:pt x="3354" y="816"/>
                  <a:pt x="3354" y="816"/>
                  <a:pt x="3354" y="816"/>
                </a:cubicBezTo>
                <a:cubicBezTo>
                  <a:pt x="3354" y="817"/>
                  <a:pt x="3354" y="817"/>
                  <a:pt x="3354" y="817"/>
                </a:cubicBezTo>
                <a:cubicBezTo>
                  <a:pt x="3355" y="817"/>
                  <a:pt x="3355" y="816"/>
                  <a:pt x="3356" y="817"/>
                </a:cubicBezTo>
                <a:cubicBezTo>
                  <a:pt x="3356" y="817"/>
                  <a:pt x="3356" y="818"/>
                  <a:pt x="3357" y="818"/>
                </a:cubicBezTo>
                <a:cubicBezTo>
                  <a:pt x="3357" y="819"/>
                  <a:pt x="3357" y="821"/>
                  <a:pt x="3356" y="822"/>
                </a:cubicBezTo>
                <a:cubicBezTo>
                  <a:pt x="3355" y="824"/>
                  <a:pt x="3354" y="826"/>
                  <a:pt x="3354" y="827"/>
                </a:cubicBezTo>
                <a:cubicBezTo>
                  <a:pt x="3354" y="828"/>
                  <a:pt x="3354" y="829"/>
                  <a:pt x="3353" y="830"/>
                </a:cubicBezTo>
                <a:cubicBezTo>
                  <a:pt x="3353" y="832"/>
                  <a:pt x="3351" y="833"/>
                  <a:pt x="3351" y="835"/>
                </a:cubicBezTo>
                <a:cubicBezTo>
                  <a:pt x="3351" y="836"/>
                  <a:pt x="3350" y="836"/>
                  <a:pt x="3350" y="837"/>
                </a:cubicBezTo>
                <a:cubicBezTo>
                  <a:pt x="3350" y="839"/>
                  <a:pt x="3349" y="840"/>
                  <a:pt x="3348" y="841"/>
                </a:cubicBezTo>
                <a:cubicBezTo>
                  <a:pt x="3347" y="842"/>
                  <a:pt x="3347" y="843"/>
                  <a:pt x="3346" y="843"/>
                </a:cubicBezTo>
                <a:cubicBezTo>
                  <a:pt x="3345" y="844"/>
                  <a:pt x="3345" y="845"/>
                  <a:pt x="3344" y="845"/>
                </a:cubicBezTo>
                <a:cubicBezTo>
                  <a:pt x="3343" y="846"/>
                  <a:pt x="3342" y="847"/>
                  <a:pt x="3341" y="848"/>
                </a:cubicBezTo>
                <a:cubicBezTo>
                  <a:pt x="3341" y="848"/>
                  <a:pt x="3340" y="850"/>
                  <a:pt x="3339" y="850"/>
                </a:cubicBezTo>
                <a:cubicBezTo>
                  <a:pt x="3338" y="851"/>
                  <a:pt x="3337" y="852"/>
                  <a:pt x="3336" y="852"/>
                </a:cubicBezTo>
                <a:cubicBezTo>
                  <a:pt x="3336" y="852"/>
                  <a:pt x="3335" y="853"/>
                  <a:pt x="3335" y="853"/>
                </a:cubicBezTo>
                <a:cubicBezTo>
                  <a:pt x="3334" y="853"/>
                  <a:pt x="3333" y="853"/>
                  <a:pt x="3333" y="854"/>
                </a:cubicBezTo>
                <a:cubicBezTo>
                  <a:pt x="3332" y="854"/>
                  <a:pt x="3331" y="855"/>
                  <a:pt x="3330" y="855"/>
                </a:cubicBezTo>
                <a:cubicBezTo>
                  <a:pt x="3329" y="855"/>
                  <a:pt x="3328" y="856"/>
                  <a:pt x="3328" y="857"/>
                </a:cubicBezTo>
                <a:cubicBezTo>
                  <a:pt x="3327" y="858"/>
                  <a:pt x="3326" y="858"/>
                  <a:pt x="3325" y="858"/>
                </a:cubicBezTo>
                <a:cubicBezTo>
                  <a:pt x="3325" y="858"/>
                  <a:pt x="3324" y="858"/>
                  <a:pt x="3324" y="858"/>
                </a:cubicBezTo>
                <a:cubicBezTo>
                  <a:pt x="3324" y="858"/>
                  <a:pt x="3323" y="858"/>
                  <a:pt x="3323" y="857"/>
                </a:cubicBezTo>
                <a:cubicBezTo>
                  <a:pt x="3323" y="857"/>
                  <a:pt x="3323" y="857"/>
                  <a:pt x="3323" y="856"/>
                </a:cubicBezTo>
                <a:cubicBezTo>
                  <a:pt x="3323" y="856"/>
                  <a:pt x="3323" y="855"/>
                  <a:pt x="3323" y="855"/>
                </a:cubicBezTo>
                <a:cubicBezTo>
                  <a:pt x="3323" y="855"/>
                  <a:pt x="3323" y="854"/>
                  <a:pt x="3322" y="854"/>
                </a:cubicBezTo>
                <a:cubicBezTo>
                  <a:pt x="3322" y="853"/>
                  <a:pt x="3322" y="854"/>
                  <a:pt x="3321" y="854"/>
                </a:cubicBezTo>
                <a:cubicBezTo>
                  <a:pt x="3321" y="854"/>
                  <a:pt x="3320" y="853"/>
                  <a:pt x="3321" y="853"/>
                </a:cubicBezTo>
                <a:cubicBezTo>
                  <a:pt x="3321" y="852"/>
                  <a:pt x="3321" y="852"/>
                  <a:pt x="3322" y="852"/>
                </a:cubicBezTo>
                <a:cubicBezTo>
                  <a:pt x="3322" y="853"/>
                  <a:pt x="3322" y="853"/>
                  <a:pt x="3323" y="852"/>
                </a:cubicBezTo>
                <a:cubicBezTo>
                  <a:pt x="3323" y="852"/>
                  <a:pt x="3323" y="852"/>
                  <a:pt x="3324" y="852"/>
                </a:cubicBezTo>
                <a:cubicBezTo>
                  <a:pt x="3324" y="852"/>
                  <a:pt x="3325" y="852"/>
                  <a:pt x="3325" y="851"/>
                </a:cubicBezTo>
                <a:cubicBezTo>
                  <a:pt x="3325" y="851"/>
                  <a:pt x="3325" y="850"/>
                  <a:pt x="3325" y="850"/>
                </a:cubicBezTo>
                <a:cubicBezTo>
                  <a:pt x="3325" y="849"/>
                  <a:pt x="3326" y="849"/>
                  <a:pt x="3326" y="849"/>
                </a:cubicBezTo>
                <a:cubicBezTo>
                  <a:pt x="3325" y="848"/>
                  <a:pt x="3325" y="848"/>
                  <a:pt x="3325" y="848"/>
                </a:cubicBezTo>
                <a:cubicBezTo>
                  <a:pt x="3325" y="848"/>
                  <a:pt x="3324" y="848"/>
                  <a:pt x="3324" y="848"/>
                </a:cubicBezTo>
                <a:cubicBezTo>
                  <a:pt x="3323" y="849"/>
                  <a:pt x="3323" y="849"/>
                  <a:pt x="3323" y="849"/>
                </a:cubicBezTo>
                <a:cubicBezTo>
                  <a:pt x="3322" y="849"/>
                  <a:pt x="3322" y="850"/>
                  <a:pt x="3321" y="850"/>
                </a:cubicBezTo>
                <a:cubicBezTo>
                  <a:pt x="3320" y="850"/>
                  <a:pt x="3320" y="850"/>
                  <a:pt x="3319" y="850"/>
                </a:cubicBezTo>
                <a:cubicBezTo>
                  <a:pt x="3319" y="851"/>
                  <a:pt x="3319" y="851"/>
                  <a:pt x="3319" y="851"/>
                </a:cubicBezTo>
                <a:cubicBezTo>
                  <a:pt x="3319" y="852"/>
                  <a:pt x="3319" y="853"/>
                  <a:pt x="3319" y="853"/>
                </a:cubicBezTo>
                <a:cubicBezTo>
                  <a:pt x="3319" y="854"/>
                  <a:pt x="3320" y="854"/>
                  <a:pt x="3320" y="855"/>
                </a:cubicBezTo>
                <a:cubicBezTo>
                  <a:pt x="3320" y="856"/>
                  <a:pt x="3319" y="857"/>
                  <a:pt x="3319" y="857"/>
                </a:cubicBezTo>
                <a:cubicBezTo>
                  <a:pt x="3319" y="858"/>
                  <a:pt x="3318" y="859"/>
                  <a:pt x="3318" y="859"/>
                </a:cubicBezTo>
                <a:cubicBezTo>
                  <a:pt x="3317" y="859"/>
                  <a:pt x="3317" y="860"/>
                  <a:pt x="3317" y="860"/>
                </a:cubicBezTo>
                <a:cubicBezTo>
                  <a:pt x="3316" y="860"/>
                  <a:pt x="3316" y="861"/>
                  <a:pt x="3316" y="861"/>
                </a:cubicBezTo>
                <a:cubicBezTo>
                  <a:pt x="3316" y="862"/>
                  <a:pt x="3315" y="862"/>
                  <a:pt x="3314" y="863"/>
                </a:cubicBezTo>
                <a:cubicBezTo>
                  <a:pt x="3314" y="863"/>
                  <a:pt x="3314" y="864"/>
                  <a:pt x="3313" y="864"/>
                </a:cubicBezTo>
                <a:cubicBezTo>
                  <a:pt x="3313" y="865"/>
                  <a:pt x="3313" y="865"/>
                  <a:pt x="3312" y="866"/>
                </a:cubicBezTo>
                <a:cubicBezTo>
                  <a:pt x="3312" y="866"/>
                  <a:pt x="3311" y="867"/>
                  <a:pt x="3311" y="867"/>
                </a:cubicBezTo>
                <a:cubicBezTo>
                  <a:pt x="3311" y="868"/>
                  <a:pt x="3311" y="869"/>
                  <a:pt x="3311" y="869"/>
                </a:cubicBezTo>
                <a:cubicBezTo>
                  <a:pt x="3311" y="870"/>
                  <a:pt x="3311" y="870"/>
                  <a:pt x="3311" y="870"/>
                </a:cubicBezTo>
                <a:cubicBezTo>
                  <a:pt x="3311" y="871"/>
                  <a:pt x="3312" y="871"/>
                  <a:pt x="3312" y="872"/>
                </a:cubicBezTo>
                <a:cubicBezTo>
                  <a:pt x="3312" y="873"/>
                  <a:pt x="3310" y="872"/>
                  <a:pt x="3310" y="873"/>
                </a:cubicBezTo>
                <a:cubicBezTo>
                  <a:pt x="3309" y="873"/>
                  <a:pt x="3309" y="874"/>
                  <a:pt x="3308" y="875"/>
                </a:cubicBezTo>
                <a:cubicBezTo>
                  <a:pt x="3308" y="875"/>
                  <a:pt x="3307" y="875"/>
                  <a:pt x="3307" y="875"/>
                </a:cubicBezTo>
                <a:cubicBezTo>
                  <a:pt x="3306" y="875"/>
                  <a:pt x="3306" y="875"/>
                  <a:pt x="3306" y="874"/>
                </a:cubicBezTo>
                <a:cubicBezTo>
                  <a:pt x="3305" y="874"/>
                  <a:pt x="3305" y="874"/>
                  <a:pt x="3304" y="874"/>
                </a:cubicBezTo>
                <a:cubicBezTo>
                  <a:pt x="3304" y="874"/>
                  <a:pt x="3304" y="875"/>
                  <a:pt x="3304" y="875"/>
                </a:cubicBezTo>
                <a:cubicBezTo>
                  <a:pt x="3303" y="875"/>
                  <a:pt x="3303" y="875"/>
                  <a:pt x="3303" y="874"/>
                </a:cubicBezTo>
                <a:cubicBezTo>
                  <a:pt x="3303" y="874"/>
                  <a:pt x="3302" y="874"/>
                  <a:pt x="3302" y="873"/>
                </a:cubicBezTo>
                <a:cubicBezTo>
                  <a:pt x="3302" y="872"/>
                  <a:pt x="3304" y="872"/>
                  <a:pt x="3303" y="871"/>
                </a:cubicBezTo>
                <a:cubicBezTo>
                  <a:pt x="3303" y="871"/>
                  <a:pt x="3301" y="871"/>
                  <a:pt x="3300" y="871"/>
                </a:cubicBezTo>
                <a:cubicBezTo>
                  <a:pt x="3300" y="872"/>
                  <a:pt x="3299" y="873"/>
                  <a:pt x="3298" y="873"/>
                </a:cubicBezTo>
                <a:cubicBezTo>
                  <a:pt x="3297" y="873"/>
                  <a:pt x="3297" y="873"/>
                  <a:pt x="3296" y="873"/>
                </a:cubicBezTo>
                <a:cubicBezTo>
                  <a:pt x="3295" y="873"/>
                  <a:pt x="3294" y="874"/>
                  <a:pt x="3293" y="873"/>
                </a:cubicBezTo>
                <a:cubicBezTo>
                  <a:pt x="3292" y="873"/>
                  <a:pt x="3291" y="873"/>
                  <a:pt x="3290" y="873"/>
                </a:cubicBezTo>
                <a:cubicBezTo>
                  <a:pt x="3288" y="873"/>
                  <a:pt x="3286" y="874"/>
                  <a:pt x="3284" y="874"/>
                </a:cubicBezTo>
                <a:cubicBezTo>
                  <a:pt x="3283" y="873"/>
                  <a:pt x="3282" y="873"/>
                  <a:pt x="3281" y="874"/>
                </a:cubicBezTo>
                <a:cubicBezTo>
                  <a:pt x="3280" y="874"/>
                  <a:pt x="3279" y="874"/>
                  <a:pt x="3277" y="874"/>
                </a:cubicBezTo>
                <a:cubicBezTo>
                  <a:pt x="3276" y="875"/>
                  <a:pt x="3276" y="875"/>
                  <a:pt x="3275" y="875"/>
                </a:cubicBezTo>
                <a:cubicBezTo>
                  <a:pt x="3274" y="875"/>
                  <a:pt x="3273" y="875"/>
                  <a:pt x="3273" y="876"/>
                </a:cubicBezTo>
                <a:cubicBezTo>
                  <a:pt x="3272" y="876"/>
                  <a:pt x="3273" y="877"/>
                  <a:pt x="3272" y="878"/>
                </a:cubicBezTo>
                <a:cubicBezTo>
                  <a:pt x="3271" y="878"/>
                  <a:pt x="3270" y="878"/>
                  <a:pt x="3270" y="879"/>
                </a:cubicBezTo>
                <a:cubicBezTo>
                  <a:pt x="3269" y="879"/>
                  <a:pt x="3268" y="880"/>
                  <a:pt x="3267" y="881"/>
                </a:cubicBezTo>
                <a:cubicBezTo>
                  <a:pt x="3267" y="881"/>
                  <a:pt x="3266" y="882"/>
                  <a:pt x="3265" y="882"/>
                </a:cubicBezTo>
                <a:cubicBezTo>
                  <a:pt x="3264" y="883"/>
                  <a:pt x="3264" y="884"/>
                  <a:pt x="3263" y="884"/>
                </a:cubicBezTo>
                <a:cubicBezTo>
                  <a:pt x="3262" y="885"/>
                  <a:pt x="3261" y="885"/>
                  <a:pt x="3260" y="886"/>
                </a:cubicBezTo>
                <a:cubicBezTo>
                  <a:pt x="3259" y="886"/>
                  <a:pt x="3259" y="887"/>
                  <a:pt x="3258" y="888"/>
                </a:cubicBezTo>
                <a:cubicBezTo>
                  <a:pt x="3258" y="889"/>
                  <a:pt x="3257" y="889"/>
                  <a:pt x="3256" y="889"/>
                </a:cubicBezTo>
                <a:cubicBezTo>
                  <a:pt x="3256" y="889"/>
                  <a:pt x="3255" y="889"/>
                  <a:pt x="3255" y="889"/>
                </a:cubicBezTo>
                <a:cubicBezTo>
                  <a:pt x="3254" y="889"/>
                  <a:pt x="3254" y="888"/>
                  <a:pt x="3254" y="888"/>
                </a:cubicBezTo>
                <a:cubicBezTo>
                  <a:pt x="3253" y="887"/>
                  <a:pt x="3253" y="889"/>
                  <a:pt x="3252" y="889"/>
                </a:cubicBezTo>
                <a:cubicBezTo>
                  <a:pt x="3251" y="890"/>
                  <a:pt x="3253" y="890"/>
                  <a:pt x="3253" y="891"/>
                </a:cubicBezTo>
                <a:cubicBezTo>
                  <a:pt x="3253" y="892"/>
                  <a:pt x="3252" y="892"/>
                  <a:pt x="3252" y="892"/>
                </a:cubicBezTo>
                <a:close/>
                <a:moveTo>
                  <a:pt x="3224" y="1269"/>
                </a:moveTo>
                <a:cubicBezTo>
                  <a:pt x="3223" y="1269"/>
                  <a:pt x="3223" y="1269"/>
                  <a:pt x="3222" y="1270"/>
                </a:cubicBezTo>
                <a:cubicBezTo>
                  <a:pt x="3222" y="1271"/>
                  <a:pt x="3221" y="1271"/>
                  <a:pt x="3222" y="1272"/>
                </a:cubicBezTo>
                <a:cubicBezTo>
                  <a:pt x="3222" y="1272"/>
                  <a:pt x="3223" y="1272"/>
                  <a:pt x="3223" y="1273"/>
                </a:cubicBezTo>
                <a:cubicBezTo>
                  <a:pt x="3223" y="1273"/>
                  <a:pt x="3223" y="1274"/>
                  <a:pt x="3223" y="1274"/>
                </a:cubicBezTo>
                <a:cubicBezTo>
                  <a:pt x="3223" y="1275"/>
                  <a:pt x="3224" y="1274"/>
                  <a:pt x="3224" y="1273"/>
                </a:cubicBezTo>
                <a:cubicBezTo>
                  <a:pt x="3225" y="1273"/>
                  <a:pt x="3226" y="1273"/>
                  <a:pt x="3226" y="1272"/>
                </a:cubicBezTo>
                <a:cubicBezTo>
                  <a:pt x="3227" y="1271"/>
                  <a:pt x="3227" y="1270"/>
                  <a:pt x="3227" y="1270"/>
                </a:cubicBezTo>
                <a:cubicBezTo>
                  <a:pt x="3226" y="1269"/>
                  <a:pt x="3227" y="1268"/>
                  <a:pt x="3226" y="1267"/>
                </a:cubicBezTo>
                <a:cubicBezTo>
                  <a:pt x="3226" y="1266"/>
                  <a:pt x="3225" y="1267"/>
                  <a:pt x="3224" y="1268"/>
                </a:cubicBezTo>
                <a:cubicBezTo>
                  <a:pt x="3224" y="1268"/>
                  <a:pt x="3224" y="1268"/>
                  <a:pt x="3224" y="1269"/>
                </a:cubicBezTo>
                <a:close/>
                <a:moveTo>
                  <a:pt x="3227" y="911"/>
                </a:moveTo>
                <a:cubicBezTo>
                  <a:pt x="3227" y="912"/>
                  <a:pt x="3228" y="912"/>
                  <a:pt x="3228" y="911"/>
                </a:cubicBezTo>
                <a:cubicBezTo>
                  <a:pt x="3228" y="911"/>
                  <a:pt x="3228" y="911"/>
                  <a:pt x="3229" y="911"/>
                </a:cubicBezTo>
                <a:cubicBezTo>
                  <a:pt x="3229" y="911"/>
                  <a:pt x="3230" y="911"/>
                  <a:pt x="3229" y="911"/>
                </a:cubicBezTo>
                <a:cubicBezTo>
                  <a:pt x="3229" y="911"/>
                  <a:pt x="3229" y="911"/>
                  <a:pt x="3229" y="910"/>
                </a:cubicBezTo>
                <a:cubicBezTo>
                  <a:pt x="3229" y="910"/>
                  <a:pt x="3229" y="909"/>
                  <a:pt x="3228" y="909"/>
                </a:cubicBezTo>
                <a:cubicBezTo>
                  <a:pt x="3228" y="909"/>
                  <a:pt x="3227" y="911"/>
                  <a:pt x="3227" y="911"/>
                </a:cubicBezTo>
                <a:close/>
                <a:moveTo>
                  <a:pt x="3232" y="906"/>
                </a:moveTo>
                <a:cubicBezTo>
                  <a:pt x="3231" y="906"/>
                  <a:pt x="3231" y="907"/>
                  <a:pt x="3231" y="908"/>
                </a:cubicBezTo>
                <a:cubicBezTo>
                  <a:pt x="3231" y="908"/>
                  <a:pt x="3231" y="908"/>
                  <a:pt x="3231" y="908"/>
                </a:cubicBezTo>
                <a:cubicBezTo>
                  <a:pt x="3232" y="908"/>
                  <a:pt x="3231" y="908"/>
                  <a:pt x="3231" y="908"/>
                </a:cubicBezTo>
                <a:cubicBezTo>
                  <a:pt x="3232" y="909"/>
                  <a:pt x="3232" y="909"/>
                  <a:pt x="3232" y="909"/>
                </a:cubicBezTo>
                <a:cubicBezTo>
                  <a:pt x="3232" y="909"/>
                  <a:pt x="3232" y="908"/>
                  <a:pt x="3232" y="908"/>
                </a:cubicBezTo>
                <a:cubicBezTo>
                  <a:pt x="3232" y="908"/>
                  <a:pt x="3232" y="907"/>
                  <a:pt x="3232" y="907"/>
                </a:cubicBezTo>
                <a:cubicBezTo>
                  <a:pt x="3232" y="907"/>
                  <a:pt x="3232" y="906"/>
                  <a:pt x="3232" y="906"/>
                </a:cubicBezTo>
                <a:cubicBezTo>
                  <a:pt x="3232" y="906"/>
                  <a:pt x="3232" y="905"/>
                  <a:pt x="3232" y="906"/>
                </a:cubicBezTo>
                <a:close/>
                <a:moveTo>
                  <a:pt x="3227" y="882"/>
                </a:moveTo>
                <a:cubicBezTo>
                  <a:pt x="3227" y="882"/>
                  <a:pt x="3226" y="882"/>
                  <a:pt x="3226" y="882"/>
                </a:cubicBezTo>
                <a:cubicBezTo>
                  <a:pt x="3226" y="882"/>
                  <a:pt x="3226" y="882"/>
                  <a:pt x="3226" y="883"/>
                </a:cubicBezTo>
                <a:cubicBezTo>
                  <a:pt x="3225" y="883"/>
                  <a:pt x="3225" y="882"/>
                  <a:pt x="3225" y="883"/>
                </a:cubicBezTo>
                <a:cubicBezTo>
                  <a:pt x="3225" y="883"/>
                  <a:pt x="3225" y="884"/>
                  <a:pt x="3225" y="884"/>
                </a:cubicBezTo>
                <a:cubicBezTo>
                  <a:pt x="3225" y="884"/>
                  <a:pt x="3226" y="884"/>
                  <a:pt x="3226" y="884"/>
                </a:cubicBezTo>
                <a:cubicBezTo>
                  <a:pt x="3226" y="884"/>
                  <a:pt x="3226" y="885"/>
                  <a:pt x="3226" y="885"/>
                </a:cubicBezTo>
                <a:cubicBezTo>
                  <a:pt x="3226" y="885"/>
                  <a:pt x="3226" y="885"/>
                  <a:pt x="3226" y="884"/>
                </a:cubicBezTo>
                <a:cubicBezTo>
                  <a:pt x="3227" y="884"/>
                  <a:pt x="3227" y="884"/>
                  <a:pt x="3227" y="883"/>
                </a:cubicBezTo>
                <a:cubicBezTo>
                  <a:pt x="3227" y="883"/>
                  <a:pt x="3228" y="883"/>
                  <a:pt x="3228" y="882"/>
                </a:cubicBezTo>
                <a:cubicBezTo>
                  <a:pt x="3228" y="882"/>
                  <a:pt x="3228" y="881"/>
                  <a:pt x="3227" y="882"/>
                </a:cubicBezTo>
                <a:cubicBezTo>
                  <a:pt x="3227" y="882"/>
                  <a:pt x="3227" y="882"/>
                  <a:pt x="3227" y="882"/>
                </a:cubicBezTo>
                <a:close/>
                <a:moveTo>
                  <a:pt x="3215" y="1277"/>
                </a:moveTo>
                <a:cubicBezTo>
                  <a:pt x="3215" y="1278"/>
                  <a:pt x="3214" y="1279"/>
                  <a:pt x="3214" y="1280"/>
                </a:cubicBezTo>
                <a:cubicBezTo>
                  <a:pt x="3213" y="1280"/>
                  <a:pt x="3213" y="1280"/>
                  <a:pt x="3213" y="1281"/>
                </a:cubicBezTo>
                <a:cubicBezTo>
                  <a:pt x="3213" y="1281"/>
                  <a:pt x="3213" y="1282"/>
                  <a:pt x="3213" y="1282"/>
                </a:cubicBezTo>
                <a:cubicBezTo>
                  <a:pt x="3213" y="1283"/>
                  <a:pt x="3212" y="1284"/>
                  <a:pt x="3212" y="1284"/>
                </a:cubicBezTo>
                <a:cubicBezTo>
                  <a:pt x="3213" y="1285"/>
                  <a:pt x="3213" y="1286"/>
                  <a:pt x="3214" y="1286"/>
                </a:cubicBezTo>
                <a:cubicBezTo>
                  <a:pt x="3215" y="1287"/>
                  <a:pt x="3215" y="1288"/>
                  <a:pt x="3214" y="1289"/>
                </a:cubicBezTo>
                <a:cubicBezTo>
                  <a:pt x="3214" y="1289"/>
                  <a:pt x="3214" y="1290"/>
                  <a:pt x="3215" y="1291"/>
                </a:cubicBezTo>
                <a:cubicBezTo>
                  <a:pt x="3215" y="1292"/>
                  <a:pt x="3215" y="1292"/>
                  <a:pt x="3216" y="1293"/>
                </a:cubicBezTo>
                <a:cubicBezTo>
                  <a:pt x="3216" y="1294"/>
                  <a:pt x="3216" y="1294"/>
                  <a:pt x="3216" y="1295"/>
                </a:cubicBezTo>
                <a:cubicBezTo>
                  <a:pt x="3216" y="1296"/>
                  <a:pt x="3216" y="1296"/>
                  <a:pt x="3216" y="1297"/>
                </a:cubicBezTo>
                <a:cubicBezTo>
                  <a:pt x="3216" y="1297"/>
                  <a:pt x="3215" y="1297"/>
                  <a:pt x="3215" y="1298"/>
                </a:cubicBezTo>
                <a:cubicBezTo>
                  <a:pt x="3215" y="1299"/>
                  <a:pt x="3215" y="1300"/>
                  <a:pt x="3215" y="1300"/>
                </a:cubicBezTo>
                <a:cubicBezTo>
                  <a:pt x="3216" y="1301"/>
                  <a:pt x="3217" y="1301"/>
                  <a:pt x="3218" y="1302"/>
                </a:cubicBezTo>
                <a:cubicBezTo>
                  <a:pt x="3218" y="1302"/>
                  <a:pt x="3218" y="1303"/>
                  <a:pt x="3219" y="1304"/>
                </a:cubicBezTo>
                <a:cubicBezTo>
                  <a:pt x="3219" y="1305"/>
                  <a:pt x="3220" y="1305"/>
                  <a:pt x="3221" y="1305"/>
                </a:cubicBezTo>
                <a:cubicBezTo>
                  <a:pt x="3221" y="1305"/>
                  <a:pt x="3221" y="1306"/>
                  <a:pt x="3222" y="1306"/>
                </a:cubicBezTo>
                <a:cubicBezTo>
                  <a:pt x="3222" y="1306"/>
                  <a:pt x="3222" y="1306"/>
                  <a:pt x="3223" y="1306"/>
                </a:cubicBezTo>
                <a:cubicBezTo>
                  <a:pt x="3223" y="1306"/>
                  <a:pt x="3223" y="1307"/>
                  <a:pt x="3223" y="1307"/>
                </a:cubicBezTo>
                <a:cubicBezTo>
                  <a:pt x="3224" y="1307"/>
                  <a:pt x="3224" y="1308"/>
                  <a:pt x="3224" y="1307"/>
                </a:cubicBezTo>
                <a:cubicBezTo>
                  <a:pt x="3224" y="1306"/>
                  <a:pt x="3223" y="1306"/>
                  <a:pt x="3223" y="1305"/>
                </a:cubicBezTo>
                <a:cubicBezTo>
                  <a:pt x="3223" y="1305"/>
                  <a:pt x="3223" y="1304"/>
                  <a:pt x="3222" y="1304"/>
                </a:cubicBezTo>
                <a:cubicBezTo>
                  <a:pt x="3222" y="1303"/>
                  <a:pt x="3222" y="1303"/>
                  <a:pt x="3221" y="1303"/>
                </a:cubicBezTo>
                <a:cubicBezTo>
                  <a:pt x="3221" y="1302"/>
                  <a:pt x="3221" y="1301"/>
                  <a:pt x="3220" y="1300"/>
                </a:cubicBezTo>
                <a:cubicBezTo>
                  <a:pt x="3220" y="1299"/>
                  <a:pt x="3219" y="1299"/>
                  <a:pt x="3219" y="1298"/>
                </a:cubicBezTo>
                <a:cubicBezTo>
                  <a:pt x="3219" y="1297"/>
                  <a:pt x="3218" y="1297"/>
                  <a:pt x="3218" y="1297"/>
                </a:cubicBezTo>
                <a:cubicBezTo>
                  <a:pt x="3218" y="1296"/>
                  <a:pt x="3219" y="1296"/>
                  <a:pt x="3219" y="1295"/>
                </a:cubicBezTo>
                <a:cubicBezTo>
                  <a:pt x="3219" y="1295"/>
                  <a:pt x="3218" y="1294"/>
                  <a:pt x="3218" y="1293"/>
                </a:cubicBezTo>
                <a:cubicBezTo>
                  <a:pt x="3218" y="1292"/>
                  <a:pt x="3219" y="1292"/>
                  <a:pt x="3220" y="1292"/>
                </a:cubicBezTo>
                <a:cubicBezTo>
                  <a:pt x="3221" y="1292"/>
                  <a:pt x="3221" y="1292"/>
                  <a:pt x="3222" y="1292"/>
                </a:cubicBezTo>
                <a:cubicBezTo>
                  <a:pt x="3223" y="1292"/>
                  <a:pt x="3224" y="1292"/>
                  <a:pt x="3225" y="1293"/>
                </a:cubicBezTo>
                <a:cubicBezTo>
                  <a:pt x="3226" y="1293"/>
                  <a:pt x="3226" y="1293"/>
                  <a:pt x="3226" y="1294"/>
                </a:cubicBezTo>
                <a:cubicBezTo>
                  <a:pt x="3227" y="1294"/>
                  <a:pt x="3227" y="1294"/>
                  <a:pt x="3227" y="1294"/>
                </a:cubicBezTo>
                <a:cubicBezTo>
                  <a:pt x="3228" y="1294"/>
                  <a:pt x="3229" y="1295"/>
                  <a:pt x="3230" y="1294"/>
                </a:cubicBezTo>
                <a:cubicBezTo>
                  <a:pt x="3230" y="1294"/>
                  <a:pt x="3229" y="1293"/>
                  <a:pt x="3228" y="1293"/>
                </a:cubicBezTo>
                <a:cubicBezTo>
                  <a:pt x="3228" y="1292"/>
                  <a:pt x="3227" y="1291"/>
                  <a:pt x="3226" y="1291"/>
                </a:cubicBezTo>
                <a:cubicBezTo>
                  <a:pt x="3226" y="1290"/>
                  <a:pt x="3225" y="1290"/>
                  <a:pt x="3224" y="1290"/>
                </a:cubicBezTo>
                <a:cubicBezTo>
                  <a:pt x="3224" y="1289"/>
                  <a:pt x="3223" y="1289"/>
                  <a:pt x="3223" y="1289"/>
                </a:cubicBezTo>
                <a:cubicBezTo>
                  <a:pt x="3222" y="1288"/>
                  <a:pt x="3223" y="1287"/>
                  <a:pt x="3224" y="1286"/>
                </a:cubicBezTo>
                <a:cubicBezTo>
                  <a:pt x="3224" y="1286"/>
                  <a:pt x="3225" y="1286"/>
                  <a:pt x="3226" y="1285"/>
                </a:cubicBezTo>
                <a:cubicBezTo>
                  <a:pt x="3227" y="1285"/>
                  <a:pt x="3227" y="1284"/>
                  <a:pt x="3228" y="1283"/>
                </a:cubicBezTo>
                <a:cubicBezTo>
                  <a:pt x="3228" y="1282"/>
                  <a:pt x="3228" y="1282"/>
                  <a:pt x="3228" y="1281"/>
                </a:cubicBezTo>
                <a:cubicBezTo>
                  <a:pt x="3228" y="1281"/>
                  <a:pt x="3228" y="1281"/>
                  <a:pt x="3228" y="1280"/>
                </a:cubicBezTo>
                <a:cubicBezTo>
                  <a:pt x="3228" y="1280"/>
                  <a:pt x="3228" y="1280"/>
                  <a:pt x="3228" y="1280"/>
                </a:cubicBezTo>
                <a:cubicBezTo>
                  <a:pt x="3228" y="1279"/>
                  <a:pt x="3227" y="1279"/>
                  <a:pt x="3227" y="1279"/>
                </a:cubicBezTo>
                <a:cubicBezTo>
                  <a:pt x="3226" y="1279"/>
                  <a:pt x="3226" y="1279"/>
                  <a:pt x="3225" y="1280"/>
                </a:cubicBezTo>
                <a:cubicBezTo>
                  <a:pt x="3225" y="1280"/>
                  <a:pt x="3225" y="1280"/>
                  <a:pt x="3224" y="1280"/>
                </a:cubicBezTo>
                <a:cubicBezTo>
                  <a:pt x="3223" y="1280"/>
                  <a:pt x="3223" y="1281"/>
                  <a:pt x="3222" y="1281"/>
                </a:cubicBezTo>
                <a:cubicBezTo>
                  <a:pt x="3222" y="1282"/>
                  <a:pt x="3221" y="1282"/>
                  <a:pt x="3221" y="1282"/>
                </a:cubicBezTo>
                <a:cubicBezTo>
                  <a:pt x="3220" y="1282"/>
                  <a:pt x="3220" y="1282"/>
                  <a:pt x="3220" y="1283"/>
                </a:cubicBezTo>
                <a:cubicBezTo>
                  <a:pt x="3221" y="1283"/>
                  <a:pt x="3221" y="1283"/>
                  <a:pt x="3221" y="1283"/>
                </a:cubicBezTo>
                <a:cubicBezTo>
                  <a:pt x="3222" y="1284"/>
                  <a:pt x="3221" y="1284"/>
                  <a:pt x="3221" y="1284"/>
                </a:cubicBezTo>
                <a:cubicBezTo>
                  <a:pt x="3220" y="1284"/>
                  <a:pt x="3219" y="1284"/>
                  <a:pt x="3219" y="1285"/>
                </a:cubicBezTo>
                <a:cubicBezTo>
                  <a:pt x="3219" y="1286"/>
                  <a:pt x="3219" y="1286"/>
                  <a:pt x="3219" y="1286"/>
                </a:cubicBezTo>
                <a:cubicBezTo>
                  <a:pt x="3218" y="1287"/>
                  <a:pt x="3218" y="1287"/>
                  <a:pt x="3218" y="1288"/>
                </a:cubicBezTo>
                <a:cubicBezTo>
                  <a:pt x="3217" y="1288"/>
                  <a:pt x="3216" y="1288"/>
                  <a:pt x="3216" y="1287"/>
                </a:cubicBezTo>
                <a:cubicBezTo>
                  <a:pt x="3216" y="1286"/>
                  <a:pt x="3216" y="1285"/>
                  <a:pt x="3217" y="1285"/>
                </a:cubicBezTo>
                <a:cubicBezTo>
                  <a:pt x="3218" y="1284"/>
                  <a:pt x="3219" y="1283"/>
                  <a:pt x="3219" y="1282"/>
                </a:cubicBezTo>
                <a:cubicBezTo>
                  <a:pt x="3220" y="1282"/>
                  <a:pt x="3220" y="1281"/>
                  <a:pt x="3220" y="1280"/>
                </a:cubicBezTo>
                <a:cubicBezTo>
                  <a:pt x="3220" y="1279"/>
                  <a:pt x="3220" y="1279"/>
                  <a:pt x="3219" y="1278"/>
                </a:cubicBezTo>
                <a:cubicBezTo>
                  <a:pt x="3219" y="1278"/>
                  <a:pt x="3219" y="1278"/>
                  <a:pt x="3219" y="1277"/>
                </a:cubicBezTo>
                <a:cubicBezTo>
                  <a:pt x="3219" y="1276"/>
                  <a:pt x="3218" y="1276"/>
                  <a:pt x="3218" y="1275"/>
                </a:cubicBezTo>
                <a:cubicBezTo>
                  <a:pt x="3218" y="1275"/>
                  <a:pt x="3218" y="1274"/>
                  <a:pt x="3219" y="1274"/>
                </a:cubicBezTo>
                <a:cubicBezTo>
                  <a:pt x="3219" y="1274"/>
                  <a:pt x="3219" y="1273"/>
                  <a:pt x="3220" y="1273"/>
                </a:cubicBezTo>
                <a:cubicBezTo>
                  <a:pt x="3220" y="1273"/>
                  <a:pt x="3220" y="1272"/>
                  <a:pt x="3220" y="1272"/>
                </a:cubicBezTo>
                <a:cubicBezTo>
                  <a:pt x="3219" y="1272"/>
                  <a:pt x="3219" y="1273"/>
                  <a:pt x="3219" y="1273"/>
                </a:cubicBezTo>
                <a:cubicBezTo>
                  <a:pt x="3217" y="1274"/>
                  <a:pt x="3216" y="1275"/>
                  <a:pt x="3215" y="1277"/>
                </a:cubicBezTo>
                <a:close/>
                <a:moveTo>
                  <a:pt x="3238" y="902"/>
                </a:moveTo>
                <a:cubicBezTo>
                  <a:pt x="3237" y="901"/>
                  <a:pt x="3238" y="903"/>
                  <a:pt x="3238" y="903"/>
                </a:cubicBezTo>
                <a:cubicBezTo>
                  <a:pt x="3238" y="904"/>
                  <a:pt x="3237" y="904"/>
                  <a:pt x="3238" y="905"/>
                </a:cubicBezTo>
                <a:cubicBezTo>
                  <a:pt x="3238" y="905"/>
                  <a:pt x="3239" y="905"/>
                  <a:pt x="3239" y="905"/>
                </a:cubicBezTo>
                <a:cubicBezTo>
                  <a:pt x="3239" y="906"/>
                  <a:pt x="3238" y="906"/>
                  <a:pt x="3238" y="906"/>
                </a:cubicBezTo>
                <a:cubicBezTo>
                  <a:pt x="3238" y="907"/>
                  <a:pt x="3238" y="907"/>
                  <a:pt x="3238" y="908"/>
                </a:cubicBezTo>
                <a:cubicBezTo>
                  <a:pt x="3239" y="908"/>
                  <a:pt x="3239" y="908"/>
                  <a:pt x="3239" y="908"/>
                </a:cubicBezTo>
                <a:cubicBezTo>
                  <a:pt x="3239" y="909"/>
                  <a:pt x="3239" y="909"/>
                  <a:pt x="3240" y="910"/>
                </a:cubicBezTo>
                <a:cubicBezTo>
                  <a:pt x="3240" y="910"/>
                  <a:pt x="3240" y="910"/>
                  <a:pt x="3240" y="910"/>
                </a:cubicBezTo>
                <a:cubicBezTo>
                  <a:pt x="3240" y="911"/>
                  <a:pt x="3240" y="911"/>
                  <a:pt x="3240" y="912"/>
                </a:cubicBezTo>
                <a:cubicBezTo>
                  <a:pt x="3241" y="912"/>
                  <a:pt x="3241" y="911"/>
                  <a:pt x="3241" y="911"/>
                </a:cubicBezTo>
                <a:cubicBezTo>
                  <a:pt x="3241" y="911"/>
                  <a:pt x="3242" y="911"/>
                  <a:pt x="3242" y="911"/>
                </a:cubicBezTo>
                <a:cubicBezTo>
                  <a:pt x="3243" y="911"/>
                  <a:pt x="3243" y="910"/>
                  <a:pt x="3243" y="910"/>
                </a:cubicBezTo>
                <a:cubicBezTo>
                  <a:pt x="3244" y="910"/>
                  <a:pt x="3245" y="910"/>
                  <a:pt x="3245" y="911"/>
                </a:cubicBezTo>
                <a:cubicBezTo>
                  <a:pt x="3244" y="911"/>
                  <a:pt x="3244" y="911"/>
                  <a:pt x="3244" y="911"/>
                </a:cubicBezTo>
                <a:cubicBezTo>
                  <a:pt x="3244" y="912"/>
                  <a:pt x="3244" y="912"/>
                  <a:pt x="3244" y="912"/>
                </a:cubicBezTo>
                <a:cubicBezTo>
                  <a:pt x="3244" y="911"/>
                  <a:pt x="3246" y="912"/>
                  <a:pt x="3246" y="910"/>
                </a:cubicBezTo>
                <a:cubicBezTo>
                  <a:pt x="3246" y="910"/>
                  <a:pt x="3246" y="910"/>
                  <a:pt x="3245" y="909"/>
                </a:cubicBezTo>
                <a:cubicBezTo>
                  <a:pt x="3245" y="909"/>
                  <a:pt x="3245" y="910"/>
                  <a:pt x="3244" y="909"/>
                </a:cubicBezTo>
                <a:cubicBezTo>
                  <a:pt x="3243" y="908"/>
                  <a:pt x="3245" y="908"/>
                  <a:pt x="3245" y="907"/>
                </a:cubicBezTo>
                <a:cubicBezTo>
                  <a:pt x="3244" y="907"/>
                  <a:pt x="3244" y="907"/>
                  <a:pt x="3244" y="906"/>
                </a:cubicBezTo>
                <a:cubicBezTo>
                  <a:pt x="3244" y="906"/>
                  <a:pt x="3244" y="906"/>
                  <a:pt x="3244" y="906"/>
                </a:cubicBezTo>
                <a:cubicBezTo>
                  <a:pt x="3245" y="905"/>
                  <a:pt x="3245" y="905"/>
                  <a:pt x="3245" y="905"/>
                </a:cubicBezTo>
                <a:cubicBezTo>
                  <a:pt x="3245" y="905"/>
                  <a:pt x="3245" y="904"/>
                  <a:pt x="3245" y="904"/>
                </a:cubicBezTo>
                <a:cubicBezTo>
                  <a:pt x="3246" y="904"/>
                  <a:pt x="3246" y="905"/>
                  <a:pt x="3246" y="905"/>
                </a:cubicBezTo>
                <a:cubicBezTo>
                  <a:pt x="3246" y="905"/>
                  <a:pt x="3246" y="905"/>
                  <a:pt x="3246" y="906"/>
                </a:cubicBezTo>
                <a:cubicBezTo>
                  <a:pt x="3247" y="906"/>
                  <a:pt x="3247" y="906"/>
                  <a:pt x="3247" y="906"/>
                </a:cubicBezTo>
                <a:cubicBezTo>
                  <a:pt x="3247" y="906"/>
                  <a:pt x="3247" y="907"/>
                  <a:pt x="3247" y="907"/>
                </a:cubicBezTo>
                <a:cubicBezTo>
                  <a:pt x="3248" y="907"/>
                  <a:pt x="3248" y="907"/>
                  <a:pt x="3248" y="908"/>
                </a:cubicBezTo>
                <a:cubicBezTo>
                  <a:pt x="3248" y="908"/>
                  <a:pt x="3248" y="908"/>
                  <a:pt x="3248" y="909"/>
                </a:cubicBezTo>
                <a:cubicBezTo>
                  <a:pt x="3249" y="909"/>
                  <a:pt x="3249" y="910"/>
                  <a:pt x="3249" y="910"/>
                </a:cubicBezTo>
                <a:cubicBezTo>
                  <a:pt x="3248" y="911"/>
                  <a:pt x="3248" y="911"/>
                  <a:pt x="3249" y="911"/>
                </a:cubicBezTo>
                <a:cubicBezTo>
                  <a:pt x="3250" y="911"/>
                  <a:pt x="3250" y="912"/>
                  <a:pt x="3249" y="912"/>
                </a:cubicBezTo>
                <a:cubicBezTo>
                  <a:pt x="3249" y="913"/>
                  <a:pt x="3249" y="913"/>
                  <a:pt x="3249" y="913"/>
                </a:cubicBezTo>
                <a:cubicBezTo>
                  <a:pt x="3248" y="914"/>
                  <a:pt x="3249" y="914"/>
                  <a:pt x="3248" y="914"/>
                </a:cubicBezTo>
                <a:cubicBezTo>
                  <a:pt x="3248" y="915"/>
                  <a:pt x="3248" y="915"/>
                  <a:pt x="3247" y="915"/>
                </a:cubicBezTo>
                <a:cubicBezTo>
                  <a:pt x="3247" y="915"/>
                  <a:pt x="3247" y="916"/>
                  <a:pt x="3247" y="916"/>
                </a:cubicBezTo>
                <a:cubicBezTo>
                  <a:pt x="3247" y="917"/>
                  <a:pt x="3246" y="917"/>
                  <a:pt x="3245" y="918"/>
                </a:cubicBezTo>
                <a:cubicBezTo>
                  <a:pt x="3244" y="919"/>
                  <a:pt x="3244" y="920"/>
                  <a:pt x="3244" y="922"/>
                </a:cubicBezTo>
                <a:cubicBezTo>
                  <a:pt x="3244" y="922"/>
                  <a:pt x="3244" y="923"/>
                  <a:pt x="3245" y="923"/>
                </a:cubicBezTo>
                <a:cubicBezTo>
                  <a:pt x="3245" y="924"/>
                  <a:pt x="3245" y="924"/>
                  <a:pt x="3245" y="925"/>
                </a:cubicBezTo>
                <a:cubicBezTo>
                  <a:pt x="3245" y="925"/>
                  <a:pt x="3246" y="926"/>
                  <a:pt x="3246" y="926"/>
                </a:cubicBezTo>
                <a:cubicBezTo>
                  <a:pt x="3245" y="928"/>
                  <a:pt x="3244" y="926"/>
                  <a:pt x="3244" y="927"/>
                </a:cubicBezTo>
                <a:cubicBezTo>
                  <a:pt x="3244" y="927"/>
                  <a:pt x="3245" y="928"/>
                  <a:pt x="3245" y="928"/>
                </a:cubicBezTo>
                <a:cubicBezTo>
                  <a:pt x="3246" y="928"/>
                  <a:pt x="3246" y="929"/>
                  <a:pt x="3246" y="929"/>
                </a:cubicBezTo>
                <a:cubicBezTo>
                  <a:pt x="3247" y="929"/>
                  <a:pt x="3247" y="929"/>
                  <a:pt x="3248" y="929"/>
                </a:cubicBezTo>
                <a:cubicBezTo>
                  <a:pt x="3248" y="929"/>
                  <a:pt x="3248" y="930"/>
                  <a:pt x="3248" y="930"/>
                </a:cubicBezTo>
                <a:cubicBezTo>
                  <a:pt x="3249" y="931"/>
                  <a:pt x="3250" y="929"/>
                  <a:pt x="3249" y="928"/>
                </a:cubicBezTo>
                <a:cubicBezTo>
                  <a:pt x="3249" y="928"/>
                  <a:pt x="3249" y="928"/>
                  <a:pt x="3249" y="927"/>
                </a:cubicBezTo>
                <a:cubicBezTo>
                  <a:pt x="3249" y="927"/>
                  <a:pt x="3249" y="927"/>
                  <a:pt x="3248" y="926"/>
                </a:cubicBezTo>
                <a:cubicBezTo>
                  <a:pt x="3248" y="926"/>
                  <a:pt x="3248" y="925"/>
                  <a:pt x="3249" y="924"/>
                </a:cubicBezTo>
                <a:cubicBezTo>
                  <a:pt x="3249" y="924"/>
                  <a:pt x="3250" y="924"/>
                  <a:pt x="3250" y="924"/>
                </a:cubicBezTo>
                <a:cubicBezTo>
                  <a:pt x="3250" y="923"/>
                  <a:pt x="3250" y="923"/>
                  <a:pt x="3250" y="923"/>
                </a:cubicBezTo>
                <a:cubicBezTo>
                  <a:pt x="3251" y="922"/>
                  <a:pt x="3252" y="924"/>
                  <a:pt x="3251" y="924"/>
                </a:cubicBezTo>
                <a:cubicBezTo>
                  <a:pt x="3251" y="925"/>
                  <a:pt x="3251" y="925"/>
                  <a:pt x="3251" y="925"/>
                </a:cubicBezTo>
                <a:cubicBezTo>
                  <a:pt x="3251" y="926"/>
                  <a:pt x="3251" y="926"/>
                  <a:pt x="3251" y="927"/>
                </a:cubicBezTo>
                <a:cubicBezTo>
                  <a:pt x="3251" y="927"/>
                  <a:pt x="3251" y="928"/>
                  <a:pt x="3251" y="929"/>
                </a:cubicBezTo>
                <a:cubicBezTo>
                  <a:pt x="3251" y="930"/>
                  <a:pt x="3251" y="930"/>
                  <a:pt x="3250" y="931"/>
                </a:cubicBezTo>
                <a:cubicBezTo>
                  <a:pt x="3250" y="931"/>
                  <a:pt x="3250" y="931"/>
                  <a:pt x="3250" y="932"/>
                </a:cubicBezTo>
                <a:cubicBezTo>
                  <a:pt x="3251" y="932"/>
                  <a:pt x="3251" y="931"/>
                  <a:pt x="3251" y="931"/>
                </a:cubicBezTo>
                <a:cubicBezTo>
                  <a:pt x="3252" y="930"/>
                  <a:pt x="3252" y="930"/>
                  <a:pt x="3253" y="930"/>
                </a:cubicBezTo>
                <a:cubicBezTo>
                  <a:pt x="3253" y="930"/>
                  <a:pt x="3254" y="929"/>
                  <a:pt x="3254" y="929"/>
                </a:cubicBezTo>
                <a:cubicBezTo>
                  <a:pt x="3255" y="929"/>
                  <a:pt x="3255" y="928"/>
                  <a:pt x="3255" y="927"/>
                </a:cubicBezTo>
                <a:cubicBezTo>
                  <a:pt x="3255" y="926"/>
                  <a:pt x="3256" y="926"/>
                  <a:pt x="3257" y="926"/>
                </a:cubicBezTo>
                <a:cubicBezTo>
                  <a:pt x="3257" y="927"/>
                  <a:pt x="3258" y="927"/>
                  <a:pt x="3258" y="926"/>
                </a:cubicBezTo>
                <a:cubicBezTo>
                  <a:pt x="3259" y="925"/>
                  <a:pt x="3259" y="924"/>
                  <a:pt x="3259" y="923"/>
                </a:cubicBezTo>
                <a:cubicBezTo>
                  <a:pt x="3259" y="922"/>
                  <a:pt x="3259" y="921"/>
                  <a:pt x="3260" y="921"/>
                </a:cubicBezTo>
                <a:cubicBezTo>
                  <a:pt x="3260" y="920"/>
                  <a:pt x="3260" y="919"/>
                  <a:pt x="3261" y="918"/>
                </a:cubicBezTo>
                <a:cubicBezTo>
                  <a:pt x="3261" y="917"/>
                  <a:pt x="3261" y="916"/>
                  <a:pt x="3261" y="915"/>
                </a:cubicBezTo>
                <a:cubicBezTo>
                  <a:pt x="3262" y="915"/>
                  <a:pt x="3262" y="915"/>
                  <a:pt x="3262" y="914"/>
                </a:cubicBezTo>
                <a:cubicBezTo>
                  <a:pt x="3262" y="914"/>
                  <a:pt x="3262" y="914"/>
                  <a:pt x="3262" y="913"/>
                </a:cubicBezTo>
                <a:cubicBezTo>
                  <a:pt x="3262" y="912"/>
                  <a:pt x="3263" y="911"/>
                  <a:pt x="3263" y="910"/>
                </a:cubicBezTo>
                <a:cubicBezTo>
                  <a:pt x="3264" y="910"/>
                  <a:pt x="3264" y="910"/>
                  <a:pt x="3264" y="909"/>
                </a:cubicBezTo>
                <a:cubicBezTo>
                  <a:pt x="3265" y="909"/>
                  <a:pt x="3266" y="908"/>
                  <a:pt x="3266" y="908"/>
                </a:cubicBezTo>
                <a:cubicBezTo>
                  <a:pt x="3266" y="907"/>
                  <a:pt x="3265" y="907"/>
                  <a:pt x="3265" y="907"/>
                </a:cubicBezTo>
                <a:cubicBezTo>
                  <a:pt x="3265" y="906"/>
                  <a:pt x="3265" y="906"/>
                  <a:pt x="3265" y="906"/>
                </a:cubicBezTo>
                <a:cubicBezTo>
                  <a:pt x="3265" y="905"/>
                  <a:pt x="3264" y="904"/>
                  <a:pt x="3263" y="904"/>
                </a:cubicBezTo>
                <a:cubicBezTo>
                  <a:pt x="3263" y="904"/>
                  <a:pt x="3263" y="904"/>
                  <a:pt x="3262" y="904"/>
                </a:cubicBezTo>
                <a:cubicBezTo>
                  <a:pt x="3261" y="904"/>
                  <a:pt x="3261" y="903"/>
                  <a:pt x="3261" y="903"/>
                </a:cubicBezTo>
                <a:cubicBezTo>
                  <a:pt x="3261" y="903"/>
                  <a:pt x="3260" y="903"/>
                  <a:pt x="3260" y="902"/>
                </a:cubicBezTo>
                <a:cubicBezTo>
                  <a:pt x="3260" y="902"/>
                  <a:pt x="3261" y="902"/>
                  <a:pt x="3261" y="902"/>
                </a:cubicBezTo>
                <a:cubicBezTo>
                  <a:pt x="3261" y="901"/>
                  <a:pt x="3261" y="901"/>
                  <a:pt x="3261" y="901"/>
                </a:cubicBezTo>
                <a:cubicBezTo>
                  <a:pt x="3261" y="900"/>
                  <a:pt x="3261" y="900"/>
                  <a:pt x="3261" y="899"/>
                </a:cubicBezTo>
                <a:cubicBezTo>
                  <a:pt x="3261" y="898"/>
                  <a:pt x="3261" y="898"/>
                  <a:pt x="3260" y="898"/>
                </a:cubicBezTo>
                <a:cubicBezTo>
                  <a:pt x="3259" y="898"/>
                  <a:pt x="3259" y="899"/>
                  <a:pt x="3258" y="899"/>
                </a:cubicBezTo>
                <a:cubicBezTo>
                  <a:pt x="3258" y="900"/>
                  <a:pt x="3257" y="899"/>
                  <a:pt x="3256" y="899"/>
                </a:cubicBezTo>
                <a:cubicBezTo>
                  <a:pt x="3256" y="899"/>
                  <a:pt x="3256" y="898"/>
                  <a:pt x="3255" y="898"/>
                </a:cubicBezTo>
                <a:cubicBezTo>
                  <a:pt x="3255" y="898"/>
                  <a:pt x="3255" y="898"/>
                  <a:pt x="3254" y="897"/>
                </a:cubicBezTo>
                <a:cubicBezTo>
                  <a:pt x="3253" y="897"/>
                  <a:pt x="3254" y="896"/>
                  <a:pt x="3253" y="895"/>
                </a:cubicBezTo>
                <a:cubicBezTo>
                  <a:pt x="3253" y="895"/>
                  <a:pt x="3252" y="895"/>
                  <a:pt x="3252" y="895"/>
                </a:cubicBezTo>
                <a:cubicBezTo>
                  <a:pt x="3252" y="895"/>
                  <a:pt x="3251" y="895"/>
                  <a:pt x="3251" y="895"/>
                </a:cubicBezTo>
                <a:cubicBezTo>
                  <a:pt x="3251" y="895"/>
                  <a:pt x="3250" y="895"/>
                  <a:pt x="3250" y="895"/>
                </a:cubicBezTo>
                <a:cubicBezTo>
                  <a:pt x="3249" y="895"/>
                  <a:pt x="3249" y="895"/>
                  <a:pt x="3248" y="896"/>
                </a:cubicBezTo>
                <a:cubicBezTo>
                  <a:pt x="3248" y="896"/>
                  <a:pt x="3248" y="896"/>
                  <a:pt x="3248" y="897"/>
                </a:cubicBezTo>
                <a:cubicBezTo>
                  <a:pt x="3248" y="897"/>
                  <a:pt x="3247" y="897"/>
                  <a:pt x="3247" y="898"/>
                </a:cubicBezTo>
                <a:cubicBezTo>
                  <a:pt x="3246" y="898"/>
                  <a:pt x="3246" y="898"/>
                  <a:pt x="3246" y="898"/>
                </a:cubicBezTo>
                <a:cubicBezTo>
                  <a:pt x="3245" y="898"/>
                  <a:pt x="3245" y="898"/>
                  <a:pt x="3244" y="898"/>
                </a:cubicBezTo>
                <a:cubicBezTo>
                  <a:pt x="3243" y="899"/>
                  <a:pt x="3244" y="900"/>
                  <a:pt x="3243" y="900"/>
                </a:cubicBezTo>
                <a:cubicBezTo>
                  <a:pt x="3242" y="900"/>
                  <a:pt x="3242" y="900"/>
                  <a:pt x="3242" y="900"/>
                </a:cubicBezTo>
                <a:cubicBezTo>
                  <a:pt x="3241" y="900"/>
                  <a:pt x="3241" y="899"/>
                  <a:pt x="3241" y="899"/>
                </a:cubicBezTo>
                <a:cubicBezTo>
                  <a:pt x="3240" y="900"/>
                  <a:pt x="3240" y="901"/>
                  <a:pt x="3240" y="902"/>
                </a:cubicBezTo>
                <a:cubicBezTo>
                  <a:pt x="3240" y="902"/>
                  <a:pt x="3240" y="903"/>
                  <a:pt x="3239" y="903"/>
                </a:cubicBezTo>
                <a:cubicBezTo>
                  <a:pt x="3239" y="903"/>
                  <a:pt x="3239" y="902"/>
                  <a:pt x="3238" y="902"/>
                </a:cubicBezTo>
                <a:close/>
                <a:moveTo>
                  <a:pt x="3241" y="907"/>
                </a:moveTo>
                <a:cubicBezTo>
                  <a:pt x="3241" y="907"/>
                  <a:pt x="3241" y="907"/>
                  <a:pt x="3241" y="908"/>
                </a:cubicBezTo>
                <a:cubicBezTo>
                  <a:pt x="3241" y="907"/>
                  <a:pt x="3241" y="908"/>
                  <a:pt x="3241" y="908"/>
                </a:cubicBezTo>
                <a:cubicBezTo>
                  <a:pt x="3241" y="908"/>
                  <a:pt x="3242" y="908"/>
                  <a:pt x="3241" y="908"/>
                </a:cubicBezTo>
                <a:cubicBezTo>
                  <a:pt x="3241" y="909"/>
                  <a:pt x="3240" y="908"/>
                  <a:pt x="3240" y="908"/>
                </a:cubicBezTo>
                <a:cubicBezTo>
                  <a:pt x="3240" y="907"/>
                  <a:pt x="3240" y="907"/>
                  <a:pt x="3241" y="907"/>
                </a:cubicBezTo>
                <a:close/>
                <a:moveTo>
                  <a:pt x="3218" y="884"/>
                </a:moveTo>
                <a:cubicBezTo>
                  <a:pt x="3218" y="885"/>
                  <a:pt x="3218" y="884"/>
                  <a:pt x="3219" y="885"/>
                </a:cubicBezTo>
                <a:cubicBezTo>
                  <a:pt x="3219" y="885"/>
                  <a:pt x="3219" y="886"/>
                  <a:pt x="3220" y="885"/>
                </a:cubicBezTo>
                <a:cubicBezTo>
                  <a:pt x="3220" y="885"/>
                  <a:pt x="3220" y="884"/>
                  <a:pt x="3220" y="884"/>
                </a:cubicBezTo>
                <a:cubicBezTo>
                  <a:pt x="3220" y="883"/>
                  <a:pt x="3220" y="883"/>
                  <a:pt x="3219" y="883"/>
                </a:cubicBezTo>
                <a:cubicBezTo>
                  <a:pt x="3219" y="883"/>
                  <a:pt x="3219" y="883"/>
                  <a:pt x="3219" y="882"/>
                </a:cubicBezTo>
                <a:cubicBezTo>
                  <a:pt x="3218" y="882"/>
                  <a:pt x="3218" y="882"/>
                  <a:pt x="3218" y="882"/>
                </a:cubicBezTo>
                <a:cubicBezTo>
                  <a:pt x="3218" y="882"/>
                  <a:pt x="3218" y="882"/>
                  <a:pt x="3218" y="883"/>
                </a:cubicBezTo>
                <a:cubicBezTo>
                  <a:pt x="3218" y="883"/>
                  <a:pt x="3217" y="884"/>
                  <a:pt x="3218" y="884"/>
                </a:cubicBezTo>
                <a:close/>
                <a:moveTo>
                  <a:pt x="3240" y="896"/>
                </a:moveTo>
                <a:cubicBezTo>
                  <a:pt x="3240" y="896"/>
                  <a:pt x="3239" y="896"/>
                  <a:pt x="3239" y="897"/>
                </a:cubicBezTo>
                <a:cubicBezTo>
                  <a:pt x="3239" y="897"/>
                  <a:pt x="3240" y="897"/>
                  <a:pt x="3240" y="896"/>
                </a:cubicBezTo>
                <a:close/>
                <a:moveTo>
                  <a:pt x="3235" y="889"/>
                </a:moveTo>
                <a:cubicBezTo>
                  <a:pt x="3235" y="889"/>
                  <a:pt x="3235" y="888"/>
                  <a:pt x="3235" y="888"/>
                </a:cubicBezTo>
                <a:cubicBezTo>
                  <a:pt x="3235" y="887"/>
                  <a:pt x="3235" y="887"/>
                  <a:pt x="3236" y="886"/>
                </a:cubicBezTo>
                <a:cubicBezTo>
                  <a:pt x="3236" y="886"/>
                  <a:pt x="3237" y="885"/>
                  <a:pt x="3236" y="885"/>
                </a:cubicBezTo>
                <a:cubicBezTo>
                  <a:pt x="3235" y="884"/>
                  <a:pt x="3234" y="886"/>
                  <a:pt x="3234" y="887"/>
                </a:cubicBezTo>
                <a:cubicBezTo>
                  <a:pt x="3234" y="887"/>
                  <a:pt x="3234" y="888"/>
                  <a:pt x="3234" y="888"/>
                </a:cubicBezTo>
                <a:cubicBezTo>
                  <a:pt x="3234" y="888"/>
                  <a:pt x="3233" y="889"/>
                  <a:pt x="3233" y="889"/>
                </a:cubicBezTo>
                <a:cubicBezTo>
                  <a:pt x="3234" y="889"/>
                  <a:pt x="3234" y="889"/>
                  <a:pt x="3235" y="889"/>
                </a:cubicBezTo>
                <a:close/>
                <a:moveTo>
                  <a:pt x="3225" y="1329"/>
                </a:moveTo>
                <a:cubicBezTo>
                  <a:pt x="3224" y="1329"/>
                  <a:pt x="3224" y="1330"/>
                  <a:pt x="3223" y="1330"/>
                </a:cubicBezTo>
                <a:cubicBezTo>
                  <a:pt x="3223" y="1330"/>
                  <a:pt x="3223" y="1329"/>
                  <a:pt x="3222" y="1329"/>
                </a:cubicBezTo>
                <a:cubicBezTo>
                  <a:pt x="3222" y="1329"/>
                  <a:pt x="3221" y="1329"/>
                  <a:pt x="3221" y="1330"/>
                </a:cubicBezTo>
                <a:cubicBezTo>
                  <a:pt x="3220" y="1330"/>
                  <a:pt x="3220" y="1331"/>
                  <a:pt x="3220" y="1331"/>
                </a:cubicBezTo>
                <a:cubicBezTo>
                  <a:pt x="3220" y="1331"/>
                  <a:pt x="3220" y="1332"/>
                  <a:pt x="3219" y="1332"/>
                </a:cubicBezTo>
                <a:cubicBezTo>
                  <a:pt x="3219" y="1332"/>
                  <a:pt x="3219" y="1333"/>
                  <a:pt x="3219" y="1333"/>
                </a:cubicBezTo>
                <a:cubicBezTo>
                  <a:pt x="3218" y="1333"/>
                  <a:pt x="3218" y="1332"/>
                  <a:pt x="3217" y="1333"/>
                </a:cubicBezTo>
                <a:cubicBezTo>
                  <a:pt x="3217" y="1333"/>
                  <a:pt x="3217" y="1333"/>
                  <a:pt x="3218" y="1333"/>
                </a:cubicBezTo>
                <a:cubicBezTo>
                  <a:pt x="3218" y="1334"/>
                  <a:pt x="3218" y="1334"/>
                  <a:pt x="3218" y="1335"/>
                </a:cubicBezTo>
                <a:cubicBezTo>
                  <a:pt x="3218" y="1335"/>
                  <a:pt x="3219" y="1335"/>
                  <a:pt x="3219" y="1335"/>
                </a:cubicBezTo>
                <a:cubicBezTo>
                  <a:pt x="3219" y="1336"/>
                  <a:pt x="3218" y="1336"/>
                  <a:pt x="3218" y="1336"/>
                </a:cubicBezTo>
                <a:cubicBezTo>
                  <a:pt x="3218" y="1337"/>
                  <a:pt x="3218" y="1337"/>
                  <a:pt x="3218" y="1338"/>
                </a:cubicBezTo>
                <a:cubicBezTo>
                  <a:pt x="3219" y="1338"/>
                  <a:pt x="3219" y="1336"/>
                  <a:pt x="3219" y="1336"/>
                </a:cubicBezTo>
                <a:cubicBezTo>
                  <a:pt x="3220" y="1335"/>
                  <a:pt x="3220" y="1335"/>
                  <a:pt x="3220" y="1335"/>
                </a:cubicBezTo>
                <a:cubicBezTo>
                  <a:pt x="3220" y="1334"/>
                  <a:pt x="3221" y="1332"/>
                  <a:pt x="3221" y="1333"/>
                </a:cubicBezTo>
                <a:cubicBezTo>
                  <a:pt x="3222" y="1333"/>
                  <a:pt x="3222" y="1333"/>
                  <a:pt x="3222" y="1334"/>
                </a:cubicBezTo>
                <a:cubicBezTo>
                  <a:pt x="3222" y="1334"/>
                  <a:pt x="3222" y="1334"/>
                  <a:pt x="3223" y="1334"/>
                </a:cubicBezTo>
                <a:cubicBezTo>
                  <a:pt x="3223" y="1335"/>
                  <a:pt x="3223" y="1335"/>
                  <a:pt x="3223" y="1335"/>
                </a:cubicBezTo>
                <a:cubicBezTo>
                  <a:pt x="3223" y="1335"/>
                  <a:pt x="3224" y="1335"/>
                  <a:pt x="3224" y="1336"/>
                </a:cubicBezTo>
                <a:cubicBezTo>
                  <a:pt x="3224" y="1336"/>
                  <a:pt x="3224" y="1337"/>
                  <a:pt x="3225" y="1336"/>
                </a:cubicBezTo>
                <a:cubicBezTo>
                  <a:pt x="3226" y="1336"/>
                  <a:pt x="3227" y="1336"/>
                  <a:pt x="3227" y="1336"/>
                </a:cubicBezTo>
                <a:cubicBezTo>
                  <a:pt x="3227" y="1336"/>
                  <a:pt x="3228" y="1335"/>
                  <a:pt x="3228" y="1335"/>
                </a:cubicBezTo>
                <a:cubicBezTo>
                  <a:pt x="3228" y="1334"/>
                  <a:pt x="3229" y="1334"/>
                  <a:pt x="3230" y="1334"/>
                </a:cubicBezTo>
                <a:cubicBezTo>
                  <a:pt x="3230" y="1335"/>
                  <a:pt x="3230" y="1335"/>
                  <a:pt x="3230" y="1335"/>
                </a:cubicBezTo>
                <a:cubicBezTo>
                  <a:pt x="3231" y="1335"/>
                  <a:pt x="3232" y="1336"/>
                  <a:pt x="3233" y="1336"/>
                </a:cubicBezTo>
                <a:cubicBezTo>
                  <a:pt x="3234" y="1336"/>
                  <a:pt x="3234" y="1335"/>
                  <a:pt x="3235" y="1336"/>
                </a:cubicBezTo>
                <a:cubicBezTo>
                  <a:pt x="3236" y="1336"/>
                  <a:pt x="3238" y="1336"/>
                  <a:pt x="3237" y="1335"/>
                </a:cubicBezTo>
                <a:cubicBezTo>
                  <a:pt x="3237" y="1335"/>
                  <a:pt x="3236" y="1335"/>
                  <a:pt x="3237" y="1334"/>
                </a:cubicBezTo>
                <a:cubicBezTo>
                  <a:pt x="3238" y="1334"/>
                  <a:pt x="3238" y="1334"/>
                  <a:pt x="3238" y="1334"/>
                </a:cubicBezTo>
                <a:cubicBezTo>
                  <a:pt x="3239" y="1335"/>
                  <a:pt x="3240" y="1335"/>
                  <a:pt x="3241" y="1335"/>
                </a:cubicBezTo>
                <a:cubicBezTo>
                  <a:pt x="3242" y="1336"/>
                  <a:pt x="3242" y="1336"/>
                  <a:pt x="3242" y="1336"/>
                </a:cubicBezTo>
                <a:cubicBezTo>
                  <a:pt x="3243" y="1336"/>
                  <a:pt x="3243" y="1336"/>
                  <a:pt x="3244" y="1336"/>
                </a:cubicBezTo>
                <a:cubicBezTo>
                  <a:pt x="3244" y="1337"/>
                  <a:pt x="3245" y="1337"/>
                  <a:pt x="3246" y="1338"/>
                </a:cubicBezTo>
                <a:cubicBezTo>
                  <a:pt x="3246" y="1338"/>
                  <a:pt x="3246" y="1338"/>
                  <a:pt x="3247" y="1338"/>
                </a:cubicBezTo>
                <a:cubicBezTo>
                  <a:pt x="3247" y="1338"/>
                  <a:pt x="3247" y="1338"/>
                  <a:pt x="3248" y="1339"/>
                </a:cubicBezTo>
                <a:cubicBezTo>
                  <a:pt x="3248" y="1339"/>
                  <a:pt x="3248" y="1340"/>
                  <a:pt x="3249" y="1340"/>
                </a:cubicBezTo>
                <a:cubicBezTo>
                  <a:pt x="3249" y="1340"/>
                  <a:pt x="3250" y="1340"/>
                  <a:pt x="3250" y="1340"/>
                </a:cubicBezTo>
                <a:cubicBezTo>
                  <a:pt x="3251" y="1340"/>
                  <a:pt x="3251" y="1341"/>
                  <a:pt x="3251" y="1341"/>
                </a:cubicBezTo>
                <a:cubicBezTo>
                  <a:pt x="3251" y="1341"/>
                  <a:pt x="3252" y="1342"/>
                  <a:pt x="3252" y="1341"/>
                </a:cubicBezTo>
                <a:cubicBezTo>
                  <a:pt x="3252" y="1341"/>
                  <a:pt x="3252" y="1341"/>
                  <a:pt x="3252" y="1340"/>
                </a:cubicBezTo>
                <a:cubicBezTo>
                  <a:pt x="3252" y="1340"/>
                  <a:pt x="3253" y="1339"/>
                  <a:pt x="3253" y="1339"/>
                </a:cubicBezTo>
                <a:cubicBezTo>
                  <a:pt x="3253" y="1338"/>
                  <a:pt x="3253" y="1337"/>
                  <a:pt x="3252" y="1337"/>
                </a:cubicBezTo>
                <a:cubicBezTo>
                  <a:pt x="3251" y="1336"/>
                  <a:pt x="3251" y="1336"/>
                  <a:pt x="3250" y="1335"/>
                </a:cubicBezTo>
                <a:cubicBezTo>
                  <a:pt x="3250" y="1335"/>
                  <a:pt x="3249" y="1334"/>
                  <a:pt x="3249" y="1333"/>
                </a:cubicBezTo>
                <a:cubicBezTo>
                  <a:pt x="3248" y="1332"/>
                  <a:pt x="3248" y="1332"/>
                  <a:pt x="3247" y="1331"/>
                </a:cubicBezTo>
                <a:cubicBezTo>
                  <a:pt x="3247" y="1331"/>
                  <a:pt x="3246" y="1331"/>
                  <a:pt x="3246" y="1331"/>
                </a:cubicBezTo>
                <a:cubicBezTo>
                  <a:pt x="3246" y="1331"/>
                  <a:pt x="3245" y="1331"/>
                  <a:pt x="3245" y="1331"/>
                </a:cubicBezTo>
                <a:cubicBezTo>
                  <a:pt x="3244" y="1331"/>
                  <a:pt x="3243" y="1331"/>
                  <a:pt x="3242" y="1331"/>
                </a:cubicBezTo>
                <a:cubicBezTo>
                  <a:pt x="3242" y="1331"/>
                  <a:pt x="3241" y="1330"/>
                  <a:pt x="3240" y="1330"/>
                </a:cubicBezTo>
                <a:cubicBezTo>
                  <a:pt x="3239" y="1330"/>
                  <a:pt x="3239" y="1329"/>
                  <a:pt x="3238" y="1329"/>
                </a:cubicBezTo>
                <a:cubicBezTo>
                  <a:pt x="3238" y="1329"/>
                  <a:pt x="3236" y="1328"/>
                  <a:pt x="3235" y="1329"/>
                </a:cubicBezTo>
                <a:cubicBezTo>
                  <a:pt x="3235" y="1329"/>
                  <a:pt x="3235" y="1329"/>
                  <a:pt x="3235" y="1330"/>
                </a:cubicBezTo>
                <a:cubicBezTo>
                  <a:pt x="3234" y="1330"/>
                  <a:pt x="3234" y="1330"/>
                  <a:pt x="3233" y="1330"/>
                </a:cubicBezTo>
                <a:cubicBezTo>
                  <a:pt x="3233" y="1330"/>
                  <a:pt x="3232" y="1331"/>
                  <a:pt x="3232" y="1330"/>
                </a:cubicBezTo>
                <a:cubicBezTo>
                  <a:pt x="3232" y="1330"/>
                  <a:pt x="3232" y="1329"/>
                  <a:pt x="3232" y="1329"/>
                </a:cubicBezTo>
                <a:cubicBezTo>
                  <a:pt x="3231" y="1328"/>
                  <a:pt x="3230" y="1329"/>
                  <a:pt x="3230" y="1329"/>
                </a:cubicBezTo>
                <a:cubicBezTo>
                  <a:pt x="3228" y="1330"/>
                  <a:pt x="3226" y="1329"/>
                  <a:pt x="3225" y="1329"/>
                </a:cubicBezTo>
                <a:close/>
                <a:moveTo>
                  <a:pt x="3233" y="892"/>
                </a:moveTo>
                <a:cubicBezTo>
                  <a:pt x="3234" y="892"/>
                  <a:pt x="3234" y="892"/>
                  <a:pt x="3234" y="891"/>
                </a:cubicBezTo>
                <a:cubicBezTo>
                  <a:pt x="3234" y="891"/>
                  <a:pt x="3234" y="891"/>
                  <a:pt x="3234" y="891"/>
                </a:cubicBezTo>
                <a:cubicBezTo>
                  <a:pt x="3235" y="891"/>
                  <a:pt x="3234" y="891"/>
                  <a:pt x="3234" y="890"/>
                </a:cubicBezTo>
                <a:cubicBezTo>
                  <a:pt x="3234" y="890"/>
                  <a:pt x="3233" y="890"/>
                  <a:pt x="3233" y="890"/>
                </a:cubicBezTo>
                <a:cubicBezTo>
                  <a:pt x="3233" y="889"/>
                  <a:pt x="3233" y="890"/>
                  <a:pt x="3233" y="890"/>
                </a:cubicBezTo>
                <a:cubicBezTo>
                  <a:pt x="3233" y="890"/>
                  <a:pt x="3233" y="890"/>
                  <a:pt x="3233" y="891"/>
                </a:cubicBezTo>
                <a:cubicBezTo>
                  <a:pt x="3233" y="891"/>
                  <a:pt x="3233" y="892"/>
                  <a:pt x="3233" y="892"/>
                </a:cubicBezTo>
                <a:close/>
                <a:moveTo>
                  <a:pt x="3793" y="1747"/>
                </a:moveTo>
                <a:cubicBezTo>
                  <a:pt x="3792" y="1747"/>
                  <a:pt x="3792" y="1746"/>
                  <a:pt x="3791" y="1747"/>
                </a:cubicBezTo>
                <a:cubicBezTo>
                  <a:pt x="3790" y="1747"/>
                  <a:pt x="3789" y="1747"/>
                  <a:pt x="3789" y="1748"/>
                </a:cubicBezTo>
                <a:cubicBezTo>
                  <a:pt x="3788" y="1748"/>
                  <a:pt x="3787" y="1749"/>
                  <a:pt x="3786" y="1749"/>
                </a:cubicBezTo>
                <a:cubicBezTo>
                  <a:pt x="3786" y="1750"/>
                  <a:pt x="3785" y="1750"/>
                  <a:pt x="3784" y="1751"/>
                </a:cubicBezTo>
                <a:cubicBezTo>
                  <a:pt x="3783" y="1752"/>
                  <a:pt x="3781" y="1753"/>
                  <a:pt x="3779" y="1752"/>
                </a:cubicBezTo>
                <a:cubicBezTo>
                  <a:pt x="3778" y="1752"/>
                  <a:pt x="3778" y="1751"/>
                  <a:pt x="3777" y="1751"/>
                </a:cubicBezTo>
                <a:cubicBezTo>
                  <a:pt x="3776" y="1751"/>
                  <a:pt x="3776" y="1751"/>
                  <a:pt x="3775" y="1751"/>
                </a:cubicBezTo>
                <a:cubicBezTo>
                  <a:pt x="3775" y="1750"/>
                  <a:pt x="3775" y="1750"/>
                  <a:pt x="3774" y="1750"/>
                </a:cubicBezTo>
                <a:cubicBezTo>
                  <a:pt x="3773" y="1749"/>
                  <a:pt x="3772" y="1749"/>
                  <a:pt x="3771" y="1748"/>
                </a:cubicBezTo>
                <a:cubicBezTo>
                  <a:pt x="3770" y="1748"/>
                  <a:pt x="3770" y="1748"/>
                  <a:pt x="3769" y="1748"/>
                </a:cubicBezTo>
                <a:cubicBezTo>
                  <a:pt x="3766" y="1748"/>
                  <a:pt x="3766" y="1746"/>
                  <a:pt x="3766" y="1744"/>
                </a:cubicBezTo>
                <a:cubicBezTo>
                  <a:pt x="3766" y="1743"/>
                  <a:pt x="3765" y="1742"/>
                  <a:pt x="3765" y="1741"/>
                </a:cubicBezTo>
                <a:cubicBezTo>
                  <a:pt x="3765" y="1740"/>
                  <a:pt x="3765" y="1740"/>
                  <a:pt x="3765" y="1739"/>
                </a:cubicBezTo>
                <a:cubicBezTo>
                  <a:pt x="3765" y="1739"/>
                  <a:pt x="3765" y="1738"/>
                  <a:pt x="3765" y="1738"/>
                </a:cubicBezTo>
                <a:cubicBezTo>
                  <a:pt x="3765" y="1737"/>
                  <a:pt x="3765" y="1737"/>
                  <a:pt x="3765" y="1737"/>
                </a:cubicBezTo>
                <a:cubicBezTo>
                  <a:pt x="3765" y="1737"/>
                  <a:pt x="3764" y="1737"/>
                  <a:pt x="3764" y="1737"/>
                </a:cubicBezTo>
                <a:cubicBezTo>
                  <a:pt x="3764" y="1736"/>
                  <a:pt x="3765" y="1736"/>
                  <a:pt x="3765" y="1736"/>
                </a:cubicBezTo>
                <a:cubicBezTo>
                  <a:pt x="3766" y="1735"/>
                  <a:pt x="3763" y="1735"/>
                  <a:pt x="3763" y="1735"/>
                </a:cubicBezTo>
                <a:cubicBezTo>
                  <a:pt x="3762" y="1735"/>
                  <a:pt x="3762" y="1733"/>
                  <a:pt x="3762" y="1733"/>
                </a:cubicBezTo>
                <a:cubicBezTo>
                  <a:pt x="3761" y="1732"/>
                  <a:pt x="3761" y="1734"/>
                  <a:pt x="3761" y="1734"/>
                </a:cubicBezTo>
                <a:cubicBezTo>
                  <a:pt x="3761" y="1735"/>
                  <a:pt x="3761" y="1735"/>
                  <a:pt x="3761" y="1735"/>
                </a:cubicBezTo>
                <a:cubicBezTo>
                  <a:pt x="3761" y="1736"/>
                  <a:pt x="3761" y="1736"/>
                  <a:pt x="3761" y="1737"/>
                </a:cubicBezTo>
                <a:cubicBezTo>
                  <a:pt x="3761" y="1737"/>
                  <a:pt x="3761" y="1738"/>
                  <a:pt x="3761" y="1738"/>
                </a:cubicBezTo>
                <a:cubicBezTo>
                  <a:pt x="3761" y="1739"/>
                  <a:pt x="3761" y="1739"/>
                  <a:pt x="3761" y="1740"/>
                </a:cubicBezTo>
                <a:cubicBezTo>
                  <a:pt x="3762" y="1741"/>
                  <a:pt x="3761" y="1741"/>
                  <a:pt x="3760" y="1740"/>
                </a:cubicBezTo>
                <a:cubicBezTo>
                  <a:pt x="3760" y="1740"/>
                  <a:pt x="3759" y="1740"/>
                  <a:pt x="3759" y="1740"/>
                </a:cubicBezTo>
                <a:cubicBezTo>
                  <a:pt x="3759" y="1740"/>
                  <a:pt x="3758" y="1740"/>
                  <a:pt x="3758" y="1740"/>
                </a:cubicBezTo>
                <a:cubicBezTo>
                  <a:pt x="3757" y="1739"/>
                  <a:pt x="3757" y="1738"/>
                  <a:pt x="3757" y="1738"/>
                </a:cubicBezTo>
                <a:cubicBezTo>
                  <a:pt x="3756" y="1737"/>
                  <a:pt x="3755" y="1738"/>
                  <a:pt x="3755" y="1738"/>
                </a:cubicBezTo>
                <a:cubicBezTo>
                  <a:pt x="3754" y="1738"/>
                  <a:pt x="3754" y="1737"/>
                  <a:pt x="3753" y="1737"/>
                </a:cubicBezTo>
                <a:cubicBezTo>
                  <a:pt x="3752" y="1736"/>
                  <a:pt x="3753" y="1736"/>
                  <a:pt x="3754" y="1735"/>
                </a:cubicBezTo>
                <a:cubicBezTo>
                  <a:pt x="3754" y="1734"/>
                  <a:pt x="3753" y="1734"/>
                  <a:pt x="3753" y="1733"/>
                </a:cubicBezTo>
                <a:cubicBezTo>
                  <a:pt x="3753" y="1733"/>
                  <a:pt x="3752" y="1732"/>
                  <a:pt x="3753" y="1732"/>
                </a:cubicBezTo>
                <a:cubicBezTo>
                  <a:pt x="3753" y="1731"/>
                  <a:pt x="3753" y="1731"/>
                  <a:pt x="3753" y="1731"/>
                </a:cubicBezTo>
                <a:cubicBezTo>
                  <a:pt x="3754" y="1730"/>
                  <a:pt x="3753" y="1730"/>
                  <a:pt x="3752" y="1729"/>
                </a:cubicBezTo>
                <a:cubicBezTo>
                  <a:pt x="3752" y="1729"/>
                  <a:pt x="3752" y="1728"/>
                  <a:pt x="3752" y="1728"/>
                </a:cubicBezTo>
                <a:cubicBezTo>
                  <a:pt x="3751" y="1728"/>
                  <a:pt x="3751" y="1727"/>
                  <a:pt x="3751" y="1727"/>
                </a:cubicBezTo>
                <a:cubicBezTo>
                  <a:pt x="3751" y="1727"/>
                  <a:pt x="3751" y="1726"/>
                  <a:pt x="3750" y="1726"/>
                </a:cubicBezTo>
                <a:cubicBezTo>
                  <a:pt x="3750" y="1725"/>
                  <a:pt x="3750" y="1725"/>
                  <a:pt x="3750" y="1724"/>
                </a:cubicBezTo>
                <a:cubicBezTo>
                  <a:pt x="3749" y="1724"/>
                  <a:pt x="3749" y="1724"/>
                  <a:pt x="3749" y="1724"/>
                </a:cubicBezTo>
                <a:cubicBezTo>
                  <a:pt x="3748" y="1723"/>
                  <a:pt x="3748" y="1723"/>
                  <a:pt x="3749" y="1722"/>
                </a:cubicBezTo>
                <a:cubicBezTo>
                  <a:pt x="3749" y="1722"/>
                  <a:pt x="3749" y="1721"/>
                  <a:pt x="3748" y="1721"/>
                </a:cubicBezTo>
                <a:cubicBezTo>
                  <a:pt x="3748" y="1720"/>
                  <a:pt x="3748" y="1720"/>
                  <a:pt x="3748" y="1720"/>
                </a:cubicBezTo>
                <a:cubicBezTo>
                  <a:pt x="3748" y="1719"/>
                  <a:pt x="3748" y="1719"/>
                  <a:pt x="3748" y="1718"/>
                </a:cubicBezTo>
                <a:cubicBezTo>
                  <a:pt x="3748" y="1718"/>
                  <a:pt x="3748" y="1717"/>
                  <a:pt x="3748" y="1717"/>
                </a:cubicBezTo>
                <a:cubicBezTo>
                  <a:pt x="3748" y="1717"/>
                  <a:pt x="3748" y="1716"/>
                  <a:pt x="3748" y="1716"/>
                </a:cubicBezTo>
                <a:cubicBezTo>
                  <a:pt x="3748" y="1715"/>
                  <a:pt x="3747" y="1715"/>
                  <a:pt x="3747" y="1715"/>
                </a:cubicBezTo>
                <a:cubicBezTo>
                  <a:pt x="3747" y="1716"/>
                  <a:pt x="3747" y="1716"/>
                  <a:pt x="3746" y="1716"/>
                </a:cubicBezTo>
                <a:cubicBezTo>
                  <a:pt x="3746" y="1718"/>
                  <a:pt x="3745" y="1717"/>
                  <a:pt x="3745" y="1716"/>
                </a:cubicBezTo>
                <a:cubicBezTo>
                  <a:pt x="3744" y="1716"/>
                  <a:pt x="3744" y="1716"/>
                  <a:pt x="3744" y="1715"/>
                </a:cubicBezTo>
                <a:cubicBezTo>
                  <a:pt x="3744" y="1715"/>
                  <a:pt x="3745" y="1715"/>
                  <a:pt x="3745" y="1714"/>
                </a:cubicBezTo>
                <a:cubicBezTo>
                  <a:pt x="3744" y="1713"/>
                  <a:pt x="3743" y="1714"/>
                  <a:pt x="3743" y="1714"/>
                </a:cubicBezTo>
                <a:cubicBezTo>
                  <a:pt x="3742" y="1713"/>
                  <a:pt x="3742" y="1713"/>
                  <a:pt x="3742" y="1713"/>
                </a:cubicBezTo>
                <a:cubicBezTo>
                  <a:pt x="3741" y="1713"/>
                  <a:pt x="3741" y="1712"/>
                  <a:pt x="3740" y="1712"/>
                </a:cubicBezTo>
                <a:cubicBezTo>
                  <a:pt x="3740" y="1712"/>
                  <a:pt x="3739" y="1712"/>
                  <a:pt x="3738" y="1712"/>
                </a:cubicBezTo>
                <a:cubicBezTo>
                  <a:pt x="3738" y="1712"/>
                  <a:pt x="3737" y="1712"/>
                  <a:pt x="3737" y="1712"/>
                </a:cubicBezTo>
                <a:cubicBezTo>
                  <a:pt x="3737" y="1711"/>
                  <a:pt x="3737" y="1711"/>
                  <a:pt x="3737" y="1710"/>
                </a:cubicBezTo>
                <a:cubicBezTo>
                  <a:pt x="3737" y="1710"/>
                  <a:pt x="3737" y="1711"/>
                  <a:pt x="3737" y="1711"/>
                </a:cubicBezTo>
                <a:cubicBezTo>
                  <a:pt x="3736" y="1711"/>
                  <a:pt x="3736" y="1712"/>
                  <a:pt x="3735" y="1712"/>
                </a:cubicBezTo>
                <a:cubicBezTo>
                  <a:pt x="3735" y="1712"/>
                  <a:pt x="3734" y="1711"/>
                  <a:pt x="3734" y="1710"/>
                </a:cubicBezTo>
                <a:cubicBezTo>
                  <a:pt x="3734" y="1710"/>
                  <a:pt x="3734" y="1709"/>
                  <a:pt x="3733" y="1709"/>
                </a:cubicBezTo>
                <a:cubicBezTo>
                  <a:pt x="3733" y="1709"/>
                  <a:pt x="3733" y="1708"/>
                  <a:pt x="3732" y="1708"/>
                </a:cubicBezTo>
                <a:cubicBezTo>
                  <a:pt x="3732" y="1708"/>
                  <a:pt x="3731" y="1707"/>
                  <a:pt x="3732" y="1706"/>
                </a:cubicBezTo>
                <a:cubicBezTo>
                  <a:pt x="3733" y="1706"/>
                  <a:pt x="3733" y="1707"/>
                  <a:pt x="3733" y="1706"/>
                </a:cubicBezTo>
                <a:cubicBezTo>
                  <a:pt x="3733" y="1706"/>
                  <a:pt x="3733" y="1705"/>
                  <a:pt x="3733" y="1705"/>
                </a:cubicBezTo>
                <a:cubicBezTo>
                  <a:pt x="3732" y="1705"/>
                  <a:pt x="3731" y="1705"/>
                  <a:pt x="3730" y="1705"/>
                </a:cubicBezTo>
                <a:cubicBezTo>
                  <a:pt x="3729" y="1705"/>
                  <a:pt x="3730" y="1707"/>
                  <a:pt x="3730" y="1707"/>
                </a:cubicBezTo>
                <a:cubicBezTo>
                  <a:pt x="3731" y="1708"/>
                  <a:pt x="3731" y="1708"/>
                  <a:pt x="3732" y="1709"/>
                </a:cubicBezTo>
                <a:cubicBezTo>
                  <a:pt x="3733" y="1710"/>
                  <a:pt x="3734" y="1711"/>
                  <a:pt x="3734" y="1713"/>
                </a:cubicBezTo>
                <a:cubicBezTo>
                  <a:pt x="3735" y="1714"/>
                  <a:pt x="3735" y="1715"/>
                  <a:pt x="3735" y="1715"/>
                </a:cubicBezTo>
                <a:cubicBezTo>
                  <a:pt x="3735" y="1716"/>
                  <a:pt x="3736" y="1717"/>
                  <a:pt x="3736" y="1718"/>
                </a:cubicBezTo>
                <a:cubicBezTo>
                  <a:pt x="3736" y="1718"/>
                  <a:pt x="3736" y="1719"/>
                  <a:pt x="3736" y="1720"/>
                </a:cubicBezTo>
                <a:cubicBezTo>
                  <a:pt x="3737" y="1720"/>
                  <a:pt x="3737" y="1719"/>
                  <a:pt x="3737" y="1718"/>
                </a:cubicBezTo>
                <a:cubicBezTo>
                  <a:pt x="3738" y="1717"/>
                  <a:pt x="3739" y="1720"/>
                  <a:pt x="3739" y="1721"/>
                </a:cubicBezTo>
                <a:cubicBezTo>
                  <a:pt x="3740" y="1722"/>
                  <a:pt x="3740" y="1723"/>
                  <a:pt x="3741" y="1725"/>
                </a:cubicBezTo>
                <a:cubicBezTo>
                  <a:pt x="3742" y="1725"/>
                  <a:pt x="3742" y="1726"/>
                  <a:pt x="3743" y="1727"/>
                </a:cubicBezTo>
                <a:cubicBezTo>
                  <a:pt x="3743" y="1728"/>
                  <a:pt x="3743" y="1728"/>
                  <a:pt x="3743" y="1728"/>
                </a:cubicBezTo>
                <a:cubicBezTo>
                  <a:pt x="3743" y="1729"/>
                  <a:pt x="3744" y="1729"/>
                  <a:pt x="3744" y="1730"/>
                </a:cubicBezTo>
                <a:cubicBezTo>
                  <a:pt x="3744" y="1730"/>
                  <a:pt x="3744" y="1730"/>
                  <a:pt x="3744" y="1730"/>
                </a:cubicBezTo>
                <a:cubicBezTo>
                  <a:pt x="3744" y="1731"/>
                  <a:pt x="3744" y="1731"/>
                  <a:pt x="3745" y="1731"/>
                </a:cubicBezTo>
                <a:cubicBezTo>
                  <a:pt x="3745" y="1731"/>
                  <a:pt x="3745" y="1731"/>
                  <a:pt x="3745" y="1731"/>
                </a:cubicBezTo>
                <a:cubicBezTo>
                  <a:pt x="3746" y="1731"/>
                  <a:pt x="3746" y="1730"/>
                  <a:pt x="3746" y="1730"/>
                </a:cubicBezTo>
                <a:cubicBezTo>
                  <a:pt x="3745" y="1729"/>
                  <a:pt x="3745" y="1729"/>
                  <a:pt x="3745" y="1728"/>
                </a:cubicBezTo>
                <a:cubicBezTo>
                  <a:pt x="3744" y="1728"/>
                  <a:pt x="3745" y="1727"/>
                  <a:pt x="3745" y="1728"/>
                </a:cubicBezTo>
                <a:cubicBezTo>
                  <a:pt x="3746" y="1728"/>
                  <a:pt x="3746" y="1729"/>
                  <a:pt x="3746" y="1729"/>
                </a:cubicBezTo>
                <a:cubicBezTo>
                  <a:pt x="3747" y="1729"/>
                  <a:pt x="3746" y="1728"/>
                  <a:pt x="3747" y="1728"/>
                </a:cubicBezTo>
                <a:cubicBezTo>
                  <a:pt x="3747" y="1728"/>
                  <a:pt x="3748" y="1728"/>
                  <a:pt x="3748" y="1729"/>
                </a:cubicBezTo>
                <a:cubicBezTo>
                  <a:pt x="3747" y="1729"/>
                  <a:pt x="3747" y="1729"/>
                  <a:pt x="3748" y="1729"/>
                </a:cubicBezTo>
                <a:cubicBezTo>
                  <a:pt x="3748" y="1730"/>
                  <a:pt x="3748" y="1730"/>
                  <a:pt x="3748" y="1730"/>
                </a:cubicBezTo>
                <a:cubicBezTo>
                  <a:pt x="3747" y="1730"/>
                  <a:pt x="3747" y="1730"/>
                  <a:pt x="3747" y="1731"/>
                </a:cubicBezTo>
                <a:cubicBezTo>
                  <a:pt x="3747" y="1731"/>
                  <a:pt x="3748" y="1731"/>
                  <a:pt x="3748" y="1731"/>
                </a:cubicBezTo>
                <a:cubicBezTo>
                  <a:pt x="3748" y="1732"/>
                  <a:pt x="3748" y="1732"/>
                  <a:pt x="3748" y="1732"/>
                </a:cubicBezTo>
                <a:cubicBezTo>
                  <a:pt x="3748" y="1733"/>
                  <a:pt x="3749" y="1733"/>
                  <a:pt x="3749" y="1733"/>
                </a:cubicBezTo>
                <a:cubicBezTo>
                  <a:pt x="3749" y="1733"/>
                  <a:pt x="3749" y="1734"/>
                  <a:pt x="3748" y="1734"/>
                </a:cubicBezTo>
                <a:cubicBezTo>
                  <a:pt x="3748" y="1734"/>
                  <a:pt x="3748" y="1733"/>
                  <a:pt x="3747" y="1733"/>
                </a:cubicBezTo>
                <a:cubicBezTo>
                  <a:pt x="3747" y="1733"/>
                  <a:pt x="3747" y="1732"/>
                  <a:pt x="3747" y="1732"/>
                </a:cubicBezTo>
                <a:cubicBezTo>
                  <a:pt x="3746" y="1732"/>
                  <a:pt x="3746" y="1733"/>
                  <a:pt x="3746" y="1733"/>
                </a:cubicBezTo>
                <a:cubicBezTo>
                  <a:pt x="3747" y="1734"/>
                  <a:pt x="3747" y="1734"/>
                  <a:pt x="3748" y="1735"/>
                </a:cubicBezTo>
                <a:cubicBezTo>
                  <a:pt x="3748" y="1735"/>
                  <a:pt x="3748" y="1736"/>
                  <a:pt x="3748" y="1737"/>
                </a:cubicBezTo>
                <a:cubicBezTo>
                  <a:pt x="3749" y="1738"/>
                  <a:pt x="3749" y="1738"/>
                  <a:pt x="3749" y="1738"/>
                </a:cubicBezTo>
                <a:cubicBezTo>
                  <a:pt x="3749" y="1738"/>
                  <a:pt x="3749" y="1739"/>
                  <a:pt x="3750" y="1739"/>
                </a:cubicBezTo>
                <a:cubicBezTo>
                  <a:pt x="3750" y="1740"/>
                  <a:pt x="3750" y="1739"/>
                  <a:pt x="3750" y="1739"/>
                </a:cubicBezTo>
                <a:cubicBezTo>
                  <a:pt x="3751" y="1739"/>
                  <a:pt x="3751" y="1739"/>
                  <a:pt x="3751" y="1738"/>
                </a:cubicBezTo>
                <a:cubicBezTo>
                  <a:pt x="3751" y="1738"/>
                  <a:pt x="3752" y="1738"/>
                  <a:pt x="3752" y="1739"/>
                </a:cubicBezTo>
                <a:cubicBezTo>
                  <a:pt x="3752" y="1739"/>
                  <a:pt x="3753" y="1739"/>
                  <a:pt x="3753" y="1739"/>
                </a:cubicBezTo>
                <a:cubicBezTo>
                  <a:pt x="3753" y="1740"/>
                  <a:pt x="3753" y="1740"/>
                  <a:pt x="3753" y="1740"/>
                </a:cubicBezTo>
                <a:cubicBezTo>
                  <a:pt x="3753" y="1740"/>
                  <a:pt x="3753" y="1740"/>
                  <a:pt x="3752" y="1741"/>
                </a:cubicBezTo>
                <a:cubicBezTo>
                  <a:pt x="3752" y="1741"/>
                  <a:pt x="3752" y="1741"/>
                  <a:pt x="3752" y="1742"/>
                </a:cubicBezTo>
                <a:cubicBezTo>
                  <a:pt x="3751" y="1742"/>
                  <a:pt x="3751" y="1742"/>
                  <a:pt x="3751" y="1743"/>
                </a:cubicBezTo>
                <a:cubicBezTo>
                  <a:pt x="3752" y="1743"/>
                  <a:pt x="3752" y="1743"/>
                  <a:pt x="3752" y="1743"/>
                </a:cubicBezTo>
                <a:cubicBezTo>
                  <a:pt x="3753" y="1744"/>
                  <a:pt x="3753" y="1744"/>
                  <a:pt x="3753" y="1744"/>
                </a:cubicBezTo>
                <a:cubicBezTo>
                  <a:pt x="3753" y="1745"/>
                  <a:pt x="3754" y="1746"/>
                  <a:pt x="3754" y="1747"/>
                </a:cubicBezTo>
                <a:cubicBezTo>
                  <a:pt x="3754" y="1747"/>
                  <a:pt x="3755" y="1748"/>
                  <a:pt x="3755" y="1749"/>
                </a:cubicBezTo>
                <a:cubicBezTo>
                  <a:pt x="3755" y="1749"/>
                  <a:pt x="3754" y="1750"/>
                  <a:pt x="3753" y="1751"/>
                </a:cubicBezTo>
                <a:cubicBezTo>
                  <a:pt x="3753" y="1751"/>
                  <a:pt x="3753" y="1752"/>
                  <a:pt x="3753" y="1753"/>
                </a:cubicBezTo>
                <a:cubicBezTo>
                  <a:pt x="3753" y="1753"/>
                  <a:pt x="3754" y="1754"/>
                  <a:pt x="3753" y="1754"/>
                </a:cubicBezTo>
                <a:cubicBezTo>
                  <a:pt x="3753" y="1754"/>
                  <a:pt x="3753" y="1755"/>
                  <a:pt x="3753" y="1755"/>
                </a:cubicBezTo>
                <a:cubicBezTo>
                  <a:pt x="3752" y="1756"/>
                  <a:pt x="3752" y="1757"/>
                  <a:pt x="3752" y="1757"/>
                </a:cubicBezTo>
                <a:cubicBezTo>
                  <a:pt x="3752" y="1758"/>
                  <a:pt x="3752" y="1759"/>
                  <a:pt x="3751" y="1760"/>
                </a:cubicBezTo>
                <a:cubicBezTo>
                  <a:pt x="3751" y="1761"/>
                  <a:pt x="3750" y="1762"/>
                  <a:pt x="3750" y="1763"/>
                </a:cubicBezTo>
                <a:cubicBezTo>
                  <a:pt x="3749" y="1764"/>
                  <a:pt x="3748" y="1765"/>
                  <a:pt x="3747" y="1765"/>
                </a:cubicBezTo>
                <a:cubicBezTo>
                  <a:pt x="3747" y="1766"/>
                  <a:pt x="3746" y="1766"/>
                  <a:pt x="3745" y="1766"/>
                </a:cubicBezTo>
                <a:cubicBezTo>
                  <a:pt x="3745" y="1767"/>
                  <a:pt x="3745" y="1767"/>
                  <a:pt x="3744" y="1767"/>
                </a:cubicBezTo>
                <a:cubicBezTo>
                  <a:pt x="3744" y="1768"/>
                  <a:pt x="3744" y="1768"/>
                  <a:pt x="3744" y="1768"/>
                </a:cubicBezTo>
                <a:cubicBezTo>
                  <a:pt x="3743" y="1768"/>
                  <a:pt x="3742" y="1769"/>
                  <a:pt x="3742" y="1769"/>
                </a:cubicBezTo>
                <a:cubicBezTo>
                  <a:pt x="3741" y="1769"/>
                  <a:pt x="3741" y="1770"/>
                  <a:pt x="3742" y="1770"/>
                </a:cubicBezTo>
                <a:cubicBezTo>
                  <a:pt x="3742" y="1771"/>
                  <a:pt x="3742" y="1771"/>
                  <a:pt x="3742" y="1772"/>
                </a:cubicBezTo>
                <a:cubicBezTo>
                  <a:pt x="3743" y="1772"/>
                  <a:pt x="3743" y="1772"/>
                  <a:pt x="3744" y="1772"/>
                </a:cubicBezTo>
                <a:cubicBezTo>
                  <a:pt x="3744" y="1773"/>
                  <a:pt x="3745" y="1773"/>
                  <a:pt x="3746" y="1774"/>
                </a:cubicBezTo>
                <a:cubicBezTo>
                  <a:pt x="3747" y="1774"/>
                  <a:pt x="3747" y="1775"/>
                  <a:pt x="3748" y="1775"/>
                </a:cubicBezTo>
                <a:cubicBezTo>
                  <a:pt x="3748" y="1776"/>
                  <a:pt x="3749" y="1776"/>
                  <a:pt x="3750" y="1776"/>
                </a:cubicBezTo>
                <a:cubicBezTo>
                  <a:pt x="3751" y="1776"/>
                  <a:pt x="3752" y="1777"/>
                  <a:pt x="3753" y="1777"/>
                </a:cubicBezTo>
                <a:cubicBezTo>
                  <a:pt x="3753" y="1777"/>
                  <a:pt x="3754" y="1778"/>
                  <a:pt x="3755" y="1778"/>
                </a:cubicBezTo>
                <a:cubicBezTo>
                  <a:pt x="3756" y="1779"/>
                  <a:pt x="3756" y="1779"/>
                  <a:pt x="3757" y="1780"/>
                </a:cubicBezTo>
                <a:cubicBezTo>
                  <a:pt x="3757" y="1780"/>
                  <a:pt x="3757" y="1781"/>
                  <a:pt x="3758" y="1781"/>
                </a:cubicBezTo>
                <a:cubicBezTo>
                  <a:pt x="3758" y="1782"/>
                  <a:pt x="3758" y="1782"/>
                  <a:pt x="3758" y="1783"/>
                </a:cubicBezTo>
                <a:cubicBezTo>
                  <a:pt x="3758" y="1784"/>
                  <a:pt x="3758" y="1785"/>
                  <a:pt x="3758" y="1786"/>
                </a:cubicBezTo>
                <a:cubicBezTo>
                  <a:pt x="3758" y="1787"/>
                  <a:pt x="3757" y="1787"/>
                  <a:pt x="3757" y="1788"/>
                </a:cubicBezTo>
                <a:cubicBezTo>
                  <a:pt x="3756" y="1789"/>
                  <a:pt x="3756" y="1790"/>
                  <a:pt x="3756" y="1791"/>
                </a:cubicBezTo>
                <a:cubicBezTo>
                  <a:pt x="3755" y="1792"/>
                  <a:pt x="3754" y="1792"/>
                  <a:pt x="3754" y="1793"/>
                </a:cubicBezTo>
                <a:cubicBezTo>
                  <a:pt x="3753" y="1793"/>
                  <a:pt x="3753" y="1794"/>
                  <a:pt x="3752" y="1795"/>
                </a:cubicBezTo>
                <a:cubicBezTo>
                  <a:pt x="3752" y="1796"/>
                  <a:pt x="3751" y="1796"/>
                  <a:pt x="3751" y="1797"/>
                </a:cubicBezTo>
                <a:cubicBezTo>
                  <a:pt x="3752" y="1798"/>
                  <a:pt x="3753" y="1796"/>
                  <a:pt x="3753" y="1796"/>
                </a:cubicBezTo>
                <a:cubicBezTo>
                  <a:pt x="3754" y="1796"/>
                  <a:pt x="3753" y="1797"/>
                  <a:pt x="3754" y="1797"/>
                </a:cubicBezTo>
                <a:cubicBezTo>
                  <a:pt x="3754" y="1798"/>
                  <a:pt x="3755" y="1797"/>
                  <a:pt x="3756" y="1797"/>
                </a:cubicBezTo>
                <a:cubicBezTo>
                  <a:pt x="3757" y="1798"/>
                  <a:pt x="3758" y="1798"/>
                  <a:pt x="3758" y="1799"/>
                </a:cubicBezTo>
                <a:cubicBezTo>
                  <a:pt x="3758" y="1799"/>
                  <a:pt x="3757" y="1801"/>
                  <a:pt x="3758" y="1800"/>
                </a:cubicBezTo>
                <a:cubicBezTo>
                  <a:pt x="3759" y="1800"/>
                  <a:pt x="3760" y="1799"/>
                  <a:pt x="3760" y="1799"/>
                </a:cubicBezTo>
                <a:cubicBezTo>
                  <a:pt x="3763" y="1796"/>
                  <a:pt x="3767" y="1796"/>
                  <a:pt x="3769" y="1792"/>
                </a:cubicBezTo>
                <a:cubicBezTo>
                  <a:pt x="3769" y="1791"/>
                  <a:pt x="3769" y="1790"/>
                  <a:pt x="3770" y="1789"/>
                </a:cubicBezTo>
                <a:cubicBezTo>
                  <a:pt x="3770" y="1788"/>
                  <a:pt x="3771" y="1787"/>
                  <a:pt x="3772" y="1787"/>
                </a:cubicBezTo>
                <a:cubicBezTo>
                  <a:pt x="3773" y="1786"/>
                  <a:pt x="3774" y="1785"/>
                  <a:pt x="3774" y="1784"/>
                </a:cubicBezTo>
                <a:cubicBezTo>
                  <a:pt x="3775" y="1783"/>
                  <a:pt x="3776" y="1781"/>
                  <a:pt x="3776" y="1780"/>
                </a:cubicBezTo>
                <a:cubicBezTo>
                  <a:pt x="3777" y="1780"/>
                  <a:pt x="3777" y="1779"/>
                  <a:pt x="3777" y="1779"/>
                </a:cubicBezTo>
                <a:cubicBezTo>
                  <a:pt x="3777" y="1778"/>
                  <a:pt x="3778" y="1777"/>
                  <a:pt x="3778" y="1776"/>
                </a:cubicBezTo>
                <a:cubicBezTo>
                  <a:pt x="3778" y="1775"/>
                  <a:pt x="3780" y="1775"/>
                  <a:pt x="3779" y="1774"/>
                </a:cubicBezTo>
                <a:cubicBezTo>
                  <a:pt x="3778" y="1773"/>
                  <a:pt x="3778" y="1773"/>
                  <a:pt x="3777" y="1772"/>
                </a:cubicBezTo>
                <a:cubicBezTo>
                  <a:pt x="3777" y="1771"/>
                  <a:pt x="3778" y="1769"/>
                  <a:pt x="3779" y="1768"/>
                </a:cubicBezTo>
                <a:cubicBezTo>
                  <a:pt x="3781" y="1767"/>
                  <a:pt x="3783" y="1767"/>
                  <a:pt x="3784" y="1766"/>
                </a:cubicBezTo>
                <a:cubicBezTo>
                  <a:pt x="3785" y="1766"/>
                  <a:pt x="3785" y="1766"/>
                  <a:pt x="3786" y="1766"/>
                </a:cubicBezTo>
                <a:cubicBezTo>
                  <a:pt x="3787" y="1766"/>
                  <a:pt x="3788" y="1766"/>
                  <a:pt x="3788" y="1767"/>
                </a:cubicBezTo>
                <a:cubicBezTo>
                  <a:pt x="3788" y="1767"/>
                  <a:pt x="3788" y="1768"/>
                  <a:pt x="3788" y="1768"/>
                </a:cubicBezTo>
                <a:cubicBezTo>
                  <a:pt x="3789" y="1768"/>
                  <a:pt x="3789" y="1768"/>
                  <a:pt x="3789" y="1767"/>
                </a:cubicBezTo>
                <a:cubicBezTo>
                  <a:pt x="3789" y="1767"/>
                  <a:pt x="3789" y="1767"/>
                  <a:pt x="3789" y="1766"/>
                </a:cubicBezTo>
                <a:cubicBezTo>
                  <a:pt x="3788" y="1765"/>
                  <a:pt x="3788" y="1764"/>
                  <a:pt x="3789" y="1763"/>
                </a:cubicBezTo>
                <a:cubicBezTo>
                  <a:pt x="3789" y="1762"/>
                  <a:pt x="3790" y="1762"/>
                  <a:pt x="3790" y="1761"/>
                </a:cubicBezTo>
                <a:cubicBezTo>
                  <a:pt x="3791" y="1761"/>
                  <a:pt x="3792" y="1760"/>
                  <a:pt x="3792" y="1760"/>
                </a:cubicBezTo>
                <a:cubicBezTo>
                  <a:pt x="3794" y="1758"/>
                  <a:pt x="3794" y="1756"/>
                  <a:pt x="3794" y="1755"/>
                </a:cubicBezTo>
                <a:cubicBezTo>
                  <a:pt x="3793" y="1754"/>
                  <a:pt x="3793" y="1753"/>
                  <a:pt x="3794" y="1752"/>
                </a:cubicBezTo>
                <a:cubicBezTo>
                  <a:pt x="3794" y="1751"/>
                  <a:pt x="3794" y="1750"/>
                  <a:pt x="3795" y="1750"/>
                </a:cubicBezTo>
                <a:cubicBezTo>
                  <a:pt x="3795" y="1749"/>
                  <a:pt x="3796" y="1748"/>
                  <a:pt x="3795" y="1748"/>
                </a:cubicBezTo>
                <a:cubicBezTo>
                  <a:pt x="3794" y="1747"/>
                  <a:pt x="3794" y="1747"/>
                  <a:pt x="3793" y="1747"/>
                </a:cubicBezTo>
                <a:close/>
                <a:moveTo>
                  <a:pt x="1820" y="530"/>
                </a:moveTo>
                <a:cubicBezTo>
                  <a:pt x="1821" y="529"/>
                  <a:pt x="1820" y="529"/>
                  <a:pt x="1820" y="528"/>
                </a:cubicBezTo>
                <a:cubicBezTo>
                  <a:pt x="1821" y="528"/>
                  <a:pt x="1821" y="528"/>
                  <a:pt x="1821" y="527"/>
                </a:cubicBezTo>
                <a:cubicBezTo>
                  <a:pt x="1821" y="527"/>
                  <a:pt x="1821" y="527"/>
                  <a:pt x="1820" y="527"/>
                </a:cubicBezTo>
                <a:cubicBezTo>
                  <a:pt x="1820" y="526"/>
                  <a:pt x="1820" y="525"/>
                  <a:pt x="1820" y="525"/>
                </a:cubicBezTo>
                <a:cubicBezTo>
                  <a:pt x="1820" y="525"/>
                  <a:pt x="1819" y="526"/>
                  <a:pt x="1819" y="526"/>
                </a:cubicBezTo>
                <a:cubicBezTo>
                  <a:pt x="1819" y="527"/>
                  <a:pt x="1819" y="527"/>
                  <a:pt x="1819" y="528"/>
                </a:cubicBezTo>
                <a:cubicBezTo>
                  <a:pt x="1819" y="528"/>
                  <a:pt x="1819" y="530"/>
                  <a:pt x="1820" y="530"/>
                </a:cubicBezTo>
                <a:close/>
                <a:moveTo>
                  <a:pt x="1929" y="756"/>
                </a:moveTo>
                <a:cubicBezTo>
                  <a:pt x="1929" y="756"/>
                  <a:pt x="1929" y="755"/>
                  <a:pt x="1928" y="754"/>
                </a:cubicBezTo>
                <a:cubicBezTo>
                  <a:pt x="1928" y="754"/>
                  <a:pt x="1928" y="754"/>
                  <a:pt x="1928" y="754"/>
                </a:cubicBezTo>
                <a:cubicBezTo>
                  <a:pt x="1927" y="754"/>
                  <a:pt x="1928" y="754"/>
                  <a:pt x="1928" y="755"/>
                </a:cubicBezTo>
                <a:cubicBezTo>
                  <a:pt x="1928" y="755"/>
                  <a:pt x="1928" y="757"/>
                  <a:pt x="1929" y="756"/>
                </a:cubicBezTo>
                <a:close/>
                <a:moveTo>
                  <a:pt x="1924" y="746"/>
                </a:moveTo>
                <a:cubicBezTo>
                  <a:pt x="1924" y="745"/>
                  <a:pt x="1924" y="745"/>
                  <a:pt x="1924" y="744"/>
                </a:cubicBezTo>
                <a:cubicBezTo>
                  <a:pt x="1924" y="744"/>
                  <a:pt x="1924" y="743"/>
                  <a:pt x="1923" y="743"/>
                </a:cubicBezTo>
                <a:cubicBezTo>
                  <a:pt x="1923" y="744"/>
                  <a:pt x="1923" y="744"/>
                  <a:pt x="1923" y="745"/>
                </a:cubicBezTo>
                <a:cubicBezTo>
                  <a:pt x="1923" y="745"/>
                  <a:pt x="1924" y="745"/>
                  <a:pt x="1923" y="746"/>
                </a:cubicBezTo>
                <a:cubicBezTo>
                  <a:pt x="1923" y="746"/>
                  <a:pt x="1923" y="746"/>
                  <a:pt x="1923" y="746"/>
                </a:cubicBezTo>
                <a:cubicBezTo>
                  <a:pt x="1923" y="747"/>
                  <a:pt x="1923" y="747"/>
                  <a:pt x="1923" y="747"/>
                </a:cubicBezTo>
                <a:cubicBezTo>
                  <a:pt x="1924" y="747"/>
                  <a:pt x="1924" y="748"/>
                  <a:pt x="1924" y="748"/>
                </a:cubicBezTo>
                <a:cubicBezTo>
                  <a:pt x="1924" y="749"/>
                  <a:pt x="1924" y="749"/>
                  <a:pt x="1924" y="750"/>
                </a:cubicBezTo>
                <a:cubicBezTo>
                  <a:pt x="1925" y="750"/>
                  <a:pt x="1925" y="751"/>
                  <a:pt x="1925" y="751"/>
                </a:cubicBezTo>
                <a:cubicBezTo>
                  <a:pt x="1925" y="751"/>
                  <a:pt x="1925" y="752"/>
                  <a:pt x="1925" y="752"/>
                </a:cubicBezTo>
                <a:cubicBezTo>
                  <a:pt x="1925" y="752"/>
                  <a:pt x="1925" y="750"/>
                  <a:pt x="1925" y="750"/>
                </a:cubicBezTo>
                <a:cubicBezTo>
                  <a:pt x="1925" y="749"/>
                  <a:pt x="1925" y="748"/>
                  <a:pt x="1925" y="748"/>
                </a:cubicBezTo>
                <a:cubicBezTo>
                  <a:pt x="1925" y="747"/>
                  <a:pt x="1925" y="746"/>
                  <a:pt x="1924" y="746"/>
                </a:cubicBezTo>
                <a:close/>
                <a:moveTo>
                  <a:pt x="3811" y="1483"/>
                </a:moveTo>
                <a:cubicBezTo>
                  <a:pt x="3811" y="1484"/>
                  <a:pt x="3810" y="1483"/>
                  <a:pt x="3810" y="1483"/>
                </a:cubicBezTo>
                <a:cubicBezTo>
                  <a:pt x="3809" y="1483"/>
                  <a:pt x="3809" y="1484"/>
                  <a:pt x="3809" y="1484"/>
                </a:cubicBezTo>
                <a:cubicBezTo>
                  <a:pt x="3808" y="1484"/>
                  <a:pt x="3808" y="1484"/>
                  <a:pt x="3808" y="1484"/>
                </a:cubicBezTo>
                <a:cubicBezTo>
                  <a:pt x="3807" y="1484"/>
                  <a:pt x="3807" y="1484"/>
                  <a:pt x="3806" y="1485"/>
                </a:cubicBezTo>
                <a:cubicBezTo>
                  <a:pt x="3806" y="1485"/>
                  <a:pt x="3806" y="1486"/>
                  <a:pt x="3805" y="1486"/>
                </a:cubicBezTo>
                <a:cubicBezTo>
                  <a:pt x="3805" y="1486"/>
                  <a:pt x="3804" y="1486"/>
                  <a:pt x="3804" y="1486"/>
                </a:cubicBezTo>
                <a:cubicBezTo>
                  <a:pt x="3804" y="1486"/>
                  <a:pt x="3804" y="1486"/>
                  <a:pt x="3804" y="1486"/>
                </a:cubicBezTo>
                <a:cubicBezTo>
                  <a:pt x="3804" y="1485"/>
                  <a:pt x="3804" y="1484"/>
                  <a:pt x="3803" y="1484"/>
                </a:cubicBezTo>
                <a:cubicBezTo>
                  <a:pt x="3803" y="1484"/>
                  <a:pt x="3802" y="1485"/>
                  <a:pt x="3802" y="1486"/>
                </a:cubicBezTo>
                <a:cubicBezTo>
                  <a:pt x="3802" y="1486"/>
                  <a:pt x="3803" y="1486"/>
                  <a:pt x="3803" y="1486"/>
                </a:cubicBezTo>
                <a:cubicBezTo>
                  <a:pt x="3802" y="1486"/>
                  <a:pt x="3801" y="1486"/>
                  <a:pt x="3801" y="1486"/>
                </a:cubicBezTo>
                <a:cubicBezTo>
                  <a:pt x="3800" y="1487"/>
                  <a:pt x="3800" y="1487"/>
                  <a:pt x="3800" y="1488"/>
                </a:cubicBezTo>
                <a:cubicBezTo>
                  <a:pt x="3799" y="1488"/>
                  <a:pt x="3799" y="1488"/>
                  <a:pt x="3798" y="1488"/>
                </a:cubicBezTo>
                <a:cubicBezTo>
                  <a:pt x="3798" y="1488"/>
                  <a:pt x="3798" y="1488"/>
                  <a:pt x="3798" y="1488"/>
                </a:cubicBezTo>
                <a:cubicBezTo>
                  <a:pt x="3797" y="1488"/>
                  <a:pt x="3797" y="1488"/>
                  <a:pt x="3797" y="1488"/>
                </a:cubicBezTo>
                <a:cubicBezTo>
                  <a:pt x="3796" y="1488"/>
                  <a:pt x="3796" y="1489"/>
                  <a:pt x="3796" y="1489"/>
                </a:cubicBezTo>
                <a:cubicBezTo>
                  <a:pt x="3796" y="1490"/>
                  <a:pt x="3797" y="1490"/>
                  <a:pt x="3797" y="1490"/>
                </a:cubicBezTo>
                <a:cubicBezTo>
                  <a:pt x="3798" y="1491"/>
                  <a:pt x="3798" y="1491"/>
                  <a:pt x="3798" y="1492"/>
                </a:cubicBezTo>
                <a:cubicBezTo>
                  <a:pt x="3798" y="1492"/>
                  <a:pt x="3798" y="1493"/>
                  <a:pt x="3799" y="1493"/>
                </a:cubicBezTo>
                <a:cubicBezTo>
                  <a:pt x="3799" y="1493"/>
                  <a:pt x="3800" y="1492"/>
                  <a:pt x="3801" y="1492"/>
                </a:cubicBezTo>
                <a:cubicBezTo>
                  <a:pt x="3801" y="1492"/>
                  <a:pt x="3802" y="1492"/>
                  <a:pt x="3803" y="1492"/>
                </a:cubicBezTo>
                <a:cubicBezTo>
                  <a:pt x="3803" y="1491"/>
                  <a:pt x="3804" y="1491"/>
                  <a:pt x="3804" y="1491"/>
                </a:cubicBezTo>
                <a:cubicBezTo>
                  <a:pt x="3805" y="1491"/>
                  <a:pt x="3805" y="1491"/>
                  <a:pt x="3806" y="1490"/>
                </a:cubicBezTo>
                <a:cubicBezTo>
                  <a:pt x="3807" y="1490"/>
                  <a:pt x="3807" y="1490"/>
                  <a:pt x="3808" y="1490"/>
                </a:cubicBezTo>
                <a:cubicBezTo>
                  <a:pt x="3808" y="1490"/>
                  <a:pt x="3809" y="1490"/>
                  <a:pt x="3810" y="1490"/>
                </a:cubicBezTo>
                <a:cubicBezTo>
                  <a:pt x="3810" y="1489"/>
                  <a:pt x="3811" y="1489"/>
                  <a:pt x="3811" y="1490"/>
                </a:cubicBezTo>
                <a:cubicBezTo>
                  <a:pt x="3811" y="1490"/>
                  <a:pt x="3812" y="1490"/>
                  <a:pt x="3812" y="1490"/>
                </a:cubicBezTo>
                <a:cubicBezTo>
                  <a:pt x="3812" y="1489"/>
                  <a:pt x="3812" y="1489"/>
                  <a:pt x="3812" y="1489"/>
                </a:cubicBezTo>
                <a:cubicBezTo>
                  <a:pt x="3812" y="1488"/>
                  <a:pt x="3812" y="1487"/>
                  <a:pt x="3811" y="1487"/>
                </a:cubicBezTo>
                <a:cubicBezTo>
                  <a:pt x="3811" y="1487"/>
                  <a:pt x="3811" y="1487"/>
                  <a:pt x="3810" y="1487"/>
                </a:cubicBezTo>
                <a:cubicBezTo>
                  <a:pt x="3810" y="1487"/>
                  <a:pt x="3810" y="1488"/>
                  <a:pt x="3810" y="1488"/>
                </a:cubicBezTo>
                <a:cubicBezTo>
                  <a:pt x="3810" y="1488"/>
                  <a:pt x="3809" y="1489"/>
                  <a:pt x="3809" y="1489"/>
                </a:cubicBezTo>
                <a:cubicBezTo>
                  <a:pt x="3808" y="1489"/>
                  <a:pt x="3808" y="1489"/>
                  <a:pt x="3808" y="1488"/>
                </a:cubicBezTo>
                <a:cubicBezTo>
                  <a:pt x="3808" y="1488"/>
                  <a:pt x="3809" y="1487"/>
                  <a:pt x="3809" y="1487"/>
                </a:cubicBezTo>
                <a:cubicBezTo>
                  <a:pt x="3809" y="1486"/>
                  <a:pt x="3809" y="1486"/>
                  <a:pt x="3810" y="1486"/>
                </a:cubicBezTo>
                <a:cubicBezTo>
                  <a:pt x="3810" y="1486"/>
                  <a:pt x="3810" y="1486"/>
                  <a:pt x="3811" y="1487"/>
                </a:cubicBezTo>
                <a:cubicBezTo>
                  <a:pt x="3811" y="1487"/>
                  <a:pt x="3812" y="1487"/>
                  <a:pt x="3812" y="1486"/>
                </a:cubicBezTo>
                <a:cubicBezTo>
                  <a:pt x="3812" y="1486"/>
                  <a:pt x="3812" y="1485"/>
                  <a:pt x="3811" y="1485"/>
                </a:cubicBezTo>
                <a:cubicBezTo>
                  <a:pt x="3811" y="1485"/>
                  <a:pt x="3811" y="1485"/>
                  <a:pt x="3811" y="1485"/>
                </a:cubicBezTo>
                <a:cubicBezTo>
                  <a:pt x="3811" y="1485"/>
                  <a:pt x="3811" y="1485"/>
                  <a:pt x="3811" y="1485"/>
                </a:cubicBezTo>
                <a:cubicBezTo>
                  <a:pt x="3811" y="1485"/>
                  <a:pt x="3811" y="1484"/>
                  <a:pt x="3812" y="1484"/>
                </a:cubicBezTo>
                <a:cubicBezTo>
                  <a:pt x="3812" y="1484"/>
                  <a:pt x="3813" y="1483"/>
                  <a:pt x="3813" y="1483"/>
                </a:cubicBezTo>
                <a:cubicBezTo>
                  <a:pt x="3812" y="1482"/>
                  <a:pt x="3812" y="1483"/>
                  <a:pt x="3811" y="1483"/>
                </a:cubicBezTo>
                <a:close/>
                <a:moveTo>
                  <a:pt x="1926" y="753"/>
                </a:moveTo>
                <a:cubicBezTo>
                  <a:pt x="1926" y="753"/>
                  <a:pt x="1926" y="753"/>
                  <a:pt x="1926" y="754"/>
                </a:cubicBezTo>
                <a:cubicBezTo>
                  <a:pt x="1927" y="753"/>
                  <a:pt x="1926" y="752"/>
                  <a:pt x="1926" y="752"/>
                </a:cubicBezTo>
                <a:cubicBezTo>
                  <a:pt x="1926" y="752"/>
                  <a:pt x="1926" y="753"/>
                  <a:pt x="1926" y="753"/>
                </a:cubicBezTo>
                <a:close/>
                <a:moveTo>
                  <a:pt x="1928" y="755"/>
                </a:moveTo>
                <a:cubicBezTo>
                  <a:pt x="1928" y="755"/>
                  <a:pt x="1927" y="754"/>
                  <a:pt x="1926" y="754"/>
                </a:cubicBezTo>
                <a:cubicBezTo>
                  <a:pt x="1926" y="754"/>
                  <a:pt x="1927" y="756"/>
                  <a:pt x="1928" y="755"/>
                </a:cubicBezTo>
                <a:close/>
                <a:moveTo>
                  <a:pt x="1934" y="760"/>
                </a:moveTo>
                <a:cubicBezTo>
                  <a:pt x="1934" y="760"/>
                  <a:pt x="1934" y="761"/>
                  <a:pt x="1935" y="761"/>
                </a:cubicBezTo>
                <a:cubicBezTo>
                  <a:pt x="1935" y="760"/>
                  <a:pt x="1934" y="760"/>
                  <a:pt x="1934" y="759"/>
                </a:cubicBezTo>
                <a:cubicBezTo>
                  <a:pt x="1933" y="759"/>
                  <a:pt x="1933" y="758"/>
                  <a:pt x="1932" y="758"/>
                </a:cubicBezTo>
                <a:cubicBezTo>
                  <a:pt x="1932" y="758"/>
                  <a:pt x="1932" y="758"/>
                  <a:pt x="1932" y="758"/>
                </a:cubicBezTo>
                <a:cubicBezTo>
                  <a:pt x="1931" y="758"/>
                  <a:pt x="1932" y="758"/>
                  <a:pt x="1931" y="758"/>
                </a:cubicBezTo>
                <a:cubicBezTo>
                  <a:pt x="1931" y="758"/>
                  <a:pt x="1931" y="758"/>
                  <a:pt x="1931" y="758"/>
                </a:cubicBezTo>
                <a:cubicBezTo>
                  <a:pt x="1931" y="758"/>
                  <a:pt x="1931" y="758"/>
                  <a:pt x="1931" y="758"/>
                </a:cubicBezTo>
                <a:cubicBezTo>
                  <a:pt x="1931" y="757"/>
                  <a:pt x="1930" y="756"/>
                  <a:pt x="1930" y="757"/>
                </a:cubicBezTo>
                <a:cubicBezTo>
                  <a:pt x="1930" y="757"/>
                  <a:pt x="1930" y="757"/>
                  <a:pt x="1931" y="758"/>
                </a:cubicBezTo>
                <a:cubicBezTo>
                  <a:pt x="1931" y="758"/>
                  <a:pt x="1931" y="759"/>
                  <a:pt x="1932" y="759"/>
                </a:cubicBezTo>
                <a:cubicBezTo>
                  <a:pt x="1932" y="759"/>
                  <a:pt x="1932" y="758"/>
                  <a:pt x="1932" y="758"/>
                </a:cubicBezTo>
                <a:cubicBezTo>
                  <a:pt x="1932" y="758"/>
                  <a:pt x="1933" y="759"/>
                  <a:pt x="1934" y="760"/>
                </a:cubicBezTo>
                <a:close/>
                <a:moveTo>
                  <a:pt x="1932" y="761"/>
                </a:moveTo>
                <a:cubicBezTo>
                  <a:pt x="1932" y="761"/>
                  <a:pt x="1935" y="764"/>
                  <a:pt x="1936" y="764"/>
                </a:cubicBezTo>
                <a:cubicBezTo>
                  <a:pt x="1936" y="764"/>
                  <a:pt x="1933" y="762"/>
                  <a:pt x="1933" y="762"/>
                </a:cubicBezTo>
                <a:cubicBezTo>
                  <a:pt x="1932" y="761"/>
                  <a:pt x="1932" y="761"/>
                  <a:pt x="1931" y="760"/>
                </a:cubicBezTo>
                <a:cubicBezTo>
                  <a:pt x="1931" y="760"/>
                  <a:pt x="1930" y="758"/>
                  <a:pt x="1930" y="758"/>
                </a:cubicBezTo>
                <a:cubicBezTo>
                  <a:pt x="1929" y="758"/>
                  <a:pt x="1930" y="759"/>
                  <a:pt x="1930" y="759"/>
                </a:cubicBezTo>
                <a:cubicBezTo>
                  <a:pt x="1931" y="760"/>
                  <a:pt x="1931" y="760"/>
                  <a:pt x="1932" y="761"/>
                </a:cubicBezTo>
                <a:close/>
                <a:moveTo>
                  <a:pt x="1921" y="750"/>
                </a:moveTo>
                <a:cubicBezTo>
                  <a:pt x="1921" y="750"/>
                  <a:pt x="1922" y="750"/>
                  <a:pt x="1922" y="751"/>
                </a:cubicBezTo>
                <a:cubicBezTo>
                  <a:pt x="1922" y="751"/>
                  <a:pt x="1922" y="750"/>
                  <a:pt x="1922" y="750"/>
                </a:cubicBezTo>
                <a:cubicBezTo>
                  <a:pt x="1922" y="750"/>
                  <a:pt x="1922" y="750"/>
                  <a:pt x="1922" y="749"/>
                </a:cubicBezTo>
                <a:cubicBezTo>
                  <a:pt x="1922" y="749"/>
                  <a:pt x="1921" y="750"/>
                  <a:pt x="1921" y="750"/>
                </a:cubicBezTo>
                <a:close/>
                <a:moveTo>
                  <a:pt x="1929" y="749"/>
                </a:moveTo>
                <a:cubicBezTo>
                  <a:pt x="1929" y="748"/>
                  <a:pt x="1929" y="747"/>
                  <a:pt x="1928" y="748"/>
                </a:cubicBezTo>
                <a:cubicBezTo>
                  <a:pt x="1928" y="748"/>
                  <a:pt x="1928" y="749"/>
                  <a:pt x="1928" y="749"/>
                </a:cubicBezTo>
                <a:cubicBezTo>
                  <a:pt x="1929" y="749"/>
                  <a:pt x="1929" y="749"/>
                  <a:pt x="1929" y="749"/>
                </a:cubicBezTo>
                <a:close/>
                <a:moveTo>
                  <a:pt x="1931" y="754"/>
                </a:moveTo>
                <a:cubicBezTo>
                  <a:pt x="1931" y="755"/>
                  <a:pt x="1932" y="755"/>
                  <a:pt x="1932" y="755"/>
                </a:cubicBezTo>
                <a:cubicBezTo>
                  <a:pt x="1932" y="755"/>
                  <a:pt x="1932" y="756"/>
                  <a:pt x="1932" y="756"/>
                </a:cubicBezTo>
                <a:cubicBezTo>
                  <a:pt x="1932" y="756"/>
                  <a:pt x="1933" y="756"/>
                  <a:pt x="1933" y="755"/>
                </a:cubicBezTo>
                <a:cubicBezTo>
                  <a:pt x="1933" y="755"/>
                  <a:pt x="1932" y="755"/>
                  <a:pt x="1932" y="754"/>
                </a:cubicBezTo>
                <a:cubicBezTo>
                  <a:pt x="1932" y="754"/>
                  <a:pt x="1931" y="754"/>
                  <a:pt x="1931" y="753"/>
                </a:cubicBezTo>
                <a:cubicBezTo>
                  <a:pt x="1930" y="753"/>
                  <a:pt x="1930" y="752"/>
                  <a:pt x="1930" y="752"/>
                </a:cubicBezTo>
                <a:cubicBezTo>
                  <a:pt x="1929" y="752"/>
                  <a:pt x="1928" y="750"/>
                  <a:pt x="1928" y="750"/>
                </a:cubicBezTo>
                <a:cubicBezTo>
                  <a:pt x="1927" y="750"/>
                  <a:pt x="1929" y="751"/>
                  <a:pt x="1929" y="752"/>
                </a:cubicBezTo>
                <a:cubicBezTo>
                  <a:pt x="1929" y="752"/>
                  <a:pt x="1930" y="752"/>
                  <a:pt x="1930" y="753"/>
                </a:cubicBezTo>
                <a:cubicBezTo>
                  <a:pt x="1930" y="754"/>
                  <a:pt x="1931" y="754"/>
                  <a:pt x="1931" y="754"/>
                </a:cubicBezTo>
                <a:close/>
                <a:moveTo>
                  <a:pt x="1937" y="764"/>
                </a:moveTo>
                <a:cubicBezTo>
                  <a:pt x="1937" y="764"/>
                  <a:pt x="1938" y="765"/>
                  <a:pt x="1938" y="764"/>
                </a:cubicBezTo>
                <a:cubicBezTo>
                  <a:pt x="1938" y="764"/>
                  <a:pt x="1938" y="764"/>
                  <a:pt x="1938" y="764"/>
                </a:cubicBezTo>
                <a:cubicBezTo>
                  <a:pt x="1938" y="764"/>
                  <a:pt x="1937" y="764"/>
                  <a:pt x="1937" y="764"/>
                </a:cubicBezTo>
                <a:close/>
                <a:moveTo>
                  <a:pt x="1928" y="746"/>
                </a:moveTo>
                <a:cubicBezTo>
                  <a:pt x="1928" y="746"/>
                  <a:pt x="1928" y="746"/>
                  <a:pt x="1928" y="746"/>
                </a:cubicBezTo>
                <a:cubicBezTo>
                  <a:pt x="1927" y="746"/>
                  <a:pt x="1928" y="745"/>
                  <a:pt x="1928" y="745"/>
                </a:cubicBezTo>
                <a:cubicBezTo>
                  <a:pt x="1927" y="745"/>
                  <a:pt x="1927" y="745"/>
                  <a:pt x="1927" y="744"/>
                </a:cubicBezTo>
                <a:cubicBezTo>
                  <a:pt x="1926" y="744"/>
                  <a:pt x="1926" y="743"/>
                  <a:pt x="1926" y="743"/>
                </a:cubicBezTo>
                <a:cubicBezTo>
                  <a:pt x="1925" y="744"/>
                  <a:pt x="1926" y="744"/>
                  <a:pt x="1925" y="744"/>
                </a:cubicBezTo>
                <a:cubicBezTo>
                  <a:pt x="1925" y="744"/>
                  <a:pt x="1925" y="744"/>
                  <a:pt x="1925" y="744"/>
                </a:cubicBezTo>
                <a:cubicBezTo>
                  <a:pt x="1924" y="745"/>
                  <a:pt x="1925" y="745"/>
                  <a:pt x="1925" y="745"/>
                </a:cubicBezTo>
                <a:cubicBezTo>
                  <a:pt x="1925" y="745"/>
                  <a:pt x="1925" y="746"/>
                  <a:pt x="1926" y="746"/>
                </a:cubicBezTo>
                <a:cubicBezTo>
                  <a:pt x="1926" y="746"/>
                  <a:pt x="1926" y="746"/>
                  <a:pt x="1927" y="746"/>
                </a:cubicBezTo>
                <a:cubicBezTo>
                  <a:pt x="1927" y="747"/>
                  <a:pt x="1927" y="747"/>
                  <a:pt x="1928" y="747"/>
                </a:cubicBezTo>
                <a:cubicBezTo>
                  <a:pt x="1928" y="747"/>
                  <a:pt x="1928" y="746"/>
                  <a:pt x="1928" y="746"/>
                </a:cubicBezTo>
                <a:close/>
                <a:moveTo>
                  <a:pt x="1958" y="775"/>
                </a:moveTo>
                <a:cubicBezTo>
                  <a:pt x="1957" y="774"/>
                  <a:pt x="1957" y="774"/>
                  <a:pt x="1956" y="774"/>
                </a:cubicBezTo>
                <a:cubicBezTo>
                  <a:pt x="1956" y="774"/>
                  <a:pt x="1956" y="774"/>
                  <a:pt x="1956" y="774"/>
                </a:cubicBezTo>
                <a:cubicBezTo>
                  <a:pt x="1955" y="774"/>
                  <a:pt x="1954" y="774"/>
                  <a:pt x="1954" y="773"/>
                </a:cubicBezTo>
                <a:cubicBezTo>
                  <a:pt x="1953" y="773"/>
                  <a:pt x="1953" y="773"/>
                  <a:pt x="1953" y="773"/>
                </a:cubicBezTo>
                <a:cubicBezTo>
                  <a:pt x="1953" y="773"/>
                  <a:pt x="1953" y="773"/>
                  <a:pt x="1953" y="774"/>
                </a:cubicBezTo>
                <a:cubicBezTo>
                  <a:pt x="1953" y="774"/>
                  <a:pt x="1954" y="774"/>
                  <a:pt x="1954" y="774"/>
                </a:cubicBezTo>
                <a:cubicBezTo>
                  <a:pt x="1955" y="774"/>
                  <a:pt x="1956" y="774"/>
                  <a:pt x="1957" y="775"/>
                </a:cubicBezTo>
                <a:cubicBezTo>
                  <a:pt x="1958" y="775"/>
                  <a:pt x="1958" y="776"/>
                  <a:pt x="1959" y="776"/>
                </a:cubicBezTo>
                <a:cubicBezTo>
                  <a:pt x="1960" y="776"/>
                  <a:pt x="1961" y="777"/>
                  <a:pt x="1961" y="777"/>
                </a:cubicBezTo>
                <a:cubicBezTo>
                  <a:pt x="1961" y="775"/>
                  <a:pt x="1959" y="775"/>
                  <a:pt x="1958" y="775"/>
                </a:cubicBezTo>
                <a:close/>
                <a:moveTo>
                  <a:pt x="1942" y="773"/>
                </a:moveTo>
                <a:cubicBezTo>
                  <a:pt x="1942" y="773"/>
                  <a:pt x="1942" y="773"/>
                  <a:pt x="1942" y="773"/>
                </a:cubicBezTo>
                <a:cubicBezTo>
                  <a:pt x="1942" y="773"/>
                  <a:pt x="1941" y="773"/>
                  <a:pt x="1941" y="774"/>
                </a:cubicBezTo>
                <a:cubicBezTo>
                  <a:pt x="1942" y="774"/>
                  <a:pt x="1942" y="773"/>
                  <a:pt x="1942" y="773"/>
                </a:cubicBezTo>
                <a:cubicBezTo>
                  <a:pt x="1942" y="773"/>
                  <a:pt x="1942" y="773"/>
                  <a:pt x="1942" y="773"/>
                </a:cubicBezTo>
                <a:cubicBezTo>
                  <a:pt x="1943" y="773"/>
                  <a:pt x="1943" y="773"/>
                  <a:pt x="1944" y="773"/>
                </a:cubicBezTo>
                <a:cubicBezTo>
                  <a:pt x="1944" y="773"/>
                  <a:pt x="1944" y="773"/>
                  <a:pt x="1944" y="773"/>
                </a:cubicBezTo>
                <a:cubicBezTo>
                  <a:pt x="1943" y="772"/>
                  <a:pt x="1943" y="773"/>
                  <a:pt x="1943" y="773"/>
                </a:cubicBezTo>
                <a:cubicBezTo>
                  <a:pt x="1943" y="773"/>
                  <a:pt x="1942" y="772"/>
                  <a:pt x="1942" y="773"/>
                </a:cubicBezTo>
                <a:close/>
                <a:moveTo>
                  <a:pt x="1958" y="777"/>
                </a:moveTo>
                <a:cubicBezTo>
                  <a:pt x="1957" y="777"/>
                  <a:pt x="1956" y="776"/>
                  <a:pt x="1956" y="777"/>
                </a:cubicBezTo>
                <a:cubicBezTo>
                  <a:pt x="1957" y="777"/>
                  <a:pt x="1958" y="777"/>
                  <a:pt x="1959" y="778"/>
                </a:cubicBezTo>
                <a:cubicBezTo>
                  <a:pt x="1959" y="778"/>
                  <a:pt x="1960" y="778"/>
                  <a:pt x="1961" y="778"/>
                </a:cubicBezTo>
                <a:cubicBezTo>
                  <a:pt x="1961" y="777"/>
                  <a:pt x="1959" y="777"/>
                  <a:pt x="1959" y="777"/>
                </a:cubicBezTo>
                <a:cubicBezTo>
                  <a:pt x="1958" y="777"/>
                  <a:pt x="1958" y="777"/>
                  <a:pt x="1958" y="777"/>
                </a:cubicBezTo>
                <a:close/>
                <a:moveTo>
                  <a:pt x="2078" y="861"/>
                </a:moveTo>
                <a:cubicBezTo>
                  <a:pt x="2078" y="861"/>
                  <a:pt x="2078" y="861"/>
                  <a:pt x="2078" y="861"/>
                </a:cubicBezTo>
                <a:cubicBezTo>
                  <a:pt x="2078" y="861"/>
                  <a:pt x="2078" y="860"/>
                  <a:pt x="2077" y="860"/>
                </a:cubicBezTo>
                <a:cubicBezTo>
                  <a:pt x="2077" y="861"/>
                  <a:pt x="2077" y="861"/>
                  <a:pt x="2078" y="861"/>
                </a:cubicBezTo>
                <a:close/>
                <a:moveTo>
                  <a:pt x="2133" y="878"/>
                </a:moveTo>
                <a:cubicBezTo>
                  <a:pt x="2133" y="878"/>
                  <a:pt x="2133" y="878"/>
                  <a:pt x="2132" y="878"/>
                </a:cubicBezTo>
                <a:cubicBezTo>
                  <a:pt x="2132" y="879"/>
                  <a:pt x="2132" y="878"/>
                  <a:pt x="2132" y="879"/>
                </a:cubicBezTo>
                <a:cubicBezTo>
                  <a:pt x="2131" y="879"/>
                  <a:pt x="2131" y="879"/>
                  <a:pt x="2131" y="879"/>
                </a:cubicBezTo>
                <a:cubicBezTo>
                  <a:pt x="2130" y="880"/>
                  <a:pt x="2130" y="880"/>
                  <a:pt x="2129" y="880"/>
                </a:cubicBezTo>
                <a:cubicBezTo>
                  <a:pt x="2128" y="880"/>
                  <a:pt x="2128" y="880"/>
                  <a:pt x="2128" y="880"/>
                </a:cubicBezTo>
                <a:cubicBezTo>
                  <a:pt x="2127" y="880"/>
                  <a:pt x="2128" y="880"/>
                  <a:pt x="2128" y="881"/>
                </a:cubicBezTo>
                <a:cubicBezTo>
                  <a:pt x="2128" y="881"/>
                  <a:pt x="2128" y="882"/>
                  <a:pt x="2128" y="882"/>
                </a:cubicBezTo>
                <a:cubicBezTo>
                  <a:pt x="2128" y="882"/>
                  <a:pt x="2129" y="883"/>
                  <a:pt x="2129" y="883"/>
                </a:cubicBezTo>
                <a:cubicBezTo>
                  <a:pt x="2129" y="884"/>
                  <a:pt x="2129" y="884"/>
                  <a:pt x="2130" y="885"/>
                </a:cubicBezTo>
                <a:cubicBezTo>
                  <a:pt x="2131" y="885"/>
                  <a:pt x="2132" y="885"/>
                  <a:pt x="2133" y="885"/>
                </a:cubicBezTo>
                <a:cubicBezTo>
                  <a:pt x="2133" y="885"/>
                  <a:pt x="2134" y="886"/>
                  <a:pt x="2135" y="886"/>
                </a:cubicBezTo>
                <a:cubicBezTo>
                  <a:pt x="2136" y="886"/>
                  <a:pt x="2137" y="885"/>
                  <a:pt x="2137" y="885"/>
                </a:cubicBezTo>
                <a:cubicBezTo>
                  <a:pt x="2138" y="885"/>
                  <a:pt x="2138" y="885"/>
                  <a:pt x="2139" y="885"/>
                </a:cubicBezTo>
                <a:cubicBezTo>
                  <a:pt x="2139" y="885"/>
                  <a:pt x="2139" y="885"/>
                  <a:pt x="2140" y="885"/>
                </a:cubicBezTo>
                <a:cubicBezTo>
                  <a:pt x="2140" y="884"/>
                  <a:pt x="2141" y="884"/>
                  <a:pt x="2141" y="884"/>
                </a:cubicBezTo>
                <a:cubicBezTo>
                  <a:pt x="2142" y="884"/>
                  <a:pt x="2142" y="884"/>
                  <a:pt x="2142" y="884"/>
                </a:cubicBezTo>
                <a:cubicBezTo>
                  <a:pt x="2143" y="883"/>
                  <a:pt x="2143" y="883"/>
                  <a:pt x="2143" y="883"/>
                </a:cubicBezTo>
                <a:cubicBezTo>
                  <a:pt x="2144" y="882"/>
                  <a:pt x="2144" y="881"/>
                  <a:pt x="2144" y="881"/>
                </a:cubicBezTo>
                <a:cubicBezTo>
                  <a:pt x="2145" y="881"/>
                  <a:pt x="2145" y="881"/>
                  <a:pt x="2146" y="881"/>
                </a:cubicBezTo>
                <a:cubicBezTo>
                  <a:pt x="2146" y="881"/>
                  <a:pt x="2147" y="881"/>
                  <a:pt x="2147" y="881"/>
                </a:cubicBezTo>
                <a:cubicBezTo>
                  <a:pt x="2148" y="881"/>
                  <a:pt x="2149" y="882"/>
                  <a:pt x="2148" y="880"/>
                </a:cubicBezTo>
                <a:cubicBezTo>
                  <a:pt x="2148" y="880"/>
                  <a:pt x="2148" y="879"/>
                  <a:pt x="2147" y="879"/>
                </a:cubicBezTo>
                <a:cubicBezTo>
                  <a:pt x="2147" y="878"/>
                  <a:pt x="2146" y="877"/>
                  <a:pt x="2147" y="877"/>
                </a:cubicBezTo>
                <a:cubicBezTo>
                  <a:pt x="2148" y="877"/>
                  <a:pt x="2148" y="877"/>
                  <a:pt x="2148" y="877"/>
                </a:cubicBezTo>
                <a:cubicBezTo>
                  <a:pt x="2149" y="876"/>
                  <a:pt x="2149" y="876"/>
                  <a:pt x="2149" y="876"/>
                </a:cubicBezTo>
                <a:cubicBezTo>
                  <a:pt x="2150" y="875"/>
                  <a:pt x="2151" y="875"/>
                  <a:pt x="2151" y="875"/>
                </a:cubicBezTo>
                <a:cubicBezTo>
                  <a:pt x="2151" y="874"/>
                  <a:pt x="2152" y="874"/>
                  <a:pt x="2152" y="874"/>
                </a:cubicBezTo>
                <a:cubicBezTo>
                  <a:pt x="2152" y="873"/>
                  <a:pt x="2153" y="873"/>
                  <a:pt x="2153" y="873"/>
                </a:cubicBezTo>
                <a:cubicBezTo>
                  <a:pt x="2154" y="873"/>
                  <a:pt x="2155" y="872"/>
                  <a:pt x="2154" y="872"/>
                </a:cubicBezTo>
                <a:cubicBezTo>
                  <a:pt x="2154" y="872"/>
                  <a:pt x="2153" y="872"/>
                  <a:pt x="2153" y="872"/>
                </a:cubicBezTo>
                <a:cubicBezTo>
                  <a:pt x="2153" y="872"/>
                  <a:pt x="2152" y="873"/>
                  <a:pt x="2152" y="873"/>
                </a:cubicBezTo>
                <a:cubicBezTo>
                  <a:pt x="2151" y="873"/>
                  <a:pt x="2151" y="873"/>
                  <a:pt x="2150" y="874"/>
                </a:cubicBezTo>
                <a:cubicBezTo>
                  <a:pt x="2149" y="874"/>
                  <a:pt x="2148" y="874"/>
                  <a:pt x="2148" y="875"/>
                </a:cubicBezTo>
                <a:cubicBezTo>
                  <a:pt x="2147" y="875"/>
                  <a:pt x="2146" y="875"/>
                  <a:pt x="2145" y="875"/>
                </a:cubicBezTo>
                <a:cubicBezTo>
                  <a:pt x="2144" y="876"/>
                  <a:pt x="2144" y="877"/>
                  <a:pt x="2143" y="877"/>
                </a:cubicBezTo>
                <a:cubicBezTo>
                  <a:pt x="2142" y="877"/>
                  <a:pt x="2141" y="876"/>
                  <a:pt x="2140" y="877"/>
                </a:cubicBezTo>
                <a:cubicBezTo>
                  <a:pt x="2139" y="877"/>
                  <a:pt x="2139" y="876"/>
                  <a:pt x="2138" y="876"/>
                </a:cubicBezTo>
                <a:cubicBezTo>
                  <a:pt x="2137" y="876"/>
                  <a:pt x="2137" y="876"/>
                  <a:pt x="2137" y="876"/>
                </a:cubicBezTo>
                <a:cubicBezTo>
                  <a:pt x="2136" y="876"/>
                  <a:pt x="2136" y="876"/>
                  <a:pt x="2136" y="875"/>
                </a:cubicBezTo>
                <a:cubicBezTo>
                  <a:pt x="2135" y="875"/>
                  <a:pt x="2135" y="876"/>
                  <a:pt x="2135" y="876"/>
                </a:cubicBezTo>
                <a:cubicBezTo>
                  <a:pt x="2135" y="877"/>
                  <a:pt x="2135" y="877"/>
                  <a:pt x="2135" y="877"/>
                </a:cubicBezTo>
                <a:cubicBezTo>
                  <a:pt x="2134" y="878"/>
                  <a:pt x="2133" y="877"/>
                  <a:pt x="2133" y="878"/>
                </a:cubicBezTo>
                <a:close/>
                <a:moveTo>
                  <a:pt x="2029" y="826"/>
                </a:moveTo>
                <a:cubicBezTo>
                  <a:pt x="2029" y="826"/>
                  <a:pt x="2030" y="827"/>
                  <a:pt x="2030" y="827"/>
                </a:cubicBezTo>
                <a:cubicBezTo>
                  <a:pt x="2030" y="826"/>
                  <a:pt x="2030" y="826"/>
                  <a:pt x="2030" y="826"/>
                </a:cubicBezTo>
                <a:cubicBezTo>
                  <a:pt x="2029" y="825"/>
                  <a:pt x="2029" y="825"/>
                  <a:pt x="2029" y="826"/>
                </a:cubicBezTo>
                <a:close/>
                <a:moveTo>
                  <a:pt x="1945" y="769"/>
                </a:moveTo>
                <a:cubicBezTo>
                  <a:pt x="1946" y="769"/>
                  <a:pt x="1945" y="768"/>
                  <a:pt x="1945" y="768"/>
                </a:cubicBezTo>
                <a:cubicBezTo>
                  <a:pt x="1944" y="768"/>
                  <a:pt x="1944" y="768"/>
                  <a:pt x="1943" y="768"/>
                </a:cubicBezTo>
                <a:cubicBezTo>
                  <a:pt x="1943" y="767"/>
                  <a:pt x="1942" y="767"/>
                  <a:pt x="1943" y="768"/>
                </a:cubicBezTo>
                <a:cubicBezTo>
                  <a:pt x="1943" y="768"/>
                  <a:pt x="1943" y="768"/>
                  <a:pt x="1943" y="768"/>
                </a:cubicBezTo>
                <a:cubicBezTo>
                  <a:pt x="1944" y="768"/>
                  <a:pt x="1944" y="768"/>
                  <a:pt x="1944" y="768"/>
                </a:cubicBezTo>
                <a:cubicBezTo>
                  <a:pt x="1944" y="769"/>
                  <a:pt x="1945" y="769"/>
                  <a:pt x="1945" y="769"/>
                </a:cubicBezTo>
                <a:close/>
                <a:moveTo>
                  <a:pt x="1947" y="772"/>
                </a:moveTo>
                <a:cubicBezTo>
                  <a:pt x="1948" y="772"/>
                  <a:pt x="1948" y="772"/>
                  <a:pt x="1948" y="772"/>
                </a:cubicBezTo>
                <a:cubicBezTo>
                  <a:pt x="1949" y="772"/>
                  <a:pt x="1949" y="772"/>
                  <a:pt x="1949" y="772"/>
                </a:cubicBezTo>
                <a:cubicBezTo>
                  <a:pt x="1950" y="772"/>
                  <a:pt x="1951" y="772"/>
                  <a:pt x="1951" y="772"/>
                </a:cubicBezTo>
                <a:cubicBezTo>
                  <a:pt x="1952" y="772"/>
                  <a:pt x="1953" y="772"/>
                  <a:pt x="1953" y="772"/>
                </a:cubicBezTo>
                <a:cubicBezTo>
                  <a:pt x="1954" y="772"/>
                  <a:pt x="1955" y="772"/>
                  <a:pt x="1954" y="772"/>
                </a:cubicBezTo>
                <a:cubicBezTo>
                  <a:pt x="1954" y="772"/>
                  <a:pt x="1953" y="772"/>
                  <a:pt x="1953" y="772"/>
                </a:cubicBezTo>
                <a:cubicBezTo>
                  <a:pt x="1952" y="772"/>
                  <a:pt x="1951" y="772"/>
                  <a:pt x="1950" y="771"/>
                </a:cubicBezTo>
                <a:cubicBezTo>
                  <a:pt x="1950" y="771"/>
                  <a:pt x="1950" y="771"/>
                  <a:pt x="1949" y="771"/>
                </a:cubicBezTo>
                <a:cubicBezTo>
                  <a:pt x="1949" y="771"/>
                  <a:pt x="1949" y="771"/>
                  <a:pt x="1948" y="771"/>
                </a:cubicBezTo>
                <a:cubicBezTo>
                  <a:pt x="1948" y="771"/>
                  <a:pt x="1948" y="771"/>
                  <a:pt x="1947" y="771"/>
                </a:cubicBezTo>
                <a:cubicBezTo>
                  <a:pt x="1947" y="771"/>
                  <a:pt x="1946" y="770"/>
                  <a:pt x="1946" y="771"/>
                </a:cubicBezTo>
                <a:cubicBezTo>
                  <a:pt x="1945" y="772"/>
                  <a:pt x="1947" y="772"/>
                  <a:pt x="1947" y="772"/>
                </a:cubicBezTo>
                <a:close/>
                <a:moveTo>
                  <a:pt x="1947" y="770"/>
                </a:moveTo>
                <a:cubicBezTo>
                  <a:pt x="1947" y="770"/>
                  <a:pt x="1947" y="770"/>
                  <a:pt x="1948" y="770"/>
                </a:cubicBezTo>
                <a:cubicBezTo>
                  <a:pt x="1948" y="770"/>
                  <a:pt x="1949" y="770"/>
                  <a:pt x="1949" y="770"/>
                </a:cubicBezTo>
                <a:cubicBezTo>
                  <a:pt x="1949" y="770"/>
                  <a:pt x="1951" y="770"/>
                  <a:pt x="1951" y="769"/>
                </a:cubicBezTo>
                <a:cubicBezTo>
                  <a:pt x="1951" y="769"/>
                  <a:pt x="1949" y="769"/>
                  <a:pt x="1949" y="769"/>
                </a:cubicBezTo>
                <a:cubicBezTo>
                  <a:pt x="1948" y="769"/>
                  <a:pt x="1948" y="769"/>
                  <a:pt x="1947" y="769"/>
                </a:cubicBezTo>
                <a:cubicBezTo>
                  <a:pt x="1947" y="769"/>
                  <a:pt x="1946" y="768"/>
                  <a:pt x="1946" y="768"/>
                </a:cubicBezTo>
                <a:cubicBezTo>
                  <a:pt x="1946" y="768"/>
                  <a:pt x="1946" y="769"/>
                  <a:pt x="1946" y="769"/>
                </a:cubicBezTo>
                <a:cubicBezTo>
                  <a:pt x="1946" y="769"/>
                  <a:pt x="1946" y="769"/>
                  <a:pt x="1946" y="769"/>
                </a:cubicBezTo>
                <a:cubicBezTo>
                  <a:pt x="1946" y="769"/>
                  <a:pt x="1946" y="769"/>
                  <a:pt x="1947" y="770"/>
                </a:cubicBezTo>
                <a:close/>
                <a:moveTo>
                  <a:pt x="1954" y="775"/>
                </a:moveTo>
                <a:cubicBezTo>
                  <a:pt x="1954" y="774"/>
                  <a:pt x="1952" y="774"/>
                  <a:pt x="1952" y="774"/>
                </a:cubicBezTo>
                <a:cubicBezTo>
                  <a:pt x="1951" y="775"/>
                  <a:pt x="1951" y="774"/>
                  <a:pt x="1950" y="774"/>
                </a:cubicBezTo>
                <a:cubicBezTo>
                  <a:pt x="1950" y="774"/>
                  <a:pt x="1950" y="774"/>
                  <a:pt x="1949" y="774"/>
                </a:cubicBezTo>
                <a:cubicBezTo>
                  <a:pt x="1949" y="774"/>
                  <a:pt x="1948" y="774"/>
                  <a:pt x="1948" y="774"/>
                </a:cubicBezTo>
                <a:cubicBezTo>
                  <a:pt x="1949" y="774"/>
                  <a:pt x="1949" y="774"/>
                  <a:pt x="1949" y="774"/>
                </a:cubicBezTo>
                <a:cubicBezTo>
                  <a:pt x="1949" y="775"/>
                  <a:pt x="1948" y="774"/>
                  <a:pt x="1949" y="775"/>
                </a:cubicBezTo>
                <a:cubicBezTo>
                  <a:pt x="1950" y="775"/>
                  <a:pt x="1950" y="775"/>
                  <a:pt x="1951" y="775"/>
                </a:cubicBezTo>
                <a:cubicBezTo>
                  <a:pt x="1952" y="775"/>
                  <a:pt x="1952" y="775"/>
                  <a:pt x="1953" y="775"/>
                </a:cubicBezTo>
                <a:cubicBezTo>
                  <a:pt x="1953" y="775"/>
                  <a:pt x="1954" y="775"/>
                  <a:pt x="1954" y="775"/>
                </a:cubicBezTo>
                <a:close/>
                <a:moveTo>
                  <a:pt x="1950" y="778"/>
                </a:moveTo>
                <a:cubicBezTo>
                  <a:pt x="1950" y="778"/>
                  <a:pt x="1950" y="778"/>
                  <a:pt x="1951" y="777"/>
                </a:cubicBezTo>
                <a:cubicBezTo>
                  <a:pt x="1951" y="777"/>
                  <a:pt x="1951" y="778"/>
                  <a:pt x="1951" y="778"/>
                </a:cubicBezTo>
                <a:cubicBezTo>
                  <a:pt x="1952" y="777"/>
                  <a:pt x="1951" y="777"/>
                  <a:pt x="1951" y="777"/>
                </a:cubicBezTo>
                <a:cubicBezTo>
                  <a:pt x="1951" y="777"/>
                  <a:pt x="1950" y="777"/>
                  <a:pt x="1950" y="778"/>
                </a:cubicBezTo>
                <a:close/>
                <a:moveTo>
                  <a:pt x="1886" y="561"/>
                </a:moveTo>
                <a:cubicBezTo>
                  <a:pt x="1885" y="561"/>
                  <a:pt x="1885" y="561"/>
                  <a:pt x="1886" y="561"/>
                </a:cubicBezTo>
                <a:cubicBezTo>
                  <a:pt x="1886" y="561"/>
                  <a:pt x="1886" y="560"/>
                  <a:pt x="1886" y="561"/>
                </a:cubicBezTo>
                <a:close/>
                <a:moveTo>
                  <a:pt x="2014" y="510"/>
                </a:moveTo>
                <a:cubicBezTo>
                  <a:pt x="2014" y="510"/>
                  <a:pt x="2014" y="510"/>
                  <a:pt x="2013" y="510"/>
                </a:cubicBezTo>
                <a:cubicBezTo>
                  <a:pt x="2013" y="510"/>
                  <a:pt x="2012" y="510"/>
                  <a:pt x="2012" y="510"/>
                </a:cubicBezTo>
                <a:cubicBezTo>
                  <a:pt x="2012" y="510"/>
                  <a:pt x="2013" y="511"/>
                  <a:pt x="2013" y="511"/>
                </a:cubicBezTo>
                <a:cubicBezTo>
                  <a:pt x="2014" y="511"/>
                  <a:pt x="2014" y="510"/>
                  <a:pt x="2014" y="510"/>
                </a:cubicBezTo>
                <a:close/>
                <a:moveTo>
                  <a:pt x="2011" y="512"/>
                </a:moveTo>
                <a:cubicBezTo>
                  <a:pt x="2011" y="512"/>
                  <a:pt x="2011" y="512"/>
                  <a:pt x="2011" y="512"/>
                </a:cubicBezTo>
                <a:cubicBezTo>
                  <a:pt x="2011" y="513"/>
                  <a:pt x="2011" y="513"/>
                  <a:pt x="2012" y="512"/>
                </a:cubicBezTo>
                <a:cubicBezTo>
                  <a:pt x="2012" y="512"/>
                  <a:pt x="2012" y="512"/>
                  <a:pt x="2012" y="512"/>
                </a:cubicBezTo>
                <a:cubicBezTo>
                  <a:pt x="2012" y="512"/>
                  <a:pt x="2012" y="512"/>
                  <a:pt x="2011" y="512"/>
                </a:cubicBezTo>
                <a:close/>
                <a:moveTo>
                  <a:pt x="2011" y="533"/>
                </a:moveTo>
                <a:cubicBezTo>
                  <a:pt x="2011" y="533"/>
                  <a:pt x="2012" y="533"/>
                  <a:pt x="2012" y="533"/>
                </a:cubicBezTo>
                <a:cubicBezTo>
                  <a:pt x="2013" y="533"/>
                  <a:pt x="2013" y="533"/>
                  <a:pt x="2014" y="534"/>
                </a:cubicBezTo>
                <a:cubicBezTo>
                  <a:pt x="2014" y="534"/>
                  <a:pt x="2014" y="534"/>
                  <a:pt x="2015" y="534"/>
                </a:cubicBezTo>
                <a:cubicBezTo>
                  <a:pt x="2016" y="535"/>
                  <a:pt x="2016" y="535"/>
                  <a:pt x="2016" y="536"/>
                </a:cubicBezTo>
                <a:cubicBezTo>
                  <a:pt x="2016" y="536"/>
                  <a:pt x="2016" y="537"/>
                  <a:pt x="2017" y="537"/>
                </a:cubicBezTo>
                <a:cubicBezTo>
                  <a:pt x="2017" y="537"/>
                  <a:pt x="2017" y="537"/>
                  <a:pt x="2017" y="536"/>
                </a:cubicBezTo>
                <a:cubicBezTo>
                  <a:pt x="2018" y="536"/>
                  <a:pt x="2019" y="535"/>
                  <a:pt x="2020" y="535"/>
                </a:cubicBezTo>
                <a:cubicBezTo>
                  <a:pt x="2021" y="535"/>
                  <a:pt x="2022" y="535"/>
                  <a:pt x="2021" y="534"/>
                </a:cubicBezTo>
                <a:cubicBezTo>
                  <a:pt x="2021" y="534"/>
                  <a:pt x="2021" y="533"/>
                  <a:pt x="2021" y="533"/>
                </a:cubicBezTo>
                <a:cubicBezTo>
                  <a:pt x="2020" y="533"/>
                  <a:pt x="2020" y="533"/>
                  <a:pt x="2020" y="533"/>
                </a:cubicBezTo>
                <a:cubicBezTo>
                  <a:pt x="2019" y="532"/>
                  <a:pt x="2019" y="531"/>
                  <a:pt x="2018" y="531"/>
                </a:cubicBezTo>
                <a:cubicBezTo>
                  <a:pt x="2018" y="531"/>
                  <a:pt x="2017" y="532"/>
                  <a:pt x="2016" y="532"/>
                </a:cubicBezTo>
                <a:cubicBezTo>
                  <a:pt x="2016" y="532"/>
                  <a:pt x="2015" y="532"/>
                  <a:pt x="2014" y="533"/>
                </a:cubicBezTo>
                <a:cubicBezTo>
                  <a:pt x="2014" y="533"/>
                  <a:pt x="2014" y="533"/>
                  <a:pt x="2013" y="533"/>
                </a:cubicBezTo>
                <a:cubicBezTo>
                  <a:pt x="2013" y="533"/>
                  <a:pt x="2013" y="533"/>
                  <a:pt x="2013" y="533"/>
                </a:cubicBezTo>
                <a:cubicBezTo>
                  <a:pt x="2012" y="533"/>
                  <a:pt x="2011" y="532"/>
                  <a:pt x="2011" y="533"/>
                </a:cubicBezTo>
                <a:close/>
                <a:moveTo>
                  <a:pt x="2006" y="513"/>
                </a:moveTo>
                <a:cubicBezTo>
                  <a:pt x="2006" y="513"/>
                  <a:pt x="2006" y="513"/>
                  <a:pt x="2006" y="513"/>
                </a:cubicBezTo>
                <a:cubicBezTo>
                  <a:pt x="2006" y="513"/>
                  <a:pt x="2005" y="513"/>
                  <a:pt x="2005" y="513"/>
                </a:cubicBezTo>
                <a:cubicBezTo>
                  <a:pt x="2005" y="513"/>
                  <a:pt x="2006" y="514"/>
                  <a:pt x="2006" y="514"/>
                </a:cubicBezTo>
                <a:cubicBezTo>
                  <a:pt x="2006" y="514"/>
                  <a:pt x="2006" y="513"/>
                  <a:pt x="2006" y="513"/>
                </a:cubicBezTo>
                <a:close/>
                <a:moveTo>
                  <a:pt x="1991" y="510"/>
                </a:moveTo>
                <a:cubicBezTo>
                  <a:pt x="1991" y="509"/>
                  <a:pt x="1990" y="509"/>
                  <a:pt x="1990" y="509"/>
                </a:cubicBezTo>
                <a:cubicBezTo>
                  <a:pt x="1989" y="508"/>
                  <a:pt x="1988" y="509"/>
                  <a:pt x="1988" y="508"/>
                </a:cubicBezTo>
                <a:cubicBezTo>
                  <a:pt x="1987" y="508"/>
                  <a:pt x="1987" y="507"/>
                  <a:pt x="1986" y="507"/>
                </a:cubicBezTo>
                <a:cubicBezTo>
                  <a:pt x="1986" y="508"/>
                  <a:pt x="1986" y="508"/>
                  <a:pt x="1986" y="508"/>
                </a:cubicBezTo>
                <a:cubicBezTo>
                  <a:pt x="1986" y="509"/>
                  <a:pt x="1986" y="510"/>
                  <a:pt x="1985" y="510"/>
                </a:cubicBezTo>
                <a:cubicBezTo>
                  <a:pt x="1984" y="510"/>
                  <a:pt x="1984" y="509"/>
                  <a:pt x="1984" y="510"/>
                </a:cubicBezTo>
                <a:cubicBezTo>
                  <a:pt x="1983" y="510"/>
                  <a:pt x="1983" y="511"/>
                  <a:pt x="1983" y="511"/>
                </a:cubicBezTo>
                <a:cubicBezTo>
                  <a:pt x="1983" y="512"/>
                  <a:pt x="1984" y="513"/>
                  <a:pt x="1984" y="512"/>
                </a:cubicBezTo>
                <a:cubicBezTo>
                  <a:pt x="1985" y="512"/>
                  <a:pt x="1984" y="511"/>
                  <a:pt x="1985" y="511"/>
                </a:cubicBezTo>
                <a:cubicBezTo>
                  <a:pt x="1985" y="511"/>
                  <a:pt x="1985" y="511"/>
                  <a:pt x="1985" y="511"/>
                </a:cubicBezTo>
                <a:cubicBezTo>
                  <a:pt x="1986" y="511"/>
                  <a:pt x="1986" y="512"/>
                  <a:pt x="1986" y="512"/>
                </a:cubicBezTo>
                <a:cubicBezTo>
                  <a:pt x="1987" y="513"/>
                  <a:pt x="1987" y="513"/>
                  <a:pt x="1987" y="513"/>
                </a:cubicBezTo>
                <a:cubicBezTo>
                  <a:pt x="1988" y="514"/>
                  <a:pt x="1988" y="514"/>
                  <a:pt x="1988" y="514"/>
                </a:cubicBezTo>
                <a:cubicBezTo>
                  <a:pt x="1989" y="514"/>
                  <a:pt x="1989" y="514"/>
                  <a:pt x="1989" y="515"/>
                </a:cubicBezTo>
                <a:cubicBezTo>
                  <a:pt x="1990" y="515"/>
                  <a:pt x="1989" y="516"/>
                  <a:pt x="1990" y="516"/>
                </a:cubicBezTo>
                <a:cubicBezTo>
                  <a:pt x="1990" y="516"/>
                  <a:pt x="1991" y="514"/>
                  <a:pt x="1990" y="514"/>
                </a:cubicBezTo>
                <a:cubicBezTo>
                  <a:pt x="1990" y="513"/>
                  <a:pt x="1989" y="514"/>
                  <a:pt x="1989" y="513"/>
                </a:cubicBezTo>
                <a:cubicBezTo>
                  <a:pt x="1989" y="513"/>
                  <a:pt x="1989" y="513"/>
                  <a:pt x="1989" y="513"/>
                </a:cubicBezTo>
                <a:cubicBezTo>
                  <a:pt x="1989" y="512"/>
                  <a:pt x="1988" y="511"/>
                  <a:pt x="1988" y="510"/>
                </a:cubicBezTo>
                <a:cubicBezTo>
                  <a:pt x="1989" y="510"/>
                  <a:pt x="1989" y="511"/>
                  <a:pt x="1990" y="512"/>
                </a:cubicBezTo>
                <a:cubicBezTo>
                  <a:pt x="1990" y="512"/>
                  <a:pt x="1990" y="512"/>
                  <a:pt x="1991" y="513"/>
                </a:cubicBezTo>
                <a:cubicBezTo>
                  <a:pt x="1991" y="513"/>
                  <a:pt x="1991" y="514"/>
                  <a:pt x="1991" y="514"/>
                </a:cubicBezTo>
                <a:cubicBezTo>
                  <a:pt x="1991" y="513"/>
                  <a:pt x="1991" y="513"/>
                  <a:pt x="1991" y="512"/>
                </a:cubicBezTo>
                <a:cubicBezTo>
                  <a:pt x="1991" y="512"/>
                  <a:pt x="1991" y="511"/>
                  <a:pt x="1991" y="511"/>
                </a:cubicBezTo>
                <a:cubicBezTo>
                  <a:pt x="1991" y="510"/>
                  <a:pt x="1991" y="510"/>
                  <a:pt x="1991" y="510"/>
                </a:cubicBezTo>
                <a:close/>
                <a:moveTo>
                  <a:pt x="2009" y="540"/>
                </a:moveTo>
                <a:cubicBezTo>
                  <a:pt x="2009" y="541"/>
                  <a:pt x="2010" y="541"/>
                  <a:pt x="2010" y="542"/>
                </a:cubicBezTo>
                <a:cubicBezTo>
                  <a:pt x="2010" y="542"/>
                  <a:pt x="2009" y="543"/>
                  <a:pt x="2009" y="543"/>
                </a:cubicBezTo>
                <a:cubicBezTo>
                  <a:pt x="2008" y="545"/>
                  <a:pt x="2010" y="544"/>
                  <a:pt x="2010" y="545"/>
                </a:cubicBezTo>
                <a:cubicBezTo>
                  <a:pt x="2011" y="545"/>
                  <a:pt x="2011" y="545"/>
                  <a:pt x="2011" y="545"/>
                </a:cubicBezTo>
                <a:cubicBezTo>
                  <a:pt x="2012" y="545"/>
                  <a:pt x="2012" y="545"/>
                  <a:pt x="2012" y="546"/>
                </a:cubicBezTo>
                <a:cubicBezTo>
                  <a:pt x="2013" y="547"/>
                  <a:pt x="2012" y="547"/>
                  <a:pt x="2011" y="548"/>
                </a:cubicBezTo>
                <a:cubicBezTo>
                  <a:pt x="2011" y="548"/>
                  <a:pt x="2011" y="549"/>
                  <a:pt x="2011" y="549"/>
                </a:cubicBezTo>
                <a:cubicBezTo>
                  <a:pt x="2011" y="550"/>
                  <a:pt x="2011" y="550"/>
                  <a:pt x="2011" y="550"/>
                </a:cubicBezTo>
                <a:cubicBezTo>
                  <a:pt x="2012" y="550"/>
                  <a:pt x="2012" y="550"/>
                  <a:pt x="2012" y="549"/>
                </a:cubicBezTo>
                <a:cubicBezTo>
                  <a:pt x="2012" y="549"/>
                  <a:pt x="2013" y="548"/>
                  <a:pt x="2013" y="548"/>
                </a:cubicBezTo>
                <a:cubicBezTo>
                  <a:pt x="2014" y="547"/>
                  <a:pt x="2014" y="545"/>
                  <a:pt x="2016" y="545"/>
                </a:cubicBezTo>
                <a:cubicBezTo>
                  <a:pt x="2016" y="544"/>
                  <a:pt x="2017" y="544"/>
                  <a:pt x="2018" y="544"/>
                </a:cubicBezTo>
                <a:cubicBezTo>
                  <a:pt x="2019" y="544"/>
                  <a:pt x="2020" y="544"/>
                  <a:pt x="2021" y="543"/>
                </a:cubicBezTo>
                <a:cubicBezTo>
                  <a:pt x="2021" y="543"/>
                  <a:pt x="2022" y="542"/>
                  <a:pt x="2022" y="542"/>
                </a:cubicBezTo>
                <a:cubicBezTo>
                  <a:pt x="2023" y="541"/>
                  <a:pt x="2023" y="541"/>
                  <a:pt x="2024" y="541"/>
                </a:cubicBezTo>
                <a:cubicBezTo>
                  <a:pt x="2025" y="541"/>
                  <a:pt x="2026" y="541"/>
                  <a:pt x="2026" y="541"/>
                </a:cubicBezTo>
                <a:cubicBezTo>
                  <a:pt x="2025" y="540"/>
                  <a:pt x="2025" y="540"/>
                  <a:pt x="2025" y="540"/>
                </a:cubicBezTo>
                <a:cubicBezTo>
                  <a:pt x="2025" y="540"/>
                  <a:pt x="2024" y="539"/>
                  <a:pt x="2024" y="539"/>
                </a:cubicBezTo>
                <a:cubicBezTo>
                  <a:pt x="2025" y="539"/>
                  <a:pt x="2027" y="540"/>
                  <a:pt x="2026" y="539"/>
                </a:cubicBezTo>
                <a:cubicBezTo>
                  <a:pt x="2026" y="538"/>
                  <a:pt x="2025" y="538"/>
                  <a:pt x="2024" y="537"/>
                </a:cubicBezTo>
                <a:cubicBezTo>
                  <a:pt x="2024" y="537"/>
                  <a:pt x="2023" y="537"/>
                  <a:pt x="2023" y="538"/>
                </a:cubicBezTo>
                <a:cubicBezTo>
                  <a:pt x="2023" y="538"/>
                  <a:pt x="2023" y="539"/>
                  <a:pt x="2023" y="539"/>
                </a:cubicBezTo>
                <a:cubicBezTo>
                  <a:pt x="2023" y="540"/>
                  <a:pt x="2022" y="539"/>
                  <a:pt x="2021" y="539"/>
                </a:cubicBezTo>
                <a:cubicBezTo>
                  <a:pt x="2020" y="538"/>
                  <a:pt x="2019" y="538"/>
                  <a:pt x="2019" y="538"/>
                </a:cubicBezTo>
                <a:cubicBezTo>
                  <a:pt x="2017" y="539"/>
                  <a:pt x="2015" y="539"/>
                  <a:pt x="2014" y="540"/>
                </a:cubicBezTo>
                <a:cubicBezTo>
                  <a:pt x="2013" y="540"/>
                  <a:pt x="2012" y="541"/>
                  <a:pt x="2011" y="541"/>
                </a:cubicBezTo>
                <a:cubicBezTo>
                  <a:pt x="2010" y="541"/>
                  <a:pt x="2009" y="540"/>
                  <a:pt x="2009" y="540"/>
                </a:cubicBezTo>
                <a:close/>
                <a:moveTo>
                  <a:pt x="2008" y="512"/>
                </a:moveTo>
                <a:cubicBezTo>
                  <a:pt x="2008" y="512"/>
                  <a:pt x="2008" y="513"/>
                  <a:pt x="2008" y="513"/>
                </a:cubicBezTo>
                <a:cubicBezTo>
                  <a:pt x="2008" y="513"/>
                  <a:pt x="2008" y="513"/>
                  <a:pt x="2008" y="513"/>
                </a:cubicBezTo>
                <a:cubicBezTo>
                  <a:pt x="2009" y="513"/>
                  <a:pt x="2009" y="513"/>
                  <a:pt x="2009" y="513"/>
                </a:cubicBezTo>
                <a:cubicBezTo>
                  <a:pt x="2009" y="513"/>
                  <a:pt x="2009" y="512"/>
                  <a:pt x="2008" y="512"/>
                </a:cubicBezTo>
                <a:close/>
                <a:moveTo>
                  <a:pt x="3051" y="233"/>
                </a:moveTo>
                <a:cubicBezTo>
                  <a:pt x="3051" y="233"/>
                  <a:pt x="3051" y="233"/>
                  <a:pt x="3050" y="233"/>
                </a:cubicBezTo>
                <a:cubicBezTo>
                  <a:pt x="3050" y="233"/>
                  <a:pt x="3049" y="233"/>
                  <a:pt x="3049" y="233"/>
                </a:cubicBezTo>
                <a:cubicBezTo>
                  <a:pt x="3048" y="233"/>
                  <a:pt x="3047" y="233"/>
                  <a:pt x="3047" y="233"/>
                </a:cubicBezTo>
                <a:cubicBezTo>
                  <a:pt x="3046" y="233"/>
                  <a:pt x="3045" y="233"/>
                  <a:pt x="3044" y="232"/>
                </a:cubicBezTo>
                <a:cubicBezTo>
                  <a:pt x="3043" y="232"/>
                  <a:pt x="3042" y="232"/>
                  <a:pt x="3042" y="232"/>
                </a:cubicBezTo>
                <a:cubicBezTo>
                  <a:pt x="3041" y="232"/>
                  <a:pt x="3040" y="232"/>
                  <a:pt x="3039" y="232"/>
                </a:cubicBezTo>
                <a:cubicBezTo>
                  <a:pt x="3038" y="232"/>
                  <a:pt x="3037" y="231"/>
                  <a:pt x="3037" y="232"/>
                </a:cubicBezTo>
                <a:cubicBezTo>
                  <a:pt x="3037" y="233"/>
                  <a:pt x="3037" y="234"/>
                  <a:pt x="3037" y="235"/>
                </a:cubicBezTo>
                <a:cubicBezTo>
                  <a:pt x="3036" y="236"/>
                  <a:pt x="3035" y="236"/>
                  <a:pt x="3034" y="236"/>
                </a:cubicBezTo>
                <a:cubicBezTo>
                  <a:pt x="3033" y="236"/>
                  <a:pt x="3033" y="236"/>
                  <a:pt x="3032" y="236"/>
                </a:cubicBezTo>
                <a:cubicBezTo>
                  <a:pt x="3032" y="236"/>
                  <a:pt x="3031" y="236"/>
                  <a:pt x="3031" y="236"/>
                </a:cubicBezTo>
                <a:cubicBezTo>
                  <a:pt x="3030" y="237"/>
                  <a:pt x="3031" y="237"/>
                  <a:pt x="3031" y="238"/>
                </a:cubicBezTo>
                <a:cubicBezTo>
                  <a:pt x="3032" y="239"/>
                  <a:pt x="3033" y="238"/>
                  <a:pt x="3033" y="238"/>
                </a:cubicBezTo>
                <a:cubicBezTo>
                  <a:pt x="3034" y="239"/>
                  <a:pt x="3034" y="239"/>
                  <a:pt x="3035" y="239"/>
                </a:cubicBezTo>
                <a:cubicBezTo>
                  <a:pt x="3035" y="239"/>
                  <a:pt x="3035" y="239"/>
                  <a:pt x="3036" y="239"/>
                </a:cubicBezTo>
                <a:cubicBezTo>
                  <a:pt x="3036" y="239"/>
                  <a:pt x="3037" y="240"/>
                  <a:pt x="3037" y="240"/>
                </a:cubicBezTo>
                <a:cubicBezTo>
                  <a:pt x="3038" y="241"/>
                  <a:pt x="3038" y="241"/>
                  <a:pt x="3039" y="241"/>
                </a:cubicBezTo>
                <a:cubicBezTo>
                  <a:pt x="3040" y="241"/>
                  <a:pt x="3041" y="241"/>
                  <a:pt x="3042" y="241"/>
                </a:cubicBezTo>
                <a:cubicBezTo>
                  <a:pt x="3043" y="242"/>
                  <a:pt x="3043" y="242"/>
                  <a:pt x="3044" y="242"/>
                </a:cubicBezTo>
                <a:cubicBezTo>
                  <a:pt x="3046" y="242"/>
                  <a:pt x="3046" y="242"/>
                  <a:pt x="3047" y="241"/>
                </a:cubicBezTo>
                <a:cubicBezTo>
                  <a:pt x="3048" y="240"/>
                  <a:pt x="3048" y="240"/>
                  <a:pt x="3049" y="239"/>
                </a:cubicBezTo>
                <a:cubicBezTo>
                  <a:pt x="3049" y="239"/>
                  <a:pt x="3050" y="239"/>
                  <a:pt x="3051" y="238"/>
                </a:cubicBezTo>
                <a:cubicBezTo>
                  <a:pt x="3051" y="238"/>
                  <a:pt x="3051" y="238"/>
                  <a:pt x="3051" y="237"/>
                </a:cubicBezTo>
                <a:cubicBezTo>
                  <a:pt x="3052" y="237"/>
                  <a:pt x="3052" y="237"/>
                  <a:pt x="3052" y="236"/>
                </a:cubicBezTo>
                <a:cubicBezTo>
                  <a:pt x="3053" y="236"/>
                  <a:pt x="3054" y="235"/>
                  <a:pt x="3053" y="234"/>
                </a:cubicBezTo>
                <a:cubicBezTo>
                  <a:pt x="3053" y="234"/>
                  <a:pt x="3052" y="234"/>
                  <a:pt x="3051" y="233"/>
                </a:cubicBezTo>
                <a:close/>
                <a:moveTo>
                  <a:pt x="1821" y="515"/>
                </a:moveTo>
                <a:cubicBezTo>
                  <a:pt x="1820" y="515"/>
                  <a:pt x="1820" y="516"/>
                  <a:pt x="1821" y="516"/>
                </a:cubicBezTo>
                <a:cubicBezTo>
                  <a:pt x="1821" y="517"/>
                  <a:pt x="1821" y="518"/>
                  <a:pt x="1822" y="518"/>
                </a:cubicBezTo>
                <a:cubicBezTo>
                  <a:pt x="1822" y="518"/>
                  <a:pt x="1823" y="519"/>
                  <a:pt x="1823" y="518"/>
                </a:cubicBezTo>
                <a:cubicBezTo>
                  <a:pt x="1824" y="518"/>
                  <a:pt x="1823" y="518"/>
                  <a:pt x="1823" y="518"/>
                </a:cubicBezTo>
                <a:cubicBezTo>
                  <a:pt x="1823" y="517"/>
                  <a:pt x="1823" y="517"/>
                  <a:pt x="1823" y="517"/>
                </a:cubicBezTo>
                <a:cubicBezTo>
                  <a:pt x="1824" y="517"/>
                  <a:pt x="1824" y="517"/>
                  <a:pt x="1825" y="516"/>
                </a:cubicBezTo>
                <a:cubicBezTo>
                  <a:pt x="1825" y="516"/>
                  <a:pt x="1825" y="516"/>
                  <a:pt x="1825" y="515"/>
                </a:cubicBezTo>
                <a:cubicBezTo>
                  <a:pt x="1825" y="515"/>
                  <a:pt x="1825" y="514"/>
                  <a:pt x="1825" y="514"/>
                </a:cubicBezTo>
                <a:cubicBezTo>
                  <a:pt x="1825" y="514"/>
                  <a:pt x="1825" y="514"/>
                  <a:pt x="1824" y="514"/>
                </a:cubicBezTo>
                <a:cubicBezTo>
                  <a:pt x="1824" y="514"/>
                  <a:pt x="1822" y="514"/>
                  <a:pt x="1822" y="515"/>
                </a:cubicBezTo>
                <a:cubicBezTo>
                  <a:pt x="1822" y="516"/>
                  <a:pt x="1822" y="516"/>
                  <a:pt x="1822" y="516"/>
                </a:cubicBezTo>
                <a:cubicBezTo>
                  <a:pt x="1822" y="516"/>
                  <a:pt x="1822" y="516"/>
                  <a:pt x="1822" y="516"/>
                </a:cubicBezTo>
                <a:cubicBezTo>
                  <a:pt x="1821" y="516"/>
                  <a:pt x="1821" y="515"/>
                  <a:pt x="1821" y="515"/>
                </a:cubicBezTo>
                <a:close/>
                <a:moveTo>
                  <a:pt x="2026" y="533"/>
                </a:moveTo>
                <a:cubicBezTo>
                  <a:pt x="2026" y="533"/>
                  <a:pt x="2026" y="533"/>
                  <a:pt x="2026" y="533"/>
                </a:cubicBezTo>
                <a:cubicBezTo>
                  <a:pt x="2026" y="532"/>
                  <a:pt x="2026" y="532"/>
                  <a:pt x="2026" y="532"/>
                </a:cubicBezTo>
                <a:cubicBezTo>
                  <a:pt x="2026" y="532"/>
                  <a:pt x="2026" y="531"/>
                  <a:pt x="2025" y="531"/>
                </a:cubicBezTo>
                <a:cubicBezTo>
                  <a:pt x="2025" y="531"/>
                  <a:pt x="2024" y="532"/>
                  <a:pt x="2025" y="532"/>
                </a:cubicBezTo>
                <a:cubicBezTo>
                  <a:pt x="2025" y="532"/>
                  <a:pt x="2025" y="532"/>
                  <a:pt x="2025" y="532"/>
                </a:cubicBezTo>
                <a:cubicBezTo>
                  <a:pt x="2025" y="533"/>
                  <a:pt x="2025" y="533"/>
                  <a:pt x="2026" y="533"/>
                </a:cubicBezTo>
                <a:close/>
                <a:moveTo>
                  <a:pt x="1977" y="553"/>
                </a:moveTo>
                <a:cubicBezTo>
                  <a:pt x="1977" y="552"/>
                  <a:pt x="1977" y="552"/>
                  <a:pt x="1977" y="552"/>
                </a:cubicBezTo>
                <a:cubicBezTo>
                  <a:pt x="1978" y="552"/>
                  <a:pt x="1978" y="552"/>
                  <a:pt x="1978" y="551"/>
                </a:cubicBezTo>
                <a:cubicBezTo>
                  <a:pt x="1978" y="551"/>
                  <a:pt x="1977" y="551"/>
                  <a:pt x="1977" y="551"/>
                </a:cubicBezTo>
                <a:cubicBezTo>
                  <a:pt x="1977" y="551"/>
                  <a:pt x="1977" y="550"/>
                  <a:pt x="1977" y="550"/>
                </a:cubicBezTo>
                <a:cubicBezTo>
                  <a:pt x="1976" y="550"/>
                  <a:pt x="1976" y="550"/>
                  <a:pt x="1976" y="550"/>
                </a:cubicBezTo>
                <a:cubicBezTo>
                  <a:pt x="1975" y="550"/>
                  <a:pt x="1975" y="550"/>
                  <a:pt x="1975" y="550"/>
                </a:cubicBezTo>
                <a:cubicBezTo>
                  <a:pt x="1974" y="550"/>
                  <a:pt x="1974" y="550"/>
                  <a:pt x="1973" y="550"/>
                </a:cubicBezTo>
                <a:cubicBezTo>
                  <a:pt x="1973" y="550"/>
                  <a:pt x="1973" y="550"/>
                  <a:pt x="1972" y="550"/>
                </a:cubicBezTo>
                <a:cubicBezTo>
                  <a:pt x="1972" y="550"/>
                  <a:pt x="1972" y="551"/>
                  <a:pt x="1971" y="551"/>
                </a:cubicBezTo>
                <a:cubicBezTo>
                  <a:pt x="1971" y="551"/>
                  <a:pt x="1970" y="551"/>
                  <a:pt x="1970" y="552"/>
                </a:cubicBezTo>
                <a:cubicBezTo>
                  <a:pt x="1969" y="553"/>
                  <a:pt x="1969" y="554"/>
                  <a:pt x="1968" y="554"/>
                </a:cubicBezTo>
                <a:cubicBezTo>
                  <a:pt x="1968" y="555"/>
                  <a:pt x="1967" y="555"/>
                  <a:pt x="1967" y="556"/>
                </a:cubicBezTo>
                <a:cubicBezTo>
                  <a:pt x="1966" y="556"/>
                  <a:pt x="1966" y="557"/>
                  <a:pt x="1966" y="557"/>
                </a:cubicBezTo>
                <a:cubicBezTo>
                  <a:pt x="1966" y="559"/>
                  <a:pt x="1966" y="560"/>
                  <a:pt x="1966" y="561"/>
                </a:cubicBezTo>
                <a:cubicBezTo>
                  <a:pt x="1967" y="562"/>
                  <a:pt x="1967" y="562"/>
                  <a:pt x="1967" y="562"/>
                </a:cubicBezTo>
                <a:cubicBezTo>
                  <a:pt x="1967" y="563"/>
                  <a:pt x="1967" y="563"/>
                  <a:pt x="1967" y="564"/>
                </a:cubicBezTo>
                <a:cubicBezTo>
                  <a:pt x="1967" y="564"/>
                  <a:pt x="1967" y="564"/>
                  <a:pt x="1967" y="565"/>
                </a:cubicBezTo>
                <a:cubicBezTo>
                  <a:pt x="1967" y="565"/>
                  <a:pt x="1967" y="565"/>
                  <a:pt x="1967" y="566"/>
                </a:cubicBezTo>
                <a:cubicBezTo>
                  <a:pt x="1966" y="567"/>
                  <a:pt x="1968" y="565"/>
                  <a:pt x="1969" y="565"/>
                </a:cubicBezTo>
                <a:cubicBezTo>
                  <a:pt x="1969" y="565"/>
                  <a:pt x="1970" y="564"/>
                  <a:pt x="1970" y="563"/>
                </a:cubicBezTo>
                <a:cubicBezTo>
                  <a:pt x="1971" y="563"/>
                  <a:pt x="1971" y="562"/>
                  <a:pt x="1972" y="562"/>
                </a:cubicBezTo>
                <a:cubicBezTo>
                  <a:pt x="1973" y="561"/>
                  <a:pt x="1974" y="562"/>
                  <a:pt x="1974" y="561"/>
                </a:cubicBezTo>
                <a:cubicBezTo>
                  <a:pt x="1974" y="560"/>
                  <a:pt x="1974" y="560"/>
                  <a:pt x="1974" y="559"/>
                </a:cubicBezTo>
                <a:cubicBezTo>
                  <a:pt x="1974" y="559"/>
                  <a:pt x="1975" y="559"/>
                  <a:pt x="1975" y="559"/>
                </a:cubicBezTo>
                <a:cubicBezTo>
                  <a:pt x="1976" y="559"/>
                  <a:pt x="1976" y="559"/>
                  <a:pt x="1976" y="558"/>
                </a:cubicBezTo>
                <a:cubicBezTo>
                  <a:pt x="1976" y="558"/>
                  <a:pt x="1975" y="558"/>
                  <a:pt x="1975" y="557"/>
                </a:cubicBezTo>
                <a:cubicBezTo>
                  <a:pt x="1974" y="557"/>
                  <a:pt x="1974" y="557"/>
                  <a:pt x="1974" y="557"/>
                </a:cubicBezTo>
                <a:cubicBezTo>
                  <a:pt x="1974" y="556"/>
                  <a:pt x="1974" y="556"/>
                  <a:pt x="1974" y="556"/>
                </a:cubicBezTo>
                <a:cubicBezTo>
                  <a:pt x="1975" y="555"/>
                  <a:pt x="1974" y="554"/>
                  <a:pt x="1974" y="553"/>
                </a:cubicBezTo>
                <a:cubicBezTo>
                  <a:pt x="1975" y="553"/>
                  <a:pt x="1976" y="553"/>
                  <a:pt x="1977" y="553"/>
                </a:cubicBezTo>
                <a:close/>
                <a:moveTo>
                  <a:pt x="2016" y="509"/>
                </a:moveTo>
                <a:cubicBezTo>
                  <a:pt x="2016" y="509"/>
                  <a:pt x="2016" y="509"/>
                  <a:pt x="2015" y="509"/>
                </a:cubicBezTo>
                <a:cubicBezTo>
                  <a:pt x="2015" y="509"/>
                  <a:pt x="2015" y="509"/>
                  <a:pt x="2015" y="509"/>
                </a:cubicBezTo>
                <a:cubicBezTo>
                  <a:pt x="2015" y="509"/>
                  <a:pt x="2015" y="509"/>
                  <a:pt x="2015" y="509"/>
                </a:cubicBezTo>
                <a:cubicBezTo>
                  <a:pt x="2016" y="509"/>
                  <a:pt x="2016" y="509"/>
                  <a:pt x="2016" y="509"/>
                </a:cubicBezTo>
                <a:close/>
                <a:moveTo>
                  <a:pt x="2076" y="867"/>
                </a:moveTo>
                <a:cubicBezTo>
                  <a:pt x="2076" y="867"/>
                  <a:pt x="2076" y="867"/>
                  <a:pt x="2076" y="868"/>
                </a:cubicBezTo>
                <a:cubicBezTo>
                  <a:pt x="2076" y="868"/>
                  <a:pt x="2076" y="868"/>
                  <a:pt x="2076" y="869"/>
                </a:cubicBezTo>
                <a:cubicBezTo>
                  <a:pt x="2076" y="869"/>
                  <a:pt x="2077" y="869"/>
                  <a:pt x="2077" y="869"/>
                </a:cubicBezTo>
                <a:cubicBezTo>
                  <a:pt x="2078" y="868"/>
                  <a:pt x="2078" y="867"/>
                  <a:pt x="2079" y="867"/>
                </a:cubicBezTo>
                <a:cubicBezTo>
                  <a:pt x="2079" y="867"/>
                  <a:pt x="2080" y="868"/>
                  <a:pt x="2080" y="867"/>
                </a:cubicBezTo>
                <a:cubicBezTo>
                  <a:pt x="2080" y="867"/>
                  <a:pt x="2080" y="866"/>
                  <a:pt x="2080" y="866"/>
                </a:cubicBezTo>
                <a:cubicBezTo>
                  <a:pt x="2080" y="866"/>
                  <a:pt x="2080" y="865"/>
                  <a:pt x="2081" y="865"/>
                </a:cubicBezTo>
                <a:cubicBezTo>
                  <a:pt x="2081" y="865"/>
                  <a:pt x="2081" y="865"/>
                  <a:pt x="2081" y="864"/>
                </a:cubicBezTo>
                <a:cubicBezTo>
                  <a:pt x="2081" y="864"/>
                  <a:pt x="2081" y="864"/>
                  <a:pt x="2081" y="864"/>
                </a:cubicBezTo>
                <a:cubicBezTo>
                  <a:pt x="2081" y="863"/>
                  <a:pt x="2082" y="863"/>
                  <a:pt x="2082" y="863"/>
                </a:cubicBezTo>
                <a:cubicBezTo>
                  <a:pt x="2082" y="862"/>
                  <a:pt x="2082" y="862"/>
                  <a:pt x="2081" y="862"/>
                </a:cubicBezTo>
                <a:cubicBezTo>
                  <a:pt x="2080" y="862"/>
                  <a:pt x="2080" y="863"/>
                  <a:pt x="2079" y="863"/>
                </a:cubicBezTo>
                <a:cubicBezTo>
                  <a:pt x="2079" y="864"/>
                  <a:pt x="2078" y="863"/>
                  <a:pt x="2077" y="864"/>
                </a:cubicBezTo>
                <a:cubicBezTo>
                  <a:pt x="2077" y="864"/>
                  <a:pt x="2077" y="865"/>
                  <a:pt x="2076" y="866"/>
                </a:cubicBezTo>
                <a:cubicBezTo>
                  <a:pt x="2076" y="866"/>
                  <a:pt x="2076" y="866"/>
                  <a:pt x="2076" y="867"/>
                </a:cubicBezTo>
                <a:close/>
                <a:moveTo>
                  <a:pt x="1892" y="602"/>
                </a:moveTo>
                <a:cubicBezTo>
                  <a:pt x="1892" y="602"/>
                  <a:pt x="1893" y="602"/>
                  <a:pt x="1893" y="602"/>
                </a:cubicBezTo>
                <a:cubicBezTo>
                  <a:pt x="1894" y="602"/>
                  <a:pt x="1894" y="602"/>
                  <a:pt x="1894" y="602"/>
                </a:cubicBezTo>
                <a:cubicBezTo>
                  <a:pt x="1895" y="602"/>
                  <a:pt x="1894" y="600"/>
                  <a:pt x="1894" y="600"/>
                </a:cubicBezTo>
                <a:cubicBezTo>
                  <a:pt x="1893" y="600"/>
                  <a:pt x="1892" y="600"/>
                  <a:pt x="1892" y="600"/>
                </a:cubicBezTo>
                <a:cubicBezTo>
                  <a:pt x="1891" y="600"/>
                  <a:pt x="1891" y="600"/>
                  <a:pt x="1890" y="600"/>
                </a:cubicBezTo>
                <a:cubicBezTo>
                  <a:pt x="1890" y="599"/>
                  <a:pt x="1890" y="599"/>
                  <a:pt x="1889" y="599"/>
                </a:cubicBezTo>
                <a:cubicBezTo>
                  <a:pt x="1889" y="599"/>
                  <a:pt x="1888" y="599"/>
                  <a:pt x="1888" y="599"/>
                </a:cubicBezTo>
                <a:cubicBezTo>
                  <a:pt x="1887" y="600"/>
                  <a:pt x="1885" y="599"/>
                  <a:pt x="1886" y="600"/>
                </a:cubicBezTo>
                <a:cubicBezTo>
                  <a:pt x="1886" y="601"/>
                  <a:pt x="1886" y="601"/>
                  <a:pt x="1886" y="601"/>
                </a:cubicBezTo>
                <a:cubicBezTo>
                  <a:pt x="1887" y="602"/>
                  <a:pt x="1887" y="601"/>
                  <a:pt x="1887" y="601"/>
                </a:cubicBezTo>
                <a:cubicBezTo>
                  <a:pt x="1888" y="602"/>
                  <a:pt x="1889" y="602"/>
                  <a:pt x="1890" y="603"/>
                </a:cubicBezTo>
                <a:cubicBezTo>
                  <a:pt x="1890" y="603"/>
                  <a:pt x="1891" y="603"/>
                  <a:pt x="1892" y="602"/>
                </a:cubicBezTo>
                <a:close/>
                <a:moveTo>
                  <a:pt x="1901" y="597"/>
                </a:moveTo>
                <a:cubicBezTo>
                  <a:pt x="1900" y="596"/>
                  <a:pt x="1900" y="596"/>
                  <a:pt x="1900" y="596"/>
                </a:cubicBezTo>
                <a:cubicBezTo>
                  <a:pt x="1899" y="596"/>
                  <a:pt x="1899" y="597"/>
                  <a:pt x="1899" y="598"/>
                </a:cubicBezTo>
                <a:cubicBezTo>
                  <a:pt x="1899" y="598"/>
                  <a:pt x="1899" y="599"/>
                  <a:pt x="1899" y="599"/>
                </a:cubicBezTo>
                <a:cubicBezTo>
                  <a:pt x="1900" y="599"/>
                  <a:pt x="1900" y="598"/>
                  <a:pt x="1900" y="598"/>
                </a:cubicBezTo>
                <a:cubicBezTo>
                  <a:pt x="1901" y="597"/>
                  <a:pt x="1901" y="597"/>
                  <a:pt x="1901" y="598"/>
                </a:cubicBezTo>
                <a:cubicBezTo>
                  <a:pt x="1902" y="598"/>
                  <a:pt x="1902" y="598"/>
                  <a:pt x="1903" y="598"/>
                </a:cubicBezTo>
                <a:cubicBezTo>
                  <a:pt x="1903" y="598"/>
                  <a:pt x="1902" y="597"/>
                  <a:pt x="1902" y="597"/>
                </a:cubicBezTo>
                <a:cubicBezTo>
                  <a:pt x="1901" y="597"/>
                  <a:pt x="1901" y="597"/>
                  <a:pt x="1901" y="597"/>
                </a:cubicBezTo>
                <a:close/>
                <a:moveTo>
                  <a:pt x="1892" y="549"/>
                </a:moveTo>
                <a:cubicBezTo>
                  <a:pt x="1892" y="549"/>
                  <a:pt x="1892" y="549"/>
                  <a:pt x="1892" y="549"/>
                </a:cubicBezTo>
                <a:cubicBezTo>
                  <a:pt x="1893" y="550"/>
                  <a:pt x="1893" y="549"/>
                  <a:pt x="1894" y="549"/>
                </a:cubicBezTo>
                <a:cubicBezTo>
                  <a:pt x="1894" y="549"/>
                  <a:pt x="1894" y="548"/>
                  <a:pt x="1894" y="547"/>
                </a:cubicBezTo>
                <a:cubicBezTo>
                  <a:pt x="1894" y="547"/>
                  <a:pt x="1893" y="547"/>
                  <a:pt x="1892" y="547"/>
                </a:cubicBezTo>
                <a:cubicBezTo>
                  <a:pt x="1892" y="547"/>
                  <a:pt x="1892" y="548"/>
                  <a:pt x="1892" y="548"/>
                </a:cubicBezTo>
                <a:cubicBezTo>
                  <a:pt x="1892" y="548"/>
                  <a:pt x="1892" y="548"/>
                  <a:pt x="1891" y="548"/>
                </a:cubicBezTo>
                <a:cubicBezTo>
                  <a:pt x="1891" y="549"/>
                  <a:pt x="1891" y="549"/>
                  <a:pt x="1892" y="549"/>
                </a:cubicBezTo>
                <a:cubicBezTo>
                  <a:pt x="1892" y="549"/>
                  <a:pt x="1892" y="549"/>
                  <a:pt x="1892" y="549"/>
                </a:cubicBezTo>
                <a:cubicBezTo>
                  <a:pt x="1892" y="549"/>
                  <a:pt x="1892" y="549"/>
                  <a:pt x="1892" y="549"/>
                </a:cubicBezTo>
                <a:close/>
                <a:moveTo>
                  <a:pt x="1820" y="520"/>
                </a:moveTo>
                <a:cubicBezTo>
                  <a:pt x="1820" y="519"/>
                  <a:pt x="1820" y="519"/>
                  <a:pt x="1820" y="519"/>
                </a:cubicBezTo>
                <a:cubicBezTo>
                  <a:pt x="1819" y="519"/>
                  <a:pt x="1819" y="518"/>
                  <a:pt x="1819" y="518"/>
                </a:cubicBezTo>
                <a:cubicBezTo>
                  <a:pt x="1818" y="518"/>
                  <a:pt x="1819" y="520"/>
                  <a:pt x="1819" y="520"/>
                </a:cubicBezTo>
                <a:cubicBezTo>
                  <a:pt x="1819" y="521"/>
                  <a:pt x="1819" y="521"/>
                  <a:pt x="1819" y="521"/>
                </a:cubicBezTo>
                <a:cubicBezTo>
                  <a:pt x="1819" y="522"/>
                  <a:pt x="1819" y="522"/>
                  <a:pt x="1820" y="522"/>
                </a:cubicBezTo>
                <a:cubicBezTo>
                  <a:pt x="1820" y="522"/>
                  <a:pt x="1820" y="521"/>
                  <a:pt x="1820" y="521"/>
                </a:cubicBezTo>
                <a:cubicBezTo>
                  <a:pt x="1820" y="520"/>
                  <a:pt x="1820" y="521"/>
                  <a:pt x="1820" y="520"/>
                </a:cubicBezTo>
                <a:close/>
                <a:moveTo>
                  <a:pt x="1884" y="585"/>
                </a:moveTo>
                <a:cubicBezTo>
                  <a:pt x="1884" y="586"/>
                  <a:pt x="1885" y="586"/>
                  <a:pt x="1885" y="586"/>
                </a:cubicBezTo>
                <a:cubicBezTo>
                  <a:pt x="1886" y="586"/>
                  <a:pt x="1886" y="587"/>
                  <a:pt x="1886" y="588"/>
                </a:cubicBezTo>
                <a:cubicBezTo>
                  <a:pt x="1887" y="588"/>
                  <a:pt x="1887" y="588"/>
                  <a:pt x="1887" y="589"/>
                </a:cubicBezTo>
                <a:cubicBezTo>
                  <a:pt x="1887" y="589"/>
                  <a:pt x="1887" y="590"/>
                  <a:pt x="1887" y="590"/>
                </a:cubicBezTo>
                <a:cubicBezTo>
                  <a:pt x="1887" y="590"/>
                  <a:pt x="1888" y="590"/>
                  <a:pt x="1888" y="591"/>
                </a:cubicBezTo>
                <a:cubicBezTo>
                  <a:pt x="1887" y="591"/>
                  <a:pt x="1887" y="591"/>
                  <a:pt x="1887" y="592"/>
                </a:cubicBezTo>
                <a:cubicBezTo>
                  <a:pt x="1887" y="593"/>
                  <a:pt x="1888" y="593"/>
                  <a:pt x="1889" y="593"/>
                </a:cubicBezTo>
                <a:cubicBezTo>
                  <a:pt x="1890" y="593"/>
                  <a:pt x="1890" y="594"/>
                  <a:pt x="1891" y="594"/>
                </a:cubicBezTo>
                <a:cubicBezTo>
                  <a:pt x="1892" y="594"/>
                  <a:pt x="1892" y="594"/>
                  <a:pt x="1893" y="594"/>
                </a:cubicBezTo>
                <a:cubicBezTo>
                  <a:pt x="1893" y="594"/>
                  <a:pt x="1894" y="594"/>
                  <a:pt x="1894" y="594"/>
                </a:cubicBezTo>
                <a:cubicBezTo>
                  <a:pt x="1895" y="595"/>
                  <a:pt x="1895" y="595"/>
                  <a:pt x="1894" y="595"/>
                </a:cubicBezTo>
                <a:cubicBezTo>
                  <a:pt x="1894" y="595"/>
                  <a:pt x="1892" y="596"/>
                  <a:pt x="1893" y="596"/>
                </a:cubicBezTo>
                <a:cubicBezTo>
                  <a:pt x="1894" y="596"/>
                  <a:pt x="1894" y="596"/>
                  <a:pt x="1894" y="597"/>
                </a:cubicBezTo>
                <a:cubicBezTo>
                  <a:pt x="1895" y="597"/>
                  <a:pt x="1895" y="597"/>
                  <a:pt x="1894" y="597"/>
                </a:cubicBezTo>
                <a:cubicBezTo>
                  <a:pt x="1894" y="598"/>
                  <a:pt x="1893" y="598"/>
                  <a:pt x="1893" y="598"/>
                </a:cubicBezTo>
                <a:cubicBezTo>
                  <a:pt x="1894" y="599"/>
                  <a:pt x="1894" y="599"/>
                  <a:pt x="1894" y="599"/>
                </a:cubicBezTo>
                <a:cubicBezTo>
                  <a:pt x="1895" y="600"/>
                  <a:pt x="1895" y="600"/>
                  <a:pt x="1895" y="600"/>
                </a:cubicBezTo>
                <a:cubicBezTo>
                  <a:pt x="1895" y="601"/>
                  <a:pt x="1895" y="601"/>
                  <a:pt x="1895" y="601"/>
                </a:cubicBezTo>
                <a:cubicBezTo>
                  <a:pt x="1895" y="602"/>
                  <a:pt x="1895" y="602"/>
                  <a:pt x="1895" y="603"/>
                </a:cubicBezTo>
                <a:cubicBezTo>
                  <a:pt x="1895" y="603"/>
                  <a:pt x="1896" y="603"/>
                  <a:pt x="1896" y="604"/>
                </a:cubicBezTo>
                <a:cubicBezTo>
                  <a:pt x="1896" y="604"/>
                  <a:pt x="1896" y="605"/>
                  <a:pt x="1896" y="604"/>
                </a:cubicBezTo>
                <a:cubicBezTo>
                  <a:pt x="1897" y="604"/>
                  <a:pt x="1897" y="603"/>
                  <a:pt x="1897" y="603"/>
                </a:cubicBezTo>
                <a:cubicBezTo>
                  <a:pt x="1897" y="602"/>
                  <a:pt x="1897" y="601"/>
                  <a:pt x="1898" y="601"/>
                </a:cubicBezTo>
                <a:cubicBezTo>
                  <a:pt x="1898" y="600"/>
                  <a:pt x="1899" y="600"/>
                  <a:pt x="1898" y="599"/>
                </a:cubicBezTo>
                <a:cubicBezTo>
                  <a:pt x="1897" y="599"/>
                  <a:pt x="1896" y="599"/>
                  <a:pt x="1896" y="598"/>
                </a:cubicBezTo>
                <a:cubicBezTo>
                  <a:pt x="1896" y="597"/>
                  <a:pt x="1897" y="597"/>
                  <a:pt x="1898" y="597"/>
                </a:cubicBezTo>
                <a:cubicBezTo>
                  <a:pt x="1898" y="596"/>
                  <a:pt x="1897" y="595"/>
                  <a:pt x="1898" y="594"/>
                </a:cubicBezTo>
                <a:cubicBezTo>
                  <a:pt x="1898" y="594"/>
                  <a:pt x="1898" y="594"/>
                  <a:pt x="1899" y="594"/>
                </a:cubicBezTo>
                <a:cubicBezTo>
                  <a:pt x="1899" y="594"/>
                  <a:pt x="1900" y="594"/>
                  <a:pt x="1900" y="593"/>
                </a:cubicBezTo>
                <a:cubicBezTo>
                  <a:pt x="1901" y="593"/>
                  <a:pt x="1902" y="593"/>
                  <a:pt x="1902" y="592"/>
                </a:cubicBezTo>
                <a:cubicBezTo>
                  <a:pt x="1902" y="592"/>
                  <a:pt x="1900" y="591"/>
                  <a:pt x="1900" y="591"/>
                </a:cubicBezTo>
                <a:cubicBezTo>
                  <a:pt x="1899" y="590"/>
                  <a:pt x="1898" y="590"/>
                  <a:pt x="1899" y="589"/>
                </a:cubicBezTo>
                <a:cubicBezTo>
                  <a:pt x="1899" y="589"/>
                  <a:pt x="1900" y="589"/>
                  <a:pt x="1901" y="588"/>
                </a:cubicBezTo>
                <a:cubicBezTo>
                  <a:pt x="1901" y="587"/>
                  <a:pt x="1901" y="587"/>
                  <a:pt x="1902" y="587"/>
                </a:cubicBezTo>
                <a:cubicBezTo>
                  <a:pt x="1903" y="587"/>
                  <a:pt x="1903" y="587"/>
                  <a:pt x="1903" y="586"/>
                </a:cubicBezTo>
                <a:cubicBezTo>
                  <a:pt x="1903" y="586"/>
                  <a:pt x="1903" y="586"/>
                  <a:pt x="1903" y="585"/>
                </a:cubicBezTo>
                <a:cubicBezTo>
                  <a:pt x="1903" y="585"/>
                  <a:pt x="1903" y="585"/>
                  <a:pt x="1903" y="584"/>
                </a:cubicBezTo>
                <a:cubicBezTo>
                  <a:pt x="1903" y="584"/>
                  <a:pt x="1903" y="583"/>
                  <a:pt x="1903" y="583"/>
                </a:cubicBezTo>
                <a:cubicBezTo>
                  <a:pt x="1903" y="582"/>
                  <a:pt x="1903" y="581"/>
                  <a:pt x="1903" y="581"/>
                </a:cubicBezTo>
                <a:cubicBezTo>
                  <a:pt x="1902" y="580"/>
                  <a:pt x="1901" y="580"/>
                  <a:pt x="1900" y="579"/>
                </a:cubicBezTo>
                <a:cubicBezTo>
                  <a:pt x="1900" y="579"/>
                  <a:pt x="1899" y="579"/>
                  <a:pt x="1898" y="580"/>
                </a:cubicBezTo>
                <a:cubicBezTo>
                  <a:pt x="1898" y="580"/>
                  <a:pt x="1897" y="580"/>
                  <a:pt x="1897" y="580"/>
                </a:cubicBezTo>
                <a:cubicBezTo>
                  <a:pt x="1897" y="580"/>
                  <a:pt x="1896" y="580"/>
                  <a:pt x="1896" y="581"/>
                </a:cubicBezTo>
                <a:cubicBezTo>
                  <a:pt x="1896" y="581"/>
                  <a:pt x="1896" y="581"/>
                  <a:pt x="1896" y="582"/>
                </a:cubicBezTo>
                <a:cubicBezTo>
                  <a:pt x="1897" y="582"/>
                  <a:pt x="1897" y="582"/>
                  <a:pt x="1897" y="583"/>
                </a:cubicBezTo>
                <a:cubicBezTo>
                  <a:pt x="1897" y="583"/>
                  <a:pt x="1897" y="583"/>
                  <a:pt x="1897" y="584"/>
                </a:cubicBezTo>
                <a:cubicBezTo>
                  <a:pt x="1897" y="584"/>
                  <a:pt x="1897" y="585"/>
                  <a:pt x="1897" y="585"/>
                </a:cubicBezTo>
                <a:cubicBezTo>
                  <a:pt x="1897" y="586"/>
                  <a:pt x="1897" y="587"/>
                  <a:pt x="1896" y="586"/>
                </a:cubicBezTo>
                <a:cubicBezTo>
                  <a:pt x="1896" y="586"/>
                  <a:pt x="1896" y="585"/>
                  <a:pt x="1897" y="585"/>
                </a:cubicBezTo>
                <a:cubicBezTo>
                  <a:pt x="1897" y="585"/>
                  <a:pt x="1897" y="584"/>
                  <a:pt x="1897" y="584"/>
                </a:cubicBezTo>
                <a:cubicBezTo>
                  <a:pt x="1897" y="583"/>
                  <a:pt x="1896" y="582"/>
                  <a:pt x="1896" y="582"/>
                </a:cubicBezTo>
                <a:cubicBezTo>
                  <a:pt x="1895" y="583"/>
                  <a:pt x="1895" y="583"/>
                  <a:pt x="1896" y="584"/>
                </a:cubicBezTo>
                <a:cubicBezTo>
                  <a:pt x="1896" y="584"/>
                  <a:pt x="1896" y="584"/>
                  <a:pt x="1895" y="585"/>
                </a:cubicBezTo>
                <a:cubicBezTo>
                  <a:pt x="1895" y="585"/>
                  <a:pt x="1895" y="585"/>
                  <a:pt x="1895" y="585"/>
                </a:cubicBezTo>
                <a:cubicBezTo>
                  <a:pt x="1895" y="586"/>
                  <a:pt x="1895" y="586"/>
                  <a:pt x="1894" y="586"/>
                </a:cubicBezTo>
                <a:cubicBezTo>
                  <a:pt x="1894" y="586"/>
                  <a:pt x="1894" y="586"/>
                  <a:pt x="1894" y="586"/>
                </a:cubicBezTo>
                <a:cubicBezTo>
                  <a:pt x="1894" y="586"/>
                  <a:pt x="1894" y="586"/>
                  <a:pt x="1893" y="585"/>
                </a:cubicBezTo>
                <a:cubicBezTo>
                  <a:pt x="1893" y="585"/>
                  <a:pt x="1893" y="585"/>
                  <a:pt x="1893" y="585"/>
                </a:cubicBezTo>
                <a:cubicBezTo>
                  <a:pt x="1893" y="584"/>
                  <a:pt x="1893" y="584"/>
                  <a:pt x="1893" y="583"/>
                </a:cubicBezTo>
                <a:cubicBezTo>
                  <a:pt x="1893" y="583"/>
                  <a:pt x="1893" y="583"/>
                  <a:pt x="1894" y="582"/>
                </a:cubicBezTo>
                <a:cubicBezTo>
                  <a:pt x="1894" y="582"/>
                  <a:pt x="1894" y="582"/>
                  <a:pt x="1894" y="581"/>
                </a:cubicBezTo>
                <a:cubicBezTo>
                  <a:pt x="1893" y="581"/>
                  <a:pt x="1893" y="582"/>
                  <a:pt x="1892" y="582"/>
                </a:cubicBezTo>
                <a:cubicBezTo>
                  <a:pt x="1891" y="582"/>
                  <a:pt x="1891" y="582"/>
                  <a:pt x="1890" y="581"/>
                </a:cubicBezTo>
                <a:cubicBezTo>
                  <a:pt x="1890" y="581"/>
                  <a:pt x="1889" y="581"/>
                  <a:pt x="1889" y="582"/>
                </a:cubicBezTo>
                <a:cubicBezTo>
                  <a:pt x="1889" y="582"/>
                  <a:pt x="1890" y="582"/>
                  <a:pt x="1890" y="582"/>
                </a:cubicBezTo>
                <a:cubicBezTo>
                  <a:pt x="1890" y="582"/>
                  <a:pt x="1891" y="583"/>
                  <a:pt x="1891" y="583"/>
                </a:cubicBezTo>
                <a:cubicBezTo>
                  <a:pt x="1891" y="584"/>
                  <a:pt x="1889" y="585"/>
                  <a:pt x="1889" y="585"/>
                </a:cubicBezTo>
                <a:cubicBezTo>
                  <a:pt x="1888" y="586"/>
                  <a:pt x="1888" y="586"/>
                  <a:pt x="1888" y="586"/>
                </a:cubicBezTo>
                <a:cubicBezTo>
                  <a:pt x="1887" y="586"/>
                  <a:pt x="1886" y="586"/>
                  <a:pt x="1885" y="585"/>
                </a:cubicBezTo>
                <a:cubicBezTo>
                  <a:pt x="1885" y="585"/>
                  <a:pt x="1884" y="585"/>
                  <a:pt x="1884" y="585"/>
                </a:cubicBezTo>
                <a:close/>
                <a:moveTo>
                  <a:pt x="1879" y="588"/>
                </a:moveTo>
                <a:cubicBezTo>
                  <a:pt x="1878" y="588"/>
                  <a:pt x="1877" y="588"/>
                  <a:pt x="1877" y="588"/>
                </a:cubicBezTo>
                <a:cubicBezTo>
                  <a:pt x="1876" y="588"/>
                  <a:pt x="1875" y="588"/>
                  <a:pt x="1874" y="588"/>
                </a:cubicBezTo>
                <a:cubicBezTo>
                  <a:pt x="1873" y="589"/>
                  <a:pt x="1873" y="589"/>
                  <a:pt x="1872" y="589"/>
                </a:cubicBezTo>
                <a:cubicBezTo>
                  <a:pt x="1872" y="589"/>
                  <a:pt x="1871" y="589"/>
                  <a:pt x="1870" y="589"/>
                </a:cubicBezTo>
                <a:cubicBezTo>
                  <a:pt x="1870" y="589"/>
                  <a:pt x="1871" y="590"/>
                  <a:pt x="1871" y="590"/>
                </a:cubicBezTo>
                <a:cubicBezTo>
                  <a:pt x="1872" y="591"/>
                  <a:pt x="1872" y="591"/>
                  <a:pt x="1873" y="592"/>
                </a:cubicBezTo>
                <a:cubicBezTo>
                  <a:pt x="1873" y="593"/>
                  <a:pt x="1873" y="593"/>
                  <a:pt x="1874" y="594"/>
                </a:cubicBezTo>
                <a:cubicBezTo>
                  <a:pt x="1874" y="595"/>
                  <a:pt x="1875" y="594"/>
                  <a:pt x="1876" y="595"/>
                </a:cubicBezTo>
                <a:cubicBezTo>
                  <a:pt x="1876" y="595"/>
                  <a:pt x="1877" y="596"/>
                  <a:pt x="1877" y="596"/>
                </a:cubicBezTo>
                <a:cubicBezTo>
                  <a:pt x="1878" y="597"/>
                  <a:pt x="1879" y="597"/>
                  <a:pt x="1880" y="597"/>
                </a:cubicBezTo>
                <a:cubicBezTo>
                  <a:pt x="1881" y="597"/>
                  <a:pt x="1881" y="596"/>
                  <a:pt x="1882" y="596"/>
                </a:cubicBezTo>
                <a:cubicBezTo>
                  <a:pt x="1883" y="595"/>
                  <a:pt x="1883" y="595"/>
                  <a:pt x="1883" y="594"/>
                </a:cubicBezTo>
                <a:cubicBezTo>
                  <a:pt x="1883" y="593"/>
                  <a:pt x="1883" y="592"/>
                  <a:pt x="1883" y="591"/>
                </a:cubicBezTo>
                <a:cubicBezTo>
                  <a:pt x="1882" y="591"/>
                  <a:pt x="1881" y="590"/>
                  <a:pt x="1882" y="590"/>
                </a:cubicBezTo>
                <a:cubicBezTo>
                  <a:pt x="1882" y="590"/>
                  <a:pt x="1883" y="590"/>
                  <a:pt x="1883" y="589"/>
                </a:cubicBezTo>
                <a:cubicBezTo>
                  <a:pt x="1883" y="589"/>
                  <a:pt x="1882" y="589"/>
                  <a:pt x="1882" y="589"/>
                </a:cubicBezTo>
                <a:cubicBezTo>
                  <a:pt x="1882" y="589"/>
                  <a:pt x="1882" y="589"/>
                  <a:pt x="1881" y="588"/>
                </a:cubicBezTo>
                <a:cubicBezTo>
                  <a:pt x="1881" y="588"/>
                  <a:pt x="1881" y="587"/>
                  <a:pt x="1881" y="587"/>
                </a:cubicBezTo>
                <a:cubicBezTo>
                  <a:pt x="1880" y="588"/>
                  <a:pt x="1880" y="588"/>
                  <a:pt x="1880" y="588"/>
                </a:cubicBezTo>
                <a:cubicBezTo>
                  <a:pt x="1880" y="589"/>
                  <a:pt x="1880" y="590"/>
                  <a:pt x="1879" y="590"/>
                </a:cubicBezTo>
                <a:cubicBezTo>
                  <a:pt x="1879" y="590"/>
                  <a:pt x="1879" y="589"/>
                  <a:pt x="1879" y="589"/>
                </a:cubicBezTo>
                <a:cubicBezTo>
                  <a:pt x="1879" y="589"/>
                  <a:pt x="1879" y="589"/>
                  <a:pt x="1879" y="589"/>
                </a:cubicBezTo>
                <a:cubicBezTo>
                  <a:pt x="1880" y="589"/>
                  <a:pt x="1879" y="588"/>
                  <a:pt x="1879" y="588"/>
                </a:cubicBezTo>
                <a:close/>
                <a:moveTo>
                  <a:pt x="1928" y="596"/>
                </a:moveTo>
                <a:cubicBezTo>
                  <a:pt x="1929" y="596"/>
                  <a:pt x="1929" y="596"/>
                  <a:pt x="1930" y="596"/>
                </a:cubicBezTo>
                <a:cubicBezTo>
                  <a:pt x="1930" y="597"/>
                  <a:pt x="1930" y="597"/>
                  <a:pt x="1931" y="597"/>
                </a:cubicBezTo>
                <a:cubicBezTo>
                  <a:pt x="1932" y="598"/>
                  <a:pt x="1931" y="596"/>
                  <a:pt x="1932" y="596"/>
                </a:cubicBezTo>
                <a:cubicBezTo>
                  <a:pt x="1932" y="595"/>
                  <a:pt x="1932" y="594"/>
                  <a:pt x="1931" y="594"/>
                </a:cubicBezTo>
                <a:cubicBezTo>
                  <a:pt x="1930" y="594"/>
                  <a:pt x="1930" y="593"/>
                  <a:pt x="1929" y="593"/>
                </a:cubicBezTo>
                <a:cubicBezTo>
                  <a:pt x="1929" y="593"/>
                  <a:pt x="1928" y="592"/>
                  <a:pt x="1928" y="593"/>
                </a:cubicBezTo>
                <a:cubicBezTo>
                  <a:pt x="1928" y="593"/>
                  <a:pt x="1928" y="593"/>
                  <a:pt x="1928" y="593"/>
                </a:cubicBezTo>
                <a:cubicBezTo>
                  <a:pt x="1928" y="594"/>
                  <a:pt x="1927" y="596"/>
                  <a:pt x="1928" y="596"/>
                </a:cubicBezTo>
                <a:close/>
                <a:moveTo>
                  <a:pt x="1882" y="601"/>
                </a:moveTo>
                <a:cubicBezTo>
                  <a:pt x="1882" y="601"/>
                  <a:pt x="1882" y="602"/>
                  <a:pt x="1882" y="602"/>
                </a:cubicBezTo>
                <a:cubicBezTo>
                  <a:pt x="1883" y="602"/>
                  <a:pt x="1883" y="601"/>
                  <a:pt x="1883" y="601"/>
                </a:cubicBezTo>
                <a:cubicBezTo>
                  <a:pt x="1883" y="600"/>
                  <a:pt x="1883" y="600"/>
                  <a:pt x="1883" y="599"/>
                </a:cubicBezTo>
                <a:cubicBezTo>
                  <a:pt x="1883" y="599"/>
                  <a:pt x="1883" y="599"/>
                  <a:pt x="1884" y="598"/>
                </a:cubicBezTo>
                <a:cubicBezTo>
                  <a:pt x="1884" y="597"/>
                  <a:pt x="1884" y="597"/>
                  <a:pt x="1884" y="596"/>
                </a:cubicBezTo>
                <a:cubicBezTo>
                  <a:pt x="1884" y="596"/>
                  <a:pt x="1885" y="595"/>
                  <a:pt x="1884" y="595"/>
                </a:cubicBezTo>
                <a:cubicBezTo>
                  <a:pt x="1884" y="594"/>
                  <a:pt x="1884" y="596"/>
                  <a:pt x="1884" y="596"/>
                </a:cubicBezTo>
                <a:cubicBezTo>
                  <a:pt x="1883" y="597"/>
                  <a:pt x="1883" y="597"/>
                  <a:pt x="1882" y="598"/>
                </a:cubicBezTo>
                <a:cubicBezTo>
                  <a:pt x="1882" y="598"/>
                  <a:pt x="1882" y="599"/>
                  <a:pt x="1882" y="599"/>
                </a:cubicBezTo>
                <a:cubicBezTo>
                  <a:pt x="1882" y="600"/>
                  <a:pt x="1881" y="600"/>
                  <a:pt x="1881" y="600"/>
                </a:cubicBezTo>
                <a:cubicBezTo>
                  <a:pt x="1881" y="601"/>
                  <a:pt x="1881" y="601"/>
                  <a:pt x="1882" y="601"/>
                </a:cubicBezTo>
                <a:close/>
                <a:moveTo>
                  <a:pt x="1949" y="577"/>
                </a:moveTo>
                <a:cubicBezTo>
                  <a:pt x="1949" y="577"/>
                  <a:pt x="1949" y="575"/>
                  <a:pt x="1949" y="575"/>
                </a:cubicBezTo>
                <a:cubicBezTo>
                  <a:pt x="1950" y="574"/>
                  <a:pt x="1950" y="573"/>
                  <a:pt x="1950" y="572"/>
                </a:cubicBezTo>
                <a:cubicBezTo>
                  <a:pt x="1951" y="571"/>
                  <a:pt x="1951" y="571"/>
                  <a:pt x="1951" y="570"/>
                </a:cubicBezTo>
                <a:cubicBezTo>
                  <a:pt x="1951" y="569"/>
                  <a:pt x="1952" y="569"/>
                  <a:pt x="1952" y="569"/>
                </a:cubicBezTo>
                <a:cubicBezTo>
                  <a:pt x="1952" y="568"/>
                  <a:pt x="1952" y="568"/>
                  <a:pt x="1952" y="567"/>
                </a:cubicBezTo>
                <a:cubicBezTo>
                  <a:pt x="1953" y="566"/>
                  <a:pt x="1954" y="565"/>
                  <a:pt x="1954" y="564"/>
                </a:cubicBezTo>
                <a:cubicBezTo>
                  <a:pt x="1954" y="563"/>
                  <a:pt x="1954" y="562"/>
                  <a:pt x="1955" y="561"/>
                </a:cubicBezTo>
                <a:cubicBezTo>
                  <a:pt x="1955" y="561"/>
                  <a:pt x="1955" y="559"/>
                  <a:pt x="1955" y="559"/>
                </a:cubicBezTo>
                <a:cubicBezTo>
                  <a:pt x="1954" y="558"/>
                  <a:pt x="1953" y="562"/>
                  <a:pt x="1953" y="563"/>
                </a:cubicBezTo>
                <a:cubicBezTo>
                  <a:pt x="1952" y="564"/>
                  <a:pt x="1951" y="565"/>
                  <a:pt x="1950" y="567"/>
                </a:cubicBezTo>
                <a:cubicBezTo>
                  <a:pt x="1950" y="567"/>
                  <a:pt x="1949" y="568"/>
                  <a:pt x="1949" y="568"/>
                </a:cubicBezTo>
                <a:cubicBezTo>
                  <a:pt x="1948" y="569"/>
                  <a:pt x="1948" y="569"/>
                  <a:pt x="1948" y="570"/>
                </a:cubicBezTo>
                <a:cubicBezTo>
                  <a:pt x="1947" y="571"/>
                  <a:pt x="1947" y="572"/>
                  <a:pt x="1947" y="572"/>
                </a:cubicBezTo>
                <a:cubicBezTo>
                  <a:pt x="1947" y="573"/>
                  <a:pt x="1947" y="574"/>
                  <a:pt x="1947" y="575"/>
                </a:cubicBezTo>
                <a:cubicBezTo>
                  <a:pt x="1948" y="575"/>
                  <a:pt x="1948" y="577"/>
                  <a:pt x="1949" y="577"/>
                </a:cubicBezTo>
                <a:close/>
                <a:moveTo>
                  <a:pt x="1880" y="584"/>
                </a:moveTo>
                <a:cubicBezTo>
                  <a:pt x="1880" y="586"/>
                  <a:pt x="1881" y="584"/>
                  <a:pt x="1881" y="584"/>
                </a:cubicBezTo>
                <a:cubicBezTo>
                  <a:pt x="1881" y="583"/>
                  <a:pt x="1882" y="584"/>
                  <a:pt x="1882" y="583"/>
                </a:cubicBezTo>
                <a:cubicBezTo>
                  <a:pt x="1882" y="582"/>
                  <a:pt x="1881" y="583"/>
                  <a:pt x="1881" y="582"/>
                </a:cubicBezTo>
                <a:cubicBezTo>
                  <a:pt x="1881" y="582"/>
                  <a:pt x="1881" y="582"/>
                  <a:pt x="1880" y="581"/>
                </a:cubicBezTo>
                <a:cubicBezTo>
                  <a:pt x="1880" y="580"/>
                  <a:pt x="1880" y="583"/>
                  <a:pt x="1880" y="583"/>
                </a:cubicBezTo>
                <a:cubicBezTo>
                  <a:pt x="1880" y="583"/>
                  <a:pt x="1880" y="584"/>
                  <a:pt x="1880" y="584"/>
                </a:cubicBezTo>
                <a:close/>
                <a:moveTo>
                  <a:pt x="1886" y="605"/>
                </a:moveTo>
                <a:cubicBezTo>
                  <a:pt x="1885" y="605"/>
                  <a:pt x="1886" y="605"/>
                  <a:pt x="1886" y="606"/>
                </a:cubicBezTo>
                <a:cubicBezTo>
                  <a:pt x="1887" y="606"/>
                  <a:pt x="1887" y="606"/>
                  <a:pt x="1887" y="606"/>
                </a:cubicBezTo>
                <a:cubicBezTo>
                  <a:pt x="1887" y="606"/>
                  <a:pt x="1887" y="607"/>
                  <a:pt x="1888" y="607"/>
                </a:cubicBezTo>
                <a:cubicBezTo>
                  <a:pt x="1888" y="606"/>
                  <a:pt x="1888" y="605"/>
                  <a:pt x="1887" y="605"/>
                </a:cubicBezTo>
                <a:cubicBezTo>
                  <a:pt x="1887" y="605"/>
                  <a:pt x="1887" y="605"/>
                  <a:pt x="1887" y="604"/>
                </a:cubicBezTo>
                <a:cubicBezTo>
                  <a:pt x="1887" y="604"/>
                  <a:pt x="1886" y="604"/>
                  <a:pt x="1886" y="605"/>
                </a:cubicBezTo>
                <a:close/>
                <a:moveTo>
                  <a:pt x="1927" y="748"/>
                </a:moveTo>
                <a:cubicBezTo>
                  <a:pt x="1927" y="748"/>
                  <a:pt x="1927" y="748"/>
                  <a:pt x="1927" y="749"/>
                </a:cubicBezTo>
                <a:cubicBezTo>
                  <a:pt x="1927" y="749"/>
                  <a:pt x="1927" y="749"/>
                  <a:pt x="1927" y="749"/>
                </a:cubicBezTo>
                <a:cubicBezTo>
                  <a:pt x="1927" y="750"/>
                  <a:pt x="1928" y="748"/>
                  <a:pt x="1927" y="748"/>
                </a:cubicBezTo>
                <a:close/>
                <a:moveTo>
                  <a:pt x="1864" y="778"/>
                </a:moveTo>
                <a:cubicBezTo>
                  <a:pt x="1864" y="778"/>
                  <a:pt x="1863" y="778"/>
                  <a:pt x="1862" y="779"/>
                </a:cubicBezTo>
                <a:cubicBezTo>
                  <a:pt x="1861" y="779"/>
                  <a:pt x="1861" y="780"/>
                  <a:pt x="1860" y="780"/>
                </a:cubicBezTo>
                <a:cubicBezTo>
                  <a:pt x="1860" y="781"/>
                  <a:pt x="1859" y="781"/>
                  <a:pt x="1859" y="782"/>
                </a:cubicBezTo>
                <a:cubicBezTo>
                  <a:pt x="1858" y="782"/>
                  <a:pt x="1857" y="783"/>
                  <a:pt x="1857" y="783"/>
                </a:cubicBezTo>
                <a:cubicBezTo>
                  <a:pt x="1857" y="784"/>
                  <a:pt x="1858" y="785"/>
                  <a:pt x="1858" y="786"/>
                </a:cubicBezTo>
                <a:cubicBezTo>
                  <a:pt x="1858" y="787"/>
                  <a:pt x="1858" y="787"/>
                  <a:pt x="1858" y="788"/>
                </a:cubicBezTo>
                <a:cubicBezTo>
                  <a:pt x="1858" y="789"/>
                  <a:pt x="1859" y="788"/>
                  <a:pt x="1860" y="789"/>
                </a:cubicBezTo>
                <a:cubicBezTo>
                  <a:pt x="1860" y="790"/>
                  <a:pt x="1859" y="791"/>
                  <a:pt x="1859" y="791"/>
                </a:cubicBezTo>
                <a:cubicBezTo>
                  <a:pt x="1858" y="792"/>
                  <a:pt x="1859" y="792"/>
                  <a:pt x="1860" y="792"/>
                </a:cubicBezTo>
                <a:cubicBezTo>
                  <a:pt x="1860" y="792"/>
                  <a:pt x="1860" y="793"/>
                  <a:pt x="1860" y="793"/>
                </a:cubicBezTo>
                <a:cubicBezTo>
                  <a:pt x="1860" y="794"/>
                  <a:pt x="1860" y="794"/>
                  <a:pt x="1861" y="794"/>
                </a:cubicBezTo>
                <a:cubicBezTo>
                  <a:pt x="1861" y="795"/>
                  <a:pt x="1861" y="795"/>
                  <a:pt x="1862" y="795"/>
                </a:cubicBezTo>
                <a:cubicBezTo>
                  <a:pt x="1863" y="795"/>
                  <a:pt x="1863" y="796"/>
                  <a:pt x="1863" y="796"/>
                </a:cubicBezTo>
                <a:cubicBezTo>
                  <a:pt x="1863" y="796"/>
                  <a:pt x="1864" y="796"/>
                  <a:pt x="1864" y="796"/>
                </a:cubicBezTo>
                <a:cubicBezTo>
                  <a:pt x="1864" y="796"/>
                  <a:pt x="1864" y="797"/>
                  <a:pt x="1865" y="797"/>
                </a:cubicBezTo>
                <a:cubicBezTo>
                  <a:pt x="1865" y="797"/>
                  <a:pt x="1865" y="796"/>
                  <a:pt x="1865" y="796"/>
                </a:cubicBezTo>
                <a:cubicBezTo>
                  <a:pt x="1865" y="795"/>
                  <a:pt x="1865" y="795"/>
                  <a:pt x="1866" y="794"/>
                </a:cubicBezTo>
                <a:cubicBezTo>
                  <a:pt x="1866" y="793"/>
                  <a:pt x="1866" y="792"/>
                  <a:pt x="1867" y="792"/>
                </a:cubicBezTo>
                <a:cubicBezTo>
                  <a:pt x="1867" y="791"/>
                  <a:pt x="1867" y="790"/>
                  <a:pt x="1867" y="790"/>
                </a:cubicBezTo>
                <a:cubicBezTo>
                  <a:pt x="1867" y="789"/>
                  <a:pt x="1867" y="789"/>
                  <a:pt x="1868" y="789"/>
                </a:cubicBezTo>
                <a:cubicBezTo>
                  <a:pt x="1868" y="788"/>
                  <a:pt x="1868" y="788"/>
                  <a:pt x="1868" y="787"/>
                </a:cubicBezTo>
                <a:cubicBezTo>
                  <a:pt x="1868" y="787"/>
                  <a:pt x="1868" y="786"/>
                  <a:pt x="1869" y="785"/>
                </a:cubicBezTo>
                <a:cubicBezTo>
                  <a:pt x="1869" y="785"/>
                  <a:pt x="1869" y="784"/>
                  <a:pt x="1869" y="784"/>
                </a:cubicBezTo>
                <a:cubicBezTo>
                  <a:pt x="1869" y="783"/>
                  <a:pt x="1869" y="782"/>
                  <a:pt x="1869" y="781"/>
                </a:cubicBezTo>
                <a:cubicBezTo>
                  <a:pt x="1869" y="780"/>
                  <a:pt x="1869" y="780"/>
                  <a:pt x="1869" y="779"/>
                </a:cubicBezTo>
                <a:cubicBezTo>
                  <a:pt x="1869" y="778"/>
                  <a:pt x="1869" y="778"/>
                  <a:pt x="1869" y="778"/>
                </a:cubicBezTo>
                <a:cubicBezTo>
                  <a:pt x="1869" y="777"/>
                  <a:pt x="1868" y="777"/>
                  <a:pt x="1868" y="776"/>
                </a:cubicBezTo>
                <a:cubicBezTo>
                  <a:pt x="1868" y="776"/>
                  <a:pt x="1868" y="775"/>
                  <a:pt x="1867" y="774"/>
                </a:cubicBezTo>
                <a:cubicBezTo>
                  <a:pt x="1867" y="774"/>
                  <a:pt x="1867" y="774"/>
                  <a:pt x="1867" y="774"/>
                </a:cubicBezTo>
                <a:cubicBezTo>
                  <a:pt x="1867" y="774"/>
                  <a:pt x="1867" y="773"/>
                  <a:pt x="1867" y="774"/>
                </a:cubicBezTo>
                <a:cubicBezTo>
                  <a:pt x="1866" y="774"/>
                  <a:pt x="1866" y="774"/>
                  <a:pt x="1866" y="775"/>
                </a:cubicBezTo>
                <a:cubicBezTo>
                  <a:pt x="1866" y="776"/>
                  <a:pt x="1867" y="777"/>
                  <a:pt x="1866" y="777"/>
                </a:cubicBezTo>
                <a:cubicBezTo>
                  <a:pt x="1866" y="778"/>
                  <a:pt x="1865" y="778"/>
                  <a:pt x="1864" y="778"/>
                </a:cubicBezTo>
                <a:close/>
                <a:moveTo>
                  <a:pt x="1875" y="777"/>
                </a:moveTo>
                <a:cubicBezTo>
                  <a:pt x="1876" y="777"/>
                  <a:pt x="1876" y="778"/>
                  <a:pt x="1877" y="778"/>
                </a:cubicBezTo>
                <a:cubicBezTo>
                  <a:pt x="1877" y="778"/>
                  <a:pt x="1877" y="778"/>
                  <a:pt x="1878" y="778"/>
                </a:cubicBezTo>
                <a:cubicBezTo>
                  <a:pt x="1878" y="778"/>
                  <a:pt x="1878" y="779"/>
                  <a:pt x="1879" y="778"/>
                </a:cubicBezTo>
                <a:cubicBezTo>
                  <a:pt x="1879" y="778"/>
                  <a:pt x="1879" y="778"/>
                  <a:pt x="1879" y="777"/>
                </a:cubicBezTo>
                <a:cubicBezTo>
                  <a:pt x="1879" y="777"/>
                  <a:pt x="1879" y="776"/>
                  <a:pt x="1879" y="776"/>
                </a:cubicBezTo>
                <a:cubicBezTo>
                  <a:pt x="1878" y="776"/>
                  <a:pt x="1878" y="776"/>
                  <a:pt x="1878" y="777"/>
                </a:cubicBezTo>
                <a:cubicBezTo>
                  <a:pt x="1877" y="777"/>
                  <a:pt x="1876" y="776"/>
                  <a:pt x="1875" y="777"/>
                </a:cubicBezTo>
                <a:cubicBezTo>
                  <a:pt x="1875" y="777"/>
                  <a:pt x="1875" y="777"/>
                  <a:pt x="1875" y="777"/>
                </a:cubicBezTo>
                <a:close/>
                <a:moveTo>
                  <a:pt x="1897" y="858"/>
                </a:moveTo>
                <a:cubicBezTo>
                  <a:pt x="1897" y="857"/>
                  <a:pt x="1896" y="857"/>
                  <a:pt x="1896" y="857"/>
                </a:cubicBezTo>
                <a:cubicBezTo>
                  <a:pt x="1896" y="857"/>
                  <a:pt x="1896" y="857"/>
                  <a:pt x="1896" y="857"/>
                </a:cubicBezTo>
                <a:cubicBezTo>
                  <a:pt x="1896" y="857"/>
                  <a:pt x="1896" y="858"/>
                  <a:pt x="1896" y="858"/>
                </a:cubicBezTo>
                <a:cubicBezTo>
                  <a:pt x="1896" y="858"/>
                  <a:pt x="1897" y="858"/>
                  <a:pt x="1897" y="858"/>
                </a:cubicBezTo>
                <a:close/>
                <a:moveTo>
                  <a:pt x="1852" y="807"/>
                </a:moveTo>
                <a:cubicBezTo>
                  <a:pt x="1853" y="808"/>
                  <a:pt x="1853" y="807"/>
                  <a:pt x="1854" y="807"/>
                </a:cubicBezTo>
                <a:cubicBezTo>
                  <a:pt x="1854" y="807"/>
                  <a:pt x="1855" y="807"/>
                  <a:pt x="1855" y="808"/>
                </a:cubicBezTo>
                <a:cubicBezTo>
                  <a:pt x="1855" y="808"/>
                  <a:pt x="1855" y="809"/>
                  <a:pt x="1855" y="809"/>
                </a:cubicBezTo>
                <a:cubicBezTo>
                  <a:pt x="1856" y="810"/>
                  <a:pt x="1856" y="810"/>
                  <a:pt x="1856" y="811"/>
                </a:cubicBezTo>
                <a:cubicBezTo>
                  <a:pt x="1857" y="812"/>
                  <a:pt x="1856" y="813"/>
                  <a:pt x="1855" y="814"/>
                </a:cubicBezTo>
                <a:cubicBezTo>
                  <a:pt x="1855" y="815"/>
                  <a:pt x="1856" y="815"/>
                  <a:pt x="1856" y="816"/>
                </a:cubicBezTo>
                <a:cubicBezTo>
                  <a:pt x="1856" y="816"/>
                  <a:pt x="1856" y="817"/>
                  <a:pt x="1856" y="817"/>
                </a:cubicBezTo>
                <a:cubicBezTo>
                  <a:pt x="1856" y="817"/>
                  <a:pt x="1856" y="818"/>
                  <a:pt x="1857" y="818"/>
                </a:cubicBezTo>
                <a:cubicBezTo>
                  <a:pt x="1858" y="819"/>
                  <a:pt x="1857" y="820"/>
                  <a:pt x="1856" y="821"/>
                </a:cubicBezTo>
                <a:cubicBezTo>
                  <a:pt x="1856" y="822"/>
                  <a:pt x="1855" y="822"/>
                  <a:pt x="1855" y="823"/>
                </a:cubicBezTo>
                <a:cubicBezTo>
                  <a:pt x="1855" y="823"/>
                  <a:pt x="1855" y="824"/>
                  <a:pt x="1855" y="825"/>
                </a:cubicBezTo>
                <a:cubicBezTo>
                  <a:pt x="1855" y="826"/>
                  <a:pt x="1854" y="827"/>
                  <a:pt x="1856" y="827"/>
                </a:cubicBezTo>
                <a:cubicBezTo>
                  <a:pt x="1856" y="828"/>
                  <a:pt x="1857" y="828"/>
                  <a:pt x="1857" y="828"/>
                </a:cubicBezTo>
                <a:cubicBezTo>
                  <a:pt x="1857" y="829"/>
                  <a:pt x="1858" y="829"/>
                  <a:pt x="1858" y="829"/>
                </a:cubicBezTo>
                <a:cubicBezTo>
                  <a:pt x="1860" y="831"/>
                  <a:pt x="1861" y="830"/>
                  <a:pt x="1862" y="828"/>
                </a:cubicBezTo>
                <a:cubicBezTo>
                  <a:pt x="1863" y="827"/>
                  <a:pt x="1862" y="827"/>
                  <a:pt x="1863" y="826"/>
                </a:cubicBezTo>
                <a:cubicBezTo>
                  <a:pt x="1863" y="825"/>
                  <a:pt x="1865" y="826"/>
                  <a:pt x="1866" y="826"/>
                </a:cubicBezTo>
                <a:cubicBezTo>
                  <a:pt x="1867" y="826"/>
                  <a:pt x="1867" y="826"/>
                  <a:pt x="1867" y="827"/>
                </a:cubicBezTo>
                <a:cubicBezTo>
                  <a:pt x="1868" y="827"/>
                  <a:pt x="1868" y="827"/>
                  <a:pt x="1868" y="827"/>
                </a:cubicBezTo>
                <a:cubicBezTo>
                  <a:pt x="1869" y="826"/>
                  <a:pt x="1869" y="825"/>
                  <a:pt x="1869" y="825"/>
                </a:cubicBezTo>
                <a:cubicBezTo>
                  <a:pt x="1869" y="824"/>
                  <a:pt x="1869" y="824"/>
                  <a:pt x="1869" y="823"/>
                </a:cubicBezTo>
                <a:cubicBezTo>
                  <a:pt x="1869" y="822"/>
                  <a:pt x="1870" y="821"/>
                  <a:pt x="1870" y="820"/>
                </a:cubicBezTo>
                <a:cubicBezTo>
                  <a:pt x="1870" y="819"/>
                  <a:pt x="1870" y="819"/>
                  <a:pt x="1870" y="818"/>
                </a:cubicBezTo>
                <a:cubicBezTo>
                  <a:pt x="1871" y="818"/>
                  <a:pt x="1871" y="817"/>
                  <a:pt x="1871" y="816"/>
                </a:cubicBezTo>
                <a:cubicBezTo>
                  <a:pt x="1871" y="816"/>
                  <a:pt x="1870" y="815"/>
                  <a:pt x="1871" y="814"/>
                </a:cubicBezTo>
                <a:cubicBezTo>
                  <a:pt x="1871" y="814"/>
                  <a:pt x="1871" y="813"/>
                  <a:pt x="1871" y="813"/>
                </a:cubicBezTo>
                <a:cubicBezTo>
                  <a:pt x="1871" y="812"/>
                  <a:pt x="1871" y="811"/>
                  <a:pt x="1872" y="811"/>
                </a:cubicBezTo>
                <a:cubicBezTo>
                  <a:pt x="1872" y="810"/>
                  <a:pt x="1872" y="810"/>
                  <a:pt x="1872" y="809"/>
                </a:cubicBezTo>
                <a:cubicBezTo>
                  <a:pt x="1872" y="808"/>
                  <a:pt x="1872" y="807"/>
                  <a:pt x="1871" y="806"/>
                </a:cubicBezTo>
                <a:cubicBezTo>
                  <a:pt x="1871" y="805"/>
                  <a:pt x="1871" y="804"/>
                  <a:pt x="1870" y="803"/>
                </a:cubicBezTo>
                <a:cubicBezTo>
                  <a:pt x="1869" y="803"/>
                  <a:pt x="1868" y="803"/>
                  <a:pt x="1868" y="802"/>
                </a:cubicBezTo>
                <a:cubicBezTo>
                  <a:pt x="1868" y="802"/>
                  <a:pt x="1869" y="801"/>
                  <a:pt x="1869" y="801"/>
                </a:cubicBezTo>
                <a:cubicBezTo>
                  <a:pt x="1869" y="799"/>
                  <a:pt x="1867" y="800"/>
                  <a:pt x="1866" y="799"/>
                </a:cubicBezTo>
                <a:cubicBezTo>
                  <a:pt x="1866" y="799"/>
                  <a:pt x="1866" y="798"/>
                  <a:pt x="1865" y="798"/>
                </a:cubicBezTo>
                <a:cubicBezTo>
                  <a:pt x="1865" y="798"/>
                  <a:pt x="1864" y="799"/>
                  <a:pt x="1864" y="799"/>
                </a:cubicBezTo>
                <a:cubicBezTo>
                  <a:pt x="1863" y="800"/>
                  <a:pt x="1862" y="800"/>
                  <a:pt x="1861" y="801"/>
                </a:cubicBezTo>
                <a:cubicBezTo>
                  <a:pt x="1860" y="802"/>
                  <a:pt x="1860" y="803"/>
                  <a:pt x="1859" y="804"/>
                </a:cubicBezTo>
                <a:cubicBezTo>
                  <a:pt x="1858" y="804"/>
                  <a:pt x="1857" y="804"/>
                  <a:pt x="1857" y="804"/>
                </a:cubicBezTo>
                <a:cubicBezTo>
                  <a:pt x="1856" y="803"/>
                  <a:pt x="1856" y="804"/>
                  <a:pt x="1855" y="803"/>
                </a:cubicBezTo>
                <a:cubicBezTo>
                  <a:pt x="1854" y="803"/>
                  <a:pt x="1854" y="802"/>
                  <a:pt x="1854" y="802"/>
                </a:cubicBezTo>
                <a:cubicBezTo>
                  <a:pt x="1853" y="802"/>
                  <a:pt x="1853" y="803"/>
                  <a:pt x="1853" y="803"/>
                </a:cubicBezTo>
                <a:cubicBezTo>
                  <a:pt x="1853" y="804"/>
                  <a:pt x="1853" y="805"/>
                  <a:pt x="1853" y="805"/>
                </a:cubicBezTo>
                <a:cubicBezTo>
                  <a:pt x="1853" y="806"/>
                  <a:pt x="1852" y="806"/>
                  <a:pt x="1852" y="807"/>
                </a:cubicBezTo>
                <a:close/>
                <a:moveTo>
                  <a:pt x="1796" y="816"/>
                </a:moveTo>
                <a:cubicBezTo>
                  <a:pt x="1796" y="815"/>
                  <a:pt x="1796" y="815"/>
                  <a:pt x="1795" y="815"/>
                </a:cubicBezTo>
                <a:cubicBezTo>
                  <a:pt x="1794" y="816"/>
                  <a:pt x="1794" y="816"/>
                  <a:pt x="1793" y="816"/>
                </a:cubicBezTo>
                <a:cubicBezTo>
                  <a:pt x="1792" y="817"/>
                  <a:pt x="1792" y="817"/>
                  <a:pt x="1791" y="818"/>
                </a:cubicBezTo>
                <a:cubicBezTo>
                  <a:pt x="1790" y="819"/>
                  <a:pt x="1789" y="819"/>
                  <a:pt x="1788" y="820"/>
                </a:cubicBezTo>
                <a:cubicBezTo>
                  <a:pt x="1787" y="820"/>
                  <a:pt x="1786" y="821"/>
                  <a:pt x="1788" y="821"/>
                </a:cubicBezTo>
                <a:cubicBezTo>
                  <a:pt x="1788" y="822"/>
                  <a:pt x="1789" y="821"/>
                  <a:pt x="1790" y="821"/>
                </a:cubicBezTo>
                <a:cubicBezTo>
                  <a:pt x="1791" y="822"/>
                  <a:pt x="1791" y="823"/>
                  <a:pt x="1791" y="823"/>
                </a:cubicBezTo>
                <a:cubicBezTo>
                  <a:pt x="1792" y="824"/>
                  <a:pt x="1792" y="824"/>
                  <a:pt x="1792" y="824"/>
                </a:cubicBezTo>
                <a:cubicBezTo>
                  <a:pt x="1793" y="824"/>
                  <a:pt x="1793" y="824"/>
                  <a:pt x="1793" y="825"/>
                </a:cubicBezTo>
                <a:cubicBezTo>
                  <a:pt x="1794" y="825"/>
                  <a:pt x="1795" y="825"/>
                  <a:pt x="1795" y="824"/>
                </a:cubicBezTo>
                <a:cubicBezTo>
                  <a:pt x="1796" y="824"/>
                  <a:pt x="1797" y="824"/>
                  <a:pt x="1797" y="823"/>
                </a:cubicBezTo>
                <a:cubicBezTo>
                  <a:pt x="1798" y="822"/>
                  <a:pt x="1798" y="821"/>
                  <a:pt x="1799" y="821"/>
                </a:cubicBezTo>
                <a:cubicBezTo>
                  <a:pt x="1800" y="820"/>
                  <a:pt x="1800" y="819"/>
                  <a:pt x="1799" y="818"/>
                </a:cubicBezTo>
                <a:cubicBezTo>
                  <a:pt x="1799" y="818"/>
                  <a:pt x="1798" y="818"/>
                  <a:pt x="1797" y="818"/>
                </a:cubicBezTo>
                <a:cubicBezTo>
                  <a:pt x="1796" y="818"/>
                  <a:pt x="1796" y="818"/>
                  <a:pt x="1796" y="818"/>
                </a:cubicBezTo>
                <a:cubicBezTo>
                  <a:pt x="1796" y="817"/>
                  <a:pt x="1796" y="817"/>
                  <a:pt x="1796" y="816"/>
                </a:cubicBezTo>
                <a:cubicBezTo>
                  <a:pt x="1796" y="816"/>
                  <a:pt x="1797" y="816"/>
                  <a:pt x="1796" y="816"/>
                </a:cubicBezTo>
                <a:close/>
                <a:moveTo>
                  <a:pt x="1805" y="816"/>
                </a:moveTo>
                <a:cubicBezTo>
                  <a:pt x="1806" y="816"/>
                  <a:pt x="1806" y="816"/>
                  <a:pt x="1806" y="816"/>
                </a:cubicBezTo>
                <a:cubicBezTo>
                  <a:pt x="1807" y="816"/>
                  <a:pt x="1807" y="817"/>
                  <a:pt x="1808" y="818"/>
                </a:cubicBezTo>
                <a:cubicBezTo>
                  <a:pt x="1808" y="818"/>
                  <a:pt x="1809" y="817"/>
                  <a:pt x="1809" y="817"/>
                </a:cubicBezTo>
                <a:cubicBezTo>
                  <a:pt x="1809" y="816"/>
                  <a:pt x="1809" y="816"/>
                  <a:pt x="1809" y="816"/>
                </a:cubicBezTo>
                <a:cubicBezTo>
                  <a:pt x="1809" y="815"/>
                  <a:pt x="1808" y="815"/>
                  <a:pt x="1808" y="815"/>
                </a:cubicBezTo>
                <a:cubicBezTo>
                  <a:pt x="1808" y="815"/>
                  <a:pt x="1808" y="814"/>
                  <a:pt x="1808" y="814"/>
                </a:cubicBezTo>
                <a:cubicBezTo>
                  <a:pt x="1807" y="814"/>
                  <a:pt x="1807" y="814"/>
                  <a:pt x="1806" y="814"/>
                </a:cubicBezTo>
                <a:cubicBezTo>
                  <a:pt x="1806" y="814"/>
                  <a:pt x="1805" y="814"/>
                  <a:pt x="1804" y="814"/>
                </a:cubicBezTo>
                <a:cubicBezTo>
                  <a:pt x="1804" y="814"/>
                  <a:pt x="1803" y="814"/>
                  <a:pt x="1803" y="815"/>
                </a:cubicBezTo>
                <a:cubicBezTo>
                  <a:pt x="1803" y="815"/>
                  <a:pt x="1804" y="815"/>
                  <a:pt x="1805" y="816"/>
                </a:cubicBezTo>
                <a:cubicBezTo>
                  <a:pt x="1805" y="816"/>
                  <a:pt x="1805" y="816"/>
                  <a:pt x="1805" y="816"/>
                </a:cubicBezTo>
                <a:close/>
                <a:moveTo>
                  <a:pt x="1995" y="842"/>
                </a:moveTo>
                <a:cubicBezTo>
                  <a:pt x="1995" y="842"/>
                  <a:pt x="1997" y="845"/>
                  <a:pt x="1997" y="845"/>
                </a:cubicBezTo>
                <a:cubicBezTo>
                  <a:pt x="1997" y="845"/>
                  <a:pt x="1997" y="846"/>
                  <a:pt x="1997" y="846"/>
                </a:cubicBezTo>
                <a:cubicBezTo>
                  <a:pt x="1997" y="847"/>
                  <a:pt x="1997" y="846"/>
                  <a:pt x="1998" y="846"/>
                </a:cubicBezTo>
                <a:cubicBezTo>
                  <a:pt x="1998" y="846"/>
                  <a:pt x="1998" y="846"/>
                  <a:pt x="1999" y="846"/>
                </a:cubicBezTo>
                <a:cubicBezTo>
                  <a:pt x="1999" y="846"/>
                  <a:pt x="1999" y="845"/>
                  <a:pt x="1999" y="845"/>
                </a:cubicBezTo>
                <a:cubicBezTo>
                  <a:pt x="1999" y="845"/>
                  <a:pt x="1998" y="845"/>
                  <a:pt x="1998" y="845"/>
                </a:cubicBezTo>
                <a:cubicBezTo>
                  <a:pt x="1997" y="845"/>
                  <a:pt x="1997" y="844"/>
                  <a:pt x="1997" y="844"/>
                </a:cubicBezTo>
                <a:cubicBezTo>
                  <a:pt x="1997" y="844"/>
                  <a:pt x="1996" y="844"/>
                  <a:pt x="1996" y="843"/>
                </a:cubicBezTo>
                <a:cubicBezTo>
                  <a:pt x="1996" y="843"/>
                  <a:pt x="1996" y="842"/>
                  <a:pt x="1995" y="842"/>
                </a:cubicBezTo>
                <a:close/>
                <a:moveTo>
                  <a:pt x="1775" y="830"/>
                </a:moveTo>
                <a:cubicBezTo>
                  <a:pt x="1776" y="832"/>
                  <a:pt x="1776" y="830"/>
                  <a:pt x="1777" y="830"/>
                </a:cubicBezTo>
                <a:cubicBezTo>
                  <a:pt x="1777" y="829"/>
                  <a:pt x="1778" y="829"/>
                  <a:pt x="1778" y="828"/>
                </a:cubicBezTo>
                <a:cubicBezTo>
                  <a:pt x="1778" y="828"/>
                  <a:pt x="1779" y="828"/>
                  <a:pt x="1779" y="827"/>
                </a:cubicBezTo>
                <a:cubicBezTo>
                  <a:pt x="1778" y="827"/>
                  <a:pt x="1778" y="827"/>
                  <a:pt x="1778" y="827"/>
                </a:cubicBezTo>
                <a:cubicBezTo>
                  <a:pt x="1777" y="827"/>
                  <a:pt x="1777" y="827"/>
                  <a:pt x="1777" y="826"/>
                </a:cubicBezTo>
                <a:cubicBezTo>
                  <a:pt x="1776" y="826"/>
                  <a:pt x="1776" y="827"/>
                  <a:pt x="1776" y="828"/>
                </a:cubicBezTo>
                <a:cubicBezTo>
                  <a:pt x="1775" y="828"/>
                  <a:pt x="1774" y="828"/>
                  <a:pt x="1774" y="828"/>
                </a:cubicBezTo>
                <a:cubicBezTo>
                  <a:pt x="1774" y="829"/>
                  <a:pt x="1774" y="829"/>
                  <a:pt x="1775" y="829"/>
                </a:cubicBezTo>
                <a:cubicBezTo>
                  <a:pt x="1775" y="830"/>
                  <a:pt x="1775" y="830"/>
                  <a:pt x="1775" y="830"/>
                </a:cubicBezTo>
                <a:close/>
                <a:moveTo>
                  <a:pt x="1996" y="839"/>
                </a:moveTo>
                <a:cubicBezTo>
                  <a:pt x="1996" y="839"/>
                  <a:pt x="1996" y="838"/>
                  <a:pt x="1996" y="838"/>
                </a:cubicBezTo>
                <a:cubicBezTo>
                  <a:pt x="1996" y="837"/>
                  <a:pt x="1995" y="837"/>
                  <a:pt x="1995" y="837"/>
                </a:cubicBezTo>
                <a:cubicBezTo>
                  <a:pt x="1995" y="836"/>
                  <a:pt x="1995" y="836"/>
                  <a:pt x="1995" y="836"/>
                </a:cubicBezTo>
                <a:cubicBezTo>
                  <a:pt x="1995" y="835"/>
                  <a:pt x="1994" y="835"/>
                  <a:pt x="1994" y="836"/>
                </a:cubicBezTo>
                <a:cubicBezTo>
                  <a:pt x="1994" y="836"/>
                  <a:pt x="1994" y="837"/>
                  <a:pt x="1993" y="837"/>
                </a:cubicBezTo>
                <a:cubicBezTo>
                  <a:pt x="1993" y="837"/>
                  <a:pt x="1993" y="838"/>
                  <a:pt x="1993" y="838"/>
                </a:cubicBezTo>
                <a:cubicBezTo>
                  <a:pt x="1993" y="838"/>
                  <a:pt x="1991" y="838"/>
                  <a:pt x="1992" y="839"/>
                </a:cubicBezTo>
                <a:cubicBezTo>
                  <a:pt x="1992" y="840"/>
                  <a:pt x="1993" y="838"/>
                  <a:pt x="1993" y="839"/>
                </a:cubicBezTo>
                <a:cubicBezTo>
                  <a:pt x="1994" y="840"/>
                  <a:pt x="1993" y="840"/>
                  <a:pt x="1994" y="840"/>
                </a:cubicBezTo>
                <a:cubicBezTo>
                  <a:pt x="1994" y="840"/>
                  <a:pt x="1995" y="840"/>
                  <a:pt x="1995" y="840"/>
                </a:cubicBezTo>
                <a:cubicBezTo>
                  <a:pt x="1996" y="840"/>
                  <a:pt x="1996" y="840"/>
                  <a:pt x="1996" y="841"/>
                </a:cubicBezTo>
                <a:cubicBezTo>
                  <a:pt x="1996" y="841"/>
                  <a:pt x="1997" y="841"/>
                  <a:pt x="1997" y="841"/>
                </a:cubicBezTo>
                <a:cubicBezTo>
                  <a:pt x="1997" y="841"/>
                  <a:pt x="1997" y="840"/>
                  <a:pt x="1996" y="840"/>
                </a:cubicBezTo>
                <a:cubicBezTo>
                  <a:pt x="1996" y="840"/>
                  <a:pt x="1996" y="839"/>
                  <a:pt x="1996" y="839"/>
                </a:cubicBezTo>
                <a:close/>
                <a:moveTo>
                  <a:pt x="1984" y="818"/>
                </a:moveTo>
                <a:cubicBezTo>
                  <a:pt x="1984" y="817"/>
                  <a:pt x="1984" y="817"/>
                  <a:pt x="1984" y="817"/>
                </a:cubicBezTo>
                <a:cubicBezTo>
                  <a:pt x="1984" y="817"/>
                  <a:pt x="1984" y="817"/>
                  <a:pt x="1984" y="818"/>
                </a:cubicBezTo>
                <a:cubicBezTo>
                  <a:pt x="1984" y="818"/>
                  <a:pt x="1984" y="818"/>
                  <a:pt x="1984" y="818"/>
                </a:cubicBezTo>
                <a:close/>
                <a:moveTo>
                  <a:pt x="1934" y="844"/>
                </a:moveTo>
                <a:cubicBezTo>
                  <a:pt x="1935" y="843"/>
                  <a:pt x="1935" y="842"/>
                  <a:pt x="1936" y="842"/>
                </a:cubicBezTo>
                <a:cubicBezTo>
                  <a:pt x="1936" y="841"/>
                  <a:pt x="1936" y="841"/>
                  <a:pt x="1937" y="840"/>
                </a:cubicBezTo>
                <a:cubicBezTo>
                  <a:pt x="1937" y="839"/>
                  <a:pt x="1937" y="839"/>
                  <a:pt x="1938" y="839"/>
                </a:cubicBezTo>
                <a:cubicBezTo>
                  <a:pt x="1938" y="839"/>
                  <a:pt x="1938" y="839"/>
                  <a:pt x="1938" y="838"/>
                </a:cubicBezTo>
                <a:cubicBezTo>
                  <a:pt x="1938" y="838"/>
                  <a:pt x="1937" y="838"/>
                  <a:pt x="1936" y="839"/>
                </a:cubicBezTo>
                <a:cubicBezTo>
                  <a:pt x="1935" y="839"/>
                  <a:pt x="1935" y="839"/>
                  <a:pt x="1934" y="839"/>
                </a:cubicBezTo>
                <a:cubicBezTo>
                  <a:pt x="1933" y="839"/>
                  <a:pt x="1932" y="839"/>
                  <a:pt x="1932" y="840"/>
                </a:cubicBezTo>
                <a:cubicBezTo>
                  <a:pt x="1931" y="840"/>
                  <a:pt x="1931" y="841"/>
                  <a:pt x="1930" y="841"/>
                </a:cubicBezTo>
                <a:cubicBezTo>
                  <a:pt x="1929" y="841"/>
                  <a:pt x="1928" y="840"/>
                  <a:pt x="1927" y="840"/>
                </a:cubicBezTo>
                <a:cubicBezTo>
                  <a:pt x="1927" y="840"/>
                  <a:pt x="1926" y="840"/>
                  <a:pt x="1926" y="841"/>
                </a:cubicBezTo>
                <a:cubicBezTo>
                  <a:pt x="1926" y="841"/>
                  <a:pt x="1925" y="841"/>
                  <a:pt x="1925" y="841"/>
                </a:cubicBezTo>
                <a:cubicBezTo>
                  <a:pt x="1924" y="842"/>
                  <a:pt x="1923" y="842"/>
                  <a:pt x="1922" y="842"/>
                </a:cubicBezTo>
                <a:cubicBezTo>
                  <a:pt x="1921" y="842"/>
                  <a:pt x="1920" y="841"/>
                  <a:pt x="1919" y="841"/>
                </a:cubicBezTo>
                <a:cubicBezTo>
                  <a:pt x="1919" y="841"/>
                  <a:pt x="1918" y="841"/>
                  <a:pt x="1918" y="841"/>
                </a:cubicBezTo>
                <a:cubicBezTo>
                  <a:pt x="1918" y="841"/>
                  <a:pt x="1917" y="841"/>
                  <a:pt x="1917" y="840"/>
                </a:cubicBezTo>
                <a:cubicBezTo>
                  <a:pt x="1916" y="840"/>
                  <a:pt x="1915" y="840"/>
                  <a:pt x="1914" y="840"/>
                </a:cubicBezTo>
                <a:cubicBezTo>
                  <a:pt x="1914" y="840"/>
                  <a:pt x="1913" y="840"/>
                  <a:pt x="1913" y="840"/>
                </a:cubicBezTo>
                <a:cubicBezTo>
                  <a:pt x="1913" y="840"/>
                  <a:pt x="1913" y="839"/>
                  <a:pt x="1912" y="839"/>
                </a:cubicBezTo>
                <a:cubicBezTo>
                  <a:pt x="1912" y="839"/>
                  <a:pt x="1912" y="839"/>
                  <a:pt x="1911" y="839"/>
                </a:cubicBezTo>
                <a:cubicBezTo>
                  <a:pt x="1911" y="839"/>
                  <a:pt x="1911" y="839"/>
                  <a:pt x="1910" y="839"/>
                </a:cubicBezTo>
                <a:cubicBezTo>
                  <a:pt x="1909" y="840"/>
                  <a:pt x="1909" y="841"/>
                  <a:pt x="1908" y="841"/>
                </a:cubicBezTo>
                <a:cubicBezTo>
                  <a:pt x="1908" y="841"/>
                  <a:pt x="1907" y="841"/>
                  <a:pt x="1906" y="840"/>
                </a:cubicBezTo>
                <a:cubicBezTo>
                  <a:pt x="1906" y="840"/>
                  <a:pt x="1906" y="839"/>
                  <a:pt x="1905" y="839"/>
                </a:cubicBezTo>
                <a:cubicBezTo>
                  <a:pt x="1905" y="839"/>
                  <a:pt x="1905" y="840"/>
                  <a:pt x="1904" y="840"/>
                </a:cubicBezTo>
                <a:cubicBezTo>
                  <a:pt x="1904" y="841"/>
                  <a:pt x="1904" y="841"/>
                  <a:pt x="1903" y="842"/>
                </a:cubicBezTo>
                <a:cubicBezTo>
                  <a:pt x="1903" y="842"/>
                  <a:pt x="1902" y="843"/>
                  <a:pt x="1901" y="844"/>
                </a:cubicBezTo>
                <a:cubicBezTo>
                  <a:pt x="1901" y="845"/>
                  <a:pt x="1902" y="845"/>
                  <a:pt x="1903" y="845"/>
                </a:cubicBezTo>
                <a:cubicBezTo>
                  <a:pt x="1903" y="846"/>
                  <a:pt x="1903" y="846"/>
                  <a:pt x="1903" y="846"/>
                </a:cubicBezTo>
                <a:cubicBezTo>
                  <a:pt x="1904" y="847"/>
                  <a:pt x="1904" y="847"/>
                  <a:pt x="1904" y="847"/>
                </a:cubicBezTo>
                <a:cubicBezTo>
                  <a:pt x="1904" y="848"/>
                  <a:pt x="1904" y="848"/>
                  <a:pt x="1904" y="848"/>
                </a:cubicBezTo>
                <a:cubicBezTo>
                  <a:pt x="1905" y="849"/>
                  <a:pt x="1906" y="847"/>
                  <a:pt x="1907" y="847"/>
                </a:cubicBezTo>
                <a:cubicBezTo>
                  <a:pt x="1907" y="847"/>
                  <a:pt x="1907" y="847"/>
                  <a:pt x="1908" y="847"/>
                </a:cubicBezTo>
                <a:cubicBezTo>
                  <a:pt x="1908" y="847"/>
                  <a:pt x="1908" y="848"/>
                  <a:pt x="1908" y="848"/>
                </a:cubicBezTo>
                <a:cubicBezTo>
                  <a:pt x="1909" y="848"/>
                  <a:pt x="1909" y="848"/>
                  <a:pt x="1909" y="848"/>
                </a:cubicBezTo>
                <a:cubicBezTo>
                  <a:pt x="1910" y="848"/>
                  <a:pt x="1911" y="849"/>
                  <a:pt x="1911" y="850"/>
                </a:cubicBezTo>
                <a:cubicBezTo>
                  <a:pt x="1912" y="850"/>
                  <a:pt x="1913" y="850"/>
                  <a:pt x="1914" y="850"/>
                </a:cubicBezTo>
                <a:cubicBezTo>
                  <a:pt x="1915" y="851"/>
                  <a:pt x="1915" y="851"/>
                  <a:pt x="1916" y="852"/>
                </a:cubicBezTo>
                <a:cubicBezTo>
                  <a:pt x="1916" y="852"/>
                  <a:pt x="1917" y="852"/>
                  <a:pt x="1918" y="852"/>
                </a:cubicBezTo>
                <a:cubicBezTo>
                  <a:pt x="1918" y="853"/>
                  <a:pt x="1918" y="853"/>
                  <a:pt x="1918" y="853"/>
                </a:cubicBezTo>
                <a:cubicBezTo>
                  <a:pt x="1919" y="853"/>
                  <a:pt x="1919" y="854"/>
                  <a:pt x="1919" y="854"/>
                </a:cubicBezTo>
                <a:cubicBezTo>
                  <a:pt x="1921" y="854"/>
                  <a:pt x="1922" y="854"/>
                  <a:pt x="1923" y="855"/>
                </a:cubicBezTo>
                <a:cubicBezTo>
                  <a:pt x="1924" y="856"/>
                  <a:pt x="1924" y="856"/>
                  <a:pt x="1925" y="857"/>
                </a:cubicBezTo>
                <a:cubicBezTo>
                  <a:pt x="1925" y="857"/>
                  <a:pt x="1925" y="857"/>
                  <a:pt x="1925" y="858"/>
                </a:cubicBezTo>
                <a:cubicBezTo>
                  <a:pt x="1925" y="858"/>
                  <a:pt x="1926" y="858"/>
                  <a:pt x="1926" y="858"/>
                </a:cubicBezTo>
                <a:cubicBezTo>
                  <a:pt x="1927" y="859"/>
                  <a:pt x="1928" y="858"/>
                  <a:pt x="1928" y="858"/>
                </a:cubicBezTo>
                <a:cubicBezTo>
                  <a:pt x="1929" y="859"/>
                  <a:pt x="1929" y="859"/>
                  <a:pt x="1930" y="859"/>
                </a:cubicBezTo>
                <a:cubicBezTo>
                  <a:pt x="1930" y="859"/>
                  <a:pt x="1931" y="859"/>
                  <a:pt x="1932" y="859"/>
                </a:cubicBezTo>
                <a:cubicBezTo>
                  <a:pt x="1932" y="859"/>
                  <a:pt x="1932" y="860"/>
                  <a:pt x="1933" y="859"/>
                </a:cubicBezTo>
                <a:cubicBezTo>
                  <a:pt x="1933" y="859"/>
                  <a:pt x="1932" y="859"/>
                  <a:pt x="1932" y="858"/>
                </a:cubicBezTo>
                <a:cubicBezTo>
                  <a:pt x="1932" y="858"/>
                  <a:pt x="1932" y="857"/>
                  <a:pt x="1933" y="857"/>
                </a:cubicBezTo>
                <a:cubicBezTo>
                  <a:pt x="1933" y="857"/>
                  <a:pt x="1933" y="857"/>
                  <a:pt x="1933" y="857"/>
                </a:cubicBezTo>
                <a:cubicBezTo>
                  <a:pt x="1933" y="856"/>
                  <a:pt x="1932" y="855"/>
                  <a:pt x="1934" y="855"/>
                </a:cubicBezTo>
                <a:cubicBezTo>
                  <a:pt x="1934" y="855"/>
                  <a:pt x="1934" y="855"/>
                  <a:pt x="1934" y="855"/>
                </a:cubicBezTo>
                <a:cubicBezTo>
                  <a:pt x="1935" y="855"/>
                  <a:pt x="1934" y="854"/>
                  <a:pt x="1934" y="854"/>
                </a:cubicBezTo>
                <a:cubicBezTo>
                  <a:pt x="1934" y="854"/>
                  <a:pt x="1934" y="854"/>
                  <a:pt x="1934" y="853"/>
                </a:cubicBezTo>
                <a:cubicBezTo>
                  <a:pt x="1934" y="853"/>
                  <a:pt x="1934" y="853"/>
                  <a:pt x="1933" y="853"/>
                </a:cubicBezTo>
                <a:cubicBezTo>
                  <a:pt x="1933" y="852"/>
                  <a:pt x="1933" y="852"/>
                  <a:pt x="1933" y="851"/>
                </a:cubicBezTo>
                <a:cubicBezTo>
                  <a:pt x="1933" y="851"/>
                  <a:pt x="1932" y="851"/>
                  <a:pt x="1932" y="851"/>
                </a:cubicBezTo>
                <a:cubicBezTo>
                  <a:pt x="1932" y="851"/>
                  <a:pt x="1932" y="850"/>
                  <a:pt x="1932" y="850"/>
                </a:cubicBezTo>
                <a:cubicBezTo>
                  <a:pt x="1932" y="849"/>
                  <a:pt x="1932" y="849"/>
                  <a:pt x="1932" y="848"/>
                </a:cubicBezTo>
                <a:cubicBezTo>
                  <a:pt x="1932" y="848"/>
                  <a:pt x="1933" y="848"/>
                  <a:pt x="1933" y="848"/>
                </a:cubicBezTo>
                <a:cubicBezTo>
                  <a:pt x="1933" y="847"/>
                  <a:pt x="1933" y="847"/>
                  <a:pt x="1933" y="846"/>
                </a:cubicBezTo>
                <a:cubicBezTo>
                  <a:pt x="1933" y="845"/>
                  <a:pt x="1934" y="845"/>
                  <a:pt x="1934" y="845"/>
                </a:cubicBezTo>
                <a:cubicBezTo>
                  <a:pt x="1934" y="844"/>
                  <a:pt x="1934" y="844"/>
                  <a:pt x="1934" y="844"/>
                </a:cubicBezTo>
                <a:close/>
                <a:moveTo>
                  <a:pt x="1987" y="819"/>
                </a:moveTo>
                <a:cubicBezTo>
                  <a:pt x="1987" y="819"/>
                  <a:pt x="1987" y="819"/>
                  <a:pt x="1987" y="819"/>
                </a:cubicBezTo>
                <a:cubicBezTo>
                  <a:pt x="1988" y="817"/>
                  <a:pt x="1985" y="818"/>
                  <a:pt x="1984" y="818"/>
                </a:cubicBezTo>
                <a:cubicBezTo>
                  <a:pt x="1984" y="818"/>
                  <a:pt x="1984" y="818"/>
                  <a:pt x="1984" y="819"/>
                </a:cubicBezTo>
                <a:cubicBezTo>
                  <a:pt x="1984" y="819"/>
                  <a:pt x="1985" y="819"/>
                  <a:pt x="1985" y="819"/>
                </a:cubicBezTo>
                <a:cubicBezTo>
                  <a:pt x="1985" y="820"/>
                  <a:pt x="1985" y="820"/>
                  <a:pt x="1985" y="820"/>
                </a:cubicBezTo>
                <a:cubicBezTo>
                  <a:pt x="1986" y="821"/>
                  <a:pt x="1986" y="821"/>
                  <a:pt x="1986" y="821"/>
                </a:cubicBezTo>
                <a:cubicBezTo>
                  <a:pt x="1987" y="821"/>
                  <a:pt x="1987" y="822"/>
                  <a:pt x="1987" y="822"/>
                </a:cubicBezTo>
                <a:cubicBezTo>
                  <a:pt x="1988" y="822"/>
                  <a:pt x="1987" y="821"/>
                  <a:pt x="1987" y="821"/>
                </a:cubicBezTo>
                <a:cubicBezTo>
                  <a:pt x="1987" y="821"/>
                  <a:pt x="1987" y="820"/>
                  <a:pt x="1987" y="820"/>
                </a:cubicBezTo>
                <a:cubicBezTo>
                  <a:pt x="1986" y="820"/>
                  <a:pt x="1986" y="820"/>
                  <a:pt x="1986" y="819"/>
                </a:cubicBezTo>
                <a:cubicBezTo>
                  <a:pt x="1986" y="819"/>
                  <a:pt x="1986" y="819"/>
                  <a:pt x="1987" y="819"/>
                </a:cubicBezTo>
                <a:close/>
                <a:moveTo>
                  <a:pt x="2067" y="845"/>
                </a:moveTo>
                <a:cubicBezTo>
                  <a:pt x="2066" y="844"/>
                  <a:pt x="2066" y="844"/>
                  <a:pt x="2065" y="844"/>
                </a:cubicBezTo>
                <a:cubicBezTo>
                  <a:pt x="2065" y="844"/>
                  <a:pt x="2065" y="845"/>
                  <a:pt x="2064" y="845"/>
                </a:cubicBezTo>
                <a:cubicBezTo>
                  <a:pt x="2064" y="845"/>
                  <a:pt x="2064" y="844"/>
                  <a:pt x="2063" y="845"/>
                </a:cubicBezTo>
                <a:cubicBezTo>
                  <a:pt x="2063" y="845"/>
                  <a:pt x="2064" y="846"/>
                  <a:pt x="2064" y="846"/>
                </a:cubicBezTo>
                <a:cubicBezTo>
                  <a:pt x="2064" y="846"/>
                  <a:pt x="2065" y="846"/>
                  <a:pt x="2065" y="846"/>
                </a:cubicBezTo>
                <a:cubicBezTo>
                  <a:pt x="2065" y="846"/>
                  <a:pt x="2065" y="846"/>
                  <a:pt x="2065" y="847"/>
                </a:cubicBezTo>
                <a:cubicBezTo>
                  <a:pt x="2065" y="847"/>
                  <a:pt x="2066" y="847"/>
                  <a:pt x="2066" y="847"/>
                </a:cubicBezTo>
                <a:cubicBezTo>
                  <a:pt x="2066" y="846"/>
                  <a:pt x="2067" y="846"/>
                  <a:pt x="2067" y="846"/>
                </a:cubicBezTo>
                <a:cubicBezTo>
                  <a:pt x="2067" y="846"/>
                  <a:pt x="2067" y="846"/>
                  <a:pt x="2067" y="846"/>
                </a:cubicBezTo>
                <a:cubicBezTo>
                  <a:pt x="2068" y="846"/>
                  <a:pt x="2068" y="846"/>
                  <a:pt x="2068" y="845"/>
                </a:cubicBezTo>
                <a:cubicBezTo>
                  <a:pt x="2069" y="845"/>
                  <a:pt x="2067" y="845"/>
                  <a:pt x="2067" y="845"/>
                </a:cubicBezTo>
                <a:close/>
                <a:moveTo>
                  <a:pt x="3323" y="595"/>
                </a:moveTo>
                <a:cubicBezTo>
                  <a:pt x="3322" y="595"/>
                  <a:pt x="3322" y="596"/>
                  <a:pt x="3321" y="596"/>
                </a:cubicBezTo>
                <a:cubicBezTo>
                  <a:pt x="3321" y="596"/>
                  <a:pt x="3320" y="596"/>
                  <a:pt x="3320" y="596"/>
                </a:cubicBezTo>
                <a:cubicBezTo>
                  <a:pt x="3319" y="597"/>
                  <a:pt x="3320" y="598"/>
                  <a:pt x="3319" y="598"/>
                </a:cubicBezTo>
                <a:cubicBezTo>
                  <a:pt x="3319" y="599"/>
                  <a:pt x="3319" y="599"/>
                  <a:pt x="3319" y="599"/>
                </a:cubicBezTo>
                <a:cubicBezTo>
                  <a:pt x="3319" y="599"/>
                  <a:pt x="3319" y="599"/>
                  <a:pt x="3320" y="599"/>
                </a:cubicBezTo>
                <a:cubicBezTo>
                  <a:pt x="3321" y="599"/>
                  <a:pt x="3321" y="599"/>
                  <a:pt x="3322" y="598"/>
                </a:cubicBezTo>
                <a:cubicBezTo>
                  <a:pt x="3322" y="598"/>
                  <a:pt x="3323" y="598"/>
                  <a:pt x="3323" y="598"/>
                </a:cubicBezTo>
                <a:cubicBezTo>
                  <a:pt x="3323" y="598"/>
                  <a:pt x="3323" y="597"/>
                  <a:pt x="3324" y="597"/>
                </a:cubicBezTo>
                <a:cubicBezTo>
                  <a:pt x="3324" y="596"/>
                  <a:pt x="3324" y="596"/>
                  <a:pt x="3324" y="596"/>
                </a:cubicBezTo>
                <a:cubicBezTo>
                  <a:pt x="3324" y="595"/>
                  <a:pt x="3324" y="595"/>
                  <a:pt x="3323" y="595"/>
                </a:cubicBezTo>
                <a:close/>
                <a:moveTo>
                  <a:pt x="3820" y="659"/>
                </a:moveTo>
                <a:cubicBezTo>
                  <a:pt x="3820" y="659"/>
                  <a:pt x="3819" y="659"/>
                  <a:pt x="3819" y="659"/>
                </a:cubicBezTo>
                <a:cubicBezTo>
                  <a:pt x="3818" y="659"/>
                  <a:pt x="3819" y="660"/>
                  <a:pt x="3818" y="661"/>
                </a:cubicBezTo>
                <a:cubicBezTo>
                  <a:pt x="3818" y="661"/>
                  <a:pt x="3819" y="661"/>
                  <a:pt x="3819" y="661"/>
                </a:cubicBezTo>
                <a:cubicBezTo>
                  <a:pt x="3820" y="661"/>
                  <a:pt x="3820" y="661"/>
                  <a:pt x="3820" y="660"/>
                </a:cubicBezTo>
                <a:cubicBezTo>
                  <a:pt x="3819" y="660"/>
                  <a:pt x="3820" y="659"/>
                  <a:pt x="3820" y="659"/>
                </a:cubicBezTo>
                <a:close/>
                <a:moveTo>
                  <a:pt x="3805" y="651"/>
                </a:moveTo>
                <a:cubicBezTo>
                  <a:pt x="3806" y="651"/>
                  <a:pt x="3806" y="650"/>
                  <a:pt x="3806" y="650"/>
                </a:cubicBezTo>
                <a:cubicBezTo>
                  <a:pt x="3806" y="649"/>
                  <a:pt x="3805" y="649"/>
                  <a:pt x="3805" y="649"/>
                </a:cubicBezTo>
                <a:cubicBezTo>
                  <a:pt x="3805" y="648"/>
                  <a:pt x="3804" y="648"/>
                  <a:pt x="3804" y="648"/>
                </a:cubicBezTo>
                <a:cubicBezTo>
                  <a:pt x="3804" y="648"/>
                  <a:pt x="3803" y="649"/>
                  <a:pt x="3803" y="649"/>
                </a:cubicBezTo>
                <a:cubicBezTo>
                  <a:pt x="3802" y="650"/>
                  <a:pt x="3802" y="650"/>
                  <a:pt x="3802" y="650"/>
                </a:cubicBezTo>
                <a:cubicBezTo>
                  <a:pt x="3803" y="651"/>
                  <a:pt x="3803" y="651"/>
                  <a:pt x="3804" y="651"/>
                </a:cubicBezTo>
                <a:cubicBezTo>
                  <a:pt x="3805" y="651"/>
                  <a:pt x="3805" y="651"/>
                  <a:pt x="3805" y="651"/>
                </a:cubicBezTo>
                <a:close/>
                <a:moveTo>
                  <a:pt x="3822" y="652"/>
                </a:moveTo>
                <a:cubicBezTo>
                  <a:pt x="3821" y="652"/>
                  <a:pt x="3821" y="652"/>
                  <a:pt x="3821" y="652"/>
                </a:cubicBezTo>
                <a:cubicBezTo>
                  <a:pt x="3821" y="652"/>
                  <a:pt x="3820" y="653"/>
                  <a:pt x="3821" y="653"/>
                </a:cubicBezTo>
                <a:cubicBezTo>
                  <a:pt x="3821" y="653"/>
                  <a:pt x="3822" y="655"/>
                  <a:pt x="3822" y="654"/>
                </a:cubicBezTo>
                <a:cubicBezTo>
                  <a:pt x="3822" y="653"/>
                  <a:pt x="3822" y="653"/>
                  <a:pt x="3822" y="653"/>
                </a:cubicBezTo>
                <a:cubicBezTo>
                  <a:pt x="3823" y="652"/>
                  <a:pt x="3823" y="652"/>
                  <a:pt x="3822" y="652"/>
                </a:cubicBezTo>
                <a:close/>
                <a:moveTo>
                  <a:pt x="3817" y="661"/>
                </a:moveTo>
                <a:cubicBezTo>
                  <a:pt x="3817" y="661"/>
                  <a:pt x="3816" y="662"/>
                  <a:pt x="3816" y="662"/>
                </a:cubicBezTo>
                <a:cubicBezTo>
                  <a:pt x="3816" y="663"/>
                  <a:pt x="3817" y="663"/>
                  <a:pt x="3817" y="662"/>
                </a:cubicBezTo>
                <a:cubicBezTo>
                  <a:pt x="3818" y="661"/>
                  <a:pt x="3818" y="661"/>
                  <a:pt x="3818" y="661"/>
                </a:cubicBezTo>
                <a:cubicBezTo>
                  <a:pt x="3817" y="661"/>
                  <a:pt x="3817" y="661"/>
                  <a:pt x="3817" y="661"/>
                </a:cubicBezTo>
                <a:close/>
                <a:moveTo>
                  <a:pt x="3821" y="656"/>
                </a:moveTo>
                <a:cubicBezTo>
                  <a:pt x="3820" y="656"/>
                  <a:pt x="3820" y="657"/>
                  <a:pt x="3821" y="657"/>
                </a:cubicBezTo>
                <a:cubicBezTo>
                  <a:pt x="3821" y="657"/>
                  <a:pt x="3822" y="657"/>
                  <a:pt x="3822" y="657"/>
                </a:cubicBezTo>
                <a:cubicBezTo>
                  <a:pt x="3821" y="657"/>
                  <a:pt x="3821" y="656"/>
                  <a:pt x="3821" y="656"/>
                </a:cubicBezTo>
                <a:close/>
                <a:moveTo>
                  <a:pt x="2022" y="863"/>
                </a:moveTo>
                <a:cubicBezTo>
                  <a:pt x="2021" y="863"/>
                  <a:pt x="2021" y="865"/>
                  <a:pt x="2021" y="865"/>
                </a:cubicBezTo>
                <a:cubicBezTo>
                  <a:pt x="2022" y="866"/>
                  <a:pt x="2022" y="866"/>
                  <a:pt x="2022" y="866"/>
                </a:cubicBezTo>
                <a:cubicBezTo>
                  <a:pt x="2022" y="866"/>
                  <a:pt x="2022" y="867"/>
                  <a:pt x="2023" y="867"/>
                </a:cubicBezTo>
                <a:cubicBezTo>
                  <a:pt x="2023" y="866"/>
                  <a:pt x="2023" y="866"/>
                  <a:pt x="2023" y="866"/>
                </a:cubicBezTo>
                <a:cubicBezTo>
                  <a:pt x="2022" y="866"/>
                  <a:pt x="2022" y="866"/>
                  <a:pt x="2022" y="865"/>
                </a:cubicBezTo>
                <a:cubicBezTo>
                  <a:pt x="2022" y="865"/>
                  <a:pt x="2023" y="864"/>
                  <a:pt x="2022" y="863"/>
                </a:cubicBezTo>
                <a:close/>
                <a:moveTo>
                  <a:pt x="3334" y="596"/>
                </a:moveTo>
                <a:cubicBezTo>
                  <a:pt x="3333" y="596"/>
                  <a:pt x="3333" y="596"/>
                  <a:pt x="3333" y="595"/>
                </a:cubicBezTo>
                <a:cubicBezTo>
                  <a:pt x="3332" y="595"/>
                  <a:pt x="3331" y="595"/>
                  <a:pt x="3331" y="595"/>
                </a:cubicBezTo>
                <a:cubicBezTo>
                  <a:pt x="3330" y="595"/>
                  <a:pt x="3330" y="594"/>
                  <a:pt x="3330" y="594"/>
                </a:cubicBezTo>
                <a:cubicBezTo>
                  <a:pt x="3329" y="594"/>
                  <a:pt x="3329" y="594"/>
                  <a:pt x="3328" y="594"/>
                </a:cubicBezTo>
                <a:cubicBezTo>
                  <a:pt x="3328" y="595"/>
                  <a:pt x="3328" y="596"/>
                  <a:pt x="3327" y="596"/>
                </a:cubicBezTo>
                <a:cubicBezTo>
                  <a:pt x="3327" y="597"/>
                  <a:pt x="3326" y="597"/>
                  <a:pt x="3326" y="597"/>
                </a:cubicBezTo>
                <a:cubicBezTo>
                  <a:pt x="3326" y="598"/>
                  <a:pt x="3326" y="598"/>
                  <a:pt x="3326" y="599"/>
                </a:cubicBezTo>
                <a:cubicBezTo>
                  <a:pt x="3325" y="599"/>
                  <a:pt x="3324" y="600"/>
                  <a:pt x="3325" y="601"/>
                </a:cubicBezTo>
                <a:cubicBezTo>
                  <a:pt x="3326" y="601"/>
                  <a:pt x="3326" y="599"/>
                  <a:pt x="3327" y="599"/>
                </a:cubicBezTo>
                <a:cubicBezTo>
                  <a:pt x="3327" y="599"/>
                  <a:pt x="3328" y="600"/>
                  <a:pt x="3328" y="600"/>
                </a:cubicBezTo>
                <a:cubicBezTo>
                  <a:pt x="3329" y="601"/>
                  <a:pt x="3328" y="601"/>
                  <a:pt x="3329" y="601"/>
                </a:cubicBezTo>
                <a:cubicBezTo>
                  <a:pt x="3329" y="601"/>
                  <a:pt x="3329" y="602"/>
                  <a:pt x="3329" y="602"/>
                </a:cubicBezTo>
                <a:cubicBezTo>
                  <a:pt x="3329" y="602"/>
                  <a:pt x="3329" y="602"/>
                  <a:pt x="3329" y="603"/>
                </a:cubicBezTo>
                <a:cubicBezTo>
                  <a:pt x="3330" y="604"/>
                  <a:pt x="3331" y="602"/>
                  <a:pt x="3331" y="602"/>
                </a:cubicBezTo>
                <a:cubicBezTo>
                  <a:pt x="3332" y="601"/>
                  <a:pt x="3332" y="600"/>
                  <a:pt x="3333" y="599"/>
                </a:cubicBezTo>
                <a:cubicBezTo>
                  <a:pt x="3333" y="598"/>
                  <a:pt x="3334" y="598"/>
                  <a:pt x="3335" y="598"/>
                </a:cubicBezTo>
                <a:cubicBezTo>
                  <a:pt x="3335" y="597"/>
                  <a:pt x="3336" y="597"/>
                  <a:pt x="3336" y="597"/>
                </a:cubicBezTo>
                <a:cubicBezTo>
                  <a:pt x="3336" y="596"/>
                  <a:pt x="3335" y="596"/>
                  <a:pt x="3335" y="596"/>
                </a:cubicBezTo>
                <a:cubicBezTo>
                  <a:pt x="3335" y="596"/>
                  <a:pt x="3334" y="596"/>
                  <a:pt x="3334" y="596"/>
                </a:cubicBezTo>
                <a:close/>
                <a:moveTo>
                  <a:pt x="3827" y="658"/>
                </a:moveTo>
                <a:cubicBezTo>
                  <a:pt x="3827" y="658"/>
                  <a:pt x="3826" y="658"/>
                  <a:pt x="3827" y="658"/>
                </a:cubicBezTo>
                <a:cubicBezTo>
                  <a:pt x="3827" y="659"/>
                  <a:pt x="3827" y="659"/>
                  <a:pt x="3828" y="658"/>
                </a:cubicBezTo>
                <a:cubicBezTo>
                  <a:pt x="3828" y="658"/>
                  <a:pt x="3828" y="657"/>
                  <a:pt x="3827" y="658"/>
                </a:cubicBezTo>
                <a:close/>
                <a:moveTo>
                  <a:pt x="3833" y="652"/>
                </a:moveTo>
                <a:cubicBezTo>
                  <a:pt x="3832" y="652"/>
                  <a:pt x="3832" y="651"/>
                  <a:pt x="3832" y="651"/>
                </a:cubicBezTo>
                <a:cubicBezTo>
                  <a:pt x="3832" y="651"/>
                  <a:pt x="3832" y="650"/>
                  <a:pt x="3831" y="651"/>
                </a:cubicBezTo>
                <a:cubicBezTo>
                  <a:pt x="3831" y="651"/>
                  <a:pt x="3830" y="650"/>
                  <a:pt x="3830" y="650"/>
                </a:cubicBezTo>
                <a:cubicBezTo>
                  <a:pt x="3829" y="650"/>
                  <a:pt x="3828" y="651"/>
                  <a:pt x="3829" y="652"/>
                </a:cubicBezTo>
                <a:cubicBezTo>
                  <a:pt x="3829" y="652"/>
                  <a:pt x="3829" y="652"/>
                  <a:pt x="3830" y="652"/>
                </a:cubicBezTo>
                <a:cubicBezTo>
                  <a:pt x="3830" y="653"/>
                  <a:pt x="3830" y="653"/>
                  <a:pt x="3831" y="653"/>
                </a:cubicBezTo>
                <a:cubicBezTo>
                  <a:pt x="3832" y="653"/>
                  <a:pt x="3831" y="653"/>
                  <a:pt x="3831" y="654"/>
                </a:cubicBezTo>
                <a:cubicBezTo>
                  <a:pt x="3831" y="654"/>
                  <a:pt x="3830" y="654"/>
                  <a:pt x="3830" y="654"/>
                </a:cubicBezTo>
                <a:cubicBezTo>
                  <a:pt x="3829" y="654"/>
                  <a:pt x="3829" y="655"/>
                  <a:pt x="3829" y="655"/>
                </a:cubicBezTo>
                <a:cubicBezTo>
                  <a:pt x="3830" y="655"/>
                  <a:pt x="3830" y="655"/>
                  <a:pt x="3831" y="656"/>
                </a:cubicBezTo>
                <a:cubicBezTo>
                  <a:pt x="3831" y="656"/>
                  <a:pt x="3832" y="656"/>
                  <a:pt x="3832" y="656"/>
                </a:cubicBezTo>
                <a:cubicBezTo>
                  <a:pt x="3832" y="655"/>
                  <a:pt x="3832" y="655"/>
                  <a:pt x="3833" y="655"/>
                </a:cubicBezTo>
                <a:cubicBezTo>
                  <a:pt x="3834" y="654"/>
                  <a:pt x="3833" y="654"/>
                  <a:pt x="3833" y="653"/>
                </a:cubicBezTo>
                <a:lnTo>
                  <a:pt x="3833" y="652"/>
                </a:lnTo>
                <a:close/>
                <a:moveTo>
                  <a:pt x="3823" y="656"/>
                </a:moveTo>
                <a:cubicBezTo>
                  <a:pt x="3822" y="655"/>
                  <a:pt x="3823" y="656"/>
                  <a:pt x="3823" y="656"/>
                </a:cubicBezTo>
                <a:cubicBezTo>
                  <a:pt x="3823" y="656"/>
                  <a:pt x="3824" y="657"/>
                  <a:pt x="3824" y="656"/>
                </a:cubicBezTo>
                <a:cubicBezTo>
                  <a:pt x="3825" y="656"/>
                  <a:pt x="3823" y="656"/>
                  <a:pt x="3823" y="656"/>
                </a:cubicBezTo>
                <a:close/>
                <a:moveTo>
                  <a:pt x="3827" y="358"/>
                </a:moveTo>
                <a:cubicBezTo>
                  <a:pt x="3826" y="357"/>
                  <a:pt x="3826" y="357"/>
                  <a:pt x="3825" y="356"/>
                </a:cubicBezTo>
                <a:cubicBezTo>
                  <a:pt x="3825" y="355"/>
                  <a:pt x="3825" y="355"/>
                  <a:pt x="3824" y="354"/>
                </a:cubicBezTo>
                <a:cubicBezTo>
                  <a:pt x="3824" y="354"/>
                  <a:pt x="3823" y="354"/>
                  <a:pt x="3823" y="353"/>
                </a:cubicBezTo>
                <a:cubicBezTo>
                  <a:pt x="3822" y="353"/>
                  <a:pt x="3821" y="352"/>
                  <a:pt x="3821" y="352"/>
                </a:cubicBezTo>
                <a:cubicBezTo>
                  <a:pt x="3819" y="350"/>
                  <a:pt x="3818" y="350"/>
                  <a:pt x="3816" y="350"/>
                </a:cubicBezTo>
                <a:cubicBezTo>
                  <a:pt x="3815" y="349"/>
                  <a:pt x="3814" y="350"/>
                  <a:pt x="3813" y="349"/>
                </a:cubicBezTo>
                <a:cubicBezTo>
                  <a:pt x="3812" y="349"/>
                  <a:pt x="3811" y="349"/>
                  <a:pt x="3811" y="349"/>
                </a:cubicBezTo>
                <a:cubicBezTo>
                  <a:pt x="3809" y="348"/>
                  <a:pt x="3807" y="347"/>
                  <a:pt x="3805" y="346"/>
                </a:cubicBezTo>
                <a:cubicBezTo>
                  <a:pt x="3804" y="346"/>
                  <a:pt x="3804" y="345"/>
                  <a:pt x="3803" y="345"/>
                </a:cubicBezTo>
                <a:cubicBezTo>
                  <a:pt x="3803" y="345"/>
                  <a:pt x="3802" y="344"/>
                  <a:pt x="3801" y="344"/>
                </a:cubicBezTo>
                <a:cubicBezTo>
                  <a:pt x="3801" y="344"/>
                  <a:pt x="3800" y="344"/>
                  <a:pt x="3800" y="343"/>
                </a:cubicBezTo>
                <a:cubicBezTo>
                  <a:pt x="3799" y="343"/>
                  <a:pt x="3798" y="342"/>
                  <a:pt x="3797" y="342"/>
                </a:cubicBezTo>
                <a:cubicBezTo>
                  <a:pt x="3795" y="341"/>
                  <a:pt x="3793" y="339"/>
                  <a:pt x="3791" y="339"/>
                </a:cubicBezTo>
                <a:cubicBezTo>
                  <a:pt x="3789" y="338"/>
                  <a:pt x="3787" y="338"/>
                  <a:pt x="3785" y="338"/>
                </a:cubicBezTo>
                <a:cubicBezTo>
                  <a:pt x="3783" y="337"/>
                  <a:pt x="3781" y="337"/>
                  <a:pt x="3779" y="337"/>
                </a:cubicBezTo>
                <a:cubicBezTo>
                  <a:pt x="3778" y="336"/>
                  <a:pt x="3777" y="336"/>
                  <a:pt x="3776" y="336"/>
                </a:cubicBezTo>
                <a:cubicBezTo>
                  <a:pt x="3775" y="336"/>
                  <a:pt x="3775" y="335"/>
                  <a:pt x="3774" y="335"/>
                </a:cubicBezTo>
                <a:cubicBezTo>
                  <a:pt x="3773" y="335"/>
                  <a:pt x="3773" y="334"/>
                  <a:pt x="3772" y="334"/>
                </a:cubicBezTo>
                <a:cubicBezTo>
                  <a:pt x="3771" y="333"/>
                  <a:pt x="3771" y="333"/>
                  <a:pt x="3770" y="332"/>
                </a:cubicBezTo>
                <a:cubicBezTo>
                  <a:pt x="3769" y="332"/>
                  <a:pt x="3768" y="331"/>
                  <a:pt x="3768" y="331"/>
                </a:cubicBezTo>
                <a:cubicBezTo>
                  <a:pt x="3767" y="331"/>
                  <a:pt x="3767" y="331"/>
                  <a:pt x="3766" y="331"/>
                </a:cubicBezTo>
                <a:cubicBezTo>
                  <a:pt x="3766" y="331"/>
                  <a:pt x="3765" y="331"/>
                  <a:pt x="3764" y="331"/>
                </a:cubicBezTo>
                <a:cubicBezTo>
                  <a:pt x="3763" y="331"/>
                  <a:pt x="3762" y="331"/>
                  <a:pt x="3761" y="331"/>
                </a:cubicBezTo>
                <a:cubicBezTo>
                  <a:pt x="3760" y="331"/>
                  <a:pt x="3760" y="331"/>
                  <a:pt x="3759" y="332"/>
                </a:cubicBezTo>
                <a:cubicBezTo>
                  <a:pt x="3757" y="332"/>
                  <a:pt x="3756" y="332"/>
                  <a:pt x="3755" y="332"/>
                </a:cubicBezTo>
                <a:cubicBezTo>
                  <a:pt x="3754" y="331"/>
                  <a:pt x="3752" y="331"/>
                  <a:pt x="3751" y="331"/>
                </a:cubicBezTo>
                <a:cubicBezTo>
                  <a:pt x="3750" y="331"/>
                  <a:pt x="3748" y="331"/>
                  <a:pt x="3747" y="331"/>
                </a:cubicBezTo>
                <a:cubicBezTo>
                  <a:pt x="3745" y="331"/>
                  <a:pt x="3743" y="331"/>
                  <a:pt x="3741" y="330"/>
                </a:cubicBezTo>
                <a:cubicBezTo>
                  <a:pt x="3740" y="330"/>
                  <a:pt x="3739" y="330"/>
                  <a:pt x="3738" y="330"/>
                </a:cubicBezTo>
                <a:cubicBezTo>
                  <a:pt x="3737" y="330"/>
                  <a:pt x="3735" y="330"/>
                  <a:pt x="3735" y="330"/>
                </a:cubicBezTo>
                <a:cubicBezTo>
                  <a:pt x="3735" y="331"/>
                  <a:pt x="3736" y="331"/>
                  <a:pt x="3736" y="331"/>
                </a:cubicBezTo>
                <a:cubicBezTo>
                  <a:pt x="3736" y="331"/>
                  <a:pt x="3736" y="331"/>
                  <a:pt x="3737" y="331"/>
                </a:cubicBezTo>
                <a:cubicBezTo>
                  <a:pt x="3737" y="332"/>
                  <a:pt x="3736" y="332"/>
                  <a:pt x="3735" y="333"/>
                </a:cubicBezTo>
                <a:cubicBezTo>
                  <a:pt x="3735" y="333"/>
                  <a:pt x="3735" y="333"/>
                  <a:pt x="3735" y="333"/>
                </a:cubicBezTo>
                <a:cubicBezTo>
                  <a:pt x="3734" y="333"/>
                  <a:pt x="3734" y="333"/>
                  <a:pt x="3734" y="332"/>
                </a:cubicBezTo>
                <a:cubicBezTo>
                  <a:pt x="3734" y="332"/>
                  <a:pt x="3733" y="332"/>
                  <a:pt x="3732" y="331"/>
                </a:cubicBezTo>
                <a:cubicBezTo>
                  <a:pt x="3732" y="331"/>
                  <a:pt x="3731" y="330"/>
                  <a:pt x="3731" y="330"/>
                </a:cubicBezTo>
                <a:cubicBezTo>
                  <a:pt x="3730" y="330"/>
                  <a:pt x="3729" y="330"/>
                  <a:pt x="3728" y="330"/>
                </a:cubicBezTo>
                <a:cubicBezTo>
                  <a:pt x="3728" y="329"/>
                  <a:pt x="3727" y="329"/>
                  <a:pt x="3726" y="329"/>
                </a:cubicBezTo>
                <a:cubicBezTo>
                  <a:pt x="3725" y="329"/>
                  <a:pt x="3724" y="329"/>
                  <a:pt x="3723" y="329"/>
                </a:cubicBezTo>
                <a:cubicBezTo>
                  <a:pt x="3722" y="329"/>
                  <a:pt x="3721" y="329"/>
                  <a:pt x="3721" y="329"/>
                </a:cubicBezTo>
                <a:cubicBezTo>
                  <a:pt x="3719" y="329"/>
                  <a:pt x="3718" y="328"/>
                  <a:pt x="3717" y="328"/>
                </a:cubicBezTo>
                <a:cubicBezTo>
                  <a:pt x="3716" y="328"/>
                  <a:pt x="3714" y="328"/>
                  <a:pt x="3713" y="328"/>
                </a:cubicBezTo>
                <a:cubicBezTo>
                  <a:pt x="3712" y="327"/>
                  <a:pt x="3711" y="327"/>
                  <a:pt x="3710" y="327"/>
                </a:cubicBezTo>
                <a:cubicBezTo>
                  <a:pt x="3709" y="327"/>
                  <a:pt x="3707" y="327"/>
                  <a:pt x="3705" y="327"/>
                </a:cubicBezTo>
                <a:cubicBezTo>
                  <a:pt x="3705" y="327"/>
                  <a:pt x="3704" y="327"/>
                  <a:pt x="3704" y="327"/>
                </a:cubicBezTo>
                <a:cubicBezTo>
                  <a:pt x="3704" y="326"/>
                  <a:pt x="3703" y="326"/>
                  <a:pt x="3703" y="326"/>
                </a:cubicBezTo>
                <a:cubicBezTo>
                  <a:pt x="3702" y="326"/>
                  <a:pt x="3703" y="327"/>
                  <a:pt x="3703" y="327"/>
                </a:cubicBezTo>
                <a:cubicBezTo>
                  <a:pt x="3704" y="327"/>
                  <a:pt x="3704" y="327"/>
                  <a:pt x="3704" y="327"/>
                </a:cubicBezTo>
                <a:cubicBezTo>
                  <a:pt x="3705" y="328"/>
                  <a:pt x="3705" y="328"/>
                  <a:pt x="3704" y="329"/>
                </a:cubicBezTo>
                <a:cubicBezTo>
                  <a:pt x="3704" y="330"/>
                  <a:pt x="3704" y="330"/>
                  <a:pt x="3704" y="331"/>
                </a:cubicBezTo>
                <a:cubicBezTo>
                  <a:pt x="3704" y="332"/>
                  <a:pt x="3705" y="332"/>
                  <a:pt x="3704" y="333"/>
                </a:cubicBezTo>
                <a:cubicBezTo>
                  <a:pt x="3703" y="333"/>
                  <a:pt x="3699" y="336"/>
                  <a:pt x="3700" y="337"/>
                </a:cubicBezTo>
                <a:cubicBezTo>
                  <a:pt x="3700" y="337"/>
                  <a:pt x="3700" y="337"/>
                  <a:pt x="3700" y="337"/>
                </a:cubicBezTo>
                <a:cubicBezTo>
                  <a:pt x="3701" y="337"/>
                  <a:pt x="3701" y="337"/>
                  <a:pt x="3701" y="337"/>
                </a:cubicBezTo>
                <a:cubicBezTo>
                  <a:pt x="3701" y="338"/>
                  <a:pt x="3702" y="338"/>
                  <a:pt x="3702" y="338"/>
                </a:cubicBezTo>
                <a:cubicBezTo>
                  <a:pt x="3703" y="338"/>
                  <a:pt x="3703" y="337"/>
                  <a:pt x="3703" y="337"/>
                </a:cubicBezTo>
                <a:cubicBezTo>
                  <a:pt x="3703" y="337"/>
                  <a:pt x="3704" y="337"/>
                  <a:pt x="3704" y="337"/>
                </a:cubicBezTo>
                <a:cubicBezTo>
                  <a:pt x="3705" y="337"/>
                  <a:pt x="3705" y="338"/>
                  <a:pt x="3705" y="339"/>
                </a:cubicBezTo>
                <a:cubicBezTo>
                  <a:pt x="3706" y="340"/>
                  <a:pt x="3706" y="340"/>
                  <a:pt x="3707" y="341"/>
                </a:cubicBezTo>
                <a:cubicBezTo>
                  <a:pt x="3707" y="341"/>
                  <a:pt x="3707" y="342"/>
                  <a:pt x="3707" y="342"/>
                </a:cubicBezTo>
                <a:cubicBezTo>
                  <a:pt x="3708" y="342"/>
                  <a:pt x="3708" y="343"/>
                  <a:pt x="3708" y="343"/>
                </a:cubicBezTo>
                <a:cubicBezTo>
                  <a:pt x="3709" y="344"/>
                  <a:pt x="3709" y="344"/>
                  <a:pt x="3709" y="345"/>
                </a:cubicBezTo>
                <a:cubicBezTo>
                  <a:pt x="3708" y="346"/>
                  <a:pt x="3709" y="346"/>
                  <a:pt x="3709" y="347"/>
                </a:cubicBezTo>
                <a:cubicBezTo>
                  <a:pt x="3710" y="347"/>
                  <a:pt x="3709" y="348"/>
                  <a:pt x="3709" y="348"/>
                </a:cubicBezTo>
                <a:cubicBezTo>
                  <a:pt x="3709" y="349"/>
                  <a:pt x="3708" y="349"/>
                  <a:pt x="3708" y="349"/>
                </a:cubicBezTo>
                <a:cubicBezTo>
                  <a:pt x="3707" y="350"/>
                  <a:pt x="3706" y="350"/>
                  <a:pt x="3706" y="351"/>
                </a:cubicBezTo>
                <a:cubicBezTo>
                  <a:pt x="3706" y="351"/>
                  <a:pt x="3706" y="352"/>
                  <a:pt x="3706" y="353"/>
                </a:cubicBezTo>
                <a:cubicBezTo>
                  <a:pt x="3705" y="353"/>
                  <a:pt x="3705" y="352"/>
                  <a:pt x="3705" y="352"/>
                </a:cubicBezTo>
                <a:cubicBezTo>
                  <a:pt x="3705" y="352"/>
                  <a:pt x="3704" y="352"/>
                  <a:pt x="3704" y="352"/>
                </a:cubicBezTo>
                <a:cubicBezTo>
                  <a:pt x="3704" y="352"/>
                  <a:pt x="3704" y="352"/>
                  <a:pt x="3704" y="352"/>
                </a:cubicBezTo>
                <a:cubicBezTo>
                  <a:pt x="3703" y="353"/>
                  <a:pt x="3704" y="352"/>
                  <a:pt x="3704" y="353"/>
                </a:cubicBezTo>
                <a:cubicBezTo>
                  <a:pt x="3704" y="353"/>
                  <a:pt x="3704" y="353"/>
                  <a:pt x="3704" y="353"/>
                </a:cubicBezTo>
                <a:cubicBezTo>
                  <a:pt x="3704" y="353"/>
                  <a:pt x="3704" y="353"/>
                  <a:pt x="3704" y="353"/>
                </a:cubicBezTo>
                <a:cubicBezTo>
                  <a:pt x="3703" y="353"/>
                  <a:pt x="3703" y="353"/>
                  <a:pt x="3702" y="353"/>
                </a:cubicBezTo>
                <a:cubicBezTo>
                  <a:pt x="3702" y="353"/>
                  <a:pt x="3702" y="353"/>
                  <a:pt x="3701" y="353"/>
                </a:cubicBezTo>
                <a:cubicBezTo>
                  <a:pt x="3700" y="353"/>
                  <a:pt x="3700" y="353"/>
                  <a:pt x="3699" y="353"/>
                </a:cubicBezTo>
                <a:cubicBezTo>
                  <a:pt x="3699" y="353"/>
                  <a:pt x="3698" y="353"/>
                  <a:pt x="3698" y="353"/>
                </a:cubicBezTo>
                <a:cubicBezTo>
                  <a:pt x="3697" y="354"/>
                  <a:pt x="3696" y="354"/>
                  <a:pt x="3695" y="354"/>
                </a:cubicBezTo>
                <a:cubicBezTo>
                  <a:pt x="3694" y="353"/>
                  <a:pt x="3693" y="353"/>
                  <a:pt x="3693" y="353"/>
                </a:cubicBezTo>
                <a:cubicBezTo>
                  <a:pt x="3692" y="352"/>
                  <a:pt x="3692" y="351"/>
                  <a:pt x="3692" y="350"/>
                </a:cubicBezTo>
                <a:cubicBezTo>
                  <a:pt x="3692" y="350"/>
                  <a:pt x="3692" y="349"/>
                  <a:pt x="3691" y="348"/>
                </a:cubicBezTo>
                <a:cubicBezTo>
                  <a:pt x="3691" y="347"/>
                  <a:pt x="3690" y="347"/>
                  <a:pt x="3689" y="347"/>
                </a:cubicBezTo>
                <a:cubicBezTo>
                  <a:pt x="3688" y="347"/>
                  <a:pt x="3687" y="347"/>
                  <a:pt x="3687" y="346"/>
                </a:cubicBezTo>
                <a:cubicBezTo>
                  <a:pt x="3686" y="346"/>
                  <a:pt x="3685" y="345"/>
                  <a:pt x="3685" y="345"/>
                </a:cubicBezTo>
                <a:cubicBezTo>
                  <a:pt x="3683" y="345"/>
                  <a:pt x="3681" y="345"/>
                  <a:pt x="3680" y="344"/>
                </a:cubicBezTo>
                <a:cubicBezTo>
                  <a:pt x="3679" y="344"/>
                  <a:pt x="3678" y="344"/>
                  <a:pt x="3678" y="343"/>
                </a:cubicBezTo>
                <a:cubicBezTo>
                  <a:pt x="3678" y="342"/>
                  <a:pt x="3678" y="341"/>
                  <a:pt x="3678" y="341"/>
                </a:cubicBezTo>
                <a:cubicBezTo>
                  <a:pt x="3678" y="340"/>
                  <a:pt x="3678" y="339"/>
                  <a:pt x="3678" y="339"/>
                </a:cubicBezTo>
                <a:cubicBezTo>
                  <a:pt x="3678" y="338"/>
                  <a:pt x="3677" y="337"/>
                  <a:pt x="3677" y="337"/>
                </a:cubicBezTo>
                <a:cubicBezTo>
                  <a:pt x="3676" y="337"/>
                  <a:pt x="3675" y="337"/>
                  <a:pt x="3675" y="336"/>
                </a:cubicBezTo>
                <a:cubicBezTo>
                  <a:pt x="3675" y="335"/>
                  <a:pt x="3675" y="335"/>
                  <a:pt x="3675" y="335"/>
                </a:cubicBezTo>
                <a:cubicBezTo>
                  <a:pt x="3674" y="334"/>
                  <a:pt x="3674" y="334"/>
                  <a:pt x="3674" y="334"/>
                </a:cubicBezTo>
                <a:cubicBezTo>
                  <a:pt x="3673" y="334"/>
                  <a:pt x="3672" y="334"/>
                  <a:pt x="3671" y="334"/>
                </a:cubicBezTo>
                <a:cubicBezTo>
                  <a:pt x="3670" y="334"/>
                  <a:pt x="3670" y="335"/>
                  <a:pt x="3670" y="335"/>
                </a:cubicBezTo>
                <a:cubicBezTo>
                  <a:pt x="3669" y="335"/>
                  <a:pt x="3669" y="336"/>
                  <a:pt x="3669" y="336"/>
                </a:cubicBezTo>
                <a:cubicBezTo>
                  <a:pt x="3668" y="336"/>
                  <a:pt x="3668" y="336"/>
                  <a:pt x="3668" y="336"/>
                </a:cubicBezTo>
                <a:cubicBezTo>
                  <a:pt x="3667" y="337"/>
                  <a:pt x="3667" y="337"/>
                  <a:pt x="3667" y="337"/>
                </a:cubicBezTo>
                <a:cubicBezTo>
                  <a:pt x="3666" y="338"/>
                  <a:pt x="3666" y="338"/>
                  <a:pt x="3665" y="338"/>
                </a:cubicBezTo>
                <a:cubicBezTo>
                  <a:pt x="3664" y="338"/>
                  <a:pt x="3664" y="338"/>
                  <a:pt x="3663" y="338"/>
                </a:cubicBezTo>
                <a:cubicBezTo>
                  <a:pt x="3662" y="338"/>
                  <a:pt x="3661" y="338"/>
                  <a:pt x="3660" y="338"/>
                </a:cubicBezTo>
                <a:cubicBezTo>
                  <a:pt x="3658" y="338"/>
                  <a:pt x="3656" y="338"/>
                  <a:pt x="3655" y="338"/>
                </a:cubicBezTo>
                <a:cubicBezTo>
                  <a:pt x="3653" y="338"/>
                  <a:pt x="3652" y="338"/>
                  <a:pt x="3650" y="337"/>
                </a:cubicBezTo>
                <a:cubicBezTo>
                  <a:pt x="3648" y="337"/>
                  <a:pt x="3646" y="338"/>
                  <a:pt x="3644" y="337"/>
                </a:cubicBezTo>
                <a:cubicBezTo>
                  <a:pt x="3643" y="337"/>
                  <a:pt x="3642" y="336"/>
                  <a:pt x="3641" y="336"/>
                </a:cubicBezTo>
                <a:cubicBezTo>
                  <a:pt x="3640" y="336"/>
                  <a:pt x="3639" y="336"/>
                  <a:pt x="3638" y="336"/>
                </a:cubicBezTo>
                <a:cubicBezTo>
                  <a:pt x="3637" y="335"/>
                  <a:pt x="3636" y="335"/>
                  <a:pt x="3635" y="335"/>
                </a:cubicBezTo>
                <a:cubicBezTo>
                  <a:pt x="3635" y="335"/>
                  <a:pt x="3634" y="335"/>
                  <a:pt x="3634" y="335"/>
                </a:cubicBezTo>
                <a:cubicBezTo>
                  <a:pt x="3633" y="335"/>
                  <a:pt x="3633" y="335"/>
                  <a:pt x="3632" y="335"/>
                </a:cubicBezTo>
                <a:cubicBezTo>
                  <a:pt x="3632" y="335"/>
                  <a:pt x="3631" y="334"/>
                  <a:pt x="3631" y="334"/>
                </a:cubicBezTo>
                <a:cubicBezTo>
                  <a:pt x="3630" y="334"/>
                  <a:pt x="3630" y="334"/>
                  <a:pt x="3629" y="334"/>
                </a:cubicBezTo>
                <a:cubicBezTo>
                  <a:pt x="3629" y="334"/>
                  <a:pt x="3629" y="334"/>
                  <a:pt x="3629" y="334"/>
                </a:cubicBezTo>
                <a:cubicBezTo>
                  <a:pt x="3628" y="335"/>
                  <a:pt x="3627" y="335"/>
                  <a:pt x="3626" y="335"/>
                </a:cubicBezTo>
                <a:cubicBezTo>
                  <a:pt x="3626" y="335"/>
                  <a:pt x="3625" y="335"/>
                  <a:pt x="3625" y="335"/>
                </a:cubicBezTo>
                <a:cubicBezTo>
                  <a:pt x="3624" y="335"/>
                  <a:pt x="3623" y="335"/>
                  <a:pt x="3623" y="335"/>
                </a:cubicBezTo>
                <a:cubicBezTo>
                  <a:pt x="3622" y="335"/>
                  <a:pt x="3621" y="335"/>
                  <a:pt x="3619" y="335"/>
                </a:cubicBezTo>
                <a:cubicBezTo>
                  <a:pt x="3618" y="335"/>
                  <a:pt x="3616" y="335"/>
                  <a:pt x="3614" y="335"/>
                </a:cubicBezTo>
                <a:cubicBezTo>
                  <a:pt x="3613" y="336"/>
                  <a:pt x="3612" y="336"/>
                  <a:pt x="3610" y="336"/>
                </a:cubicBezTo>
                <a:cubicBezTo>
                  <a:pt x="3609" y="336"/>
                  <a:pt x="3608" y="336"/>
                  <a:pt x="3607" y="337"/>
                </a:cubicBezTo>
                <a:cubicBezTo>
                  <a:pt x="3606" y="337"/>
                  <a:pt x="3605" y="336"/>
                  <a:pt x="3604" y="337"/>
                </a:cubicBezTo>
                <a:cubicBezTo>
                  <a:pt x="3603" y="337"/>
                  <a:pt x="3602" y="337"/>
                  <a:pt x="3601" y="337"/>
                </a:cubicBezTo>
                <a:cubicBezTo>
                  <a:pt x="3599" y="337"/>
                  <a:pt x="3598" y="338"/>
                  <a:pt x="3596" y="338"/>
                </a:cubicBezTo>
                <a:cubicBezTo>
                  <a:pt x="3595" y="338"/>
                  <a:pt x="3594" y="338"/>
                  <a:pt x="3593" y="337"/>
                </a:cubicBezTo>
                <a:cubicBezTo>
                  <a:pt x="3591" y="337"/>
                  <a:pt x="3589" y="336"/>
                  <a:pt x="3587" y="335"/>
                </a:cubicBezTo>
                <a:cubicBezTo>
                  <a:pt x="3586" y="335"/>
                  <a:pt x="3585" y="335"/>
                  <a:pt x="3584" y="335"/>
                </a:cubicBezTo>
                <a:cubicBezTo>
                  <a:pt x="3584" y="335"/>
                  <a:pt x="3583" y="335"/>
                  <a:pt x="3582" y="334"/>
                </a:cubicBezTo>
                <a:cubicBezTo>
                  <a:pt x="3582" y="334"/>
                  <a:pt x="3582" y="333"/>
                  <a:pt x="3582" y="333"/>
                </a:cubicBezTo>
                <a:cubicBezTo>
                  <a:pt x="3582" y="332"/>
                  <a:pt x="3581" y="332"/>
                  <a:pt x="3581" y="332"/>
                </a:cubicBezTo>
                <a:cubicBezTo>
                  <a:pt x="3580" y="331"/>
                  <a:pt x="3581" y="331"/>
                  <a:pt x="3582" y="330"/>
                </a:cubicBezTo>
                <a:cubicBezTo>
                  <a:pt x="3583" y="329"/>
                  <a:pt x="3582" y="329"/>
                  <a:pt x="3582" y="328"/>
                </a:cubicBezTo>
                <a:cubicBezTo>
                  <a:pt x="3581" y="327"/>
                  <a:pt x="3581" y="326"/>
                  <a:pt x="3583" y="326"/>
                </a:cubicBezTo>
                <a:cubicBezTo>
                  <a:pt x="3583" y="326"/>
                  <a:pt x="3585" y="327"/>
                  <a:pt x="3585" y="326"/>
                </a:cubicBezTo>
                <a:cubicBezTo>
                  <a:pt x="3585" y="325"/>
                  <a:pt x="3584" y="325"/>
                  <a:pt x="3584" y="325"/>
                </a:cubicBezTo>
                <a:cubicBezTo>
                  <a:pt x="3585" y="325"/>
                  <a:pt x="3585" y="325"/>
                  <a:pt x="3585" y="324"/>
                </a:cubicBezTo>
                <a:cubicBezTo>
                  <a:pt x="3585" y="324"/>
                  <a:pt x="3585" y="323"/>
                  <a:pt x="3584" y="322"/>
                </a:cubicBezTo>
                <a:cubicBezTo>
                  <a:pt x="3584" y="322"/>
                  <a:pt x="3584" y="322"/>
                  <a:pt x="3584" y="321"/>
                </a:cubicBezTo>
                <a:cubicBezTo>
                  <a:pt x="3584" y="321"/>
                  <a:pt x="3584" y="320"/>
                  <a:pt x="3584" y="320"/>
                </a:cubicBezTo>
                <a:cubicBezTo>
                  <a:pt x="3583" y="318"/>
                  <a:pt x="3582" y="316"/>
                  <a:pt x="3581" y="315"/>
                </a:cubicBezTo>
                <a:cubicBezTo>
                  <a:pt x="3580" y="314"/>
                  <a:pt x="3579" y="314"/>
                  <a:pt x="3578" y="313"/>
                </a:cubicBezTo>
                <a:cubicBezTo>
                  <a:pt x="3576" y="312"/>
                  <a:pt x="3574" y="311"/>
                  <a:pt x="3572" y="310"/>
                </a:cubicBezTo>
                <a:cubicBezTo>
                  <a:pt x="3571" y="310"/>
                  <a:pt x="3570" y="310"/>
                  <a:pt x="3570" y="310"/>
                </a:cubicBezTo>
                <a:cubicBezTo>
                  <a:pt x="3569" y="309"/>
                  <a:pt x="3569" y="309"/>
                  <a:pt x="3568" y="309"/>
                </a:cubicBezTo>
                <a:cubicBezTo>
                  <a:pt x="3568" y="309"/>
                  <a:pt x="3567" y="309"/>
                  <a:pt x="3567" y="309"/>
                </a:cubicBezTo>
                <a:cubicBezTo>
                  <a:pt x="3566" y="308"/>
                  <a:pt x="3565" y="308"/>
                  <a:pt x="3564" y="308"/>
                </a:cubicBezTo>
                <a:cubicBezTo>
                  <a:pt x="3563" y="308"/>
                  <a:pt x="3562" y="308"/>
                  <a:pt x="3561" y="308"/>
                </a:cubicBezTo>
                <a:cubicBezTo>
                  <a:pt x="3559" y="307"/>
                  <a:pt x="3557" y="307"/>
                  <a:pt x="3555" y="307"/>
                </a:cubicBezTo>
                <a:cubicBezTo>
                  <a:pt x="3553" y="307"/>
                  <a:pt x="3551" y="307"/>
                  <a:pt x="3549" y="307"/>
                </a:cubicBezTo>
                <a:cubicBezTo>
                  <a:pt x="3548" y="307"/>
                  <a:pt x="3546" y="307"/>
                  <a:pt x="3545" y="307"/>
                </a:cubicBezTo>
                <a:cubicBezTo>
                  <a:pt x="3542" y="306"/>
                  <a:pt x="3539" y="306"/>
                  <a:pt x="3535" y="307"/>
                </a:cubicBezTo>
                <a:cubicBezTo>
                  <a:pt x="3534" y="307"/>
                  <a:pt x="3533" y="307"/>
                  <a:pt x="3531" y="307"/>
                </a:cubicBezTo>
                <a:cubicBezTo>
                  <a:pt x="3530" y="307"/>
                  <a:pt x="3529" y="307"/>
                  <a:pt x="3528" y="308"/>
                </a:cubicBezTo>
                <a:cubicBezTo>
                  <a:pt x="3525" y="308"/>
                  <a:pt x="3522" y="309"/>
                  <a:pt x="3519" y="309"/>
                </a:cubicBezTo>
                <a:cubicBezTo>
                  <a:pt x="3516" y="310"/>
                  <a:pt x="3514" y="311"/>
                  <a:pt x="3511" y="311"/>
                </a:cubicBezTo>
                <a:cubicBezTo>
                  <a:pt x="3510" y="311"/>
                  <a:pt x="3508" y="312"/>
                  <a:pt x="3507" y="312"/>
                </a:cubicBezTo>
                <a:cubicBezTo>
                  <a:pt x="3506" y="312"/>
                  <a:pt x="3505" y="312"/>
                  <a:pt x="3505" y="312"/>
                </a:cubicBezTo>
                <a:cubicBezTo>
                  <a:pt x="3504" y="312"/>
                  <a:pt x="3503" y="312"/>
                  <a:pt x="3502" y="312"/>
                </a:cubicBezTo>
                <a:cubicBezTo>
                  <a:pt x="3502" y="313"/>
                  <a:pt x="3501" y="313"/>
                  <a:pt x="3500" y="313"/>
                </a:cubicBezTo>
                <a:cubicBezTo>
                  <a:pt x="3499" y="312"/>
                  <a:pt x="3498" y="312"/>
                  <a:pt x="3497" y="312"/>
                </a:cubicBezTo>
                <a:cubicBezTo>
                  <a:pt x="3497" y="312"/>
                  <a:pt x="3496" y="312"/>
                  <a:pt x="3496" y="311"/>
                </a:cubicBezTo>
                <a:cubicBezTo>
                  <a:pt x="3495" y="311"/>
                  <a:pt x="3495" y="311"/>
                  <a:pt x="3494" y="311"/>
                </a:cubicBezTo>
                <a:cubicBezTo>
                  <a:pt x="3494" y="311"/>
                  <a:pt x="3493" y="311"/>
                  <a:pt x="3492" y="310"/>
                </a:cubicBezTo>
                <a:cubicBezTo>
                  <a:pt x="3492" y="310"/>
                  <a:pt x="3491" y="309"/>
                  <a:pt x="3491" y="309"/>
                </a:cubicBezTo>
                <a:cubicBezTo>
                  <a:pt x="3491" y="309"/>
                  <a:pt x="3492" y="309"/>
                  <a:pt x="3492" y="309"/>
                </a:cubicBezTo>
                <a:cubicBezTo>
                  <a:pt x="3492" y="309"/>
                  <a:pt x="3492" y="308"/>
                  <a:pt x="3492" y="308"/>
                </a:cubicBezTo>
                <a:cubicBezTo>
                  <a:pt x="3492" y="308"/>
                  <a:pt x="3491" y="307"/>
                  <a:pt x="3491" y="307"/>
                </a:cubicBezTo>
                <a:cubicBezTo>
                  <a:pt x="3491" y="306"/>
                  <a:pt x="3491" y="306"/>
                  <a:pt x="3490" y="306"/>
                </a:cubicBezTo>
                <a:cubicBezTo>
                  <a:pt x="3490" y="305"/>
                  <a:pt x="3490" y="305"/>
                  <a:pt x="3489" y="304"/>
                </a:cubicBezTo>
                <a:cubicBezTo>
                  <a:pt x="3489" y="304"/>
                  <a:pt x="3489" y="304"/>
                  <a:pt x="3488" y="304"/>
                </a:cubicBezTo>
                <a:cubicBezTo>
                  <a:pt x="3488" y="303"/>
                  <a:pt x="3487" y="302"/>
                  <a:pt x="3487" y="302"/>
                </a:cubicBezTo>
                <a:cubicBezTo>
                  <a:pt x="3486" y="301"/>
                  <a:pt x="3484" y="300"/>
                  <a:pt x="3482" y="300"/>
                </a:cubicBezTo>
                <a:cubicBezTo>
                  <a:pt x="3482" y="300"/>
                  <a:pt x="3481" y="300"/>
                  <a:pt x="3480" y="301"/>
                </a:cubicBezTo>
                <a:cubicBezTo>
                  <a:pt x="3480" y="301"/>
                  <a:pt x="3479" y="302"/>
                  <a:pt x="3478" y="302"/>
                </a:cubicBezTo>
                <a:cubicBezTo>
                  <a:pt x="3477" y="302"/>
                  <a:pt x="3479" y="300"/>
                  <a:pt x="3478" y="300"/>
                </a:cubicBezTo>
                <a:cubicBezTo>
                  <a:pt x="3477" y="300"/>
                  <a:pt x="3477" y="301"/>
                  <a:pt x="3476" y="302"/>
                </a:cubicBezTo>
                <a:cubicBezTo>
                  <a:pt x="3475" y="302"/>
                  <a:pt x="3472" y="304"/>
                  <a:pt x="3471" y="303"/>
                </a:cubicBezTo>
                <a:cubicBezTo>
                  <a:pt x="3471" y="303"/>
                  <a:pt x="3473" y="303"/>
                  <a:pt x="3473" y="303"/>
                </a:cubicBezTo>
                <a:cubicBezTo>
                  <a:pt x="3474" y="302"/>
                  <a:pt x="3474" y="301"/>
                  <a:pt x="3475" y="301"/>
                </a:cubicBezTo>
                <a:cubicBezTo>
                  <a:pt x="3475" y="300"/>
                  <a:pt x="3475" y="300"/>
                  <a:pt x="3476" y="300"/>
                </a:cubicBezTo>
                <a:cubicBezTo>
                  <a:pt x="3476" y="300"/>
                  <a:pt x="3476" y="300"/>
                  <a:pt x="3476" y="299"/>
                </a:cubicBezTo>
                <a:cubicBezTo>
                  <a:pt x="3476" y="299"/>
                  <a:pt x="3477" y="299"/>
                  <a:pt x="3477" y="298"/>
                </a:cubicBezTo>
                <a:cubicBezTo>
                  <a:pt x="3477" y="297"/>
                  <a:pt x="3476" y="298"/>
                  <a:pt x="3476" y="298"/>
                </a:cubicBezTo>
                <a:cubicBezTo>
                  <a:pt x="3475" y="298"/>
                  <a:pt x="3475" y="298"/>
                  <a:pt x="3474" y="298"/>
                </a:cubicBezTo>
                <a:cubicBezTo>
                  <a:pt x="3473" y="298"/>
                  <a:pt x="3473" y="298"/>
                  <a:pt x="3472" y="297"/>
                </a:cubicBezTo>
                <a:cubicBezTo>
                  <a:pt x="3471" y="297"/>
                  <a:pt x="3471" y="298"/>
                  <a:pt x="3470" y="298"/>
                </a:cubicBezTo>
                <a:cubicBezTo>
                  <a:pt x="3469" y="299"/>
                  <a:pt x="3469" y="298"/>
                  <a:pt x="3469" y="297"/>
                </a:cubicBezTo>
                <a:cubicBezTo>
                  <a:pt x="3470" y="296"/>
                  <a:pt x="3470" y="296"/>
                  <a:pt x="3471" y="296"/>
                </a:cubicBezTo>
                <a:cubicBezTo>
                  <a:pt x="3471" y="296"/>
                  <a:pt x="3472" y="295"/>
                  <a:pt x="3471" y="295"/>
                </a:cubicBezTo>
                <a:cubicBezTo>
                  <a:pt x="3470" y="295"/>
                  <a:pt x="3470" y="295"/>
                  <a:pt x="3469" y="295"/>
                </a:cubicBezTo>
                <a:cubicBezTo>
                  <a:pt x="3469" y="295"/>
                  <a:pt x="3468" y="294"/>
                  <a:pt x="3468" y="294"/>
                </a:cubicBezTo>
                <a:cubicBezTo>
                  <a:pt x="3467" y="294"/>
                  <a:pt x="3465" y="295"/>
                  <a:pt x="3464" y="295"/>
                </a:cubicBezTo>
                <a:cubicBezTo>
                  <a:pt x="3463" y="294"/>
                  <a:pt x="3463" y="294"/>
                  <a:pt x="3463" y="294"/>
                </a:cubicBezTo>
                <a:cubicBezTo>
                  <a:pt x="3463" y="294"/>
                  <a:pt x="3462" y="294"/>
                  <a:pt x="3462" y="294"/>
                </a:cubicBezTo>
                <a:cubicBezTo>
                  <a:pt x="3461" y="294"/>
                  <a:pt x="3461" y="293"/>
                  <a:pt x="3461" y="294"/>
                </a:cubicBezTo>
                <a:cubicBezTo>
                  <a:pt x="3461" y="294"/>
                  <a:pt x="3460" y="294"/>
                  <a:pt x="3460" y="294"/>
                </a:cubicBezTo>
                <a:cubicBezTo>
                  <a:pt x="3459" y="294"/>
                  <a:pt x="3459" y="294"/>
                  <a:pt x="3458" y="294"/>
                </a:cubicBezTo>
                <a:cubicBezTo>
                  <a:pt x="3457" y="294"/>
                  <a:pt x="3457" y="292"/>
                  <a:pt x="3457" y="292"/>
                </a:cubicBezTo>
                <a:cubicBezTo>
                  <a:pt x="3458" y="291"/>
                  <a:pt x="3458" y="292"/>
                  <a:pt x="3458" y="292"/>
                </a:cubicBezTo>
                <a:cubicBezTo>
                  <a:pt x="3459" y="292"/>
                  <a:pt x="3459" y="292"/>
                  <a:pt x="3459" y="292"/>
                </a:cubicBezTo>
                <a:cubicBezTo>
                  <a:pt x="3460" y="292"/>
                  <a:pt x="3460" y="293"/>
                  <a:pt x="3460" y="293"/>
                </a:cubicBezTo>
                <a:cubicBezTo>
                  <a:pt x="3461" y="293"/>
                  <a:pt x="3461" y="292"/>
                  <a:pt x="3461" y="292"/>
                </a:cubicBezTo>
                <a:cubicBezTo>
                  <a:pt x="3461" y="291"/>
                  <a:pt x="3461" y="291"/>
                  <a:pt x="3462" y="291"/>
                </a:cubicBezTo>
                <a:cubicBezTo>
                  <a:pt x="3462" y="290"/>
                  <a:pt x="3462" y="290"/>
                  <a:pt x="3463" y="290"/>
                </a:cubicBezTo>
                <a:cubicBezTo>
                  <a:pt x="3463" y="290"/>
                  <a:pt x="3463" y="289"/>
                  <a:pt x="3464" y="290"/>
                </a:cubicBezTo>
                <a:cubicBezTo>
                  <a:pt x="3464" y="290"/>
                  <a:pt x="3464" y="290"/>
                  <a:pt x="3464" y="291"/>
                </a:cubicBezTo>
                <a:cubicBezTo>
                  <a:pt x="3465" y="291"/>
                  <a:pt x="3465" y="291"/>
                  <a:pt x="3465" y="291"/>
                </a:cubicBezTo>
                <a:cubicBezTo>
                  <a:pt x="3466" y="291"/>
                  <a:pt x="3466" y="292"/>
                  <a:pt x="3466" y="292"/>
                </a:cubicBezTo>
                <a:cubicBezTo>
                  <a:pt x="3467" y="293"/>
                  <a:pt x="3467" y="293"/>
                  <a:pt x="3468" y="292"/>
                </a:cubicBezTo>
                <a:cubicBezTo>
                  <a:pt x="3468" y="292"/>
                  <a:pt x="3469" y="291"/>
                  <a:pt x="3469" y="291"/>
                </a:cubicBezTo>
                <a:cubicBezTo>
                  <a:pt x="3469" y="291"/>
                  <a:pt x="3470" y="291"/>
                  <a:pt x="3470" y="291"/>
                </a:cubicBezTo>
                <a:cubicBezTo>
                  <a:pt x="3471" y="290"/>
                  <a:pt x="3471" y="289"/>
                  <a:pt x="3471" y="289"/>
                </a:cubicBezTo>
                <a:cubicBezTo>
                  <a:pt x="3471" y="288"/>
                  <a:pt x="3470" y="288"/>
                  <a:pt x="3470" y="288"/>
                </a:cubicBezTo>
                <a:cubicBezTo>
                  <a:pt x="3470" y="287"/>
                  <a:pt x="3469" y="287"/>
                  <a:pt x="3469" y="287"/>
                </a:cubicBezTo>
                <a:cubicBezTo>
                  <a:pt x="3468" y="287"/>
                  <a:pt x="3468" y="286"/>
                  <a:pt x="3468" y="286"/>
                </a:cubicBezTo>
                <a:cubicBezTo>
                  <a:pt x="3467" y="285"/>
                  <a:pt x="3467" y="285"/>
                  <a:pt x="3466" y="284"/>
                </a:cubicBezTo>
                <a:cubicBezTo>
                  <a:pt x="3465" y="284"/>
                  <a:pt x="3464" y="284"/>
                  <a:pt x="3463" y="284"/>
                </a:cubicBezTo>
                <a:cubicBezTo>
                  <a:pt x="3462" y="283"/>
                  <a:pt x="3461" y="283"/>
                  <a:pt x="3460" y="283"/>
                </a:cubicBezTo>
                <a:cubicBezTo>
                  <a:pt x="3458" y="282"/>
                  <a:pt x="3456" y="282"/>
                  <a:pt x="3454" y="281"/>
                </a:cubicBezTo>
                <a:cubicBezTo>
                  <a:pt x="3453" y="281"/>
                  <a:pt x="3451" y="280"/>
                  <a:pt x="3449" y="280"/>
                </a:cubicBezTo>
                <a:cubicBezTo>
                  <a:pt x="3447" y="280"/>
                  <a:pt x="3445" y="280"/>
                  <a:pt x="3443" y="280"/>
                </a:cubicBezTo>
                <a:cubicBezTo>
                  <a:pt x="3442" y="280"/>
                  <a:pt x="3441" y="280"/>
                  <a:pt x="3440" y="280"/>
                </a:cubicBezTo>
                <a:cubicBezTo>
                  <a:pt x="3438" y="280"/>
                  <a:pt x="3437" y="280"/>
                  <a:pt x="3436" y="282"/>
                </a:cubicBezTo>
                <a:cubicBezTo>
                  <a:pt x="3435" y="282"/>
                  <a:pt x="3435" y="283"/>
                  <a:pt x="3434" y="284"/>
                </a:cubicBezTo>
                <a:cubicBezTo>
                  <a:pt x="3434" y="284"/>
                  <a:pt x="3433" y="285"/>
                  <a:pt x="3432" y="285"/>
                </a:cubicBezTo>
                <a:cubicBezTo>
                  <a:pt x="3432" y="286"/>
                  <a:pt x="3431" y="286"/>
                  <a:pt x="3430" y="287"/>
                </a:cubicBezTo>
                <a:cubicBezTo>
                  <a:pt x="3429" y="289"/>
                  <a:pt x="3428" y="291"/>
                  <a:pt x="3426" y="292"/>
                </a:cubicBezTo>
                <a:cubicBezTo>
                  <a:pt x="3424" y="293"/>
                  <a:pt x="3422" y="293"/>
                  <a:pt x="3419" y="293"/>
                </a:cubicBezTo>
                <a:cubicBezTo>
                  <a:pt x="3418" y="293"/>
                  <a:pt x="3417" y="293"/>
                  <a:pt x="3416" y="294"/>
                </a:cubicBezTo>
                <a:cubicBezTo>
                  <a:pt x="3415" y="294"/>
                  <a:pt x="3415" y="294"/>
                  <a:pt x="3414" y="294"/>
                </a:cubicBezTo>
                <a:cubicBezTo>
                  <a:pt x="3413" y="294"/>
                  <a:pt x="3413" y="294"/>
                  <a:pt x="3412" y="294"/>
                </a:cubicBezTo>
                <a:cubicBezTo>
                  <a:pt x="3412" y="294"/>
                  <a:pt x="3412" y="294"/>
                  <a:pt x="3413" y="293"/>
                </a:cubicBezTo>
                <a:cubicBezTo>
                  <a:pt x="3413" y="293"/>
                  <a:pt x="3413" y="293"/>
                  <a:pt x="3413" y="292"/>
                </a:cubicBezTo>
                <a:cubicBezTo>
                  <a:pt x="3413" y="292"/>
                  <a:pt x="3414" y="292"/>
                  <a:pt x="3414" y="292"/>
                </a:cubicBezTo>
                <a:cubicBezTo>
                  <a:pt x="3414" y="292"/>
                  <a:pt x="3416" y="291"/>
                  <a:pt x="3415" y="291"/>
                </a:cubicBezTo>
                <a:cubicBezTo>
                  <a:pt x="3415" y="291"/>
                  <a:pt x="3415" y="291"/>
                  <a:pt x="3414" y="290"/>
                </a:cubicBezTo>
                <a:cubicBezTo>
                  <a:pt x="3414" y="290"/>
                  <a:pt x="3414" y="290"/>
                  <a:pt x="3414" y="289"/>
                </a:cubicBezTo>
                <a:cubicBezTo>
                  <a:pt x="3413" y="289"/>
                  <a:pt x="3413" y="289"/>
                  <a:pt x="3414" y="289"/>
                </a:cubicBezTo>
                <a:cubicBezTo>
                  <a:pt x="3414" y="289"/>
                  <a:pt x="3414" y="289"/>
                  <a:pt x="3415" y="289"/>
                </a:cubicBezTo>
                <a:cubicBezTo>
                  <a:pt x="3415" y="290"/>
                  <a:pt x="3416" y="290"/>
                  <a:pt x="3417" y="290"/>
                </a:cubicBezTo>
                <a:cubicBezTo>
                  <a:pt x="3418" y="290"/>
                  <a:pt x="3418" y="290"/>
                  <a:pt x="3419" y="290"/>
                </a:cubicBezTo>
                <a:cubicBezTo>
                  <a:pt x="3420" y="289"/>
                  <a:pt x="3421" y="290"/>
                  <a:pt x="3422" y="289"/>
                </a:cubicBezTo>
                <a:cubicBezTo>
                  <a:pt x="3423" y="289"/>
                  <a:pt x="3423" y="289"/>
                  <a:pt x="3422" y="288"/>
                </a:cubicBezTo>
                <a:cubicBezTo>
                  <a:pt x="3422" y="287"/>
                  <a:pt x="3421" y="287"/>
                  <a:pt x="3421" y="286"/>
                </a:cubicBezTo>
                <a:cubicBezTo>
                  <a:pt x="3421" y="286"/>
                  <a:pt x="3421" y="285"/>
                  <a:pt x="3421" y="285"/>
                </a:cubicBezTo>
                <a:cubicBezTo>
                  <a:pt x="3421" y="284"/>
                  <a:pt x="3421" y="284"/>
                  <a:pt x="3421" y="284"/>
                </a:cubicBezTo>
                <a:cubicBezTo>
                  <a:pt x="3422" y="283"/>
                  <a:pt x="3422" y="282"/>
                  <a:pt x="3423" y="283"/>
                </a:cubicBezTo>
                <a:cubicBezTo>
                  <a:pt x="3423" y="283"/>
                  <a:pt x="3423" y="283"/>
                  <a:pt x="3423" y="284"/>
                </a:cubicBezTo>
                <a:cubicBezTo>
                  <a:pt x="3423" y="284"/>
                  <a:pt x="3423" y="285"/>
                  <a:pt x="3424" y="285"/>
                </a:cubicBezTo>
                <a:cubicBezTo>
                  <a:pt x="3424" y="285"/>
                  <a:pt x="3424" y="287"/>
                  <a:pt x="3425" y="286"/>
                </a:cubicBezTo>
                <a:cubicBezTo>
                  <a:pt x="3425" y="286"/>
                  <a:pt x="3425" y="285"/>
                  <a:pt x="3425" y="285"/>
                </a:cubicBezTo>
                <a:cubicBezTo>
                  <a:pt x="3426" y="284"/>
                  <a:pt x="3426" y="284"/>
                  <a:pt x="3426" y="284"/>
                </a:cubicBezTo>
                <a:cubicBezTo>
                  <a:pt x="3427" y="284"/>
                  <a:pt x="3428" y="284"/>
                  <a:pt x="3427" y="285"/>
                </a:cubicBezTo>
                <a:cubicBezTo>
                  <a:pt x="3427" y="286"/>
                  <a:pt x="3426" y="286"/>
                  <a:pt x="3426" y="286"/>
                </a:cubicBezTo>
                <a:cubicBezTo>
                  <a:pt x="3426" y="286"/>
                  <a:pt x="3426" y="287"/>
                  <a:pt x="3425" y="287"/>
                </a:cubicBezTo>
                <a:cubicBezTo>
                  <a:pt x="3425" y="287"/>
                  <a:pt x="3425" y="287"/>
                  <a:pt x="3425" y="287"/>
                </a:cubicBezTo>
                <a:cubicBezTo>
                  <a:pt x="3424" y="288"/>
                  <a:pt x="3425" y="288"/>
                  <a:pt x="3425" y="289"/>
                </a:cubicBezTo>
                <a:cubicBezTo>
                  <a:pt x="3425" y="289"/>
                  <a:pt x="3424" y="289"/>
                  <a:pt x="3424" y="289"/>
                </a:cubicBezTo>
                <a:cubicBezTo>
                  <a:pt x="3424" y="290"/>
                  <a:pt x="3424" y="290"/>
                  <a:pt x="3424" y="290"/>
                </a:cubicBezTo>
                <a:cubicBezTo>
                  <a:pt x="3424" y="290"/>
                  <a:pt x="3424" y="290"/>
                  <a:pt x="3425" y="291"/>
                </a:cubicBezTo>
                <a:cubicBezTo>
                  <a:pt x="3425" y="291"/>
                  <a:pt x="3425" y="291"/>
                  <a:pt x="3425" y="291"/>
                </a:cubicBezTo>
                <a:cubicBezTo>
                  <a:pt x="3426" y="290"/>
                  <a:pt x="3426" y="289"/>
                  <a:pt x="3427" y="289"/>
                </a:cubicBezTo>
                <a:cubicBezTo>
                  <a:pt x="3428" y="288"/>
                  <a:pt x="3430" y="288"/>
                  <a:pt x="3431" y="286"/>
                </a:cubicBezTo>
                <a:cubicBezTo>
                  <a:pt x="3431" y="286"/>
                  <a:pt x="3431" y="285"/>
                  <a:pt x="3431" y="285"/>
                </a:cubicBezTo>
                <a:cubicBezTo>
                  <a:pt x="3432" y="285"/>
                  <a:pt x="3432" y="285"/>
                  <a:pt x="3432" y="284"/>
                </a:cubicBezTo>
                <a:cubicBezTo>
                  <a:pt x="3433" y="284"/>
                  <a:pt x="3433" y="284"/>
                  <a:pt x="3433" y="283"/>
                </a:cubicBezTo>
                <a:cubicBezTo>
                  <a:pt x="3434" y="283"/>
                  <a:pt x="3434" y="283"/>
                  <a:pt x="3435" y="282"/>
                </a:cubicBezTo>
                <a:cubicBezTo>
                  <a:pt x="3435" y="282"/>
                  <a:pt x="3435" y="281"/>
                  <a:pt x="3434" y="281"/>
                </a:cubicBezTo>
                <a:cubicBezTo>
                  <a:pt x="3434" y="281"/>
                  <a:pt x="3433" y="281"/>
                  <a:pt x="3433" y="281"/>
                </a:cubicBezTo>
                <a:cubicBezTo>
                  <a:pt x="3433" y="281"/>
                  <a:pt x="3432" y="281"/>
                  <a:pt x="3432" y="281"/>
                </a:cubicBezTo>
                <a:cubicBezTo>
                  <a:pt x="3430" y="281"/>
                  <a:pt x="3428" y="281"/>
                  <a:pt x="3426" y="281"/>
                </a:cubicBezTo>
                <a:cubicBezTo>
                  <a:pt x="3426" y="281"/>
                  <a:pt x="3425" y="281"/>
                  <a:pt x="3425" y="281"/>
                </a:cubicBezTo>
                <a:cubicBezTo>
                  <a:pt x="3425" y="281"/>
                  <a:pt x="3424" y="281"/>
                  <a:pt x="3424" y="281"/>
                </a:cubicBezTo>
                <a:cubicBezTo>
                  <a:pt x="3422" y="281"/>
                  <a:pt x="3421" y="281"/>
                  <a:pt x="3420" y="281"/>
                </a:cubicBezTo>
                <a:cubicBezTo>
                  <a:pt x="3418" y="281"/>
                  <a:pt x="3417" y="282"/>
                  <a:pt x="3415" y="282"/>
                </a:cubicBezTo>
                <a:cubicBezTo>
                  <a:pt x="3414" y="282"/>
                  <a:pt x="3413" y="282"/>
                  <a:pt x="3412" y="282"/>
                </a:cubicBezTo>
                <a:cubicBezTo>
                  <a:pt x="3411" y="282"/>
                  <a:pt x="3410" y="282"/>
                  <a:pt x="3410" y="282"/>
                </a:cubicBezTo>
                <a:cubicBezTo>
                  <a:pt x="3409" y="282"/>
                  <a:pt x="3408" y="282"/>
                  <a:pt x="3407" y="282"/>
                </a:cubicBezTo>
                <a:cubicBezTo>
                  <a:pt x="3407" y="282"/>
                  <a:pt x="3406" y="283"/>
                  <a:pt x="3406" y="282"/>
                </a:cubicBezTo>
                <a:cubicBezTo>
                  <a:pt x="3405" y="282"/>
                  <a:pt x="3405" y="282"/>
                  <a:pt x="3406" y="282"/>
                </a:cubicBezTo>
                <a:cubicBezTo>
                  <a:pt x="3406" y="282"/>
                  <a:pt x="3407" y="282"/>
                  <a:pt x="3407" y="282"/>
                </a:cubicBezTo>
                <a:cubicBezTo>
                  <a:pt x="3407" y="281"/>
                  <a:pt x="3408" y="281"/>
                  <a:pt x="3408" y="281"/>
                </a:cubicBezTo>
                <a:cubicBezTo>
                  <a:pt x="3409" y="280"/>
                  <a:pt x="3409" y="280"/>
                  <a:pt x="3410" y="279"/>
                </a:cubicBezTo>
                <a:cubicBezTo>
                  <a:pt x="3412" y="279"/>
                  <a:pt x="3414" y="278"/>
                  <a:pt x="3415" y="279"/>
                </a:cubicBezTo>
                <a:cubicBezTo>
                  <a:pt x="3416" y="279"/>
                  <a:pt x="3417" y="280"/>
                  <a:pt x="3417" y="280"/>
                </a:cubicBezTo>
                <a:cubicBezTo>
                  <a:pt x="3418" y="280"/>
                  <a:pt x="3420" y="280"/>
                  <a:pt x="3421" y="280"/>
                </a:cubicBezTo>
                <a:cubicBezTo>
                  <a:pt x="3422" y="280"/>
                  <a:pt x="3424" y="280"/>
                  <a:pt x="3426" y="280"/>
                </a:cubicBezTo>
                <a:cubicBezTo>
                  <a:pt x="3427" y="280"/>
                  <a:pt x="3429" y="280"/>
                  <a:pt x="3430" y="280"/>
                </a:cubicBezTo>
                <a:cubicBezTo>
                  <a:pt x="3431" y="280"/>
                  <a:pt x="3432" y="280"/>
                  <a:pt x="3432" y="280"/>
                </a:cubicBezTo>
                <a:cubicBezTo>
                  <a:pt x="3433" y="280"/>
                  <a:pt x="3434" y="280"/>
                  <a:pt x="3435" y="280"/>
                </a:cubicBezTo>
                <a:cubicBezTo>
                  <a:pt x="3434" y="279"/>
                  <a:pt x="3433" y="279"/>
                  <a:pt x="3432" y="279"/>
                </a:cubicBezTo>
                <a:cubicBezTo>
                  <a:pt x="3431" y="279"/>
                  <a:pt x="3431" y="279"/>
                  <a:pt x="3430" y="279"/>
                </a:cubicBezTo>
                <a:cubicBezTo>
                  <a:pt x="3428" y="278"/>
                  <a:pt x="3426" y="277"/>
                  <a:pt x="3424" y="277"/>
                </a:cubicBezTo>
                <a:cubicBezTo>
                  <a:pt x="3422" y="276"/>
                  <a:pt x="3420" y="276"/>
                  <a:pt x="3418" y="275"/>
                </a:cubicBezTo>
                <a:cubicBezTo>
                  <a:pt x="3416" y="275"/>
                  <a:pt x="3413" y="275"/>
                  <a:pt x="3411" y="274"/>
                </a:cubicBezTo>
                <a:cubicBezTo>
                  <a:pt x="3409" y="274"/>
                  <a:pt x="3407" y="274"/>
                  <a:pt x="3405" y="273"/>
                </a:cubicBezTo>
                <a:cubicBezTo>
                  <a:pt x="3404" y="273"/>
                  <a:pt x="3403" y="273"/>
                  <a:pt x="3403" y="273"/>
                </a:cubicBezTo>
                <a:cubicBezTo>
                  <a:pt x="3402" y="273"/>
                  <a:pt x="3402" y="273"/>
                  <a:pt x="3401" y="273"/>
                </a:cubicBezTo>
                <a:cubicBezTo>
                  <a:pt x="3401" y="273"/>
                  <a:pt x="3400" y="273"/>
                  <a:pt x="3400" y="273"/>
                </a:cubicBezTo>
                <a:cubicBezTo>
                  <a:pt x="3399" y="273"/>
                  <a:pt x="3398" y="273"/>
                  <a:pt x="3398" y="273"/>
                </a:cubicBezTo>
                <a:cubicBezTo>
                  <a:pt x="3395" y="272"/>
                  <a:pt x="3392" y="273"/>
                  <a:pt x="3390" y="273"/>
                </a:cubicBezTo>
                <a:cubicBezTo>
                  <a:pt x="3389" y="273"/>
                  <a:pt x="3389" y="272"/>
                  <a:pt x="3388" y="272"/>
                </a:cubicBezTo>
                <a:cubicBezTo>
                  <a:pt x="3388" y="272"/>
                  <a:pt x="3387" y="273"/>
                  <a:pt x="3387" y="272"/>
                </a:cubicBezTo>
                <a:cubicBezTo>
                  <a:pt x="3386" y="272"/>
                  <a:pt x="3386" y="272"/>
                  <a:pt x="3385" y="272"/>
                </a:cubicBezTo>
                <a:cubicBezTo>
                  <a:pt x="3385" y="272"/>
                  <a:pt x="3385" y="272"/>
                  <a:pt x="3384" y="272"/>
                </a:cubicBezTo>
                <a:cubicBezTo>
                  <a:pt x="3383" y="273"/>
                  <a:pt x="3383" y="272"/>
                  <a:pt x="3382" y="272"/>
                </a:cubicBezTo>
                <a:cubicBezTo>
                  <a:pt x="3381" y="272"/>
                  <a:pt x="3380" y="272"/>
                  <a:pt x="3380" y="272"/>
                </a:cubicBezTo>
                <a:cubicBezTo>
                  <a:pt x="3379" y="272"/>
                  <a:pt x="3378" y="271"/>
                  <a:pt x="3377" y="271"/>
                </a:cubicBezTo>
                <a:cubicBezTo>
                  <a:pt x="3375" y="270"/>
                  <a:pt x="3374" y="269"/>
                  <a:pt x="3372" y="269"/>
                </a:cubicBezTo>
                <a:cubicBezTo>
                  <a:pt x="3370" y="269"/>
                  <a:pt x="3369" y="268"/>
                  <a:pt x="3367" y="268"/>
                </a:cubicBezTo>
                <a:cubicBezTo>
                  <a:pt x="3366" y="269"/>
                  <a:pt x="3365" y="269"/>
                  <a:pt x="3365" y="269"/>
                </a:cubicBezTo>
                <a:cubicBezTo>
                  <a:pt x="3364" y="269"/>
                  <a:pt x="3363" y="268"/>
                  <a:pt x="3362" y="269"/>
                </a:cubicBezTo>
                <a:cubicBezTo>
                  <a:pt x="3363" y="269"/>
                  <a:pt x="3363" y="269"/>
                  <a:pt x="3363" y="269"/>
                </a:cubicBezTo>
                <a:cubicBezTo>
                  <a:pt x="3364" y="270"/>
                  <a:pt x="3364" y="270"/>
                  <a:pt x="3364" y="270"/>
                </a:cubicBezTo>
                <a:cubicBezTo>
                  <a:pt x="3365" y="271"/>
                  <a:pt x="3365" y="272"/>
                  <a:pt x="3366" y="272"/>
                </a:cubicBezTo>
                <a:cubicBezTo>
                  <a:pt x="3366" y="273"/>
                  <a:pt x="3367" y="273"/>
                  <a:pt x="3367" y="274"/>
                </a:cubicBezTo>
                <a:cubicBezTo>
                  <a:pt x="3368" y="275"/>
                  <a:pt x="3368" y="275"/>
                  <a:pt x="3367" y="275"/>
                </a:cubicBezTo>
                <a:cubicBezTo>
                  <a:pt x="3365" y="275"/>
                  <a:pt x="3364" y="277"/>
                  <a:pt x="3362" y="277"/>
                </a:cubicBezTo>
                <a:cubicBezTo>
                  <a:pt x="3361" y="277"/>
                  <a:pt x="3360" y="277"/>
                  <a:pt x="3359" y="277"/>
                </a:cubicBezTo>
                <a:cubicBezTo>
                  <a:pt x="3358" y="277"/>
                  <a:pt x="3357" y="277"/>
                  <a:pt x="3356" y="277"/>
                </a:cubicBezTo>
                <a:cubicBezTo>
                  <a:pt x="3355" y="277"/>
                  <a:pt x="3354" y="278"/>
                  <a:pt x="3353" y="279"/>
                </a:cubicBezTo>
                <a:cubicBezTo>
                  <a:pt x="3352" y="279"/>
                  <a:pt x="3351" y="279"/>
                  <a:pt x="3350" y="280"/>
                </a:cubicBezTo>
                <a:cubicBezTo>
                  <a:pt x="3350" y="280"/>
                  <a:pt x="3349" y="281"/>
                  <a:pt x="3348" y="281"/>
                </a:cubicBezTo>
                <a:cubicBezTo>
                  <a:pt x="3348" y="281"/>
                  <a:pt x="3347" y="282"/>
                  <a:pt x="3346" y="282"/>
                </a:cubicBezTo>
                <a:cubicBezTo>
                  <a:pt x="3346" y="282"/>
                  <a:pt x="3346" y="283"/>
                  <a:pt x="3346" y="283"/>
                </a:cubicBezTo>
                <a:cubicBezTo>
                  <a:pt x="3347" y="283"/>
                  <a:pt x="3347" y="283"/>
                  <a:pt x="3347" y="284"/>
                </a:cubicBezTo>
                <a:cubicBezTo>
                  <a:pt x="3347" y="284"/>
                  <a:pt x="3347" y="284"/>
                  <a:pt x="3348" y="284"/>
                </a:cubicBezTo>
                <a:cubicBezTo>
                  <a:pt x="3348" y="284"/>
                  <a:pt x="3348" y="284"/>
                  <a:pt x="3349" y="284"/>
                </a:cubicBezTo>
                <a:cubicBezTo>
                  <a:pt x="3349" y="283"/>
                  <a:pt x="3350" y="283"/>
                  <a:pt x="3350" y="283"/>
                </a:cubicBezTo>
                <a:cubicBezTo>
                  <a:pt x="3351" y="283"/>
                  <a:pt x="3351" y="282"/>
                  <a:pt x="3352" y="282"/>
                </a:cubicBezTo>
                <a:cubicBezTo>
                  <a:pt x="3353" y="282"/>
                  <a:pt x="3353" y="283"/>
                  <a:pt x="3353" y="283"/>
                </a:cubicBezTo>
                <a:cubicBezTo>
                  <a:pt x="3354" y="283"/>
                  <a:pt x="3354" y="283"/>
                  <a:pt x="3355" y="283"/>
                </a:cubicBezTo>
                <a:cubicBezTo>
                  <a:pt x="3355" y="283"/>
                  <a:pt x="3356" y="282"/>
                  <a:pt x="3357" y="283"/>
                </a:cubicBezTo>
                <a:cubicBezTo>
                  <a:pt x="3357" y="283"/>
                  <a:pt x="3358" y="283"/>
                  <a:pt x="3358" y="284"/>
                </a:cubicBezTo>
                <a:cubicBezTo>
                  <a:pt x="3357" y="284"/>
                  <a:pt x="3357" y="284"/>
                  <a:pt x="3356" y="284"/>
                </a:cubicBezTo>
                <a:cubicBezTo>
                  <a:pt x="3356" y="284"/>
                  <a:pt x="3355" y="285"/>
                  <a:pt x="3354" y="285"/>
                </a:cubicBezTo>
                <a:cubicBezTo>
                  <a:pt x="3354" y="286"/>
                  <a:pt x="3354" y="286"/>
                  <a:pt x="3353" y="286"/>
                </a:cubicBezTo>
                <a:cubicBezTo>
                  <a:pt x="3353" y="287"/>
                  <a:pt x="3353" y="287"/>
                  <a:pt x="3353" y="287"/>
                </a:cubicBezTo>
                <a:cubicBezTo>
                  <a:pt x="3352" y="288"/>
                  <a:pt x="3352" y="288"/>
                  <a:pt x="3351" y="288"/>
                </a:cubicBezTo>
                <a:cubicBezTo>
                  <a:pt x="3350" y="288"/>
                  <a:pt x="3350" y="288"/>
                  <a:pt x="3349" y="288"/>
                </a:cubicBezTo>
                <a:cubicBezTo>
                  <a:pt x="3349" y="289"/>
                  <a:pt x="3350" y="289"/>
                  <a:pt x="3350" y="289"/>
                </a:cubicBezTo>
                <a:cubicBezTo>
                  <a:pt x="3351" y="289"/>
                  <a:pt x="3352" y="289"/>
                  <a:pt x="3352" y="290"/>
                </a:cubicBezTo>
                <a:cubicBezTo>
                  <a:pt x="3352" y="290"/>
                  <a:pt x="3352" y="291"/>
                  <a:pt x="3352" y="291"/>
                </a:cubicBezTo>
                <a:cubicBezTo>
                  <a:pt x="3352" y="292"/>
                  <a:pt x="3353" y="292"/>
                  <a:pt x="3353" y="292"/>
                </a:cubicBezTo>
                <a:cubicBezTo>
                  <a:pt x="3353" y="293"/>
                  <a:pt x="3353" y="293"/>
                  <a:pt x="3353" y="294"/>
                </a:cubicBezTo>
                <a:cubicBezTo>
                  <a:pt x="3353" y="295"/>
                  <a:pt x="3353" y="295"/>
                  <a:pt x="3353" y="296"/>
                </a:cubicBezTo>
                <a:cubicBezTo>
                  <a:pt x="3354" y="296"/>
                  <a:pt x="3354" y="296"/>
                  <a:pt x="3355" y="296"/>
                </a:cubicBezTo>
                <a:cubicBezTo>
                  <a:pt x="3355" y="297"/>
                  <a:pt x="3355" y="297"/>
                  <a:pt x="3355" y="298"/>
                </a:cubicBezTo>
                <a:cubicBezTo>
                  <a:pt x="3356" y="298"/>
                  <a:pt x="3356" y="298"/>
                  <a:pt x="3356" y="299"/>
                </a:cubicBezTo>
                <a:cubicBezTo>
                  <a:pt x="3355" y="299"/>
                  <a:pt x="3355" y="298"/>
                  <a:pt x="3354" y="299"/>
                </a:cubicBezTo>
                <a:cubicBezTo>
                  <a:pt x="3354" y="299"/>
                  <a:pt x="3354" y="299"/>
                  <a:pt x="3353" y="299"/>
                </a:cubicBezTo>
                <a:cubicBezTo>
                  <a:pt x="3353" y="299"/>
                  <a:pt x="3353" y="299"/>
                  <a:pt x="3352" y="298"/>
                </a:cubicBezTo>
                <a:cubicBezTo>
                  <a:pt x="3351" y="298"/>
                  <a:pt x="3350" y="298"/>
                  <a:pt x="3350" y="299"/>
                </a:cubicBezTo>
                <a:cubicBezTo>
                  <a:pt x="3349" y="299"/>
                  <a:pt x="3349" y="299"/>
                  <a:pt x="3349" y="300"/>
                </a:cubicBezTo>
                <a:cubicBezTo>
                  <a:pt x="3348" y="300"/>
                  <a:pt x="3348" y="300"/>
                  <a:pt x="3347" y="300"/>
                </a:cubicBezTo>
                <a:cubicBezTo>
                  <a:pt x="3346" y="299"/>
                  <a:pt x="3346" y="298"/>
                  <a:pt x="3346" y="297"/>
                </a:cubicBezTo>
                <a:cubicBezTo>
                  <a:pt x="3345" y="296"/>
                  <a:pt x="3344" y="296"/>
                  <a:pt x="3343" y="295"/>
                </a:cubicBezTo>
                <a:cubicBezTo>
                  <a:pt x="3342" y="295"/>
                  <a:pt x="3341" y="296"/>
                  <a:pt x="3340" y="297"/>
                </a:cubicBezTo>
                <a:cubicBezTo>
                  <a:pt x="3340" y="297"/>
                  <a:pt x="3340" y="297"/>
                  <a:pt x="3340" y="297"/>
                </a:cubicBezTo>
                <a:cubicBezTo>
                  <a:pt x="3339" y="297"/>
                  <a:pt x="3338" y="297"/>
                  <a:pt x="3338" y="297"/>
                </a:cubicBezTo>
                <a:cubicBezTo>
                  <a:pt x="3338" y="297"/>
                  <a:pt x="3340" y="296"/>
                  <a:pt x="3339" y="296"/>
                </a:cubicBezTo>
                <a:cubicBezTo>
                  <a:pt x="3339" y="295"/>
                  <a:pt x="3338" y="296"/>
                  <a:pt x="3337" y="296"/>
                </a:cubicBezTo>
                <a:cubicBezTo>
                  <a:pt x="3337" y="296"/>
                  <a:pt x="3336" y="296"/>
                  <a:pt x="3335" y="296"/>
                </a:cubicBezTo>
                <a:cubicBezTo>
                  <a:pt x="3335" y="296"/>
                  <a:pt x="3334" y="297"/>
                  <a:pt x="3334" y="297"/>
                </a:cubicBezTo>
                <a:cubicBezTo>
                  <a:pt x="3333" y="298"/>
                  <a:pt x="3332" y="298"/>
                  <a:pt x="3332" y="298"/>
                </a:cubicBezTo>
                <a:cubicBezTo>
                  <a:pt x="3331" y="298"/>
                  <a:pt x="3331" y="298"/>
                  <a:pt x="3330" y="298"/>
                </a:cubicBezTo>
                <a:cubicBezTo>
                  <a:pt x="3330" y="298"/>
                  <a:pt x="3329" y="298"/>
                  <a:pt x="3329" y="298"/>
                </a:cubicBezTo>
                <a:cubicBezTo>
                  <a:pt x="3327" y="298"/>
                  <a:pt x="3325" y="298"/>
                  <a:pt x="3323" y="298"/>
                </a:cubicBezTo>
                <a:cubicBezTo>
                  <a:pt x="3323" y="298"/>
                  <a:pt x="3322" y="298"/>
                  <a:pt x="3322" y="298"/>
                </a:cubicBezTo>
                <a:cubicBezTo>
                  <a:pt x="3322" y="298"/>
                  <a:pt x="3323" y="298"/>
                  <a:pt x="3323" y="298"/>
                </a:cubicBezTo>
                <a:cubicBezTo>
                  <a:pt x="3323" y="299"/>
                  <a:pt x="3324" y="299"/>
                  <a:pt x="3324" y="299"/>
                </a:cubicBezTo>
                <a:cubicBezTo>
                  <a:pt x="3325" y="299"/>
                  <a:pt x="3326" y="298"/>
                  <a:pt x="3326" y="298"/>
                </a:cubicBezTo>
                <a:cubicBezTo>
                  <a:pt x="3327" y="298"/>
                  <a:pt x="3327" y="299"/>
                  <a:pt x="3328" y="299"/>
                </a:cubicBezTo>
                <a:cubicBezTo>
                  <a:pt x="3329" y="299"/>
                  <a:pt x="3329" y="299"/>
                  <a:pt x="3329" y="300"/>
                </a:cubicBezTo>
                <a:cubicBezTo>
                  <a:pt x="3330" y="300"/>
                  <a:pt x="3330" y="300"/>
                  <a:pt x="3330" y="300"/>
                </a:cubicBezTo>
                <a:cubicBezTo>
                  <a:pt x="3331" y="300"/>
                  <a:pt x="3331" y="298"/>
                  <a:pt x="3332" y="298"/>
                </a:cubicBezTo>
                <a:cubicBezTo>
                  <a:pt x="3332" y="298"/>
                  <a:pt x="3332" y="299"/>
                  <a:pt x="3332" y="299"/>
                </a:cubicBezTo>
                <a:cubicBezTo>
                  <a:pt x="3332" y="300"/>
                  <a:pt x="3331" y="300"/>
                  <a:pt x="3332" y="300"/>
                </a:cubicBezTo>
                <a:cubicBezTo>
                  <a:pt x="3332" y="301"/>
                  <a:pt x="3332" y="301"/>
                  <a:pt x="3333" y="301"/>
                </a:cubicBezTo>
                <a:cubicBezTo>
                  <a:pt x="3333" y="301"/>
                  <a:pt x="3333" y="301"/>
                  <a:pt x="3334" y="301"/>
                </a:cubicBezTo>
                <a:cubicBezTo>
                  <a:pt x="3334" y="301"/>
                  <a:pt x="3335" y="301"/>
                  <a:pt x="3335" y="301"/>
                </a:cubicBezTo>
                <a:cubicBezTo>
                  <a:pt x="3335" y="302"/>
                  <a:pt x="3334" y="302"/>
                  <a:pt x="3334" y="302"/>
                </a:cubicBezTo>
                <a:cubicBezTo>
                  <a:pt x="3334" y="302"/>
                  <a:pt x="3333" y="303"/>
                  <a:pt x="3334" y="303"/>
                </a:cubicBezTo>
                <a:cubicBezTo>
                  <a:pt x="3334" y="303"/>
                  <a:pt x="3335" y="302"/>
                  <a:pt x="3335" y="303"/>
                </a:cubicBezTo>
                <a:cubicBezTo>
                  <a:pt x="3335" y="303"/>
                  <a:pt x="3335" y="303"/>
                  <a:pt x="3335" y="304"/>
                </a:cubicBezTo>
                <a:cubicBezTo>
                  <a:pt x="3334" y="304"/>
                  <a:pt x="3334" y="304"/>
                  <a:pt x="3333" y="304"/>
                </a:cubicBezTo>
                <a:cubicBezTo>
                  <a:pt x="3333" y="304"/>
                  <a:pt x="3331" y="304"/>
                  <a:pt x="3331" y="304"/>
                </a:cubicBezTo>
                <a:cubicBezTo>
                  <a:pt x="3332" y="305"/>
                  <a:pt x="3333" y="304"/>
                  <a:pt x="3333" y="306"/>
                </a:cubicBezTo>
                <a:cubicBezTo>
                  <a:pt x="3333" y="306"/>
                  <a:pt x="3332" y="306"/>
                  <a:pt x="3332" y="306"/>
                </a:cubicBezTo>
                <a:cubicBezTo>
                  <a:pt x="3331" y="306"/>
                  <a:pt x="3332" y="306"/>
                  <a:pt x="3332" y="306"/>
                </a:cubicBezTo>
                <a:cubicBezTo>
                  <a:pt x="3331" y="305"/>
                  <a:pt x="3330" y="305"/>
                  <a:pt x="3330" y="305"/>
                </a:cubicBezTo>
                <a:cubicBezTo>
                  <a:pt x="3329" y="304"/>
                  <a:pt x="3330" y="304"/>
                  <a:pt x="3330" y="304"/>
                </a:cubicBezTo>
                <a:cubicBezTo>
                  <a:pt x="3331" y="304"/>
                  <a:pt x="3331" y="303"/>
                  <a:pt x="3330" y="303"/>
                </a:cubicBezTo>
                <a:cubicBezTo>
                  <a:pt x="3330" y="303"/>
                  <a:pt x="3329" y="303"/>
                  <a:pt x="3329" y="303"/>
                </a:cubicBezTo>
                <a:cubicBezTo>
                  <a:pt x="3328" y="303"/>
                  <a:pt x="3327" y="303"/>
                  <a:pt x="3327" y="302"/>
                </a:cubicBezTo>
                <a:cubicBezTo>
                  <a:pt x="3327" y="301"/>
                  <a:pt x="3327" y="302"/>
                  <a:pt x="3326" y="301"/>
                </a:cubicBezTo>
                <a:cubicBezTo>
                  <a:pt x="3326" y="301"/>
                  <a:pt x="3326" y="301"/>
                  <a:pt x="3325" y="301"/>
                </a:cubicBezTo>
                <a:cubicBezTo>
                  <a:pt x="3325" y="300"/>
                  <a:pt x="3325" y="300"/>
                  <a:pt x="3324" y="300"/>
                </a:cubicBezTo>
                <a:cubicBezTo>
                  <a:pt x="3324" y="300"/>
                  <a:pt x="3324" y="300"/>
                  <a:pt x="3323" y="299"/>
                </a:cubicBezTo>
                <a:cubicBezTo>
                  <a:pt x="3323" y="299"/>
                  <a:pt x="3323" y="300"/>
                  <a:pt x="3322" y="299"/>
                </a:cubicBezTo>
                <a:cubicBezTo>
                  <a:pt x="3322" y="299"/>
                  <a:pt x="3322" y="299"/>
                  <a:pt x="3322" y="299"/>
                </a:cubicBezTo>
                <a:cubicBezTo>
                  <a:pt x="3322" y="299"/>
                  <a:pt x="3322" y="299"/>
                  <a:pt x="3321" y="299"/>
                </a:cubicBezTo>
                <a:cubicBezTo>
                  <a:pt x="3321" y="298"/>
                  <a:pt x="3320" y="299"/>
                  <a:pt x="3319" y="298"/>
                </a:cubicBezTo>
                <a:cubicBezTo>
                  <a:pt x="3318" y="298"/>
                  <a:pt x="3318" y="298"/>
                  <a:pt x="3317" y="298"/>
                </a:cubicBezTo>
                <a:cubicBezTo>
                  <a:pt x="3317" y="298"/>
                  <a:pt x="3317" y="297"/>
                  <a:pt x="3316" y="297"/>
                </a:cubicBezTo>
                <a:cubicBezTo>
                  <a:pt x="3315" y="296"/>
                  <a:pt x="3315" y="297"/>
                  <a:pt x="3314" y="296"/>
                </a:cubicBezTo>
                <a:cubicBezTo>
                  <a:pt x="3312" y="296"/>
                  <a:pt x="3311" y="295"/>
                  <a:pt x="3309" y="295"/>
                </a:cubicBezTo>
                <a:cubicBezTo>
                  <a:pt x="3308" y="295"/>
                  <a:pt x="3307" y="295"/>
                  <a:pt x="3306" y="296"/>
                </a:cubicBezTo>
                <a:cubicBezTo>
                  <a:pt x="3306" y="296"/>
                  <a:pt x="3305" y="296"/>
                  <a:pt x="3305" y="296"/>
                </a:cubicBezTo>
                <a:cubicBezTo>
                  <a:pt x="3304" y="296"/>
                  <a:pt x="3304" y="297"/>
                  <a:pt x="3303" y="297"/>
                </a:cubicBezTo>
                <a:cubicBezTo>
                  <a:pt x="3302" y="297"/>
                  <a:pt x="3301" y="297"/>
                  <a:pt x="3300" y="297"/>
                </a:cubicBezTo>
                <a:cubicBezTo>
                  <a:pt x="3299" y="298"/>
                  <a:pt x="3298" y="298"/>
                  <a:pt x="3297" y="299"/>
                </a:cubicBezTo>
                <a:cubicBezTo>
                  <a:pt x="3297" y="299"/>
                  <a:pt x="3296" y="300"/>
                  <a:pt x="3296" y="300"/>
                </a:cubicBezTo>
                <a:cubicBezTo>
                  <a:pt x="3295" y="300"/>
                  <a:pt x="3295" y="301"/>
                  <a:pt x="3294" y="301"/>
                </a:cubicBezTo>
                <a:cubicBezTo>
                  <a:pt x="3293" y="301"/>
                  <a:pt x="3292" y="301"/>
                  <a:pt x="3291" y="301"/>
                </a:cubicBezTo>
                <a:cubicBezTo>
                  <a:pt x="3290" y="301"/>
                  <a:pt x="3290" y="300"/>
                  <a:pt x="3289" y="300"/>
                </a:cubicBezTo>
                <a:cubicBezTo>
                  <a:pt x="3288" y="300"/>
                  <a:pt x="3287" y="300"/>
                  <a:pt x="3286" y="300"/>
                </a:cubicBezTo>
                <a:cubicBezTo>
                  <a:pt x="3285" y="299"/>
                  <a:pt x="3283" y="299"/>
                  <a:pt x="3281" y="298"/>
                </a:cubicBezTo>
                <a:cubicBezTo>
                  <a:pt x="3279" y="298"/>
                  <a:pt x="3279" y="296"/>
                  <a:pt x="3277" y="295"/>
                </a:cubicBezTo>
                <a:cubicBezTo>
                  <a:pt x="3277" y="294"/>
                  <a:pt x="3276" y="293"/>
                  <a:pt x="3275" y="293"/>
                </a:cubicBezTo>
                <a:cubicBezTo>
                  <a:pt x="3274" y="293"/>
                  <a:pt x="3273" y="293"/>
                  <a:pt x="3273" y="292"/>
                </a:cubicBezTo>
                <a:cubicBezTo>
                  <a:pt x="3273" y="291"/>
                  <a:pt x="3273" y="289"/>
                  <a:pt x="3272" y="289"/>
                </a:cubicBezTo>
                <a:cubicBezTo>
                  <a:pt x="3271" y="290"/>
                  <a:pt x="3270" y="291"/>
                  <a:pt x="3270" y="291"/>
                </a:cubicBezTo>
                <a:cubicBezTo>
                  <a:pt x="3269" y="293"/>
                  <a:pt x="3268" y="295"/>
                  <a:pt x="3267" y="296"/>
                </a:cubicBezTo>
                <a:cubicBezTo>
                  <a:pt x="3267" y="297"/>
                  <a:pt x="3266" y="298"/>
                  <a:pt x="3266" y="298"/>
                </a:cubicBezTo>
                <a:cubicBezTo>
                  <a:pt x="3266" y="299"/>
                  <a:pt x="3266" y="300"/>
                  <a:pt x="3265" y="301"/>
                </a:cubicBezTo>
                <a:cubicBezTo>
                  <a:pt x="3265" y="301"/>
                  <a:pt x="3265" y="302"/>
                  <a:pt x="3264" y="303"/>
                </a:cubicBezTo>
                <a:cubicBezTo>
                  <a:pt x="3264" y="303"/>
                  <a:pt x="3264" y="304"/>
                  <a:pt x="3264" y="305"/>
                </a:cubicBezTo>
                <a:cubicBezTo>
                  <a:pt x="3263" y="305"/>
                  <a:pt x="3263" y="306"/>
                  <a:pt x="3262" y="306"/>
                </a:cubicBezTo>
                <a:cubicBezTo>
                  <a:pt x="3262" y="307"/>
                  <a:pt x="3262" y="307"/>
                  <a:pt x="3262" y="307"/>
                </a:cubicBezTo>
                <a:cubicBezTo>
                  <a:pt x="3261" y="308"/>
                  <a:pt x="3260" y="308"/>
                  <a:pt x="3260" y="309"/>
                </a:cubicBezTo>
                <a:cubicBezTo>
                  <a:pt x="3259" y="310"/>
                  <a:pt x="3258" y="311"/>
                  <a:pt x="3258" y="311"/>
                </a:cubicBezTo>
                <a:cubicBezTo>
                  <a:pt x="3257" y="312"/>
                  <a:pt x="3256" y="313"/>
                  <a:pt x="3255" y="314"/>
                </a:cubicBezTo>
                <a:cubicBezTo>
                  <a:pt x="3254" y="314"/>
                  <a:pt x="3254" y="314"/>
                  <a:pt x="3253" y="314"/>
                </a:cubicBezTo>
                <a:cubicBezTo>
                  <a:pt x="3253" y="314"/>
                  <a:pt x="3253" y="314"/>
                  <a:pt x="3253" y="313"/>
                </a:cubicBezTo>
                <a:cubicBezTo>
                  <a:pt x="3253" y="312"/>
                  <a:pt x="3253" y="311"/>
                  <a:pt x="3252" y="311"/>
                </a:cubicBezTo>
                <a:cubicBezTo>
                  <a:pt x="3251" y="311"/>
                  <a:pt x="3251" y="311"/>
                  <a:pt x="3251" y="311"/>
                </a:cubicBezTo>
                <a:cubicBezTo>
                  <a:pt x="3250" y="311"/>
                  <a:pt x="3250" y="311"/>
                  <a:pt x="3249" y="311"/>
                </a:cubicBezTo>
                <a:cubicBezTo>
                  <a:pt x="3249" y="311"/>
                  <a:pt x="3249" y="311"/>
                  <a:pt x="3249" y="311"/>
                </a:cubicBezTo>
                <a:cubicBezTo>
                  <a:pt x="3248" y="311"/>
                  <a:pt x="3248" y="311"/>
                  <a:pt x="3248" y="311"/>
                </a:cubicBezTo>
                <a:cubicBezTo>
                  <a:pt x="3248" y="310"/>
                  <a:pt x="3248" y="310"/>
                  <a:pt x="3247" y="310"/>
                </a:cubicBezTo>
                <a:cubicBezTo>
                  <a:pt x="3247" y="310"/>
                  <a:pt x="3246" y="310"/>
                  <a:pt x="3245" y="310"/>
                </a:cubicBezTo>
                <a:cubicBezTo>
                  <a:pt x="3244" y="309"/>
                  <a:pt x="3245" y="308"/>
                  <a:pt x="3244" y="308"/>
                </a:cubicBezTo>
                <a:cubicBezTo>
                  <a:pt x="3243" y="308"/>
                  <a:pt x="3242" y="308"/>
                  <a:pt x="3241" y="307"/>
                </a:cubicBezTo>
                <a:cubicBezTo>
                  <a:pt x="3241" y="307"/>
                  <a:pt x="3240" y="307"/>
                  <a:pt x="3240" y="307"/>
                </a:cubicBezTo>
                <a:cubicBezTo>
                  <a:pt x="3240" y="307"/>
                  <a:pt x="3239" y="307"/>
                  <a:pt x="3239" y="307"/>
                </a:cubicBezTo>
                <a:cubicBezTo>
                  <a:pt x="3239" y="306"/>
                  <a:pt x="3239" y="306"/>
                  <a:pt x="3239" y="306"/>
                </a:cubicBezTo>
                <a:cubicBezTo>
                  <a:pt x="3239" y="305"/>
                  <a:pt x="3239" y="305"/>
                  <a:pt x="3239" y="305"/>
                </a:cubicBezTo>
                <a:cubicBezTo>
                  <a:pt x="3239" y="304"/>
                  <a:pt x="3239" y="303"/>
                  <a:pt x="3238" y="303"/>
                </a:cubicBezTo>
                <a:cubicBezTo>
                  <a:pt x="3237" y="303"/>
                  <a:pt x="3236" y="302"/>
                  <a:pt x="3235" y="301"/>
                </a:cubicBezTo>
                <a:cubicBezTo>
                  <a:pt x="3235" y="300"/>
                  <a:pt x="3235" y="299"/>
                  <a:pt x="3234" y="299"/>
                </a:cubicBezTo>
                <a:cubicBezTo>
                  <a:pt x="3234" y="298"/>
                  <a:pt x="3233" y="298"/>
                  <a:pt x="3232" y="298"/>
                </a:cubicBezTo>
                <a:cubicBezTo>
                  <a:pt x="3232" y="297"/>
                  <a:pt x="3232" y="297"/>
                  <a:pt x="3231" y="297"/>
                </a:cubicBezTo>
                <a:cubicBezTo>
                  <a:pt x="3231" y="297"/>
                  <a:pt x="3231" y="297"/>
                  <a:pt x="3230" y="296"/>
                </a:cubicBezTo>
                <a:cubicBezTo>
                  <a:pt x="3230" y="296"/>
                  <a:pt x="3229" y="295"/>
                  <a:pt x="3229" y="295"/>
                </a:cubicBezTo>
                <a:cubicBezTo>
                  <a:pt x="3229" y="293"/>
                  <a:pt x="3230" y="294"/>
                  <a:pt x="3231" y="294"/>
                </a:cubicBezTo>
                <a:cubicBezTo>
                  <a:pt x="3232" y="294"/>
                  <a:pt x="3232" y="294"/>
                  <a:pt x="3233" y="293"/>
                </a:cubicBezTo>
                <a:cubicBezTo>
                  <a:pt x="3233" y="293"/>
                  <a:pt x="3234" y="292"/>
                  <a:pt x="3235" y="293"/>
                </a:cubicBezTo>
                <a:cubicBezTo>
                  <a:pt x="3235" y="293"/>
                  <a:pt x="3236" y="294"/>
                  <a:pt x="3237" y="294"/>
                </a:cubicBezTo>
                <a:cubicBezTo>
                  <a:pt x="3237" y="293"/>
                  <a:pt x="3236" y="293"/>
                  <a:pt x="3236" y="293"/>
                </a:cubicBezTo>
                <a:cubicBezTo>
                  <a:pt x="3235" y="293"/>
                  <a:pt x="3235" y="293"/>
                  <a:pt x="3235" y="292"/>
                </a:cubicBezTo>
                <a:cubicBezTo>
                  <a:pt x="3234" y="292"/>
                  <a:pt x="3234" y="291"/>
                  <a:pt x="3234" y="290"/>
                </a:cubicBezTo>
                <a:cubicBezTo>
                  <a:pt x="3233" y="290"/>
                  <a:pt x="3233" y="289"/>
                  <a:pt x="3232" y="289"/>
                </a:cubicBezTo>
                <a:cubicBezTo>
                  <a:pt x="3232" y="288"/>
                  <a:pt x="3231" y="287"/>
                  <a:pt x="3231" y="287"/>
                </a:cubicBezTo>
                <a:cubicBezTo>
                  <a:pt x="3230" y="287"/>
                  <a:pt x="3231" y="288"/>
                  <a:pt x="3231" y="288"/>
                </a:cubicBezTo>
                <a:cubicBezTo>
                  <a:pt x="3231" y="288"/>
                  <a:pt x="3232" y="289"/>
                  <a:pt x="3232" y="289"/>
                </a:cubicBezTo>
                <a:cubicBezTo>
                  <a:pt x="3232" y="289"/>
                  <a:pt x="3232" y="290"/>
                  <a:pt x="3232" y="290"/>
                </a:cubicBezTo>
                <a:cubicBezTo>
                  <a:pt x="3233" y="290"/>
                  <a:pt x="3233" y="291"/>
                  <a:pt x="3233" y="291"/>
                </a:cubicBezTo>
                <a:cubicBezTo>
                  <a:pt x="3232" y="292"/>
                  <a:pt x="3231" y="292"/>
                  <a:pt x="3231" y="292"/>
                </a:cubicBezTo>
                <a:cubicBezTo>
                  <a:pt x="3230" y="292"/>
                  <a:pt x="3230" y="292"/>
                  <a:pt x="3229" y="292"/>
                </a:cubicBezTo>
                <a:cubicBezTo>
                  <a:pt x="3229" y="292"/>
                  <a:pt x="3229" y="292"/>
                  <a:pt x="3228" y="292"/>
                </a:cubicBezTo>
                <a:cubicBezTo>
                  <a:pt x="3228" y="292"/>
                  <a:pt x="3228" y="292"/>
                  <a:pt x="3227" y="292"/>
                </a:cubicBezTo>
                <a:cubicBezTo>
                  <a:pt x="3227" y="292"/>
                  <a:pt x="3227" y="292"/>
                  <a:pt x="3227" y="291"/>
                </a:cubicBezTo>
                <a:cubicBezTo>
                  <a:pt x="3226" y="291"/>
                  <a:pt x="3227" y="290"/>
                  <a:pt x="3226" y="290"/>
                </a:cubicBezTo>
                <a:cubicBezTo>
                  <a:pt x="3226" y="289"/>
                  <a:pt x="3225" y="289"/>
                  <a:pt x="3224" y="288"/>
                </a:cubicBezTo>
                <a:cubicBezTo>
                  <a:pt x="3224" y="287"/>
                  <a:pt x="3224" y="287"/>
                  <a:pt x="3223" y="286"/>
                </a:cubicBezTo>
                <a:cubicBezTo>
                  <a:pt x="3223" y="285"/>
                  <a:pt x="3222" y="285"/>
                  <a:pt x="3222" y="284"/>
                </a:cubicBezTo>
                <a:cubicBezTo>
                  <a:pt x="3222" y="284"/>
                  <a:pt x="3222" y="282"/>
                  <a:pt x="3223" y="282"/>
                </a:cubicBezTo>
                <a:cubicBezTo>
                  <a:pt x="3223" y="283"/>
                  <a:pt x="3223" y="283"/>
                  <a:pt x="3224" y="283"/>
                </a:cubicBezTo>
                <a:cubicBezTo>
                  <a:pt x="3224" y="283"/>
                  <a:pt x="3225" y="283"/>
                  <a:pt x="3225" y="283"/>
                </a:cubicBezTo>
                <a:cubicBezTo>
                  <a:pt x="3226" y="284"/>
                  <a:pt x="3226" y="285"/>
                  <a:pt x="3226" y="285"/>
                </a:cubicBezTo>
                <a:cubicBezTo>
                  <a:pt x="3227" y="286"/>
                  <a:pt x="3228" y="286"/>
                  <a:pt x="3229" y="286"/>
                </a:cubicBezTo>
                <a:cubicBezTo>
                  <a:pt x="3229" y="286"/>
                  <a:pt x="3230" y="286"/>
                  <a:pt x="3231" y="286"/>
                </a:cubicBezTo>
                <a:cubicBezTo>
                  <a:pt x="3232" y="286"/>
                  <a:pt x="3233" y="286"/>
                  <a:pt x="3233" y="286"/>
                </a:cubicBezTo>
                <a:cubicBezTo>
                  <a:pt x="3234" y="285"/>
                  <a:pt x="3235" y="286"/>
                  <a:pt x="3236" y="285"/>
                </a:cubicBezTo>
                <a:cubicBezTo>
                  <a:pt x="3236" y="285"/>
                  <a:pt x="3237" y="284"/>
                  <a:pt x="3237" y="283"/>
                </a:cubicBezTo>
                <a:cubicBezTo>
                  <a:pt x="3237" y="282"/>
                  <a:pt x="3237" y="281"/>
                  <a:pt x="3237" y="281"/>
                </a:cubicBezTo>
                <a:cubicBezTo>
                  <a:pt x="3236" y="280"/>
                  <a:pt x="3236" y="279"/>
                  <a:pt x="3236" y="279"/>
                </a:cubicBezTo>
                <a:cubicBezTo>
                  <a:pt x="3235" y="279"/>
                  <a:pt x="3235" y="279"/>
                  <a:pt x="3235" y="279"/>
                </a:cubicBezTo>
                <a:cubicBezTo>
                  <a:pt x="3234" y="278"/>
                  <a:pt x="3234" y="278"/>
                  <a:pt x="3234" y="278"/>
                </a:cubicBezTo>
                <a:cubicBezTo>
                  <a:pt x="3232" y="277"/>
                  <a:pt x="3230" y="277"/>
                  <a:pt x="3229" y="277"/>
                </a:cubicBezTo>
                <a:cubicBezTo>
                  <a:pt x="3228" y="277"/>
                  <a:pt x="3227" y="277"/>
                  <a:pt x="3227" y="276"/>
                </a:cubicBezTo>
                <a:cubicBezTo>
                  <a:pt x="3226" y="276"/>
                  <a:pt x="3225" y="276"/>
                  <a:pt x="3225" y="276"/>
                </a:cubicBezTo>
                <a:cubicBezTo>
                  <a:pt x="3225" y="276"/>
                  <a:pt x="3225" y="276"/>
                  <a:pt x="3225" y="276"/>
                </a:cubicBezTo>
                <a:cubicBezTo>
                  <a:pt x="3225" y="276"/>
                  <a:pt x="3226" y="276"/>
                  <a:pt x="3227" y="276"/>
                </a:cubicBezTo>
                <a:cubicBezTo>
                  <a:pt x="3228" y="276"/>
                  <a:pt x="3228" y="276"/>
                  <a:pt x="3229" y="276"/>
                </a:cubicBezTo>
                <a:cubicBezTo>
                  <a:pt x="3230" y="275"/>
                  <a:pt x="3230" y="275"/>
                  <a:pt x="3231" y="274"/>
                </a:cubicBezTo>
                <a:cubicBezTo>
                  <a:pt x="3231" y="274"/>
                  <a:pt x="3231" y="273"/>
                  <a:pt x="3232" y="273"/>
                </a:cubicBezTo>
                <a:cubicBezTo>
                  <a:pt x="3232" y="273"/>
                  <a:pt x="3232" y="273"/>
                  <a:pt x="3233" y="273"/>
                </a:cubicBezTo>
                <a:cubicBezTo>
                  <a:pt x="3233" y="274"/>
                  <a:pt x="3233" y="273"/>
                  <a:pt x="3234" y="273"/>
                </a:cubicBezTo>
                <a:cubicBezTo>
                  <a:pt x="3234" y="273"/>
                  <a:pt x="3235" y="273"/>
                  <a:pt x="3235" y="272"/>
                </a:cubicBezTo>
                <a:cubicBezTo>
                  <a:pt x="3235" y="272"/>
                  <a:pt x="3233" y="272"/>
                  <a:pt x="3233" y="271"/>
                </a:cubicBezTo>
                <a:cubicBezTo>
                  <a:pt x="3232" y="271"/>
                  <a:pt x="3231" y="271"/>
                  <a:pt x="3231" y="270"/>
                </a:cubicBezTo>
                <a:cubicBezTo>
                  <a:pt x="3230" y="270"/>
                  <a:pt x="3229" y="270"/>
                  <a:pt x="3229" y="270"/>
                </a:cubicBezTo>
                <a:cubicBezTo>
                  <a:pt x="3228" y="269"/>
                  <a:pt x="3227" y="269"/>
                  <a:pt x="3226" y="269"/>
                </a:cubicBezTo>
                <a:cubicBezTo>
                  <a:pt x="3226" y="269"/>
                  <a:pt x="3224" y="269"/>
                  <a:pt x="3225" y="268"/>
                </a:cubicBezTo>
                <a:cubicBezTo>
                  <a:pt x="3225" y="267"/>
                  <a:pt x="3227" y="268"/>
                  <a:pt x="3227" y="267"/>
                </a:cubicBezTo>
                <a:cubicBezTo>
                  <a:pt x="3228" y="267"/>
                  <a:pt x="3228" y="267"/>
                  <a:pt x="3228" y="267"/>
                </a:cubicBezTo>
                <a:cubicBezTo>
                  <a:pt x="3228" y="267"/>
                  <a:pt x="3228" y="267"/>
                  <a:pt x="3229" y="267"/>
                </a:cubicBezTo>
                <a:cubicBezTo>
                  <a:pt x="3230" y="266"/>
                  <a:pt x="3230" y="266"/>
                  <a:pt x="3231" y="266"/>
                </a:cubicBezTo>
                <a:cubicBezTo>
                  <a:pt x="3232" y="265"/>
                  <a:pt x="3232" y="265"/>
                  <a:pt x="3232" y="264"/>
                </a:cubicBezTo>
                <a:cubicBezTo>
                  <a:pt x="3233" y="263"/>
                  <a:pt x="3232" y="263"/>
                  <a:pt x="3231" y="262"/>
                </a:cubicBezTo>
                <a:cubicBezTo>
                  <a:pt x="3231" y="262"/>
                  <a:pt x="3230" y="262"/>
                  <a:pt x="3230" y="262"/>
                </a:cubicBezTo>
                <a:cubicBezTo>
                  <a:pt x="3229" y="261"/>
                  <a:pt x="3229" y="261"/>
                  <a:pt x="3228" y="261"/>
                </a:cubicBezTo>
                <a:cubicBezTo>
                  <a:pt x="3227" y="260"/>
                  <a:pt x="3227" y="259"/>
                  <a:pt x="3226" y="259"/>
                </a:cubicBezTo>
                <a:cubicBezTo>
                  <a:pt x="3225" y="259"/>
                  <a:pt x="3224" y="259"/>
                  <a:pt x="3223" y="258"/>
                </a:cubicBezTo>
                <a:cubicBezTo>
                  <a:pt x="3222" y="257"/>
                  <a:pt x="3222" y="257"/>
                  <a:pt x="3221" y="256"/>
                </a:cubicBezTo>
                <a:cubicBezTo>
                  <a:pt x="3220" y="256"/>
                  <a:pt x="3219" y="256"/>
                  <a:pt x="3218" y="255"/>
                </a:cubicBezTo>
                <a:cubicBezTo>
                  <a:pt x="3218" y="255"/>
                  <a:pt x="3217" y="255"/>
                  <a:pt x="3216" y="254"/>
                </a:cubicBezTo>
                <a:cubicBezTo>
                  <a:pt x="3214" y="254"/>
                  <a:pt x="3212" y="255"/>
                  <a:pt x="3211" y="254"/>
                </a:cubicBezTo>
                <a:cubicBezTo>
                  <a:pt x="3210" y="254"/>
                  <a:pt x="3209" y="254"/>
                  <a:pt x="3208" y="254"/>
                </a:cubicBezTo>
                <a:cubicBezTo>
                  <a:pt x="3208" y="254"/>
                  <a:pt x="3207" y="254"/>
                  <a:pt x="3207" y="254"/>
                </a:cubicBezTo>
                <a:cubicBezTo>
                  <a:pt x="3207" y="255"/>
                  <a:pt x="3207" y="255"/>
                  <a:pt x="3207" y="256"/>
                </a:cubicBezTo>
                <a:cubicBezTo>
                  <a:pt x="3207" y="256"/>
                  <a:pt x="3206" y="257"/>
                  <a:pt x="3205" y="257"/>
                </a:cubicBezTo>
                <a:cubicBezTo>
                  <a:pt x="3204" y="257"/>
                  <a:pt x="3204" y="258"/>
                  <a:pt x="3203" y="258"/>
                </a:cubicBezTo>
                <a:cubicBezTo>
                  <a:pt x="3202" y="258"/>
                  <a:pt x="3201" y="258"/>
                  <a:pt x="3200" y="258"/>
                </a:cubicBezTo>
                <a:cubicBezTo>
                  <a:pt x="3200" y="257"/>
                  <a:pt x="3200" y="257"/>
                  <a:pt x="3200" y="257"/>
                </a:cubicBezTo>
                <a:cubicBezTo>
                  <a:pt x="3199" y="257"/>
                  <a:pt x="3199" y="257"/>
                  <a:pt x="3199" y="256"/>
                </a:cubicBezTo>
                <a:cubicBezTo>
                  <a:pt x="3199" y="255"/>
                  <a:pt x="3201" y="256"/>
                  <a:pt x="3201" y="255"/>
                </a:cubicBezTo>
                <a:cubicBezTo>
                  <a:pt x="3201" y="255"/>
                  <a:pt x="3201" y="255"/>
                  <a:pt x="3200" y="255"/>
                </a:cubicBezTo>
                <a:cubicBezTo>
                  <a:pt x="3200" y="254"/>
                  <a:pt x="3200" y="254"/>
                  <a:pt x="3200" y="254"/>
                </a:cubicBezTo>
                <a:cubicBezTo>
                  <a:pt x="3199" y="253"/>
                  <a:pt x="3198" y="254"/>
                  <a:pt x="3197" y="254"/>
                </a:cubicBezTo>
                <a:cubicBezTo>
                  <a:pt x="3196" y="254"/>
                  <a:pt x="3195" y="254"/>
                  <a:pt x="3195" y="254"/>
                </a:cubicBezTo>
                <a:cubicBezTo>
                  <a:pt x="3194" y="254"/>
                  <a:pt x="3193" y="254"/>
                  <a:pt x="3192" y="254"/>
                </a:cubicBezTo>
                <a:cubicBezTo>
                  <a:pt x="3191" y="254"/>
                  <a:pt x="3190" y="254"/>
                  <a:pt x="3189" y="254"/>
                </a:cubicBezTo>
                <a:cubicBezTo>
                  <a:pt x="3189" y="254"/>
                  <a:pt x="3188" y="254"/>
                  <a:pt x="3188" y="253"/>
                </a:cubicBezTo>
                <a:cubicBezTo>
                  <a:pt x="3187" y="253"/>
                  <a:pt x="3187" y="252"/>
                  <a:pt x="3187" y="252"/>
                </a:cubicBezTo>
                <a:cubicBezTo>
                  <a:pt x="3187" y="250"/>
                  <a:pt x="3186" y="250"/>
                  <a:pt x="3184" y="250"/>
                </a:cubicBezTo>
                <a:cubicBezTo>
                  <a:pt x="3183" y="251"/>
                  <a:pt x="3183" y="250"/>
                  <a:pt x="3182" y="250"/>
                </a:cubicBezTo>
                <a:cubicBezTo>
                  <a:pt x="3181" y="249"/>
                  <a:pt x="3180" y="249"/>
                  <a:pt x="3180" y="249"/>
                </a:cubicBezTo>
                <a:cubicBezTo>
                  <a:pt x="3179" y="249"/>
                  <a:pt x="3179" y="249"/>
                  <a:pt x="3179" y="249"/>
                </a:cubicBezTo>
                <a:cubicBezTo>
                  <a:pt x="3178" y="248"/>
                  <a:pt x="3178" y="248"/>
                  <a:pt x="3178" y="248"/>
                </a:cubicBezTo>
                <a:cubicBezTo>
                  <a:pt x="3177" y="248"/>
                  <a:pt x="3177" y="248"/>
                  <a:pt x="3177" y="249"/>
                </a:cubicBezTo>
                <a:cubicBezTo>
                  <a:pt x="3177" y="249"/>
                  <a:pt x="3177" y="249"/>
                  <a:pt x="3176" y="249"/>
                </a:cubicBezTo>
                <a:cubicBezTo>
                  <a:pt x="3176" y="249"/>
                  <a:pt x="3176" y="249"/>
                  <a:pt x="3175" y="250"/>
                </a:cubicBezTo>
                <a:cubicBezTo>
                  <a:pt x="3175" y="250"/>
                  <a:pt x="3175" y="250"/>
                  <a:pt x="3175" y="250"/>
                </a:cubicBezTo>
                <a:cubicBezTo>
                  <a:pt x="3174" y="251"/>
                  <a:pt x="3174" y="250"/>
                  <a:pt x="3174" y="249"/>
                </a:cubicBezTo>
                <a:cubicBezTo>
                  <a:pt x="3174" y="249"/>
                  <a:pt x="3173" y="248"/>
                  <a:pt x="3173" y="249"/>
                </a:cubicBezTo>
                <a:cubicBezTo>
                  <a:pt x="3172" y="250"/>
                  <a:pt x="3173" y="250"/>
                  <a:pt x="3173" y="250"/>
                </a:cubicBezTo>
                <a:cubicBezTo>
                  <a:pt x="3173" y="250"/>
                  <a:pt x="3173" y="251"/>
                  <a:pt x="3173" y="251"/>
                </a:cubicBezTo>
                <a:cubicBezTo>
                  <a:pt x="3173" y="252"/>
                  <a:pt x="3173" y="252"/>
                  <a:pt x="3173" y="252"/>
                </a:cubicBezTo>
                <a:cubicBezTo>
                  <a:pt x="3172" y="252"/>
                  <a:pt x="3172" y="252"/>
                  <a:pt x="3172" y="252"/>
                </a:cubicBezTo>
                <a:cubicBezTo>
                  <a:pt x="3171" y="252"/>
                  <a:pt x="3170" y="253"/>
                  <a:pt x="3170" y="252"/>
                </a:cubicBezTo>
                <a:cubicBezTo>
                  <a:pt x="3169" y="252"/>
                  <a:pt x="3169" y="252"/>
                  <a:pt x="3169" y="252"/>
                </a:cubicBezTo>
                <a:cubicBezTo>
                  <a:pt x="3169" y="251"/>
                  <a:pt x="3169" y="252"/>
                  <a:pt x="3169" y="251"/>
                </a:cubicBezTo>
                <a:cubicBezTo>
                  <a:pt x="3169" y="251"/>
                  <a:pt x="3169" y="251"/>
                  <a:pt x="3169" y="250"/>
                </a:cubicBezTo>
                <a:cubicBezTo>
                  <a:pt x="3169" y="250"/>
                  <a:pt x="3168" y="250"/>
                  <a:pt x="3168" y="251"/>
                </a:cubicBezTo>
                <a:cubicBezTo>
                  <a:pt x="3168" y="251"/>
                  <a:pt x="3168" y="251"/>
                  <a:pt x="3167" y="251"/>
                </a:cubicBezTo>
                <a:cubicBezTo>
                  <a:pt x="3167" y="252"/>
                  <a:pt x="3167" y="252"/>
                  <a:pt x="3166" y="252"/>
                </a:cubicBezTo>
                <a:cubicBezTo>
                  <a:pt x="3166" y="252"/>
                  <a:pt x="3166" y="253"/>
                  <a:pt x="3166" y="253"/>
                </a:cubicBezTo>
                <a:cubicBezTo>
                  <a:pt x="3166" y="253"/>
                  <a:pt x="3165" y="253"/>
                  <a:pt x="3165" y="254"/>
                </a:cubicBezTo>
                <a:cubicBezTo>
                  <a:pt x="3166" y="255"/>
                  <a:pt x="3167" y="255"/>
                  <a:pt x="3166" y="256"/>
                </a:cubicBezTo>
                <a:cubicBezTo>
                  <a:pt x="3166" y="256"/>
                  <a:pt x="3166" y="256"/>
                  <a:pt x="3165" y="256"/>
                </a:cubicBezTo>
                <a:cubicBezTo>
                  <a:pt x="3165" y="256"/>
                  <a:pt x="3165" y="257"/>
                  <a:pt x="3165" y="257"/>
                </a:cubicBezTo>
                <a:cubicBezTo>
                  <a:pt x="3165" y="257"/>
                  <a:pt x="3166" y="257"/>
                  <a:pt x="3166" y="257"/>
                </a:cubicBezTo>
                <a:cubicBezTo>
                  <a:pt x="3167" y="257"/>
                  <a:pt x="3167" y="257"/>
                  <a:pt x="3167" y="258"/>
                </a:cubicBezTo>
                <a:cubicBezTo>
                  <a:pt x="3167" y="258"/>
                  <a:pt x="3167" y="259"/>
                  <a:pt x="3167" y="259"/>
                </a:cubicBezTo>
                <a:cubicBezTo>
                  <a:pt x="3168" y="259"/>
                  <a:pt x="3168" y="259"/>
                  <a:pt x="3168" y="260"/>
                </a:cubicBezTo>
                <a:cubicBezTo>
                  <a:pt x="3169" y="260"/>
                  <a:pt x="3169" y="261"/>
                  <a:pt x="3168" y="262"/>
                </a:cubicBezTo>
                <a:cubicBezTo>
                  <a:pt x="3168" y="262"/>
                  <a:pt x="3168" y="262"/>
                  <a:pt x="3168" y="262"/>
                </a:cubicBezTo>
                <a:cubicBezTo>
                  <a:pt x="3168" y="262"/>
                  <a:pt x="3167" y="262"/>
                  <a:pt x="3167" y="262"/>
                </a:cubicBezTo>
                <a:cubicBezTo>
                  <a:pt x="3166" y="263"/>
                  <a:pt x="3167" y="264"/>
                  <a:pt x="3166" y="265"/>
                </a:cubicBezTo>
                <a:cubicBezTo>
                  <a:pt x="3166" y="266"/>
                  <a:pt x="3166" y="266"/>
                  <a:pt x="3165" y="266"/>
                </a:cubicBezTo>
                <a:cubicBezTo>
                  <a:pt x="3165" y="267"/>
                  <a:pt x="3165" y="267"/>
                  <a:pt x="3165" y="267"/>
                </a:cubicBezTo>
                <a:cubicBezTo>
                  <a:pt x="3164" y="268"/>
                  <a:pt x="3164" y="268"/>
                  <a:pt x="3164" y="268"/>
                </a:cubicBezTo>
                <a:cubicBezTo>
                  <a:pt x="3163" y="268"/>
                  <a:pt x="3163" y="267"/>
                  <a:pt x="3163" y="267"/>
                </a:cubicBezTo>
                <a:cubicBezTo>
                  <a:pt x="3162" y="267"/>
                  <a:pt x="3162" y="267"/>
                  <a:pt x="3161" y="267"/>
                </a:cubicBezTo>
                <a:cubicBezTo>
                  <a:pt x="3161" y="267"/>
                  <a:pt x="3161" y="267"/>
                  <a:pt x="3161" y="267"/>
                </a:cubicBezTo>
                <a:cubicBezTo>
                  <a:pt x="3160" y="266"/>
                  <a:pt x="3160" y="267"/>
                  <a:pt x="3160" y="266"/>
                </a:cubicBezTo>
                <a:cubicBezTo>
                  <a:pt x="3159" y="266"/>
                  <a:pt x="3159" y="266"/>
                  <a:pt x="3158" y="266"/>
                </a:cubicBezTo>
                <a:cubicBezTo>
                  <a:pt x="3157" y="266"/>
                  <a:pt x="3156" y="266"/>
                  <a:pt x="3156" y="266"/>
                </a:cubicBezTo>
                <a:cubicBezTo>
                  <a:pt x="3155" y="266"/>
                  <a:pt x="3155" y="266"/>
                  <a:pt x="3154" y="266"/>
                </a:cubicBezTo>
                <a:cubicBezTo>
                  <a:pt x="3154" y="266"/>
                  <a:pt x="3153" y="266"/>
                  <a:pt x="3153" y="266"/>
                </a:cubicBezTo>
                <a:cubicBezTo>
                  <a:pt x="3152" y="266"/>
                  <a:pt x="3151" y="267"/>
                  <a:pt x="3150" y="267"/>
                </a:cubicBezTo>
                <a:cubicBezTo>
                  <a:pt x="3149" y="267"/>
                  <a:pt x="3148" y="267"/>
                  <a:pt x="3147" y="266"/>
                </a:cubicBezTo>
                <a:cubicBezTo>
                  <a:pt x="3146" y="266"/>
                  <a:pt x="3144" y="266"/>
                  <a:pt x="3143" y="266"/>
                </a:cubicBezTo>
                <a:cubicBezTo>
                  <a:pt x="3141" y="266"/>
                  <a:pt x="3139" y="266"/>
                  <a:pt x="3136" y="266"/>
                </a:cubicBezTo>
                <a:cubicBezTo>
                  <a:pt x="3135" y="266"/>
                  <a:pt x="3134" y="266"/>
                  <a:pt x="3133" y="266"/>
                </a:cubicBezTo>
                <a:cubicBezTo>
                  <a:pt x="3131" y="266"/>
                  <a:pt x="3130" y="265"/>
                  <a:pt x="3128" y="265"/>
                </a:cubicBezTo>
                <a:cubicBezTo>
                  <a:pt x="3126" y="265"/>
                  <a:pt x="3125" y="265"/>
                  <a:pt x="3123" y="265"/>
                </a:cubicBezTo>
                <a:cubicBezTo>
                  <a:pt x="3122" y="265"/>
                  <a:pt x="3121" y="265"/>
                  <a:pt x="3121" y="265"/>
                </a:cubicBezTo>
                <a:cubicBezTo>
                  <a:pt x="3120" y="264"/>
                  <a:pt x="3119" y="264"/>
                  <a:pt x="3118" y="264"/>
                </a:cubicBezTo>
                <a:cubicBezTo>
                  <a:pt x="3117" y="264"/>
                  <a:pt x="3116" y="264"/>
                  <a:pt x="3115" y="263"/>
                </a:cubicBezTo>
                <a:cubicBezTo>
                  <a:pt x="3114" y="263"/>
                  <a:pt x="3114" y="262"/>
                  <a:pt x="3113" y="262"/>
                </a:cubicBezTo>
                <a:cubicBezTo>
                  <a:pt x="3112" y="262"/>
                  <a:pt x="3111" y="262"/>
                  <a:pt x="3111" y="261"/>
                </a:cubicBezTo>
                <a:cubicBezTo>
                  <a:pt x="3110" y="260"/>
                  <a:pt x="3110" y="260"/>
                  <a:pt x="3110" y="259"/>
                </a:cubicBezTo>
                <a:cubicBezTo>
                  <a:pt x="3110" y="258"/>
                  <a:pt x="3110" y="257"/>
                  <a:pt x="3110" y="257"/>
                </a:cubicBezTo>
                <a:cubicBezTo>
                  <a:pt x="3111" y="256"/>
                  <a:pt x="3112" y="256"/>
                  <a:pt x="3112" y="256"/>
                </a:cubicBezTo>
                <a:cubicBezTo>
                  <a:pt x="3113" y="255"/>
                  <a:pt x="3114" y="255"/>
                  <a:pt x="3115" y="256"/>
                </a:cubicBezTo>
                <a:cubicBezTo>
                  <a:pt x="3116" y="256"/>
                  <a:pt x="3117" y="255"/>
                  <a:pt x="3116" y="255"/>
                </a:cubicBezTo>
                <a:cubicBezTo>
                  <a:pt x="3115" y="254"/>
                  <a:pt x="3114" y="254"/>
                  <a:pt x="3114" y="254"/>
                </a:cubicBezTo>
                <a:cubicBezTo>
                  <a:pt x="3113" y="254"/>
                  <a:pt x="3112" y="254"/>
                  <a:pt x="3111" y="253"/>
                </a:cubicBezTo>
                <a:cubicBezTo>
                  <a:pt x="3111" y="253"/>
                  <a:pt x="3110" y="253"/>
                  <a:pt x="3109" y="253"/>
                </a:cubicBezTo>
                <a:cubicBezTo>
                  <a:pt x="3107" y="253"/>
                  <a:pt x="3104" y="253"/>
                  <a:pt x="3102" y="253"/>
                </a:cubicBezTo>
                <a:cubicBezTo>
                  <a:pt x="3100" y="253"/>
                  <a:pt x="3098" y="253"/>
                  <a:pt x="3096" y="253"/>
                </a:cubicBezTo>
                <a:cubicBezTo>
                  <a:pt x="3095" y="252"/>
                  <a:pt x="3094" y="252"/>
                  <a:pt x="3093" y="252"/>
                </a:cubicBezTo>
                <a:cubicBezTo>
                  <a:pt x="3092" y="251"/>
                  <a:pt x="3091" y="251"/>
                  <a:pt x="3090" y="251"/>
                </a:cubicBezTo>
                <a:cubicBezTo>
                  <a:pt x="3089" y="251"/>
                  <a:pt x="3088" y="251"/>
                  <a:pt x="3086" y="251"/>
                </a:cubicBezTo>
                <a:cubicBezTo>
                  <a:pt x="3083" y="250"/>
                  <a:pt x="3080" y="250"/>
                  <a:pt x="3076" y="250"/>
                </a:cubicBezTo>
                <a:cubicBezTo>
                  <a:pt x="3075" y="250"/>
                  <a:pt x="3074" y="250"/>
                  <a:pt x="3072" y="251"/>
                </a:cubicBezTo>
                <a:cubicBezTo>
                  <a:pt x="3071" y="251"/>
                  <a:pt x="3070" y="252"/>
                  <a:pt x="3069" y="252"/>
                </a:cubicBezTo>
                <a:cubicBezTo>
                  <a:pt x="3068" y="253"/>
                  <a:pt x="3066" y="253"/>
                  <a:pt x="3065" y="253"/>
                </a:cubicBezTo>
                <a:cubicBezTo>
                  <a:pt x="3063" y="253"/>
                  <a:pt x="3062" y="253"/>
                  <a:pt x="3060" y="253"/>
                </a:cubicBezTo>
                <a:cubicBezTo>
                  <a:pt x="3060" y="253"/>
                  <a:pt x="3059" y="254"/>
                  <a:pt x="3058" y="254"/>
                </a:cubicBezTo>
                <a:cubicBezTo>
                  <a:pt x="3058" y="254"/>
                  <a:pt x="3058" y="254"/>
                  <a:pt x="3057" y="254"/>
                </a:cubicBezTo>
                <a:cubicBezTo>
                  <a:pt x="3056" y="254"/>
                  <a:pt x="3055" y="254"/>
                  <a:pt x="3055" y="255"/>
                </a:cubicBezTo>
                <a:cubicBezTo>
                  <a:pt x="3054" y="255"/>
                  <a:pt x="3054" y="255"/>
                  <a:pt x="3054" y="255"/>
                </a:cubicBezTo>
                <a:cubicBezTo>
                  <a:pt x="3054" y="256"/>
                  <a:pt x="3054" y="256"/>
                  <a:pt x="3055" y="256"/>
                </a:cubicBezTo>
                <a:cubicBezTo>
                  <a:pt x="3055" y="256"/>
                  <a:pt x="3055" y="257"/>
                  <a:pt x="3055" y="257"/>
                </a:cubicBezTo>
                <a:cubicBezTo>
                  <a:pt x="3055" y="257"/>
                  <a:pt x="3056" y="257"/>
                  <a:pt x="3056" y="258"/>
                </a:cubicBezTo>
                <a:cubicBezTo>
                  <a:pt x="3057" y="258"/>
                  <a:pt x="3056" y="259"/>
                  <a:pt x="3056" y="259"/>
                </a:cubicBezTo>
                <a:cubicBezTo>
                  <a:pt x="3055" y="260"/>
                  <a:pt x="3055" y="261"/>
                  <a:pt x="3054" y="260"/>
                </a:cubicBezTo>
                <a:cubicBezTo>
                  <a:pt x="3054" y="260"/>
                  <a:pt x="3054" y="260"/>
                  <a:pt x="3054" y="259"/>
                </a:cubicBezTo>
                <a:cubicBezTo>
                  <a:pt x="3054" y="259"/>
                  <a:pt x="3053" y="259"/>
                  <a:pt x="3053" y="258"/>
                </a:cubicBezTo>
                <a:cubicBezTo>
                  <a:pt x="3052" y="258"/>
                  <a:pt x="3052" y="257"/>
                  <a:pt x="3051" y="257"/>
                </a:cubicBezTo>
                <a:cubicBezTo>
                  <a:pt x="3051" y="256"/>
                  <a:pt x="3051" y="255"/>
                  <a:pt x="3052" y="254"/>
                </a:cubicBezTo>
                <a:cubicBezTo>
                  <a:pt x="3052" y="254"/>
                  <a:pt x="3053" y="253"/>
                  <a:pt x="3053" y="252"/>
                </a:cubicBezTo>
                <a:cubicBezTo>
                  <a:pt x="3053" y="252"/>
                  <a:pt x="3053" y="252"/>
                  <a:pt x="3053" y="251"/>
                </a:cubicBezTo>
                <a:cubicBezTo>
                  <a:pt x="3053" y="250"/>
                  <a:pt x="3052" y="250"/>
                  <a:pt x="3052" y="249"/>
                </a:cubicBezTo>
                <a:cubicBezTo>
                  <a:pt x="3052" y="249"/>
                  <a:pt x="3051" y="248"/>
                  <a:pt x="3051" y="248"/>
                </a:cubicBezTo>
                <a:cubicBezTo>
                  <a:pt x="3050" y="247"/>
                  <a:pt x="3050" y="246"/>
                  <a:pt x="3049" y="246"/>
                </a:cubicBezTo>
                <a:cubicBezTo>
                  <a:pt x="3048" y="245"/>
                  <a:pt x="3048" y="245"/>
                  <a:pt x="3047" y="244"/>
                </a:cubicBezTo>
                <a:cubicBezTo>
                  <a:pt x="3047" y="244"/>
                  <a:pt x="3047" y="244"/>
                  <a:pt x="3046" y="244"/>
                </a:cubicBezTo>
                <a:cubicBezTo>
                  <a:pt x="3046" y="243"/>
                  <a:pt x="3046" y="244"/>
                  <a:pt x="3046" y="244"/>
                </a:cubicBezTo>
                <a:cubicBezTo>
                  <a:pt x="3046" y="245"/>
                  <a:pt x="3047" y="246"/>
                  <a:pt x="3047" y="247"/>
                </a:cubicBezTo>
                <a:cubicBezTo>
                  <a:pt x="3047" y="248"/>
                  <a:pt x="3047" y="248"/>
                  <a:pt x="3048" y="248"/>
                </a:cubicBezTo>
                <a:cubicBezTo>
                  <a:pt x="3048" y="249"/>
                  <a:pt x="3047" y="250"/>
                  <a:pt x="3046" y="250"/>
                </a:cubicBezTo>
                <a:cubicBezTo>
                  <a:pt x="3045" y="251"/>
                  <a:pt x="3044" y="251"/>
                  <a:pt x="3044" y="251"/>
                </a:cubicBezTo>
                <a:cubicBezTo>
                  <a:pt x="3043" y="251"/>
                  <a:pt x="3042" y="250"/>
                  <a:pt x="3042" y="250"/>
                </a:cubicBezTo>
                <a:cubicBezTo>
                  <a:pt x="3042" y="250"/>
                  <a:pt x="3041" y="250"/>
                  <a:pt x="3041" y="250"/>
                </a:cubicBezTo>
                <a:cubicBezTo>
                  <a:pt x="3038" y="250"/>
                  <a:pt x="3037" y="249"/>
                  <a:pt x="3035" y="248"/>
                </a:cubicBezTo>
                <a:cubicBezTo>
                  <a:pt x="3034" y="248"/>
                  <a:pt x="3033" y="248"/>
                  <a:pt x="3032" y="248"/>
                </a:cubicBezTo>
                <a:cubicBezTo>
                  <a:pt x="3032" y="248"/>
                  <a:pt x="3031" y="248"/>
                  <a:pt x="3031" y="248"/>
                </a:cubicBezTo>
                <a:cubicBezTo>
                  <a:pt x="3031" y="247"/>
                  <a:pt x="3030" y="247"/>
                  <a:pt x="3030" y="247"/>
                </a:cubicBezTo>
                <a:cubicBezTo>
                  <a:pt x="3029" y="247"/>
                  <a:pt x="3030" y="246"/>
                  <a:pt x="3030" y="245"/>
                </a:cubicBezTo>
                <a:cubicBezTo>
                  <a:pt x="3030" y="245"/>
                  <a:pt x="3030" y="245"/>
                  <a:pt x="3031" y="244"/>
                </a:cubicBezTo>
                <a:cubicBezTo>
                  <a:pt x="3031" y="244"/>
                  <a:pt x="3031" y="244"/>
                  <a:pt x="3031" y="243"/>
                </a:cubicBezTo>
                <a:cubicBezTo>
                  <a:pt x="3031" y="242"/>
                  <a:pt x="3029" y="243"/>
                  <a:pt x="3029" y="243"/>
                </a:cubicBezTo>
                <a:cubicBezTo>
                  <a:pt x="3028" y="243"/>
                  <a:pt x="3027" y="243"/>
                  <a:pt x="3026" y="244"/>
                </a:cubicBezTo>
                <a:cubicBezTo>
                  <a:pt x="3025" y="245"/>
                  <a:pt x="3023" y="244"/>
                  <a:pt x="3021" y="244"/>
                </a:cubicBezTo>
                <a:cubicBezTo>
                  <a:pt x="3020" y="244"/>
                  <a:pt x="3018" y="244"/>
                  <a:pt x="3016" y="244"/>
                </a:cubicBezTo>
                <a:cubicBezTo>
                  <a:pt x="3015" y="244"/>
                  <a:pt x="3014" y="244"/>
                  <a:pt x="3013" y="244"/>
                </a:cubicBezTo>
                <a:cubicBezTo>
                  <a:pt x="3012" y="244"/>
                  <a:pt x="3012" y="245"/>
                  <a:pt x="3011" y="246"/>
                </a:cubicBezTo>
                <a:cubicBezTo>
                  <a:pt x="3010" y="247"/>
                  <a:pt x="3008" y="248"/>
                  <a:pt x="3008" y="249"/>
                </a:cubicBezTo>
                <a:cubicBezTo>
                  <a:pt x="3009" y="250"/>
                  <a:pt x="3010" y="250"/>
                  <a:pt x="3010" y="251"/>
                </a:cubicBezTo>
                <a:cubicBezTo>
                  <a:pt x="3011" y="252"/>
                  <a:pt x="3011" y="251"/>
                  <a:pt x="3011" y="251"/>
                </a:cubicBezTo>
                <a:cubicBezTo>
                  <a:pt x="3012" y="251"/>
                  <a:pt x="3012" y="251"/>
                  <a:pt x="3013" y="251"/>
                </a:cubicBezTo>
                <a:cubicBezTo>
                  <a:pt x="3015" y="251"/>
                  <a:pt x="3016" y="250"/>
                  <a:pt x="3018" y="250"/>
                </a:cubicBezTo>
                <a:cubicBezTo>
                  <a:pt x="3019" y="250"/>
                  <a:pt x="3020" y="250"/>
                  <a:pt x="3021" y="250"/>
                </a:cubicBezTo>
                <a:cubicBezTo>
                  <a:pt x="3022" y="250"/>
                  <a:pt x="3022" y="249"/>
                  <a:pt x="3023" y="249"/>
                </a:cubicBezTo>
                <a:cubicBezTo>
                  <a:pt x="3024" y="249"/>
                  <a:pt x="3025" y="250"/>
                  <a:pt x="3024" y="251"/>
                </a:cubicBezTo>
                <a:cubicBezTo>
                  <a:pt x="3023" y="251"/>
                  <a:pt x="3022" y="251"/>
                  <a:pt x="3021" y="252"/>
                </a:cubicBezTo>
                <a:cubicBezTo>
                  <a:pt x="3020" y="252"/>
                  <a:pt x="3019" y="253"/>
                  <a:pt x="3018" y="253"/>
                </a:cubicBezTo>
                <a:cubicBezTo>
                  <a:pt x="3017" y="254"/>
                  <a:pt x="3016" y="254"/>
                  <a:pt x="3015" y="255"/>
                </a:cubicBezTo>
                <a:cubicBezTo>
                  <a:pt x="3013" y="255"/>
                  <a:pt x="3012" y="254"/>
                  <a:pt x="3011" y="254"/>
                </a:cubicBezTo>
                <a:cubicBezTo>
                  <a:pt x="3010" y="254"/>
                  <a:pt x="3009" y="255"/>
                  <a:pt x="3008" y="255"/>
                </a:cubicBezTo>
                <a:cubicBezTo>
                  <a:pt x="3008" y="254"/>
                  <a:pt x="3007" y="254"/>
                  <a:pt x="3007" y="254"/>
                </a:cubicBezTo>
                <a:cubicBezTo>
                  <a:pt x="3006" y="254"/>
                  <a:pt x="3006" y="254"/>
                  <a:pt x="3005" y="254"/>
                </a:cubicBezTo>
                <a:cubicBezTo>
                  <a:pt x="3004" y="254"/>
                  <a:pt x="3004" y="255"/>
                  <a:pt x="3005" y="256"/>
                </a:cubicBezTo>
                <a:cubicBezTo>
                  <a:pt x="3005" y="256"/>
                  <a:pt x="3005" y="256"/>
                  <a:pt x="3005" y="256"/>
                </a:cubicBezTo>
                <a:cubicBezTo>
                  <a:pt x="3005" y="257"/>
                  <a:pt x="3005" y="257"/>
                  <a:pt x="3005" y="257"/>
                </a:cubicBezTo>
                <a:cubicBezTo>
                  <a:pt x="3004" y="258"/>
                  <a:pt x="3004" y="258"/>
                  <a:pt x="3004" y="258"/>
                </a:cubicBezTo>
                <a:cubicBezTo>
                  <a:pt x="3003" y="258"/>
                  <a:pt x="3002" y="258"/>
                  <a:pt x="3002" y="258"/>
                </a:cubicBezTo>
                <a:cubicBezTo>
                  <a:pt x="3001" y="258"/>
                  <a:pt x="3001" y="258"/>
                  <a:pt x="3000" y="259"/>
                </a:cubicBezTo>
                <a:cubicBezTo>
                  <a:pt x="2999" y="259"/>
                  <a:pt x="2998" y="259"/>
                  <a:pt x="2997" y="259"/>
                </a:cubicBezTo>
                <a:cubicBezTo>
                  <a:pt x="2996" y="259"/>
                  <a:pt x="2994" y="260"/>
                  <a:pt x="2993" y="260"/>
                </a:cubicBezTo>
                <a:cubicBezTo>
                  <a:pt x="2992" y="260"/>
                  <a:pt x="2991" y="261"/>
                  <a:pt x="2990" y="261"/>
                </a:cubicBezTo>
                <a:cubicBezTo>
                  <a:pt x="2989" y="261"/>
                  <a:pt x="2988" y="261"/>
                  <a:pt x="2987" y="262"/>
                </a:cubicBezTo>
                <a:cubicBezTo>
                  <a:pt x="2986" y="262"/>
                  <a:pt x="2985" y="262"/>
                  <a:pt x="2983" y="262"/>
                </a:cubicBezTo>
                <a:cubicBezTo>
                  <a:pt x="2982" y="263"/>
                  <a:pt x="2981" y="262"/>
                  <a:pt x="2979" y="263"/>
                </a:cubicBezTo>
                <a:cubicBezTo>
                  <a:pt x="2978" y="263"/>
                  <a:pt x="2977" y="263"/>
                  <a:pt x="2976" y="263"/>
                </a:cubicBezTo>
                <a:cubicBezTo>
                  <a:pt x="2975" y="263"/>
                  <a:pt x="2973" y="264"/>
                  <a:pt x="2971" y="264"/>
                </a:cubicBezTo>
                <a:cubicBezTo>
                  <a:pt x="2970" y="264"/>
                  <a:pt x="2969" y="264"/>
                  <a:pt x="2969" y="265"/>
                </a:cubicBezTo>
                <a:cubicBezTo>
                  <a:pt x="2970" y="265"/>
                  <a:pt x="2971" y="266"/>
                  <a:pt x="2970" y="267"/>
                </a:cubicBezTo>
                <a:cubicBezTo>
                  <a:pt x="2969" y="267"/>
                  <a:pt x="2969" y="267"/>
                  <a:pt x="2968" y="267"/>
                </a:cubicBezTo>
                <a:cubicBezTo>
                  <a:pt x="2967" y="268"/>
                  <a:pt x="2967" y="268"/>
                  <a:pt x="2966" y="268"/>
                </a:cubicBezTo>
                <a:cubicBezTo>
                  <a:pt x="2964" y="269"/>
                  <a:pt x="2963" y="269"/>
                  <a:pt x="2961" y="270"/>
                </a:cubicBezTo>
                <a:cubicBezTo>
                  <a:pt x="2960" y="270"/>
                  <a:pt x="2960" y="271"/>
                  <a:pt x="2959" y="271"/>
                </a:cubicBezTo>
                <a:cubicBezTo>
                  <a:pt x="2959" y="270"/>
                  <a:pt x="2960" y="270"/>
                  <a:pt x="2961" y="269"/>
                </a:cubicBezTo>
                <a:cubicBezTo>
                  <a:pt x="2962" y="269"/>
                  <a:pt x="2963" y="269"/>
                  <a:pt x="2963" y="268"/>
                </a:cubicBezTo>
                <a:cubicBezTo>
                  <a:pt x="2964" y="268"/>
                  <a:pt x="2964" y="267"/>
                  <a:pt x="2965" y="266"/>
                </a:cubicBezTo>
                <a:cubicBezTo>
                  <a:pt x="2966" y="266"/>
                  <a:pt x="2966" y="265"/>
                  <a:pt x="2966" y="264"/>
                </a:cubicBezTo>
                <a:cubicBezTo>
                  <a:pt x="2967" y="263"/>
                  <a:pt x="2968" y="261"/>
                  <a:pt x="2969" y="260"/>
                </a:cubicBezTo>
                <a:cubicBezTo>
                  <a:pt x="2971" y="259"/>
                  <a:pt x="2973" y="259"/>
                  <a:pt x="2975" y="259"/>
                </a:cubicBezTo>
                <a:cubicBezTo>
                  <a:pt x="2977" y="259"/>
                  <a:pt x="2977" y="257"/>
                  <a:pt x="2978" y="256"/>
                </a:cubicBezTo>
                <a:cubicBezTo>
                  <a:pt x="2979" y="254"/>
                  <a:pt x="2980" y="253"/>
                  <a:pt x="2982" y="252"/>
                </a:cubicBezTo>
                <a:cubicBezTo>
                  <a:pt x="2983" y="252"/>
                  <a:pt x="2985" y="252"/>
                  <a:pt x="2986" y="252"/>
                </a:cubicBezTo>
                <a:cubicBezTo>
                  <a:pt x="2987" y="252"/>
                  <a:pt x="2989" y="251"/>
                  <a:pt x="2990" y="251"/>
                </a:cubicBezTo>
                <a:cubicBezTo>
                  <a:pt x="2991" y="250"/>
                  <a:pt x="2993" y="250"/>
                  <a:pt x="2994" y="249"/>
                </a:cubicBezTo>
                <a:cubicBezTo>
                  <a:pt x="2995" y="248"/>
                  <a:pt x="2996" y="248"/>
                  <a:pt x="2998" y="247"/>
                </a:cubicBezTo>
                <a:cubicBezTo>
                  <a:pt x="2999" y="246"/>
                  <a:pt x="3001" y="246"/>
                  <a:pt x="3002" y="245"/>
                </a:cubicBezTo>
                <a:cubicBezTo>
                  <a:pt x="3003" y="245"/>
                  <a:pt x="3004" y="244"/>
                  <a:pt x="3005" y="244"/>
                </a:cubicBezTo>
                <a:cubicBezTo>
                  <a:pt x="3005" y="243"/>
                  <a:pt x="3006" y="243"/>
                  <a:pt x="3007" y="242"/>
                </a:cubicBezTo>
                <a:cubicBezTo>
                  <a:pt x="3008" y="242"/>
                  <a:pt x="3009" y="242"/>
                  <a:pt x="3010" y="241"/>
                </a:cubicBezTo>
                <a:cubicBezTo>
                  <a:pt x="3010" y="241"/>
                  <a:pt x="3011" y="240"/>
                  <a:pt x="3012" y="240"/>
                </a:cubicBezTo>
                <a:cubicBezTo>
                  <a:pt x="3012" y="240"/>
                  <a:pt x="3013" y="239"/>
                  <a:pt x="3013" y="238"/>
                </a:cubicBezTo>
                <a:cubicBezTo>
                  <a:pt x="3014" y="238"/>
                  <a:pt x="3014" y="238"/>
                  <a:pt x="3014" y="237"/>
                </a:cubicBezTo>
                <a:cubicBezTo>
                  <a:pt x="3013" y="237"/>
                  <a:pt x="3012" y="237"/>
                  <a:pt x="3011" y="237"/>
                </a:cubicBezTo>
                <a:cubicBezTo>
                  <a:pt x="3011" y="237"/>
                  <a:pt x="3010" y="237"/>
                  <a:pt x="3010" y="237"/>
                </a:cubicBezTo>
                <a:cubicBezTo>
                  <a:pt x="3010" y="236"/>
                  <a:pt x="3011" y="236"/>
                  <a:pt x="3011" y="236"/>
                </a:cubicBezTo>
                <a:cubicBezTo>
                  <a:pt x="3012" y="236"/>
                  <a:pt x="3013" y="236"/>
                  <a:pt x="3014" y="235"/>
                </a:cubicBezTo>
                <a:cubicBezTo>
                  <a:pt x="3014" y="235"/>
                  <a:pt x="3015" y="234"/>
                  <a:pt x="3016" y="234"/>
                </a:cubicBezTo>
                <a:cubicBezTo>
                  <a:pt x="3016" y="233"/>
                  <a:pt x="3017" y="233"/>
                  <a:pt x="3018" y="233"/>
                </a:cubicBezTo>
                <a:cubicBezTo>
                  <a:pt x="3018" y="233"/>
                  <a:pt x="3019" y="233"/>
                  <a:pt x="3019" y="233"/>
                </a:cubicBezTo>
                <a:cubicBezTo>
                  <a:pt x="3021" y="233"/>
                  <a:pt x="3022" y="233"/>
                  <a:pt x="3023" y="232"/>
                </a:cubicBezTo>
                <a:cubicBezTo>
                  <a:pt x="3024" y="231"/>
                  <a:pt x="3026" y="231"/>
                  <a:pt x="3027" y="230"/>
                </a:cubicBezTo>
                <a:cubicBezTo>
                  <a:pt x="3028" y="230"/>
                  <a:pt x="3030" y="228"/>
                  <a:pt x="3031" y="228"/>
                </a:cubicBezTo>
                <a:cubicBezTo>
                  <a:pt x="3033" y="227"/>
                  <a:pt x="3034" y="226"/>
                  <a:pt x="3036" y="225"/>
                </a:cubicBezTo>
                <a:cubicBezTo>
                  <a:pt x="3037" y="225"/>
                  <a:pt x="3037" y="224"/>
                  <a:pt x="3038" y="224"/>
                </a:cubicBezTo>
                <a:cubicBezTo>
                  <a:pt x="3039" y="224"/>
                  <a:pt x="3040" y="224"/>
                  <a:pt x="3041" y="223"/>
                </a:cubicBezTo>
                <a:cubicBezTo>
                  <a:pt x="3042" y="222"/>
                  <a:pt x="3044" y="221"/>
                  <a:pt x="3045" y="221"/>
                </a:cubicBezTo>
                <a:cubicBezTo>
                  <a:pt x="3046" y="220"/>
                  <a:pt x="3048" y="220"/>
                  <a:pt x="3049" y="219"/>
                </a:cubicBezTo>
                <a:cubicBezTo>
                  <a:pt x="3050" y="218"/>
                  <a:pt x="3051" y="218"/>
                  <a:pt x="3052" y="217"/>
                </a:cubicBezTo>
                <a:cubicBezTo>
                  <a:pt x="3053" y="217"/>
                  <a:pt x="3054" y="216"/>
                  <a:pt x="3054" y="216"/>
                </a:cubicBezTo>
                <a:cubicBezTo>
                  <a:pt x="3055" y="214"/>
                  <a:pt x="3056" y="213"/>
                  <a:pt x="3057" y="211"/>
                </a:cubicBezTo>
                <a:cubicBezTo>
                  <a:pt x="3057" y="209"/>
                  <a:pt x="3054" y="210"/>
                  <a:pt x="3053" y="209"/>
                </a:cubicBezTo>
                <a:cubicBezTo>
                  <a:pt x="3052" y="209"/>
                  <a:pt x="3051" y="209"/>
                  <a:pt x="3051" y="208"/>
                </a:cubicBezTo>
                <a:cubicBezTo>
                  <a:pt x="3051" y="208"/>
                  <a:pt x="3052" y="207"/>
                  <a:pt x="3052" y="207"/>
                </a:cubicBezTo>
                <a:cubicBezTo>
                  <a:pt x="3051" y="207"/>
                  <a:pt x="3051" y="207"/>
                  <a:pt x="3051" y="207"/>
                </a:cubicBezTo>
                <a:cubicBezTo>
                  <a:pt x="3050" y="207"/>
                  <a:pt x="3049" y="208"/>
                  <a:pt x="3049" y="208"/>
                </a:cubicBezTo>
                <a:cubicBezTo>
                  <a:pt x="3048" y="209"/>
                  <a:pt x="3047" y="209"/>
                  <a:pt x="3047" y="209"/>
                </a:cubicBezTo>
                <a:cubicBezTo>
                  <a:pt x="3046" y="208"/>
                  <a:pt x="3046" y="208"/>
                  <a:pt x="3046" y="208"/>
                </a:cubicBezTo>
                <a:cubicBezTo>
                  <a:pt x="3047" y="207"/>
                  <a:pt x="3047" y="207"/>
                  <a:pt x="3047" y="207"/>
                </a:cubicBezTo>
                <a:cubicBezTo>
                  <a:pt x="3047" y="207"/>
                  <a:pt x="3047" y="207"/>
                  <a:pt x="3046" y="206"/>
                </a:cubicBezTo>
                <a:cubicBezTo>
                  <a:pt x="3046" y="206"/>
                  <a:pt x="3046" y="206"/>
                  <a:pt x="3046" y="206"/>
                </a:cubicBezTo>
                <a:cubicBezTo>
                  <a:pt x="3047" y="206"/>
                  <a:pt x="3047" y="205"/>
                  <a:pt x="3047" y="205"/>
                </a:cubicBezTo>
                <a:cubicBezTo>
                  <a:pt x="3046" y="204"/>
                  <a:pt x="3046" y="204"/>
                  <a:pt x="3045" y="204"/>
                </a:cubicBezTo>
                <a:cubicBezTo>
                  <a:pt x="3045" y="204"/>
                  <a:pt x="3045" y="204"/>
                  <a:pt x="3044" y="204"/>
                </a:cubicBezTo>
                <a:cubicBezTo>
                  <a:pt x="3043" y="204"/>
                  <a:pt x="3043" y="204"/>
                  <a:pt x="3042" y="203"/>
                </a:cubicBezTo>
                <a:cubicBezTo>
                  <a:pt x="3042" y="203"/>
                  <a:pt x="3041" y="202"/>
                  <a:pt x="3041" y="201"/>
                </a:cubicBezTo>
                <a:cubicBezTo>
                  <a:pt x="3042" y="201"/>
                  <a:pt x="3042" y="202"/>
                  <a:pt x="3042" y="202"/>
                </a:cubicBezTo>
                <a:cubicBezTo>
                  <a:pt x="3042" y="202"/>
                  <a:pt x="3043" y="202"/>
                  <a:pt x="3043" y="202"/>
                </a:cubicBezTo>
                <a:cubicBezTo>
                  <a:pt x="3044" y="202"/>
                  <a:pt x="3044" y="202"/>
                  <a:pt x="3045" y="202"/>
                </a:cubicBezTo>
                <a:cubicBezTo>
                  <a:pt x="3045" y="203"/>
                  <a:pt x="3045" y="203"/>
                  <a:pt x="3045" y="203"/>
                </a:cubicBezTo>
                <a:cubicBezTo>
                  <a:pt x="3046" y="204"/>
                  <a:pt x="3047" y="204"/>
                  <a:pt x="3047" y="204"/>
                </a:cubicBezTo>
                <a:cubicBezTo>
                  <a:pt x="3048" y="204"/>
                  <a:pt x="3048" y="204"/>
                  <a:pt x="3049" y="205"/>
                </a:cubicBezTo>
                <a:cubicBezTo>
                  <a:pt x="3049" y="205"/>
                  <a:pt x="3050" y="204"/>
                  <a:pt x="3049" y="205"/>
                </a:cubicBezTo>
                <a:cubicBezTo>
                  <a:pt x="3049" y="205"/>
                  <a:pt x="3049" y="205"/>
                  <a:pt x="3049" y="206"/>
                </a:cubicBezTo>
                <a:cubicBezTo>
                  <a:pt x="3050" y="206"/>
                  <a:pt x="3050" y="206"/>
                  <a:pt x="3051" y="206"/>
                </a:cubicBezTo>
                <a:cubicBezTo>
                  <a:pt x="3052" y="206"/>
                  <a:pt x="3053" y="206"/>
                  <a:pt x="3053" y="206"/>
                </a:cubicBezTo>
                <a:cubicBezTo>
                  <a:pt x="3054" y="206"/>
                  <a:pt x="3054" y="207"/>
                  <a:pt x="3055" y="208"/>
                </a:cubicBezTo>
                <a:cubicBezTo>
                  <a:pt x="3055" y="208"/>
                  <a:pt x="3056" y="209"/>
                  <a:pt x="3057" y="208"/>
                </a:cubicBezTo>
                <a:cubicBezTo>
                  <a:pt x="3057" y="207"/>
                  <a:pt x="3057" y="206"/>
                  <a:pt x="3057" y="205"/>
                </a:cubicBezTo>
                <a:cubicBezTo>
                  <a:pt x="3057" y="204"/>
                  <a:pt x="3058" y="204"/>
                  <a:pt x="3058" y="204"/>
                </a:cubicBezTo>
                <a:cubicBezTo>
                  <a:pt x="3059" y="203"/>
                  <a:pt x="3058" y="201"/>
                  <a:pt x="3058" y="200"/>
                </a:cubicBezTo>
                <a:cubicBezTo>
                  <a:pt x="3058" y="200"/>
                  <a:pt x="3058" y="200"/>
                  <a:pt x="3057" y="200"/>
                </a:cubicBezTo>
                <a:cubicBezTo>
                  <a:pt x="3056" y="199"/>
                  <a:pt x="3057" y="200"/>
                  <a:pt x="3057" y="200"/>
                </a:cubicBezTo>
                <a:cubicBezTo>
                  <a:pt x="3056" y="201"/>
                  <a:pt x="3056" y="201"/>
                  <a:pt x="3056" y="201"/>
                </a:cubicBezTo>
                <a:cubicBezTo>
                  <a:pt x="3056" y="201"/>
                  <a:pt x="3056" y="201"/>
                  <a:pt x="3056" y="201"/>
                </a:cubicBezTo>
                <a:cubicBezTo>
                  <a:pt x="3055" y="202"/>
                  <a:pt x="3055" y="202"/>
                  <a:pt x="3055" y="202"/>
                </a:cubicBezTo>
                <a:cubicBezTo>
                  <a:pt x="3054" y="201"/>
                  <a:pt x="3055" y="200"/>
                  <a:pt x="3055" y="199"/>
                </a:cubicBezTo>
                <a:cubicBezTo>
                  <a:pt x="3055" y="199"/>
                  <a:pt x="3055" y="199"/>
                  <a:pt x="3054" y="198"/>
                </a:cubicBezTo>
                <a:cubicBezTo>
                  <a:pt x="3054" y="198"/>
                  <a:pt x="3054" y="198"/>
                  <a:pt x="3054" y="197"/>
                </a:cubicBezTo>
                <a:cubicBezTo>
                  <a:pt x="3053" y="197"/>
                  <a:pt x="3053" y="196"/>
                  <a:pt x="3053" y="196"/>
                </a:cubicBezTo>
                <a:cubicBezTo>
                  <a:pt x="3053" y="195"/>
                  <a:pt x="3053" y="195"/>
                  <a:pt x="3053" y="194"/>
                </a:cubicBezTo>
                <a:cubicBezTo>
                  <a:pt x="3053" y="194"/>
                  <a:pt x="3052" y="193"/>
                  <a:pt x="3051" y="193"/>
                </a:cubicBezTo>
                <a:cubicBezTo>
                  <a:pt x="3051" y="192"/>
                  <a:pt x="3051" y="192"/>
                  <a:pt x="3050" y="192"/>
                </a:cubicBezTo>
                <a:cubicBezTo>
                  <a:pt x="3049" y="192"/>
                  <a:pt x="3049" y="192"/>
                  <a:pt x="3048" y="192"/>
                </a:cubicBezTo>
                <a:cubicBezTo>
                  <a:pt x="3048" y="192"/>
                  <a:pt x="3047" y="192"/>
                  <a:pt x="3047" y="193"/>
                </a:cubicBezTo>
                <a:cubicBezTo>
                  <a:pt x="3047" y="193"/>
                  <a:pt x="3048" y="193"/>
                  <a:pt x="3048" y="193"/>
                </a:cubicBezTo>
                <a:cubicBezTo>
                  <a:pt x="3048" y="193"/>
                  <a:pt x="3048" y="193"/>
                  <a:pt x="3048" y="193"/>
                </a:cubicBezTo>
                <a:cubicBezTo>
                  <a:pt x="3049" y="194"/>
                  <a:pt x="3049" y="194"/>
                  <a:pt x="3050" y="194"/>
                </a:cubicBezTo>
                <a:cubicBezTo>
                  <a:pt x="3050" y="194"/>
                  <a:pt x="3051" y="194"/>
                  <a:pt x="3051" y="195"/>
                </a:cubicBezTo>
                <a:cubicBezTo>
                  <a:pt x="3050" y="195"/>
                  <a:pt x="3049" y="194"/>
                  <a:pt x="3049" y="195"/>
                </a:cubicBezTo>
                <a:cubicBezTo>
                  <a:pt x="3049" y="196"/>
                  <a:pt x="3048" y="197"/>
                  <a:pt x="3048" y="197"/>
                </a:cubicBezTo>
                <a:cubicBezTo>
                  <a:pt x="3046" y="198"/>
                  <a:pt x="3047" y="196"/>
                  <a:pt x="3047" y="195"/>
                </a:cubicBezTo>
                <a:cubicBezTo>
                  <a:pt x="3047" y="194"/>
                  <a:pt x="3046" y="194"/>
                  <a:pt x="3046" y="193"/>
                </a:cubicBezTo>
                <a:cubicBezTo>
                  <a:pt x="3045" y="192"/>
                  <a:pt x="3046" y="191"/>
                  <a:pt x="3045" y="190"/>
                </a:cubicBezTo>
                <a:cubicBezTo>
                  <a:pt x="3044" y="189"/>
                  <a:pt x="3043" y="189"/>
                  <a:pt x="3042" y="189"/>
                </a:cubicBezTo>
                <a:cubicBezTo>
                  <a:pt x="3041" y="188"/>
                  <a:pt x="3040" y="188"/>
                  <a:pt x="3039" y="187"/>
                </a:cubicBezTo>
                <a:cubicBezTo>
                  <a:pt x="3038" y="187"/>
                  <a:pt x="3038" y="186"/>
                  <a:pt x="3037" y="186"/>
                </a:cubicBezTo>
                <a:cubicBezTo>
                  <a:pt x="3036" y="186"/>
                  <a:pt x="3036" y="185"/>
                  <a:pt x="3035" y="184"/>
                </a:cubicBezTo>
                <a:cubicBezTo>
                  <a:pt x="3034" y="184"/>
                  <a:pt x="3033" y="184"/>
                  <a:pt x="3033" y="184"/>
                </a:cubicBezTo>
                <a:cubicBezTo>
                  <a:pt x="3032" y="184"/>
                  <a:pt x="3032" y="183"/>
                  <a:pt x="3031" y="182"/>
                </a:cubicBezTo>
                <a:cubicBezTo>
                  <a:pt x="3030" y="182"/>
                  <a:pt x="3029" y="182"/>
                  <a:pt x="3028" y="182"/>
                </a:cubicBezTo>
                <a:cubicBezTo>
                  <a:pt x="3028" y="182"/>
                  <a:pt x="3027" y="182"/>
                  <a:pt x="3027" y="181"/>
                </a:cubicBezTo>
                <a:cubicBezTo>
                  <a:pt x="3027" y="181"/>
                  <a:pt x="3027" y="181"/>
                  <a:pt x="3026" y="180"/>
                </a:cubicBezTo>
                <a:cubicBezTo>
                  <a:pt x="3026" y="180"/>
                  <a:pt x="3024" y="181"/>
                  <a:pt x="3024" y="181"/>
                </a:cubicBezTo>
                <a:cubicBezTo>
                  <a:pt x="3023" y="181"/>
                  <a:pt x="3021" y="181"/>
                  <a:pt x="3020" y="181"/>
                </a:cubicBezTo>
                <a:cubicBezTo>
                  <a:pt x="3019" y="180"/>
                  <a:pt x="3018" y="180"/>
                  <a:pt x="3018" y="181"/>
                </a:cubicBezTo>
                <a:cubicBezTo>
                  <a:pt x="3017" y="181"/>
                  <a:pt x="3016" y="182"/>
                  <a:pt x="3015" y="182"/>
                </a:cubicBezTo>
                <a:cubicBezTo>
                  <a:pt x="3014" y="182"/>
                  <a:pt x="3013" y="182"/>
                  <a:pt x="3013" y="182"/>
                </a:cubicBezTo>
                <a:cubicBezTo>
                  <a:pt x="3012" y="181"/>
                  <a:pt x="3011" y="181"/>
                  <a:pt x="3010" y="181"/>
                </a:cubicBezTo>
                <a:cubicBezTo>
                  <a:pt x="3009" y="181"/>
                  <a:pt x="3009" y="181"/>
                  <a:pt x="3008" y="181"/>
                </a:cubicBezTo>
                <a:cubicBezTo>
                  <a:pt x="3007" y="180"/>
                  <a:pt x="3006" y="180"/>
                  <a:pt x="3005" y="180"/>
                </a:cubicBezTo>
                <a:cubicBezTo>
                  <a:pt x="3005" y="181"/>
                  <a:pt x="3004" y="181"/>
                  <a:pt x="3003" y="181"/>
                </a:cubicBezTo>
                <a:cubicBezTo>
                  <a:pt x="3001" y="181"/>
                  <a:pt x="2999" y="181"/>
                  <a:pt x="2997" y="181"/>
                </a:cubicBezTo>
                <a:cubicBezTo>
                  <a:pt x="2996" y="181"/>
                  <a:pt x="2995" y="181"/>
                  <a:pt x="2995" y="181"/>
                </a:cubicBezTo>
                <a:cubicBezTo>
                  <a:pt x="2994" y="181"/>
                  <a:pt x="2993" y="181"/>
                  <a:pt x="2992" y="181"/>
                </a:cubicBezTo>
                <a:cubicBezTo>
                  <a:pt x="2992" y="181"/>
                  <a:pt x="2990" y="181"/>
                  <a:pt x="2990" y="181"/>
                </a:cubicBezTo>
                <a:cubicBezTo>
                  <a:pt x="2989" y="182"/>
                  <a:pt x="2990" y="182"/>
                  <a:pt x="2990" y="182"/>
                </a:cubicBezTo>
                <a:cubicBezTo>
                  <a:pt x="2991" y="182"/>
                  <a:pt x="2991" y="182"/>
                  <a:pt x="2991" y="183"/>
                </a:cubicBezTo>
                <a:cubicBezTo>
                  <a:pt x="2991" y="184"/>
                  <a:pt x="2990" y="184"/>
                  <a:pt x="2989" y="185"/>
                </a:cubicBezTo>
                <a:cubicBezTo>
                  <a:pt x="2989" y="186"/>
                  <a:pt x="2988" y="186"/>
                  <a:pt x="2987" y="186"/>
                </a:cubicBezTo>
                <a:cubicBezTo>
                  <a:pt x="2985" y="187"/>
                  <a:pt x="2984" y="185"/>
                  <a:pt x="2982" y="186"/>
                </a:cubicBezTo>
                <a:cubicBezTo>
                  <a:pt x="2982" y="186"/>
                  <a:pt x="2981" y="186"/>
                  <a:pt x="2980" y="186"/>
                </a:cubicBezTo>
                <a:cubicBezTo>
                  <a:pt x="2979" y="186"/>
                  <a:pt x="2979" y="186"/>
                  <a:pt x="2978" y="187"/>
                </a:cubicBezTo>
                <a:cubicBezTo>
                  <a:pt x="2978" y="187"/>
                  <a:pt x="2977" y="187"/>
                  <a:pt x="2977" y="187"/>
                </a:cubicBezTo>
                <a:cubicBezTo>
                  <a:pt x="2976" y="188"/>
                  <a:pt x="2976" y="186"/>
                  <a:pt x="2975" y="186"/>
                </a:cubicBezTo>
                <a:cubicBezTo>
                  <a:pt x="2975" y="186"/>
                  <a:pt x="2975" y="186"/>
                  <a:pt x="2974" y="186"/>
                </a:cubicBezTo>
                <a:cubicBezTo>
                  <a:pt x="2974" y="186"/>
                  <a:pt x="2973" y="186"/>
                  <a:pt x="2973" y="186"/>
                </a:cubicBezTo>
                <a:cubicBezTo>
                  <a:pt x="2972" y="186"/>
                  <a:pt x="2973" y="185"/>
                  <a:pt x="2973" y="185"/>
                </a:cubicBezTo>
                <a:cubicBezTo>
                  <a:pt x="2973" y="185"/>
                  <a:pt x="2974" y="185"/>
                  <a:pt x="2974" y="185"/>
                </a:cubicBezTo>
                <a:cubicBezTo>
                  <a:pt x="2976" y="184"/>
                  <a:pt x="2977" y="182"/>
                  <a:pt x="2979" y="181"/>
                </a:cubicBezTo>
                <a:cubicBezTo>
                  <a:pt x="2980" y="180"/>
                  <a:pt x="2981" y="180"/>
                  <a:pt x="2981" y="179"/>
                </a:cubicBezTo>
                <a:cubicBezTo>
                  <a:pt x="2982" y="179"/>
                  <a:pt x="2983" y="178"/>
                  <a:pt x="2983" y="178"/>
                </a:cubicBezTo>
                <a:cubicBezTo>
                  <a:pt x="2984" y="178"/>
                  <a:pt x="2985" y="177"/>
                  <a:pt x="2985" y="177"/>
                </a:cubicBezTo>
                <a:cubicBezTo>
                  <a:pt x="2985" y="176"/>
                  <a:pt x="2985" y="176"/>
                  <a:pt x="2984" y="176"/>
                </a:cubicBezTo>
                <a:cubicBezTo>
                  <a:pt x="2984" y="176"/>
                  <a:pt x="2983" y="176"/>
                  <a:pt x="2983" y="176"/>
                </a:cubicBezTo>
                <a:cubicBezTo>
                  <a:pt x="2982" y="175"/>
                  <a:pt x="2982" y="174"/>
                  <a:pt x="2981" y="174"/>
                </a:cubicBezTo>
                <a:cubicBezTo>
                  <a:pt x="2980" y="174"/>
                  <a:pt x="2979" y="174"/>
                  <a:pt x="2979" y="174"/>
                </a:cubicBezTo>
                <a:cubicBezTo>
                  <a:pt x="2978" y="174"/>
                  <a:pt x="2977" y="173"/>
                  <a:pt x="2976" y="173"/>
                </a:cubicBezTo>
                <a:cubicBezTo>
                  <a:pt x="2976" y="174"/>
                  <a:pt x="2975" y="175"/>
                  <a:pt x="2974" y="174"/>
                </a:cubicBezTo>
                <a:cubicBezTo>
                  <a:pt x="2973" y="174"/>
                  <a:pt x="2973" y="173"/>
                  <a:pt x="2972" y="173"/>
                </a:cubicBezTo>
                <a:cubicBezTo>
                  <a:pt x="2972" y="173"/>
                  <a:pt x="2971" y="173"/>
                  <a:pt x="2971" y="173"/>
                </a:cubicBezTo>
                <a:cubicBezTo>
                  <a:pt x="2970" y="173"/>
                  <a:pt x="2970" y="173"/>
                  <a:pt x="2970" y="173"/>
                </a:cubicBezTo>
                <a:cubicBezTo>
                  <a:pt x="2969" y="173"/>
                  <a:pt x="2968" y="174"/>
                  <a:pt x="2967" y="175"/>
                </a:cubicBezTo>
                <a:cubicBezTo>
                  <a:pt x="2966" y="175"/>
                  <a:pt x="2965" y="175"/>
                  <a:pt x="2964" y="175"/>
                </a:cubicBezTo>
                <a:cubicBezTo>
                  <a:pt x="2964" y="175"/>
                  <a:pt x="2963" y="175"/>
                  <a:pt x="2962" y="175"/>
                </a:cubicBezTo>
                <a:cubicBezTo>
                  <a:pt x="2962" y="175"/>
                  <a:pt x="2961" y="175"/>
                  <a:pt x="2961" y="175"/>
                </a:cubicBezTo>
                <a:cubicBezTo>
                  <a:pt x="2961" y="174"/>
                  <a:pt x="2962" y="174"/>
                  <a:pt x="2962" y="174"/>
                </a:cubicBezTo>
                <a:cubicBezTo>
                  <a:pt x="2963" y="174"/>
                  <a:pt x="2964" y="174"/>
                  <a:pt x="2965" y="174"/>
                </a:cubicBezTo>
                <a:cubicBezTo>
                  <a:pt x="2965" y="173"/>
                  <a:pt x="2965" y="173"/>
                  <a:pt x="2965" y="173"/>
                </a:cubicBezTo>
                <a:cubicBezTo>
                  <a:pt x="2966" y="173"/>
                  <a:pt x="2966" y="172"/>
                  <a:pt x="2966" y="172"/>
                </a:cubicBezTo>
                <a:cubicBezTo>
                  <a:pt x="2966" y="172"/>
                  <a:pt x="2966" y="171"/>
                  <a:pt x="2966" y="171"/>
                </a:cubicBezTo>
                <a:cubicBezTo>
                  <a:pt x="2965" y="171"/>
                  <a:pt x="2965" y="172"/>
                  <a:pt x="2965" y="172"/>
                </a:cubicBezTo>
                <a:cubicBezTo>
                  <a:pt x="2964" y="172"/>
                  <a:pt x="2963" y="172"/>
                  <a:pt x="2963" y="172"/>
                </a:cubicBezTo>
                <a:cubicBezTo>
                  <a:pt x="2962" y="172"/>
                  <a:pt x="2961" y="172"/>
                  <a:pt x="2960" y="173"/>
                </a:cubicBezTo>
                <a:cubicBezTo>
                  <a:pt x="2959" y="173"/>
                  <a:pt x="2959" y="172"/>
                  <a:pt x="2958" y="172"/>
                </a:cubicBezTo>
                <a:cubicBezTo>
                  <a:pt x="2957" y="172"/>
                  <a:pt x="2956" y="173"/>
                  <a:pt x="2956" y="173"/>
                </a:cubicBezTo>
                <a:cubicBezTo>
                  <a:pt x="2955" y="173"/>
                  <a:pt x="2954" y="172"/>
                  <a:pt x="2954" y="172"/>
                </a:cubicBezTo>
                <a:cubicBezTo>
                  <a:pt x="2953" y="171"/>
                  <a:pt x="2952" y="172"/>
                  <a:pt x="2951" y="172"/>
                </a:cubicBezTo>
                <a:cubicBezTo>
                  <a:pt x="2949" y="172"/>
                  <a:pt x="2949" y="172"/>
                  <a:pt x="2948" y="173"/>
                </a:cubicBezTo>
                <a:cubicBezTo>
                  <a:pt x="2948" y="172"/>
                  <a:pt x="2949" y="172"/>
                  <a:pt x="2949" y="172"/>
                </a:cubicBezTo>
                <a:cubicBezTo>
                  <a:pt x="2950" y="172"/>
                  <a:pt x="2950" y="172"/>
                  <a:pt x="2951" y="171"/>
                </a:cubicBezTo>
                <a:cubicBezTo>
                  <a:pt x="2951" y="171"/>
                  <a:pt x="2951" y="171"/>
                  <a:pt x="2952" y="171"/>
                </a:cubicBezTo>
                <a:cubicBezTo>
                  <a:pt x="2953" y="170"/>
                  <a:pt x="2955" y="171"/>
                  <a:pt x="2957" y="170"/>
                </a:cubicBezTo>
                <a:cubicBezTo>
                  <a:pt x="2958" y="170"/>
                  <a:pt x="2960" y="170"/>
                  <a:pt x="2960" y="169"/>
                </a:cubicBezTo>
                <a:cubicBezTo>
                  <a:pt x="2961" y="168"/>
                  <a:pt x="2961" y="168"/>
                  <a:pt x="2961" y="168"/>
                </a:cubicBezTo>
                <a:cubicBezTo>
                  <a:pt x="2962" y="168"/>
                  <a:pt x="2962" y="168"/>
                  <a:pt x="2963" y="168"/>
                </a:cubicBezTo>
                <a:cubicBezTo>
                  <a:pt x="2963" y="168"/>
                  <a:pt x="2964" y="167"/>
                  <a:pt x="2964" y="166"/>
                </a:cubicBezTo>
                <a:cubicBezTo>
                  <a:pt x="2965" y="166"/>
                  <a:pt x="2965" y="166"/>
                  <a:pt x="2966" y="166"/>
                </a:cubicBezTo>
                <a:cubicBezTo>
                  <a:pt x="2967" y="167"/>
                  <a:pt x="2967" y="166"/>
                  <a:pt x="2968" y="166"/>
                </a:cubicBezTo>
                <a:cubicBezTo>
                  <a:pt x="2969" y="166"/>
                  <a:pt x="2971" y="166"/>
                  <a:pt x="2970" y="166"/>
                </a:cubicBezTo>
                <a:cubicBezTo>
                  <a:pt x="2970" y="165"/>
                  <a:pt x="2970" y="165"/>
                  <a:pt x="2970" y="165"/>
                </a:cubicBezTo>
                <a:cubicBezTo>
                  <a:pt x="2970" y="165"/>
                  <a:pt x="2970" y="165"/>
                  <a:pt x="2969" y="165"/>
                </a:cubicBezTo>
                <a:cubicBezTo>
                  <a:pt x="2969" y="164"/>
                  <a:pt x="2969" y="164"/>
                  <a:pt x="2968" y="163"/>
                </a:cubicBezTo>
                <a:cubicBezTo>
                  <a:pt x="2967" y="162"/>
                  <a:pt x="2967" y="162"/>
                  <a:pt x="2966" y="161"/>
                </a:cubicBezTo>
                <a:cubicBezTo>
                  <a:pt x="2965" y="161"/>
                  <a:pt x="2965" y="160"/>
                  <a:pt x="2964" y="160"/>
                </a:cubicBezTo>
                <a:cubicBezTo>
                  <a:pt x="2962" y="160"/>
                  <a:pt x="2961" y="160"/>
                  <a:pt x="2960" y="160"/>
                </a:cubicBezTo>
                <a:cubicBezTo>
                  <a:pt x="2959" y="159"/>
                  <a:pt x="2958" y="159"/>
                  <a:pt x="2957" y="159"/>
                </a:cubicBezTo>
                <a:cubicBezTo>
                  <a:pt x="2956" y="158"/>
                  <a:pt x="2955" y="159"/>
                  <a:pt x="2954" y="158"/>
                </a:cubicBezTo>
                <a:cubicBezTo>
                  <a:pt x="2952" y="158"/>
                  <a:pt x="2951" y="157"/>
                  <a:pt x="2950" y="157"/>
                </a:cubicBezTo>
                <a:cubicBezTo>
                  <a:pt x="2949" y="157"/>
                  <a:pt x="2947" y="157"/>
                  <a:pt x="2945" y="157"/>
                </a:cubicBezTo>
                <a:cubicBezTo>
                  <a:pt x="2943" y="157"/>
                  <a:pt x="2942" y="158"/>
                  <a:pt x="2940" y="159"/>
                </a:cubicBezTo>
                <a:cubicBezTo>
                  <a:pt x="2938" y="159"/>
                  <a:pt x="2935" y="159"/>
                  <a:pt x="2933" y="160"/>
                </a:cubicBezTo>
                <a:cubicBezTo>
                  <a:pt x="2931" y="160"/>
                  <a:pt x="2930" y="161"/>
                  <a:pt x="2929" y="162"/>
                </a:cubicBezTo>
                <a:cubicBezTo>
                  <a:pt x="2927" y="163"/>
                  <a:pt x="2925" y="163"/>
                  <a:pt x="2924" y="164"/>
                </a:cubicBezTo>
                <a:cubicBezTo>
                  <a:pt x="2923" y="164"/>
                  <a:pt x="2922" y="164"/>
                  <a:pt x="2921" y="165"/>
                </a:cubicBezTo>
                <a:cubicBezTo>
                  <a:pt x="2921" y="165"/>
                  <a:pt x="2920" y="166"/>
                  <a:pt x="2920" y="167"/>
                </a:cubicBezTo>
                <a:cubicBezTo>
                  <a:pt x="2920" y="167"/>
                  <a:pt x="2922" y="166"/>
                  <a:pt x="2922" y="167"/>
                </a:cubicBezTo>
                <a:cubicBezTo>
                  <a:pt x="2921" y="167"/>
                  <a:pt x="2921" y="168"/>
                  <a:pt x="2920" y="168"/>
                </a:cubicBezTo>
                <a:cubicBezTo>
                  <a:pt x="2920" y="168"/>
                  <a:pt x="2919" y="169"/>
                  <a:pt x="2918" y="169"/>
                </a:cubicBezTo>
                <a:cubicBezTo>
                  <a:pt x="2918" y="170"/>
                  <a:pt x="2917" y="170"/>
                  <a:pt x="2917" y="170"/>
                </a:cubicBezTo>
                <a:cubicBezTo>
                  <a:pt x="2916" y="171"/>
                  <a:pt x="2916" y="171"/>
                  <a:pt x="2915" y="172"/>
                </a:cubicBezTo>
                <a:cubicBezTo>
                  <a:pt x="2914" y="172"/>
                  <a:pt x="2914" y="173"/>
                  <a:pt x="2913" y="174"/>
                </a:cubicBezTo>
                <a:cubicBezTo>
                  <a:pt x="2913" y="175"/>
                  <a:pt x="2911" y="175"/>
                  <a:pt x="2911" y="175"/>
                </a:cubicBezTo>
                <a:cubicBezTo>
                  <a:pt x="2910" y="176"/>
                  <a:pt x="2910" y="177"/>
                  <a:pt x="2910" y="178"/>
                </a:cubicBezTo>
                <a:cubicBezTo>
                  <a:pt x="2910" y="179"/>
                  <a:pt x="2910" y="179"/>
                  <a:pt x="2911" y="179"/>
                </a:cubicBezTo>
                <a:cubicBezTo>
                  <a:pt x="2911" y="180"/>
                  <a:pt x="2911" y="180"/>
                  <a:pt x="2912" y="180"/>
                </a:cubicBezTo>
                <a:cubicBezTo>
                  <a:pt x="2912" y="180"/>
                  <a:pt x="2913" y="180"/>
                  <a:pt x="2913" y="180"/>
                </a:cubicBezTo>
                <a:cubicBezTo>
                  <a:pt x="2914" y="180"/>
                  <a:pt x="2914" y="181"/>
                  <a:pt x="2913" y="181"/>
                </a:cubicBezTo>
                <a:cubicBezTo>
                  <a:pt x="2913" y="181"/>
                  <a:pt x="2913" y="182"/>
                  <a:pt x="2913" y="182"/>
                </a:cubicBezTo>
                <a:cubicBezTo>
                  <a:pt x="2913" y="182"/>
                  <a:pt x="2913" y="183"/>
                  <a:pt x="2913" y="184"/>
                </a:cubicBezTo>
                <a:cubicBezTo>
                  <a:pt x="2912" y="184"/>
                  <a:pt x="2912" y="184"/>
                  <a:pt x="2912" y="184"/>
                </a:cubicBezTo>
                <a:cubicBezTo>
                  <a:pt x="2912" y="184"/>
                  <a:pt x="2911" y="185"/>
                  <a:pt x="2911" y="185"/>
                </a:cubicBezTo>
                <a:cubicBezTo>
                  <a:pt x="2910" y="185"/>
                  <a:pt x="2911" y="185"/>
                  <a:pt x="2911" y="185"/>
                </a:cubicBezTo>
                <a:cubicBezTo>
                  <a:pt x="2912" y="186"/>
                  <a:pt x="2912" y="186"/>
                  <a:pt x="2912" y="186"/>
                </a:cubicBezTo>
                <a:cubicBezTo>
                  <a:pt x="2913" y="186"/>
                  <a:pt x="2913" y="186"/>
                  <a:pt x="2914" y="186"/>
                </a:cubicBezTo>
                <a:cubicBezTo>
                  <a:pt x="2914" y="186"/>
                  <a:pt x="2915" y="186"/>
                  <a:pt x="2916" y="186"/>
                </a:cubicBezTo>
                <a:cubicBezTo>
                  <a:pt x="2917" y="186"/>
                  <a:pt x="2917" y="187"/>
                  <a:pt x="2918" y="187"/>
                </a:cubicBezTo>
                <a:cubicBezTo>
                  <a:pt x="2918" y="187"/>
                  <a:pt x="2919" y="187"/>
                  <a:pt x="2920" y="187"/>
                </a:cubicBezTo>
                <a:cubicBezTo>
                  <a:pt x="2921" y="187"/>
                  <a:pt x="2921" y="187"/>
                  <a:pt x="2922" y="188"/>
                </a:cubicBezTo>
                <a:cubicBezTo>
                  <a:pt x="2923" y="188"/>
                  <a:pt x="2923" y="189"/>
                  <a:pt x="2923" y="189"/>
                </a:cubicBezTo>
                <a:cubicBezTo>
                  <a:pt x="2923" y="190"/>
                  <a:pt x="2922" y="189"/>
                  <a:pt x="2922" y="188"/>
                </a:cubicBezTo>
                <a:cubicBezTo>
                  <a:pt x="2921" y="188"/>
                  <a:pt x="2920" y="188"/>
                  <a:pt x="2919" y="188"/>
                </a:cubicBezTo>
                <a:cubicBezTo>
                  <a:pt x="2919" y="188"/>
                  <a:pt x="2918" y="188"/>
                  <a:pt x="2917" y="187"/>
                </a:cubicBezTo>
                <a:cubicBezTo>
                  <a:pt x="2916" y="187"/>
                  <a:pt x="2916" y="187"/>
                  <a:pt x="2915" y="187"/>
                </a:cubicBezTo>
                <a:cubicBezTo>
                  <a:pt x="2914" y="187"/>
                  <a:pt x="2913" y="188"/>
                  <a:pt x="2912" y="187"/>
                </a:cubicBezTo>
                <a:cubicBezTo>
                  <a:pt x="2912" y="187"/>
                  <a:pt x="2912" y="186"/>
                  <a:pt x="2911" y="186"/>
                </a:cubicBezTo>
                <a:cubicBezTo>
                  <a:pt x="2911" y="186"/>
                  <a:pt x="2910" y="186"/>
                  <a:pt x="2910" y="186"/>
                </a:cubicBezTo>
                <a:cubicBezTo>
                  <a:pt x="2909" y="186"/>
                  <a:pt x="2909" y="186"/>
                  <a:pt x="2908" y="186"/>
                </a:cubicBezTo>
                <a:cubicBezTo>
                  <a:pt x="2907" y="186"/>
                  <a:pt x="2906" y="187"/>
                  <a:pt x="2905" y="187"/>
                </a:cubicBezTo>
                <a:cubicBezTo>
                  <a:pt x="2904" y="187"/>
                  <a:pt x="2904" y="187"/>
                  <a:pt x="2904" y="187"/>
                </a:cubicBezTo>
                <a:cubicBezTo>
                  <a:pt x="2903" y="187"/>
                  <a:pt x="2903" y="187"/>
                  <a:pt x="2902" y="187"/>
                </a:cubicBezTo>
                <a:cubicBezTo>
                  <a:pt x="2902" y="187"/>
                  <a:pt x="2901" y="187"/>
                  <a:pt x="2900" y="187"/>
                </a:cubicBezTo>
                <a:cubicBezTo>
                  <a:pt x="2899" y="187"/>
                  <a:pt x="2898" y="187"/>
                  <a:pt x="2897" y="187"/>
                </a:cubicBezTo>
                <a:cubicBezTo>
                  <a:pt x="2896" y="187"/>
                  <a:pt x="2895" y="187"/>
                  <a:pt x="2894" y="187"/>
                </a:cubicBezTo>
                <a:cubicBezTo>
                  <a:pt x="2893" y="187"/>
                  <a:pt x="2893" y="187"/>
                  <a:pt x="2892" y="187"/>
                </a:cubicBezTo>
                <a:cubicBezTo>
                  <a:pt x="2891" y="187"/>
                  <a:pt x="2890" y="187"/>
                  <a:pt x="2889" y="186"/>
                </a:cubicBezTo>
                <a:cubicBezTo>
                  <a:pt x="2888" y="186"/>
                  <a:pt x="2887" y="186"/>
                  <a:pt x="2886" y="186"/>
                </a:cubicBezTo>
                <a:cubicBezTo>
                  <a:pt x="2886" y="187"/>
                  <a:pt x="2888" y="188"/>
                  <a:pt x="2888" y="188"/>
                </a:cubicBezTo>
                <a:cubicBezTo>
                  <a:pt x="2889" y="189"/>
                  <a:pt x="2889" y="190"/>
                  <a:pt x="2889" y="190"/>
                </a:cubicBezTo>
                <a:cubicBezTo>
                  <a:pt x="2890" y="190"/>
                  <a:pt x="2891" y="190"/>
                  <a:pt x="2892" y="190"/>
                </a:cubicBezTo>
                <a:cubicBezTo>
                  <a:pt x="2893" y="191"/>
                  <a:pt x="2893" y="192"/>
                  <a:pt x="2894" y="192"/>
                </a:cubicBezTo>
                <a:cubicBezTo>
                  <a:pt x="2895" y="192"/>
                  <a:pt x="2895" y="192"/>
                  <a:pt x="2895" y="193"/>
                </a:cubicBezTo>
                <a:cubicBezTo>
                  <a:pt x="2896" y="193"/>
                  <a:pt x="2896" y="194"/>
                  <a:pt x="2896" y="194"/>
                </a:cubicBezTo>
                <a:cubicBezTo>
                  <a:pt x="2897" y="194"/>
                  <a:pt x="2898" y="194"/>
                  <a:pt x="2898" y="195"/>
                </a:cubicBezTo>
                <a:cubicBezTo>
                  <a:pt x="2898" y="196"/>
                  <a:pt x="2898" y="198"/>
                  <a:pt x="2897" y="197"/>
                </a:cubicBezTo>
                <a:cubicBezTo>
                  <a:pt x="2897" y="197"/>
                  <a:pt x="2897" y="197"/>
                  <a:pt x="2897" y="196"/>
                </a:cubicBezTo>
                <a:cubicBezTo>
                  <a:pt x="2896" y="196"/>
                  <a:pt x="2896" y="196"/>
                  <a:pt x="2895" y="196"/>
                </a:cubicBezTo>
                <a:cubicBezTo>
                  <a:pt x="2895" y="196"/>
                  <a:pt x="2894" y="195"/>
                  <a:pt x="2893" y="195"/>
                </a:cubicBezTo>
                <a:cubicBezTo>
                  <a:pt x="2893" y="195"/>
                  <a:pt x="2892" y="195"/>
                  <a:pt x="2891" y="194"/>
                </a:cubicBezTo>
                <a:cubicBezTo>
                  <a:pt x="2890" y="194"/>
                  <a:pt x="2890" y="193"/>
                  <a:pt x="2889" y="193"/>
                </a:cubicBezTo>
                <a:cubicBezTo>
                  <a:pt x="2889" y="193"/>
                  <a:pt x="2888" y="193"/>
                  <a:pt x="2888" y="193"/>
                </a:cubicBezTo>
                <a:cubicBezTo>
                  <a:pt x="2887" y="192"/>
                  <a:pt x="2887" y="192"/>
                  <a:pt x="2887" y="192"/>
                </a:cubicBezTo>
                <a:cubicBezTo>
                  <a:pt x="2886" y="192"/>
                  <a:pt x="2885" y="192"/>
                  <a:pt x="2885" y="192"/>
                </a:cubicBezTo>
                <a:cubicBezTo>
                  <a:pt x="2884" y="193"/>
                  <a:pt x="2884" y="193"/>
                  <a:pt x="2883" y="194"/>
                </a:cubicBezTo>
                <a:cubicBezTo>
                  <a:pt x="2881" y="195"/>
                  <a:pt x="2879" y="194"/>
                  <a:pt x="2878" y="194"/>
                </a:cubicBezTo>
                <a:cubicBezTo>
                  <a:pt x="2877" y="195"/>
                  <a:pt x="2876" y="195"/>
                  <a:pt x="2875" y="196"/>
                </a:cubicBezTo>
                <a:cubicBezTo>
                  <a:pt x="2874" y="196"/>
                  <a:pt x="2873" y="196"/>
                  <a:pt x="2872" y="197"/>
                </a:cubicBezTo>
                <a:cubicBezTo>
                  <a:pt x="2872" y="197"/>
                  <a:pt x="2871" y="198"/>
                  <a:pt x="2870" y="199"/>
                </a:cubicBezTo>
                <a:cubicBezTo>
                  <a:pt x="2870" y="199"/>
                  <a:pt x="2869" y="199"/>
                  <a:pt x="2869" y="199"/>
                </a:cubicBezTo>
                <a:cubicBezTo>
                  <a:pt x="2869" y="198"/>
                  <a:pt x="2870" y="198"/>
                  <a:pt x="2870" y="198"/>
                </a:cubicBezTo>
                <a:cubicBezTo>
                  <a:pt x="2870" y="197"/>
                  <a:pt x="2868" y="198"/>
                  <a:pt x="2868" y="198"/>
                </a:cubicBezTo>
                <a:cubicBezTo>
                  <a:pt x="2867" y="198"/>
                  <a:pt x="2867" y="199"/>
                  <a:pt x="2866" y="199"/>
                </a:cubicBezTo>
                <a:cubicBezTo>
                  <a:pt x="2866" y="199"/>
                  <a:pt x="2866" y="199"/>
                  <a:pt x="2865" y="199"/>
                </a:cubicBezTo>
                <a:cubicBezTo>
                  <a:pt x="2864" y="199"/>
                  <a:pt x="2863" y="200"/>
                  <a:pt x="2863" y="200"/>
                </a:cubicBezTo>
                <a:cubicBezTo>
                  <a:pt x="2862" y="201"/>
                  <a:pt x="2861" y="201"/>
                  <a:pt x="2861" y="201"/>
                </a:cubicBezTo>
                <a:cubicBezTo>
                  <a:pt x="2860" y="201"/>
                  <a:pt x="2861" y="200"/>
                  <a:pt x="2861" y="199"/>
                </a:cubicBezTo>
                <a:cubicBezTo>
                  <a:pt x="2860" y="198"/>
                  <a:pt x="2859" y="198"/>
                  <a:pt x="2859" y="198"/>
                </a:cubicBezTo>
                <a:cubicBezTo>
                  <a:pt x="2858" y="199"/>
                  <a:pt x="2857" y="199"/>
                  <a:pt x="2856" y="199"/>
                </a:cubicBezTo>
                <a:cubicBezTo>
                  <a:pt x="2855" y="200"/>
                  <a:pt x="2854" y="200"/>
                  <a:pt x="2854" y="201"/>
                </a:cubicBezTo>
                <a:cubicBezTo>
                  <a:pt x="2853" y="201"/>
                  <a:pt x="2852" y="202"/>
                  <a:pt x="2851" y="202"/>
                </a:cubicBezTo>
                <a:cubicBezTo>
                  <a:pt x="2850" y="201"/>
                  <a:pt x="2851" y="200"/>
                  <a:pt x="2852" y="200"/>
                </a:cubicBezTo>
                <a:cubicBezTo>
                  <a:pt x="2852" y="200"/>
                  <a:pt x="2854" y="199"/>
                  <a:pt x="2853" y="198"/>
                </a:cubicBezTo>
                <a:cubicBezTo>
                  <a:pt x="2853" y="198"/>
                  <a:pt x="2852" y="198"/>
                  <a:pt x="2852" y="199"/>
                </a:cubicBezTo>
                <a:cubicBezTo>
                  <a:pt x="2851" y="199"/>
                  <a:pt x="2850" y="199"/>
                  <a:pt x="2850" y="199"/>
                </a:cubicBezTo>
                <a:cubicBezTo>
                  <a:pt x="2848" y="199"/>
                  <a:pt x="2846" y="198"/>
                  <a:pt x="2844" y="198"/>
                </a:cubicBezTo>
                <a:cubicBezTo>
                  <a:pt x="2843" y="198"/>
                  <a:pt x="2842" y="198"/>
                  <a:pt x="2841" y="198"/>
                </a:cubicBezTo>
                <a:cubicBezTo>
                  <a:pt x="2840" y="197"/>
                  <a:pt x="2839" y="197"/>
                  <a:pt x="2838" y="197"/>
                </a:cubicBezTo>
                <a:cubicBezTo>
                  <a:pt x="2837" y="197"/>
                  <a:pt x="2836" y="197"/>
                  <a:pt x="2835" y="197"/>
                </a:cubicBezTo>
                <a:cubicBezTo>
                  <a:pt x="2834" y="197"/>
                  <a:pt x="2833" y="197"/>
                  <a:pt x="2832" y="197"/>
                </a:cubicBezTo>
                <a:cubicBezTo>
                  <a:pt x="2831" y="197"/>
                  <a:pt x="2830" y="196"/>
                  <a:pt x="2829" y="196"/>
                </a:cubicBezTo>
                <a:cubicBezTo>
                  <a:pt x="2828" y="196"/>
                  <a:pt x="2828" y="196"/>
                  <a:pt x="2827" y="196"/>
                </a:cubicBezTo>
                <a:cubicBezTo>
                  <a:pt x="2825" y="196"/>
                  <a:pt x="2823" y="196"/>
                  <a:pt x="2822" y="196"/>
                </a:cubicBezTo>
                <a:cubicBezTo>
                  <a:pt x="2821" y="196"/>
                  <a:pt x="2820" y="197"/>
                  <a:pt x="2819" y="197"/>
                </a:cubicBezTo>
                <a:cubicBezTo>
                  <a:pt x="2819" y="198"/>
                  <a:pt x="2819" y="198"/>
                  <a:pt x="2818" y="198"/>
                </a:cubicBezTo>
                <a:cubicBezTo>
                  <a:pt x="2818" y="199"/>
                  <a:pt x="2819" y="199"/>
                  <a:pt x="2819" y="199"/>
                </a:cubicBezTo>
                <a:cubicBezTo>
                  <a:pt x="2820" y="199"/>
                  <a:pt x="2820" y="199"/>
                  <a:pt x="2821" y="199"/>
                </a:cubicBezTo>
                <a:cubicBezTo>
                  <a:pt x="2821" y="199"/>
                  <a:pt x="2822" y="199"/>
                  <a:pt x="2823" y="199"/>
                </a:cubicBezTo>
                <a:cubicBezTo>
                  <a:pt x="2824" y="200"/>
                  <a:pt x="2825" y="199"/>
                  <a:pt x="2826" y="199"/>
                </a:cubicBezTo>
                <a:cubicBezTo>
                  <a:pt x="2826" y="199"/>
                  <a:pt x="2827" y="200"/>
                  <a:pt x="2828" y="200"/>
                </a:cubicBezTo>
                <a:cubicBezTo>
                  <a:pt x="2829" y="200"/>
                  <a:pt x="2830" y="200"/>
                  <a:pt x="2831" y="200"/>
                </a:cubicBezTo>
                <a:cubicBezTo>
                  <a:pt x="2831" y="200"/>
                  <a:pt x="2832" y="199"/>
                  <a:pt x="2833" y="200"/>
                </a:cubicBezTo>
                <a:cubicBezTo>
                  <a:pt x="2832" y="201"/>
                  <a:pt x="2831" y="201"/>
                  <a:pt x="2830" y="201"/>
                </a:cubicBezTo>
                <a:cubicBezTo>
                  <a:pt x="2829" y="201"/>
                  <a:pt x="2828" y="201"/>
                  <a:pt x="2827" y="201"/>
                </a:cubicBezTo>
                <a:cubicBezTo>
                  <a:pt x="2825" y="202"/>
                  <a:pt x="2824" y="202"/>
                  <a:pt x="2822" y="202"/>
                </a:cubicBezTo>
                <a:cubicBezTo>
                  <a:pt x="2821" y="202"/>
                  <a:pt x="2819" y="202"/>
                  <a:pt x="2817" y="203"/>
                </a:cubicBezTo>
                <a:cubicBezTo>
                  <a:pt x="2816" y="203"/>
                  <a:pt x="2815" y="203"/>
                  <a:pt x="2814" y="203"/>
                </a:cubicBezTo>
                <a:cubicBezTo>
                  <a:pt x="2813" y="203"/>
                  <a:pt x="2811" y="203"/>
                  <a:pt x="2810" y="203"/>
                </a:cubicBezTo>
                <a:cubicBezTo>
                  <a:pt x="2808" y="204"/>
                  <a:pt x="2806" y="204"/>
                  <a:pt x="2804" y="205"/>
                </a:cubicBezTo>
                <a:cubicBezTo>
                  <a:pt x="2803" y="205"/>
                  <a:pt x="2802" y="205"/>
                  <a:pt x="2801" y="205"/>
                </a:cubicBezTo>
                <a:cubicBezTo>
                  <a:pt x="2799" y="205"/>
                  <a:pt x="2797" y="205"/>
                  <a:pt x="2795" y="206"/>
                </a:cubicBezTo>
                <a:cubicBezTo>
                  <a:pt x="2793" y="206"/>
                  <a:pt x="2792" y="207"/>
                  <a:pt x="2790" y="207"/>
                </a:cubicBezTo>
                <a:cubicBezTo>
                  <a:pt x="2788" y="208"/>
                  <a:pt x="2786" y="208"/>
                  <a:pt x="2784" y="208"/>
                </a:cubicBezTo>
                <a:cubicBezTo>
                  <a:pt x="2781" y="209"/>
                  <a:pt x="2778" y="209"/>
                  <a:pt x="2776" y="211"/>
                </a:cubicBezTo>
                <a:cubicBezTo>
                  <a:pt x="2774" y="212"/>
                  <a:pt x="2773" y="212"/>
                  <a:pt x="2772" y="213"/>
                </a:cubicBezTo>
                <a:cubicBezTo>
                  <a:pt x="2770" y="214"/>
                  <a:pt x="2769" y="215"/>
                  <a:pt x="2768" y="215"/>
                </a:cubicBezTo>
                <a:cubicBezTo>
                  <a:pt x="2766" y="216"/>
                  <a:pt x="2765" y="217"/>
                  <a:pt x="2764" y="218"/>
                </a:cubicBezTo>
                <a:cubicBezTo>
                  <a:pt x="2764" y="219"/>
                  <a:pt x="2763" y="219"/>
                  <a:pt x="2763" y="219"/>
                </a:cubicBezTo>
                <a:cubicBezTo>
                  <a:pt x="2761" y="219"/>
                  <a:pt x="2760" y="219"/>
                  <a:pt x="2759" y="219"/>
                </a:cubicBezTo>
                <a:cubicBezTo>
                  <a:pt x="2758" y="219"/>
                  <a:pt x="2758" y="219"/>
                  <a:pt x="2757" y="219"/>
                </a:cubicBezTo>
                <a:cubicBezTo>
                  <a:pt x="2756" y="219"/>
                  <a:pt x="2755" y="218"/>
                  <a:pt x="2755" y="218"/>
                </a:cubicBezTo>
                <a:cubicBezTo>
                  <a:pt x="2754" y="218"/>
                  <a:pt x="2753" y="218"/>
                  <a:pt x="2752" y="218"/>
                </a:cubicBezTo>
                <a:cubicBezTo>
                  <a:pt x="2752" y="218"/>
                  <a:pt x="2751" y="218"/>
                  <a:pt x="2751" y="219"/>
                </a:cubicBezTo>
                <a:cubicBezTo>
                  <a:pt x="2750" y="219"/>
                  <a:pt x="2751" y="219"/>
                  <a:pt x="2751" y="219"/>
                </a:cubicBezTo>
                <a:cubicBezTo>
                  <a:pt x="2752" y="219"/>
                  <a:pt x="2752" y="219"/>
                  <a:pt x="2752" y="219"/>
                </a:cubicBezTo>
                <a:cubicBezTo>
                  <a:pt x="2753" y="220"/>
                  <a:pt x="2753" y="220"/>
                  <a:pt x="2753" y="220"/>
                </a:cubicBezTo>
                <a:cubicBezTo>
                  <a:pt x="2754" y="220"/>
                  <a:pt x="2755" y="220"/>
                  <a:pt x="2756" y="220"/>
                </a:cubicBezTo>
                <a:cubicBezTo>
                  <a:pt x="2756" y="220"/>
                  <a:pt x="2757" y="220"/>
                  <a:pt x="2757" y="221"/>
                </a:cubicBezTo>
                <a:cubicBezTo>
                  <a:pt x="2757" y="221"/>
                  <a:pt x="2757" y="221"/>
                  <a:pt x="2756" y="221"/>
                </a:cubicBezTo>
                <a:cubicBezTo>
                  <a:pt x="2755" y="221"/>
                  <a:pt x="2754" y="220"/>
                  <a:pt x="2754" y="221"/>
                </a:cubicBezTo>
                <a:cubicBezTo>
                  <a:pt x="2754" y="223"/>
                  <a:pt x="2755" y="222"/>
                  <a:pt x="2756" y="222"/>
                </a:cubicBezTo>
                <a:cubicBezTo>
                  <a:pt x="2756" y="223"/>
                  <a:pt x="2755" y="223"/>
                  <a:pt x="2754" y="224"/>
                </a:cubicBezTo>
                <a:cubicBezTo>
                  <a:pt x="2754" y="224"/>
                  <a:pt x="2754" y="224"/>
                  <a:pt x="2754" y="224"/>
                </a:cubicBezTo>
                <a:cubicBezTo>
                  <a:pt x="2753" y="224"/>
                  <a:pt x="2753" y="224"/>
                  <a:pt x="2753" y="225"/>
                </a:cubicBezTo>
                <a:cubicBezTo>
                  <a:pt x="2752" y="225"/>
                  <a:pt x="2753" y="226"/>
                  <a:pt x="2751" y="227"/>
                </a:cubicBezTo>
                <a:cubicBezTo>
                  <a:pt x="2751" y="227"/>
                  <a:pt x="2750" y="228"/>
                  <a:pt x="2750" y="228"/>
                </a:cubicBezTo>
                <a:cubicBezTo>
                  <a:pt x="2749" y="229"/>
                  <a:pt x="2750" y="229"/>
                  <a:pt x="2750" y="230"/>
                </a:cubicBezTo>
                <a:cubicBezTo>
                  <a:pt x="2750" y="230"/>
                  <a:pt x="2750" y="230"/>
                  <a:pt x="2749" y="230"/>
                </a:cubicBezTo>
                <a:cubicBezTo>
                  <a:pt x="2749" y="230"/>
                  <a:pt x="2749" y="230"/>
                  <a:pt x="2749" y="230"/>
                </a:cubicBezTo>
                <a:cubicBezTo>
                  <a:pt x="2748" y="229"/>
                  <a:pt x="2748" y="229"/>
                  <a:pt x="2748" y="229"/>
                </a:cubicBezTo>
                <a:cubicBezTo>
                  <a:pt x="2748" y="229"/>
                  <a:pt x="2748" y="229"/>
                  <a:pt x="2748" y="229"/>
                </a:cubicBezTo>
                <a:cubicBezTo>
                  <a:pt x="2748" y="228"/>
                  <a:pt x="2747" y="228"/>
                  <a:pt x="2746" y="228"/>
                </a:cubicBezTo>
                <a:cubicBezTo>
                  <a:pt x="2746" y="228"/>
                  <a:pt x="2745" y="228"/>
                  <a:pt x="2744" y="228"/>
                </a:cubicBezTo>
                <a:cubicBezTo>
                  <a:pt x="2743" y="228"/>
                  <a:pt x="2744" y="227"/>
                  <a:pt x="2743" y="227"/>
                </a:cubicBezTo>
                <a:cubicBezTo>
                  <a:pt x="2743" y="227"/>
                  <a:pt x="2743" y="227"/>
                  <a:pt x="2742" y="226"/>
                </a:cubicBezTo>
                <a:cubicBezTo>
                  <a:pt x="2742" y="226"/>
                  <a:pt x="2742" y="226"/>
                  <a:pt x="2742" y="226"/>
                </a:cubicBezTo>
                <a:cubicBezTo>
                  <a:pt x="2741" y="225"/>
                  <a:pt x="2741" y="225"/>
                  <a:pt x="2741" y="226"/>
                </a:cubicBezTo>
                <a:cubicBezTo>
                  <a:pt x="2741" y="226"/>
                  <a:pt x="2742" y="226"/>
                  <a:pt x="2741" y="227"/>
                </a:cubicBezTo>
                <a:cubicBezTo>
                  <a:pt x="2741" y="227"/>
                  <a:pt x="2741" y="227"/>
                  <a:pt x="2740" y="227"/>
                </a:cubicBezTo>
                <a:cubicBezTo>
                  <a:pt x="2740" y="228"/>
                  <a:pt x="2739" y="227"/>
                  <a:pt x="2739" y="228"/>
                </a:cubicBezTo>
                <a:cubicBezTo>
                  <a:pt x="2738" y="229"/>
                  <a:pt x="2737" y="230"/>
                  <a:pt x="2738" y="230"/>
                </a:cubicBezTo>
                <a:cubicBezTo>
                  <a:pt x="2738" y="230"/>
                  <a:pt x="2738" y="230"/>
                  <a:pt x="2739" y="230"/>
                </a:cubicBezTo>
                <a:cubicBezTo>
                  <a:pt x="2739" y="230"/>
                  <a:pt x="2740" y="230"/>
                  <a:pt x="2740" y="230"/>
                </a:cubicBezTo>
                <a:cubicBezTo>
                  <a:pt x="2740" y="230"/>
                  <a:pt x="2741" y="230"/>
                  <a:pt x="2741" y="230"/>
                </a:cubicBezTo>
                <a:cubicBezTo>
                  <a:pt x="2741" y="230"/>
                  <a:pt x="2742" y="230"/>
                  <a:pt x="2742" y="230"/>
                </a:cubicBezTo>
                <a:cubicBezTo>
                  <a:pt x="2742" y="230"/>
                  <a:pt x="2743" y="230"/>
                  <a:pt x="2743" y="230"/>
                </a:cubicBezTo>
                <a:cubicBezTo>
                  <a:pt x="2743" y="230"/>
                  <a:pt x="2744" y="230"/>
                  <a:pt x="2744" y="230"/>
                </a:cubicBezTo>
                <a:cubicBezTo>
                  <a:pt x="2745" y="230"/>
                  <a:pt x="2745" y="231"/>
                  <a:pt x="2745" y="231"/>
                </a:cubicBezTo>
                <a:cubicBezTo>
                  <a:pt x="2745" y="231"/>
                  <a:pt x="2746" y="231"/>
                  <a:pt x="2746" y="231"/>
                </a:cubicBezTo>
                <a:cubicBezTo>
                  <a:pt x="2746" y="231"/>
                  <a:pt x="2747" y="232"/>
                  <a:pt x="2747" y="232"/>
                </a:cubicBezTo>
                <a:cubicBezTo>
                  <a:pt x="2747" y="232"/>
                  <a:pt x="2748" y="232"/>
                  <a:pt x="2748" y="232"/>
                </a:cubicBezTo>
                <a:cubicBezTo>
                  <a:pt x="2748" y="232"/>
                  <a:pt x="2746" y="232"/>
                  <a:pt x="2747" y="233"/>
                </a:cubicBezTo>
                <a:cubicBezTo>
                  <a:pt x="2747" y="233"/>
                  <a:pt x="2747" y="233"/>
                  <a:pt x="2748" y="233"/>
                </a:cubicBezTo>
                <a:cubicBezTo>
                  <a:pt x="2748" y="233"/>
                  <a:pt x="2748" y="233"/>
                  <a:pt x="2748" y="234"/>
                </a:cubicBezTo>
                <a:cubicBezTo>
                  <a:pt x="2749" y="234"/>
                  <a:pt x="2749" y="234"/>
                  <a:pt x="2749" y="234"/>
                </a:cubicBezTo>
                <a:cubicBezTo>
                  <a:pt x="2749" y="234"/>
                  <a:pt x="2749" y="235"/>
                  <a:pt x="2750" y="235"/>
                </a:cubicBezTo>
                <a:cubicBezTo>
                  <a:pt x="2751" y="235"/>
                  <a:pt x="2751" y="234"/>
                  <a:pt x="2752" y="234"/>
                </a:cubicBezTo>
                <a:cubicBezTo>
                  <a:pt x="2752" y="234"/>
                  <a:pt x="2753" y="234"/>
                  <a:pt x="2753" y="234"/>
                </a:cubicBezTo>
                <a:cubicBezTo>
                  <a:pt x="2753" y="235"/>
                  <a:pt x="2752" y="235"/>
                  <a:pt x="2752" y="235"/>
                </a:cubicBezTo>
                <a:cubicBezTo>
                  <a:pt x="2752" y="235"/>
                  <a:pt x="2753" y="235"/>
                  <a:pt x="2753" y="236"/>
                </a:cubicBezTo>
                <a:cubicBezTo>
                  <a:pt x="2753" y="236"/>
                  <a:pt x="2752" y="236"/>
                  <a:pt x="2752" y="236"/>
                </a:cubicBezTo>
                <a:cubicBezTo>
                  <a:pt x="2752" y="237"/>
                  <a:pt x="2752" y="237"/>
                  <a:pt x="2752" y="237"/>
                </a:cubicBezTo>
                <a:cubicBezTo>
                  <a:pt x="2751" y="237"/>
                  <a:pt x="2751" y="237"/>
                  <a:pt x="2751" y="237"/>
                </a:cubicBezTo>
                <a:cubicBezTo>
                  <a:pt x="2750" y="237"/>
                  <a:pt x="2750" y="237"/>
                  <a:pt x="2749" y="237"/>
                </a:cubicBezTo>
                <a:cubicBezTo>
                  <a:pt x="2749" y="237"/>
                  <a:pt x="2749" y="237"/>
                  <a:pt x="2750" y="237"/>
                </a:cubicBezTo>
                <a:cubicBezTo>
                  <a:pt x="2750" y="237"/>
                  <a:pt x="2750" y="236"/>
                  <a:pt x="2751" y="236"/>
                </a:cubicBezTo>
                <a:cubicBezTo>
                  <a:pt x="2751" y="236"/>
                  <a:pt x="2751" y="236"/>
                  <a:pt x="2751" y="236"/>
                </a:cubicBezTo>
                <a:cubicBezTo>
                  <a:pt x="2752" y="235"/>
                  <a:pt x="2750" y="235"/>
                  <a:pt x="2750" y="235"/>
                </a:cubicBezTo>
                <a:cubicBezTo>
                  <a:pt x="2750" y="235"/>
                  <a:pt x="2749" y="235"/>
                  <a:pt x="2748" y="235"/>
                </a:cubicBezTo>
                <a:cubicBezTo>
                  <a:pt x="2747" y="235"/>
                  <a:pt x="2746" y="235"/>
                  <a:pt x="2745" y="235"/>
                </a:cubicBezTo>
                <a:cubicBezTo>
                  <a:pt x="2744" y="235"/>
                  <a:pt x="2744" y="235"/>
                  <a:pt x="2743" y="235"/>
                </a:cubicBezTo>
                <a:cubicBezTo>
                  <a:pt x="2743" y="235"/>
                  <a:pt x="2743" y="235"/>
                  <a:pt x="2743" y="235"/>
                </a:cubicBezTo>
                <a:cubicBezTo>
                  <a:pt x="2742" y="235"/>
                  <a:pt x="2741" y="235"/>
                  <a:pt x="2741" y="235"/>
                </a:cubicBezTo>
                <a:cubicBezTo>
                  <a:pt x="2740" y="235"/>
                  <a:pt x="2739" y="236"/>
                  <a:pt x="2740" y="237"/>
                </a:cubicBezTo>
                <a:cubicBezTo>
                  <a:pt x="2740" y="237"/>
                  <a:pt x="2740" y="237"/>
                  <a:pt x="2740" y="237"/>
                </a:cubicBezTo>
                <a:cubicBezTo>
                  <a:pt x="2741" y="238"/>
                  <a:pt x="2740" y="238"/>
                  <a:pt x="2741" y="238"/>
                </a:cubicBezTo>
                <a:cubicBezTo>
                  <a:pt x="2741" y="239"/>
                  <a:pt x="2743" y="238"/>
                  <a:pt x="2744" y="238"/>
                </a:cubicBezTo>
                <a:cubicBezTo>
                  <a:pt x="2745" y="238"/>
                  <a:pt x="2745" y="238"/>
                  <a:pt x="2746" y="238"/>
                </a:cubicBezTo>
                <a:cubicBezTo>
                  <a:pt x="2747" y="239"/>
                  <a:pt x="2748" y="238"/>
                  <a:pt x="2748" y="239"/>
                </a:cubicBezTo>
                <a:cubicBezTo>
                  <a:pt x="2749" y="239"/>
                  <a:pt x="2749" y="239"/>
                  <a:pt x="2749" y="240"/>
                </a:cubicBezTo>
                <a:cubicBezTo>
                  <a:pt x="2749" y="240"/>
                  <a:pt x="2749" y="240"/>
                  <a:pt x="2749" y="241"/>
                </a:cubicBezTo>
                <a:cubicBezTo>
                  <a:pt x="2749" y="242"/>
                  <a:pt x="2749" y="241"/>
                  <a:pt x="2750" y="241"/>
                </a:cubicBezTo>
                <a:cubicBezTo>
                  <a:pt x="2750" y="242"/>
                  <a:pt x="2750" y="243"/>
                  <a:pt x="2751" y="243"/>
                </a:cubicBezTo>
                <a:cubicBezTo>
                  <a:pt x="2751" y="243"/>
                  <a:pt x="2752" y="243"/>
                  <a:pt x="2753" y="243"/>
                </a:cubicBezTo>
                <a:cubicBezTo>
                  <a:pt x="2753" y="243"/>
                  <a:pt x="2754" y="242"/>
                  <a:pt x="2754" y="243"/>
                </a:cubicBezTo>
                <a:cubicBezTo>
                  <a:pt x="2754" y="243"/>
                  <a:pt x="2754" y="243"/>
                  <a:pt x="2753" y="243"/>
                </a:cubicBezTo>
                <a:cubicBezTo>
                  <a:pt x="2753" y="243"/>
                  <a:pt x="2752" y="243"/>
                  <a:pt x="2751" y="243"/>
                </a:cubicBezTo>
                <a:cubicBezTo>
                  <a:pt x="2751" y="244"/>
                  <a:pt x="2752" y="244"/>
                  <a:pt x="2752" y="244"/>
                </a:cubicBezTo>
                <a:cubicBezTo>
                  <a:pt x="2753" y="244"/>
                  <a:pt x="2753" y="245"/>
                  <a:pt x="2753" y="245"/>
                </a:cubicBezTo>
                <a:cubicBezTo>
                  <a:pt x="2753" y="246"/>
                  <a:pt x="2754" y="246"/>
                  <a:pt x="2753" y="246"/>
                </a:cubicBezTo>
                <a:cubicBezTo>
                  <a:pt x="2753" y="247"/>
                  <a:pt x="2752" y="247"/>
                  <a:pt x="2752" y="247"/>
                </a:cubicBezTo>
                <a:cubicBezTo>
                  <a:pt x="2751" y="247"/>
                  <a:pt x="2751" y="247"/>
                  <a:pt x="2750" y="247"/>
                </a:cubicBezTo>
                <a:cubicBezTo>
                  <a:pt x="2750" y="247"/>
                  <a:pt x="2749" y="247"/>
                  <a:pt x="2748" y="247"/>
                </a:cubicBezTo>
                <a:cubicBezTo>
                  <a:pt x="2746" y="247"/>
                  <a:pt x="2744" y="247"/>
                  <a:pt x="2742" y="247"/>
                </a:cubicBezTo>
                <a:cubicBezTo>
                  <a:pt x="2741" y="248"/>
                  <a:pt x="2739" y="248"/>
                  <a:pt x="2738" y="248"/>
                </a:cubicBezTo>
                <a:cubicBezTo>
                  <a:pt x="2737" y="248"/>
                  <a:pt x="2735" y="248"/>
                  <a:pt x="2734" y="248"/>
                </a:cubicBezTo>
                <a:cubicBezTo>
                  <a:pt x="2732" y="248"/>
                  <a:pt x="2731" y="249"/>
                  <a:pt x="2730" y="249"/>
                </a:cubicBezTo>
                <a:cubicBezTo>
                  <a:pt x="2728" y="249"/>
                  <a:pt x="2727" y="249"/>
                  <a:pt x="2726" y="249"/>
                </a:cubicBezTo>
                <a:cubicBezTo>
                  <a:pt x="2721" y="250"/>
                  <a:pt x="2716" y="250"/>
                  <a:pt x="2711" y="250"/>
                </a:cubicBezTo>
                <a:cubicBezTo>
                  <a:pt x="2709" y="251"/>
                  <a:pt x="2707" y="251"/>
                  <a:pt x="2705" y="251"/>
                </a:cubicBezTo>
                <a:cubicBezTo>
                  <a:pt x="2702" y="251"/>
                  <a:pt x="2700" y="252"/>
                  <a:pt x="2697" y="252"/>
                </a:cubicBezTo>
                <a:cubicBezTo>
                  <a:pt x="2696" y="252"/>
                  <a:pt x="2694" y="252"/>
                  <a:pt x="2693" y="252"/>
                </a:cubicBezTo>
                <a:cubicBezTo>
                  <a:pt x="2690" y="252"/>
                  <a:pt x="2688" y="252"/>
                  <a:pt x="2685" y="253"/>
                </a:cubicBezTo>
                <a:cubicBezTo>
                  <a:pt x="2683" y="253"/>
                  <a:pt x="2682" y="253"/>
                  <a:pt x="2680" y="253"/>
                </a:cubicBezTo>
                <a:cubicBezTo>
                  <a:pt x="2679" y="253"/>
                  <a:pt x="2679" y="253"/>
                  <a:pt x="2679" y="253"/>
                </a:cubicBezTo>
                <a:cubicBezTo>
                  <a:pt x="2678" y="253"/>
                  <a:pt x="2678" y="253"/>
                  <a:pt x="2678" y="254"/>
                </a:cubicBezTo>
                <a:cubicBezTo>
                  <a:pt x="2678" y="254"/>
                  <a:pt x="2678" y="254"/>
                  <a:pt x="2678" y="255"/>
                </a:cubicBezTo>
                <a:cubicBezTo>
                  <a:pt x="2678" y="255"/>
                  <a:pt x="2679" y="255"/>
                  <a:pt x="2679" y="255"/>
                </a:cubicBezTo>
                <a:cubicBezTo>
                  <a:pt x="2680" y="256"/>
                  <a:pt x="2678" y="256"/>
                  <a:pt x="2678" y="257"/>
                </a:cubicBezTo>
                <a:cubicBezTo>
                  <a:pt x="2677" y="257"/>
                  <a:pt x="2677" y="257"/>
                  <a:pt x="2677" y="257"/>
                </a:cubicBezTo>
                <a:cubicBezTo>
                  <a:pt x="2676" y="258"/>
                  <a:pt x="2676" y="258"/>
                  <a:pt x="2676" y="258"/>
                </a:cubicBezTo>
                <a:cubicBezTo>
                  <a:pt x="2675" y="258"/>
                  <a:pt x="2675" y="258"/>
                  <a:pt x="2675" y="258"/>
                </a:cubicBezTo>
                <a:cubicBezTo>
                  <a:pt x="2674" y="259"/>
                  <a:pt x="2675" y="259"/>
                  <a:pt x="2675" y="259"/>
                </a:cubicBezTo>
                <a:cubicBezTo>
                  <a:pt x="2676" y="259"/>
                  <a:pt x="2676" y="259"/>
                  <a:pt x="2676" y="260"/>
                </a:cubicBezTo>
                <a:cubicBezTo>
                  <a:pt x="2676" y="260"/>
                  <a:pt x="2677" y="260"/>
                  <a:pt x="2677" y="260"/>
                </a:cubicBezTo>
                <a:cubicBezTo>
                  <a:pt x="2679" y="260"/>
                  <a:pt x="2675" y="262"/>
                  <a:pt x="2675" y="262"/>
                </a:cubicBezTo>
                <a:cubicBezTo>
                  <a:pt x="2675" y="263"/>
                  <a:pt x="2677" y="262"/>
                  <a:pt x="2677" y="262"/>
                </a:cubicBezTo>
                <a:cubicBezTo>
                  <a:pt x="2677" y="262"/>
                  <a:pt x="2678" y="263"/>
                  <a:pt x="2678" y="263"/>
                </a:cubicBezTo>
                <a:cubicBezTo>
                  <a:pt x="2678" y="263"/>
                  <a:pt x="2677" y="263"/>
                  <a:pt x="2677" y="264"/>
                </a:cubicBezTo>
                <a:cubicBezTo>
                  <a:pt x="2677" y="264"/>
                  <a:pt x="2678" y="264"/>
                  <a:pt x="2678" y="264"/>
                </a:cubicBezTo>
                <a:cubicBezTo>
                  <a:pt x="2678" y="264"/>
                  <a:pt x="2679" y="265"/>
                  <a:pt x="2679" y="265"/>
                </a:cubicBezTo>
                <a:cubicBezTo>
                  <a:pt x="2679" y="265"/>
                  <a:pt x="2680" y="265"/>
                  <a:pt x="2681" y="265"/>
                </a:cubicBezTo>
                <a:cubicBezTo>
                  <a:pt x="2681" y="266"/>
                  <a:pt x="2681" y="266"/>
                  <a:pt x="2681" y="267"/>
                </a:cubicBezTo>
                <a:cubicBezTo>
                  <a:pt x="2681" y="267"/>
                  <a:pt x="2682" y="267"/>
                  <a:pt x="2682" y="268"/>
                </a:cubicBezTo>
                <a:cubicBezTo>
                  <a:pt x="2682" y="268"/>
                  <a:pt x="2681" y="269"/>
                  <a:pt x="2681" y="269"/>
                </a:cubicBezTo>
                <a:cubicBezTo>
                  <a:pt x="2681" y="270"/>
                  <a:pt x="2680" y="271"/>
                  <a:pt x="2680" y="271"/>
                </a:cubicBezTo>
                <a:cubicBezTo>
                  <a:pt x="2679" y="271"/>
                  <a:pt x="2679" y="272"/>
                  <a:pt x="2679" y="273"/>
                </a:cubicBezTo>
                <a:cubicBezTo>
                  <a:pt x="2679" y="273"/>
                  <a:pt x="2680" y="273"/>
                  <a:pt x="2680" y="273"/>
                </a:cubicBezTo>
                <a:cubicBezTo>
                  <a:pt x="2680" y="274"/>
                  <a:pt x="2680" y="274"/>
                  <a:pt x="2680" y="274"/>
                </a:cubicBezTo>
                <a:cubicBezTo>
                  <a:pt x="2680" y="274"/>
                  <a:pt x="2681" y="274"/>
                  <a:pt x="2681" y="274"/>
                </a:cubicBezTo>
                <a:cubicBezTo>
                  <a:pt x="2682" y="275"/>
                  <a:pt x="2680" y="275"/>
                  <a:pt x="2680" y="276"/>
                </a:cubicBezTo>
                <a:cubicBezTo>
                  <a:pt x="2680" y="277"/>
                  <a:pt x="2682" y="277"/>
                  <a:pt x="2682" y="277"/>
                </a:cubicBezTo>
                <a:cubicBezTo>
                  <a:pt x="2683" y="278"/>
                  <a:pt x="2683" y="278"/>
                  <a:pt x="2684" y="279"/>
                </a:cubicBezTo>
                <a:cubicBezTo>
                  <a:pt x="2685" y="279"/>
                  <a:pt x="2686" y="279"/>
                  <a:pt x="2687" y="279"/>
                </a:cubicBezTo>
                <a:cubicBezTo>
                  <a:pt x="2687" y="279"/>
                  <a:pt x="2688" y="279"/>
                  <a:pt x="2688" y="280"/>
                </a:cubicBezTo>
                <a:cubicBezTo>
                  <a:pt x="2689" y="280"/>
                  <a:pt x="2691" y="280"/>
                  <a:pt x="2692" y="280"/>
                </a:cubicBezTo>
                <a:cubicBezTo>
                  <a:pt x="2693" y="281"/>
                  <a:pt x="2694" y="281"/>
                  <a:pt x="2695" y="281"/>
                </a:cubicBezTo>
                <a:cubicBezTo>
                  <a:pt x="2696" y="281"/>
                  <a:pt x="2696" y="281"/>
                  <a:pt x="2697" y="282"/>
                </a:cubicBezTo>
                <a:cubicBezTo>
                  <a:pt x="2697" y="283"/>
                  <a:pt x="2697" y="284"/>
                  <a:pt x="2697" y="285"/>
                </a:cubicBezTo>
                <a:cubicBezTo>
                  <a:pt x="2697" y="286"/>
                  <a:pt x="2698" y="286"/>
                  <a:pt x="2698" y="286"/>
                </a:cubicBezTo>
                <a:cubicBezTo>
                  <a:pt x="2699" y="287"/>
                  <a:pt x="2699" y="288"/>
                  <a:pt x="2700" y="288"/>
                </a:cubicBezTo>
                <a:cubicBezTo>
                  <a:pt x="2701" y="289"/>
                  <a:pt x="2702" y="289"/>
                  <a:pt x="2702" y="290"/>
                </a:cubicBezTo>
                <a:cubicBezTo>
                  <a:pt x="2702" y="291"/>
                  <a:pt x="2703" y="292"/>
                  <a:pt x="2702" y="292"/>
                </a:cubicBezTo>
                <a:cubicBezTo>
                  <a:pt x="2701" y="293"/>
                  <a:pt x="2700" y="292"/>
                  <a:pt x="2699" y="293"/>
                </a:cubicBezTo>
                <a:cubicBezTo>
                  <a:pt x="2699" y="293"/>
                  <a:pt x="2698" y="293"/>
                  <a:pt x="2698" y="293"/>
                </a:cubicBezTo>
                <a:cubicBezTo>
                  <a:pt x="2697" y="293"/>
                  <a:pt x="2697" y="294"/>
                  <a:pt x="2696" y="294"/>
                </a:cubicBezTo>
                <a:cubicBezTo>
                  <a:pt x="2696" y="294"/>
                  <a:pt x="2695" y="294"/>
                  <a:pt x="2694" y="294"/>
                </a:cubicBezTo>
                <a:cubicBezTo>
                  <a:pt x="2694" y="294"/>
                  <a:pt x="2693" y="293"/>
                  <a:pt x="2693" y="293"/>
                </a:cubicBezTo>
                <a:cubicBezTo>
                  <a:pt x="2692" y="293"/>
                  <a:pt x="2692" y="293"/>
                  <a:pt x="2692" y="293"/>
                </a:cubicBezTo>
                <a:cubicBezTo>
                  <a:pt x="2691" y="293"/>
                  <a:pt x="2690" y="293"/>
                  <a:pt x="2690" y="292"/>
                </a:cubicBezTo>
                <a:cubicBezTo>
                  <a:pt x="2688" y="291"/>
                  <a:pt x="2687" y="290"/>
                  <a:pt x="2686" y="289"/>
                </a:cubicBezTo>
                <a:cubicBezTo>
                  <a:pt x="2684" y="288"/>
                  <a:pt x="2683" y="286"/>
                  <a:pt x="2681" y="285"/>
                </a:cubicBezTo>
                <a:cubicBezTo>
                  <a:pt x="2679" y="285"/>
                  <a:pt x="2677" y="284"/>
                  <a:pt x="2675" y="283"/>
                </a:cubicBezTo>
                <a:cubicBezTo>
                  <a:pt x="2673" y="283"/>
                  <a:pt x="2671" y="282"/>
                  <a:pt x="2670" y="282"/>
                </a:cubicBezTo>
                <a:cubicBezTo>
                  <a:pt x="2669" y="282"/>
                  <a:pt x="2668" y="282"/>
                  <a:pt x="2667" y="282"/>
                </a:cubicBezTo>
                <a:cubicBezTo>
                  <a:pt x="2666" y="282"/>
                  <a:pt x="2665" y="281"/>
                  <a:pt x="2665" y="281"/>
                </a:cubicBezTo>
                <a:cubicBezTo>
                  <a:pt x="2664" y="281"/>
                  <a:pt x="2663" y="281"/>
                  <a:pt x="2662" y="281"/>
                </a:cubicBezTo>
                <a:cubicBezTo>
                  <a:pt x="2661" y="281"/>
                  <a:pt x="2660" y="280"/>
                  <a:pt x="2659" y="280"/>
                </a:cubicBezTo>
                <a:cubicBezTo>
                  <a:pt x="2657" y="279"/>
                  <a:pt x="2656" y="279"/>
                  <a:pt x="2654" y="279"/>
                </a:cubicBezTo>
                <a:cubicBezTo>
                  <a:pt x="2654" y="279"/>
                  <a:pt x="2653" y="280"/>
                  <a:pt x="2653" y="280"/>
                </a:cubicBezTo>
                <a:cubicBezTo>
                  <a:pt x="2652" y="280"/>
                  <a:pt x="2651" y="280"/>
                  <a:pt x="2651" y="281"/>
                </a:cubicBezTo>
                <a:cubicBezTo>
                  <a:pt x="2650" y="281"/>
                  <a:pt x="2649" y="281"/>
                  <a:pt x="2649" y="281"/>
                </a:cubicBezTo>
                <a:cubicBezTo>
                  <a:pt x="2648" y="281"/>
                  <a:pt x="2647" y="282"/>
                  <a:pt x="2646" y="282"/>
                </a:cubicBezTo>
                <a:cubicBezTo>
                  <a:pt x="2645" y="283"/>
                  <a:pt x="2643" y="282"/>
                  <a:pt x="2642" y="284"/>
                </a:cubicBezTo>
                <a:cubicBezTo>
                  <a:pt x="2642" y="285"/>
                  <a:pt x="2642" y="286"/>
                  <a:pt x="2643" y="286"/>
                </a:cubicBezTo>
                <a:cubicBezTo>
                  <a:pt x="2643" y="286"/>
                  <a:pt x="2644" y="286"/>
                  <a:pt x="2645" y="286"/>
                </a:cubicBezTo>
                <a:cubicBezTo>
                  <a:pt x="2646" y="285"/>
                  <a:pt x="2647" y="285"/>
                  <a:pt x="2648" y="285"/>
                </a:cubicBezTo>
                <a:cubicBezTo>
                  <a:pt x="2649" y="285"/>
                  <a:pt x="2651" y="286"/>
                  <a:pt x="2651" y="288"/>
                </a:cubicBezTo>
                <a:cubicBezTo>
                  <a:pt x="2651" y="289"/>
                  <a:pt x="2650" y="290"/>
                  <a:pt x="2649" y="290"/>
                </a:cubicBezTo>
                <a:cubicBezTo>
                  <a:pt x="2649" y="290"/>
                  <a:pt x="2649" y="290"/>
                  <a:pt x="2648" y="290"/>
                </a:cubicBezTo>
                <a:cubicBezTo>
                  <a:pt x="2648" y="290"/>
                  <a:pt x="2647" y="290"/>
                  <a:pt x="2647" y="291"/>
                </a:cubicBezTo>
                <a:cubicBezTo>
                  <a:pt x="2646" y="291"/>
                  <a:pt x="2645" y="291"/>
                  <a:pt x="2645" y="291"/>
                </a:cubicBezTo>
                <a:cubicBezTo>
                  <a:pt x="2644" y="291"/>
                  <a:pt x="2643" y="290"/>
                  <a:pt x="2643" y="290"/>
                </a:cubicBezTo>
                <a:cubicBezTo>
                  <a:pt x="2642" y="290"/>
                  <a:pt x="2642" y="290"/>
                  <a:pt x="2642" y="289"/>
                </a:cubicBezTo>
                <a:cubicBezTo>
                  <a:pt x="2641" y="289"/>
                  <a:pt x="2641" y="289"/>
                  <a:pt x="2641" y="288"/>
                </a:cubicBezTo>
                <a:cubicBezTo>
                  <a:pt x="2640" y="288"/>
                  <a:pt x="2639" y="288"/>
                  <a:pt x="2639" y="288"/>
                </a:cubicBezTo>
                <a:cubicBezTo>
                  <a:pt x="2638" y="288"/>
                  <a:pt x="2637" y="288"/>
                  <a:pt x="2637" y="288"/>
                </a:cubicBezTo>
                <a:cubicBezTo>
                  <a:pt x="2636" y="288"/>
                  <a:pt x="2634" y="288"/>
                  <a:pt x="2633" y="288"/>
                </a:cubicBezTo>
                <a:cubicBezTo>
                  <a:pt x="2633" y="288"/>
                  <a:pt x="2632" y="289"/>
                  <a:pt x="2631" y="289"/>
                </a:cubicBezTo>
                <a:cubicBezTo>
                  <a:pt x="2630" y="289"/>
                  <a:pt x="2629" y="289"/>
                  <a:pt x="2628" y="289"/>
                </a:cubicBezTo>
                <a:cubicBezTo>
                  <a:pt x="2628" y="289"/>
                  <a:pt x="2626" y="289"/>
                  <a:pt x="2626" y="290"/>
                </a:cubicBezTo>
                <a:cubicBezTo>
                  <a:pt x="2626" y="290"/>
                  <a:pt x="2627" y="290"/>
                  <a:pt x="2627" y="290"/>
                </a:cubicBezTo>
                <a:cubicBezTo>
                  <a:pt x="2628" y="291"/>
                  <a:pt x="2628" y="291"/>
                  <a:pt x="2628" y="291"/>
                </a:cubicBezTo>
                <a:cubicBezTo>
                  <a:pt x="2628" y="292"/>
                  <a:pt x="2628" y="293"/>
                  <a:pt x="2629" y="294"/>
                </a:cubicBezTo>
                <a:cubicBezTo>
                  <a:pt x="2629" y="294"/>
                  <a:pt x="2629" y="294"/>
                  <a:pt x="2629" y="295"/>
                </a:cubicBezTo>
                <a:cubicBezTo>
                  <a:pt x="2629" y="295"/>
                  <a:pt x="2629" y="296"/>
                  <a:pt x="2629" y="296"/>
                </a:cubicBezTo>
                <a:cubicBezTo>
                  <a:pt x="2630" y="297"/>
                  <a:pt x="2631" y="297"/>
                  <a:pt x="2631" y="297"/>
                </a:cubicBezTo>
                <a:cubicBezTo>
                  <a:pt x="2632" y="298"/>
                  <a:pt x="2632" y="297"/>
                  <a:pt x="2633" y="298"/>
                </a:cubicBezTo>
                <a:cubicBezTo>
                  <a:pt x="2633" y="298"/>
                  <a:pt x="2634" y="298"/>
                  <a:pt x="2634" y="298"/>
                </a:cubicBezTo>
                <a:cubicBezTo>
                  <a:pt x="2635" y="299"/>
                  <a:pt x="2636" y="300"/>
                  <a:pt x="2637" y="300"/>
                </a:cubicBezTo>
                <a:cubicBezTo>
                  <a:pt x="2637" y="300"/>
                  <a:pt x="2638" y="300"/>
                  <a:pt x="2639" y="300"/>
                </a:cubicBezTo>
                <a:cubicBezTo>
                  <a:pt x="2639" y="300"/>
                  <a:pt x="2639" y="300"/>
                  <a:pt x="2640" y="300"/>
                </a:cubicBezTo>
                <a:cubicBezTo>
                  <a:pt x="2640" y="301"/>
                  <a:pt x="2641" y="302"/>
                  <a:pt x="2642" y="302"/>
                </a:cubicBezTo>
                <a:cubicBezTo>
                  <a:pt x="2642" y="302"/>
                  <a:pt x="2643" y="302"/>
                  <a:pt x="2643" y="302"/>
                </a:cubicBezTo>
                <a:cubicBezTo>
                  <a:pt x="2643" y="302"/>
                  <a:pt x="2643" y="301"/>
                  <a:pt x="2644" y="301"/>
                </a:cubicBezTo>
                <a:cubicBezTo>
                  <a:pt x="2644" y="302"/>
                  <a:pt x="2644" y="302"/>
                  <a:pt x="2645" y="302"/>
                </a:cubicBezTo>
                <a:cubicBezTo>
                  <a:pt x="2645" y="303"/>
                  <a:pt x="2646" y="302"/>
                  <a:pt x="2647" y="302"/>
                </a:cubicBezTo>
                <a:cubicBezTo>
                  <a:pt x="2647" y="302"/>
                  <a:pt x="2648" y="302"/>
                  <a:pt x="2648" y="302"/>
                </a:cubicBezTo>
                <a:cubicBezTo>
                  <a:pt x="2648" y="301"/>
                  <a:pt x="2649" y="301"/>
                  <a:pt x="2649" y="301"/>
                </a:cubicBezTo>
                <a:cubicBezTo>
                  <a:pt x="2650" y="302"/>
                  <a:pt x="2648" y="303"/>
                  <a:pt x="2649" y="303"/>
                </a:cubicBezTo>
                <a:cubicBezTo>
                  <a:pt x="2649" y="303"/>
                  <a:pt x="2650" y="303"/>
                  <a:pt x="2650" y="303"/>
                </a:cubicBezTo>
                <a:cubicBezTo>
                  <a:pt x="2651" y="303"/>
                  <a:pt x="2651" y="303"/>
                  <a:pt x="2652" y="303"/>
                </a:cubicBezTo>
                <a:cubicBezTo>
                  <a:pt x="2652" y="303"/>
                  <a:pt x="2653" y="303"/>
                  <a:pt x="2653" y="304"/>
                </a:cubicBezTo>
                <a:cubicBezTo>
                  <a:pt x="2653" y="304"/>
                  <a:pt x="2652" y="305"/>
                  <a:pt x="2652" y="306"/>
                </a:cubicBezTo>
                <a:cubicBezTo>
                  <a:pt x="2652" y="307"/>
                  <a:pt x="2653" y="307"/>
                  <a:pt x="2653" y="307"/>
                </a:cubicBezTo>
                <a:cubicBezTo>
                  <a:pt x="2653" y="307"/>
                  <a:pt x="2654" y="308"/>
                  <a:pt x="2654" y="308"/>
                </a:cubicBezTo>
                <a:cubicBezTo>
                  <a:pt x="2654" y="308"/>
                  <a:pt x="2654" y="307"/>
                  <a:pt x="2654" y="307"/>
                </a:cubicBezTo>
                <a:cubicBezTo>
                  <a:pt x="2655" y="307"/>
                  <a:pt x="2655" y="307"/>
                  <a:pt x="2656" y="307"/>
                </a:cubicBezTo>
                <a:cubicBezTo>
                  <a:pt x="2656" y="308"/>
                  <a:pt x="2655" y="308"/>
                  <a:pt x="2655" y="308"/>
                </a:cubicBezTo>
                <a:cubicBezTo>
                  <a:pt x="2655" y="308"/>
                  <a:pt x="2655" y="309"/>
                  <a:pt x="2655" y="309"/>
                </a:cubicBezTo>
                <a:cubicBezTo>
                  <a:pt x="2655" y="309"/>
                  <a:pt x="2654" y="310"/>
                  <a:pt x="2654" y="310"/>
                </a:cubicBezTo>
                <a:cubicBezTo>
                  <a:pt x="2655" y="310"/>
                  <a:pt x="2655" y="310"/>
                  <a:pt x="2655" y="310"/>
                </a:cubicBezTo>
                <a:cubicBezTo>
                  <a:pt x="2656" y="310"/>
                  <a:pt x="2656" y="309"/>
                  <a:pt x="2656" y="309"/>
                </a:cubicBezTo>
                <a:cubicBezTo>
                  <a:pt x="2657" y="309"/>
                  <a:pt x="2657" y="309"/>
                  <a:pt x="2657" y="310"/>
                </a:cubicBezTo>
                <a:cubicBezTo>
                  <a:pt x="2657" y="310"/>
                  <a:pt x="2657" y="310"/>
                  <a:pt x="2657" y="310"/>
                </a:cubicBezTo>
                <a:cubicBezTo>
                  <a:pt x="2656" y="310"/>
                  <a:pt x="2656" y="310"/>
                  <a:pt x="2656" y="310"/>
                </a:cubicBezTo>
                <a:cubicBezTo>
                  <a:pt x="2655" y="311"/>
                  <a:pt x="2655" y="311"/>
                  <a:pt x="2654" y="311"/>
                </a:cubicBezTo>
                <a:cubicBezTo>
                  <a:pt x="2653" y="310"/>
                  <a:pt x="2653" y="310"/>
                  <a:pt x="2652" y="309"/>
                </a:cubicBezTo>
                <a:cubicBezTo>
                  <a:pt x="2651" y="309"/>
                  <a:pt x="2650" y="310"/>
                  <a:pt x="2649" y="309"/>
                </a:cubicBezTo>
                <a:cubicBezTo>
                  <a:pt x="2649" y="309"/>
                  <a:pt x="2649" y="309"/>
                  <a:pt x="2649" y="309"/>
                </a:cubicBezTo>
                <a:cubicBezTo>
                  <a:pt x="2648" y="308"/>
                  <a:pt x="2648" y="308"/>
                  <a:pt x="2648" y="308"/>
                </a:cubicBezTo>
                <a:cubicBezTo>
                  <a:pt x="2648" y="307"/>
                  <a:pt x="2648" y="306"/>
                  <a:pt x="2648" y="306"/>
                </a:cubicBezTo>
                <a:cubicBezTo>
                  <a:pt x="2647" y="305"/>
                  <a:pt x="2646" y="305"/>
                  <a:pt x="2646" y="305"/>
                </a:cubicBezTo>
                <a:cubicBezTo>
                  <a:pt x="2645" y="305"/>
                  <a:pt x="2644" y="305"/>
                  <a:pt x="2643" y="305"/>
                </a:cubicBezTo>
                <a:cubicBezTo>
                  <a:pt x="2641" y="305"/>
                  <a:pt x="2640" y="305"/>
                  <a:pt x="2639" y="305"/>
                </a:cubicBezTo>
                <a:cubicBezTo>
                  <a:pt x="2639" y="305"/>
                  <a:pt x="2638" y="305"/>
                  <a:pt x="2638" y="305"/>
                </a:cubicBezTo>
                <a:cubicBezTo>
                  <a:pt x="2638" y="306"/>
                  <a:pt x="2638" y="306"/>
                  <a:pt x="2637" y="306"/>
                </a:cubicBezTo>
                <a:cubicBezTo>
                  <a:pt x="2637" y="306"/>
                  <a:pt x="2636" y="306"/>
                  <a:pt x="2637" y="306"/>
                </a:cubicBezTo>
                <a:cubicBezTo>
                  <a:pt x="2637" y="305"/>
                  <a:pt x="2637" y="305"/>
                  <a:pt x="2637" y="305"/>
                </a:cubicBezTo>
                <a:cubicBezTo>
                  <a:pt x="2637" y="304"/>
                  <a:pt x="2636" y="305"/>
                  <a:pt x="2636" y="305"/>
                </a:cubicBezTo>
                <a:cubicBezTo>
                  <a:pt x="2635" y="305"/>
                  <a:pt x="2635" y="304"/>
                  <a:pt x="2635" y="304"/>
                </a:cubicBezTo>
                <a:cubicBezTo>
                  <a:pt x="2634" y="304"/>
                  <a:pt x="2633" y="304"/>
                  <a:pt x="2632" y="304"/>
                </a:cubicBezTo>
                <a:cubicBezTo>
                  <a:pt x="2631" y="304"/>
                  <a:pt x="2630" y="304"/>
                  <a:pt x="2629" y="304"/>
                </a:cubicBezTo>
                <a:cubicBezTo>
                  <a:pt x="2628" y="304"/>
                  <a:pt x="2628" y="304"/>
                  <a:pt x="2627" y="304"/>
                </a:cubicBezTo>
                <a:cubicBezTo>
                  <a:pt x="2626" y="303"/>
                  <a:pt x="2625" y="303"/>
                  <a:pt x="2624" y="303"/>
                </a:cubicBezTo>
                <a:cubicBezTo>
                  <a:pt x="2624" y="303"/>
                  <a:pt x="2624" y="302"/>
                  <a:pt x="2623" y="302"/>
                </a:cubicBezTo>
                <a:cubicBezTo>
                  <a:pt x="2623" y="302"/>
                  <a:pt x="2623" y="303"/>
                  <a:pt x="2622" y="303"/>
                </a:cubicBezTo>
                <a:cubicBezTo>
                  <a:pt x="2622" y="302"/>
                  <a:pt x="2622" y="302"/>
                  <a:pt x="2621" y="302"/>
                </a:cubicBezTo>
                <a:cubicBezTo>
                  <a:pt x="2620" y="302"/>
                  <a:pt x="2619" y="302"/>
                  <a:pt x="2619" y="301"/>
                </a:cubicBezTo>
                <a:cubicBezTo>
                  <a:pt x="2618" y="301"/>
                  <a:pt x="2618" y="299"/>
                  <a:pt x="2618" y="299"/>
                </a:cubicBezTo>
                <a:cubicBezTo>
                  <a:pt x="2619" y="298"/>
                  <a:pt x="2619" y="300"/>
                  <a:pt x="2620" y="299"/>
                </a:cubicBezTo>
                <a:cubicBezTo>
                  <a:pt x="2620" y="299"/>
                  <a:pt x="2620" y="299"/>
                  <a:pt x="2620" y="298"/>
                </a:cubicBezTo>
                <a:cubicBezTo>
                  <a:pt x="2621" y="298"/>
                  <a:pt x="2621" y="298"/>
                  <a:pt x="2621" y="298"/>
                </a:cubicBezTo>
                <a:cubicBezTo>
                  <a:pt x="2622" y="297"/>
                  <a:pt x="2621" y="297"/>
                  <a:pt x="2620" y="296"/>
                </a:cubicBezTo>
                <a:cubicBezTo>
                  <a:pt x="2619" y="295"/>
                  <a:pt x="2621" y="295"/>
                  <a:pt x="2620" y="295"/>
                </a:cubicBezTo>
                <a:cubicBezTo>
                  <a:pt x="2620" y="294"/>
                  <a:pt x="2620" y="294"/>
                  <a:pt x="2620" y="294"/>
                </a:cubicBezTo>
                <a:cubicBezTo>
                  <a:pt x="2619" y="293"/>
                  <a:pt x="2619" y="293"/>
                  <a:pt x="2619" y="293"/>
                </a:cubicBezTo>
                <a:cubicBezTo>
                  <a:pt x="2618" y="292"/>
                  <a:pt x="2618" y="291"/>
                  <a:pt x="2618" y="290"/>
                </a:cubicBezTo>
                <a:cubicBezTo>
                  <a:pt x="2618" y="289"/>
                  <a:pt x="2619" y="289"/>
                  <a:pt x="2619" y="288"/>
                </a:cubicBezTo>
                <a:cubicBezTo>
                  <a:pt x="2620" y="288"/>
                  <a:pt x="2620" y="288"/>
                  <a:pt x="2620" y="288"/>
                </a:cubicBezTo>
                <a:cubicBezTo>
                  <a:pt x="2620" y="287"/>
                  <a:pt x="2620" y="287"/>
                  <a:pt x="2621" y="286"/>
                </a:cubicBezTo>
                <a:cubicBezTo>
                  <a:pt x="2621" y="286"/>
                  <a:pt x="2621" y="286"/>
                  <a:pt x="2621" y="285"/>
                </a:cubicBezTo>
                <a:cubicBezTo>
                  <a:pt x="2621" y="285"/>
                  <a:pt x="2621" y="284"/>
                  <a:pt x="2621" y="284"/>
                </a:cubicBezTo>
                <a:cubicBezTo>
                  <a:pt x="2621" y="284"/>
                  <a:pt x="2622" y="283"/>
                  <a:pt x="2622" y="283"/>
                </a:cubicBezTo>
                <a:cubicBezTo>
                  <a:pt x="2622" y="283"/>
                  <a:pt x="2622" y="283"/>
                  <a:pt x="2623" y="282"/>
                </a:cubicBezTo>
                <a:cubicBezTo>
                  <a:pt x="2624" y="282"/>
                  <a:pt x="2623" y="281"/>
                  <a:pt x="2623" y="280"/>
                </a:cubicBezTo>
                <a:cubicBezTo>
                  <a:pt x="2622" y="280"/>
                  <a:pt x="2622" y="279"/>
                  <a:pt x="2622" y="278"/>
                </a:cubicBezTo>
                <a:cubicBezTo>
                  <a:pt x="2622" y="276"/>
                  <a:pt x="2621" y="275"/>
                  <a:pt x="2620" y="274"/>
                </a:cubicBezTo>
                <a:cubicBezTo>
                  <a:pt x="2619" y="273"/>
                  <a:pt x="2619" y="273"/>
                  <a:pt x="2618" y="272"/>
                </a:cubicBezTo>
                <a:cubicBezTo>
                  <a:pt x="2618" y="272"/>
                  <a:pt x="2617" y="271"/>
                  <a:pt x="2616" y="270"/>
                </a:cubicBezTo>
                <a:cubicBezTo>
                  <a:pt x="2616" y="270"/>
                  <a:pt x="2616" y="269"/>
                  <a:pt x="2615" y="269"/>
                </a:cubicBezTo>
                <a:cubicBezTo>
                  <a:pt x="2614" y="268"/>
                  <a:pt x="2613" y="269"/>
                  <a:pt x="2613" y="270"/>
                </a:cubicBezTo>
                <a:cubicBezTo>
                  <a:pt x="2612" y="270"/>
                  <a:pt x="2612" y="270"/>
                  <a:pt x="2612" y="270"/>
                </a:cubicBezTo>
                <a:cubicBezTo>
                  <a:pt x="2612" y="271"/>
                  <a:pt x="2612" y="271"/>
                  <a:pt x="2613" y="271"/>
                </a:cubicBezTo>
                <a:cubicBezTo>
                  <a:pt x="2614" y="271"/>
                  <a:pt x="2614" y="272"/>
                  <a:pt x="2614" y="273"/>
                </a:cubicBezTo>
                <a:cubicBezTo>
                  <a:pt x="2615" y="274"/>
                  <a:pt x="2616" y="274"/>
                  <a:pt x="2616" y="275"/>
                </a:cubicBezTo>
                <a:cubicBezTo>
                  <a:pt x="2616" y="277"/>
                  <a:pt x="2616" y="278"/>
                  <a:pt x="2616" y="279"/>
                </a:cubicBezTo>
                <a:cubicBezTo>
                  <a:pt x="2616" y="280"/>
                  <a:pt x="2616" y="281"/>
                  <a:pt x="2616" y="283"/>
                </a:cubicBezTo>
                <a:cubicBezTo>
                  <a:pt x="2616" y="284"/>
                  <a:pt x="2615" y="284"/>
                  <a:pt x="2614" y="285"/>
                </a:cubicBezTo>
                <a:cubicBezTo>
                  <a:pt x="2613" y="286"/>
                  <a:pt x="2612" y="286"/>
                  <a:pt x="2611" y="287"/>
                </a:cubicBezTo>
                <a:cubicBezTo>
                  <a:pt x="2610" y="287"/>
                  <a:pt x="2609" y="287"/>
                  <a:pt x="2608" y="288"/>
                </a:cubicBezTo>
                <a:cubicBezTo>
                  <a:pt x="2607" y="288"/>
                  <a:pt x="2606" y="289"/>
                  <a:pt x="2605" y="289"/>
                </a:cubicBezTo>
                <a:cubicBezTo>
                  <a:pt x="2603" y="290"/>
                  <a:pt x="2601" y="290"/>
                  <a:pt x="2599" y="291"/>
                </a:cubicBezTo>
                <a:cubicBezTo>
                  <a:pt x="2599" y="291"/>
                  <a:pt x="2598" y="291"/>
                  <a:pt x="2598" y="292"/>
                </a:cubicBezTo>
                <a:cubicBezTo>
                  <a:pt x="2597" y="293"/>
                  <a:pt x="2598" y="293"/>
                  <a:pt x="2598" y="294"/>
                </a:cubicBezTo>
                <a:cubicBezTo>
                  <a:pt x="2598" y="295"/>
                  <a:pt x="2597" y="295"/>
                  <a:pt x="2597" y="295"/>
                </a:cubicBezTo>
                <a:cubicBezTo>
                  <a:pt x="2596" y="296"/>
                  <a:pt x="2596" y="296"/>
                  <a:pt x="2595" y="297"/>
                </a:cubicBezTo>
                <a:cubicBezTo>
                  <a:pt x="2595" y="298"/>
                  <a:pt x="2594" y="298"/>
                  <a:pt x="2594" y="299"/>
                </a:cubicBezTo>
                <a:cubicBezTo>
                  <a:pt x="2593" y="299"/>
                  <a:pt x="2592" y="300"/>
                  <a:pt x="2593" y="300"/>
                </a:cubicBezTo>
                <a:cubicBezTo>
                  <a:pt x="2594" y="300"/>
                  <a:pt x="2595" y="301"/>
                  <a:pt x="2595" y="301"/>
                </a:cubicBezTo>
                <a:cubicBezTo>
                  <a:pt x="2596" y="301"/>
                  <a:pt x="2597" y="302"/>
                  <a:pt x="2598" y="302"/>
                </a:cubicBezTo>
                <a:cubicBezTo>
                  <a:pt x="2598" y="303"/>
                  <a:pt x="2599" y="304"/>
                  <a:pt x="2599" y="304"/>
                </a:cubicBezTo>
                <a:cubicBezTo>
                  <a:pt x="2600" y="305"/>
                  <a:pt x="2600" y="306"/>
                  <a:pt x="2600" y="307"/>
                </a:cubicBezTo>
                <a:cubicBezTo>
                  <a:pt x="2601" y="308"/>
                  <a:pt x="2601" y="308"/>
                  <a:pt x="2602" y="308"/>
                </a:cubicBezTo>
                <a:cubicBezTo>
                  <a:pt x="2602" y="309"/>
                  <a:pt x="2603" y="309"/>
                  <a:pt x="2603" y="310"/>
                </a:cubicBezTo>
                <a:cubicBezTo>
                  <a:pt x="2603" y="310"/>
                  <a:pt x="2603" y="311"/>
                  <a:pt x="2603" y="312"/>
                </a:cubicBezTo>
                <a:cubicBezTo>
                  <a:pt x="2603" y="313"/>
                  <a:pt x="2605" y="313"/>
                  <a:pt x="2606" y="314"/>
                </a:cubicBezTo>
                <a:cubicBezTo>
                  <a:pt x="2607" y="315"/>
                  <a:pt x="2607" y="316"/>
                  <a:pt x="2607" y="317"/>
                </a:cubicBezTo>
                <a:cubicBezTo>
                  <a:pt x="2607" y="318"/>
                  <a:pt x="2605" y="320"/>
                  <a:pt x="2604" y="321"/>
                </a:cubicBezTo>
                <a:cubicBezTo>
                  <a:pt x="2604" y="322"/>
                  <a:pt x="2603" y="322"/>
                  <a:pt x="2603" y="323"/>
                </a:cubicBezTo>
                <a:cubicBezTo>
                  <a:pt x="2602" y="324"/>
                  <a:pt x="2601" y="324"/>
                  <a:pt x="2601" y="325"/>
                </a:cubicBezTo>
                <a:cubicBezTo>
                  <a:pt x="2600" y="325"/>
                  <a:pt x="2600" y="326"/>
                  <a:pt x="2600" y="326"/>
                </a:cubicBezTo>
                <a:cubicBezTo>
                  <a:pt x="2600" y="326"/>
                  <a:pt x="2600" y="326"/>
                  <a:pt x="2600" y="327"/>
                </a:cubicBezTo>
                <a:cubicBezTo>
                  <a:pt x="2601" y="327"/>
                  <a:pt x="2601" y="328"/>
                  <a:pt x="2600" y="329"/>
                </a:cubicBezTo>
                <a:cubicBezTo>
                  <a:pt x="2600" y="330"/>
                  <a:pt x="2600" y="330"/>
                  <a:pt x="2599" y="331"/>
                </a:cubicBezTo>
                <a:cubicBezTo>
                  <a:pt x="2599" y="332"/>
                  <a:pt x="2599" y="333"/>
                  <a:pt x="2598" y="334"/>
                </a:cubicBezTo>
                <a:cubicBezTo>
                  <a:pt x="2598" y="334"/>
                  <a:pt x="2598" y="334"/>
                  <a:pt x="2598" y="335"/>
                </a:cubicBezTo>
                <a:cubicBezTo>
                  <a:pt x="2598" y="335"/>
                  <a:pt x="2599" y="336"/>
                  <a:pt x="2599" y="336"/>
                </a:cubicBezTo>
                <a:cubicBezTo>
                  <a:pt x="2600" y="336"/>
                  <a:pt x="2600" y="337"/>
                  <a:pt x="2600" y="338"/>
                </a:cubicBezTo>
                <a:cubicBezTo>
                  <a:pt x="2601" y="339"/>
                  <a:pt x="2602" y="339"/>
                  <a:pt x="2602" y="341"/>
                </a:cubicBezTo>
                <a:cubicBezTo>
                  <a:pt x="2602" y="342"/>
                  <a:pt x="2602" y="343"/>
                  <a:pt x="2601" y="344"/>
                </a:cubicBezTo>
                <a:cubicBezTo>
                  <a:pt x="2601" y="345"/>
                  <a:pt x="2601" y="346"/>
                  <a:pt x="2601" y="346"/>
                </a:cubicBezTo>
                <a:cubicBezTo>
                  <a:pt x="2602" y="347"/>
                  <a:pt x="2602" y="347"/>
                  <a:pt x="2602" y="347"/>
                </a:cubicBezTo>
                <a:cubicBezTo>
                  <a:pt x="2602" y="347"/>
                  <a:pt x="2603" y="348"/>
                  <a:pt x="2603" y="348"/>
                </a:cubicBezTo>
                <a:cubicBezTo>
                  <a:pt x="2604" y="349"/>
                  <a:pt x="2604" y="347"/>
                  <a:pt x="2605" y="347"/>
                </a:cubicBezTo>
                <a:cubicBezTo>
                  <a:pt x="2606" y="346"/>
                  <a:pt x="2606" y="347"/>
                  <a:pt x="2607" y="346"/>
                </a:cubicBezTo>
                <a:cubicBezTo>
                  <a:pt x="2608" y="346"/>
                  <a:pt x="2608" y="346"/>
                  <a:pt x="2608" y="346"/>
                </a:cubicBezTo>
                <a:cubicBezTo>
                  <a:pt x="2609" y="347"/>
                  <a:pt x="2609" y="347"/>
                  <a:pt x="2610" y="347"/>
                </a:cubicBezTo>
                <a:cubicBezTo>
                  <a:pt x="2610" y="347"/>
                  <a:pt x="2611" y="347"/>
                  <a:pt x="2612" y="348"/>
                </a:cubicBezTo>
                <a:cubicBezTo>
                  <a:pt x="2614" y="348"/>
                  <a:pt x="2615" y="348"/>
                  <a:pt x="2616" y="347"/>
                </a:cubicBezTo>
                <a:cubicBezTo>
                  <a:pt x="2617" y="347"/>
                  <a:pt x="2617" y="346"/>
                  <a:pt x="2618" y="345"/>
                </a:cubicBezTo>
                <a:cubicBezTo>
                  <a:pt x="2619" y="345"/>
                  <a:pt x="2620" y="345"/>
                  <a:pt x="2621" y="345"/>
                </a:cubicBezTo>
                <a:cubicBezTo>
                  <a:pt x="2622" y="344"/>
                  <a:pt x="2623" y="344"/>
                  <a:pt x="2624" y="344"/>
                </a:cubicBezTo>
                <a:cubicBezTo>
                  <a:pt x="2625" y="344"/>
                  <a:pt x="2626" y="345"/>
                  <a:pt x="2627" y="345"/>
                </a:cubicBezTo>
                <a:cubicBezTo>
                  <a:pt x="2628" y="345"/>
                  <a:pt x="2629" y="345"/>
                  <a:pt x="2630" y="346"/>
                </a:cubicBezTo>
                <a:cubicBezTo>
                  <a:pt x="2630" y="346"/>
                  <a:pt x="2631" y="347"/>
                  <a:pt x="2632" y="347"/>
                </a:cubicBezTo>
                <a:cubicBezTo>
                  <a:pt x="2633" y="347"/>
                  <a:pt x="2634" y="346"/>
                  <a:pt x="2634" y="347"/>
                </a:cubicBezTo>
                <a:cubicBezTo>
                  <a:pt x="2635" y="347"/>
                  <a:pt x="2636" y="348"/>
                  <a:pt x="2636" y="349"/>
                </a:cubicBezTo>
                <a:cubicBezTo>
                  <a:pt x="2637" y="349"/>
                  <a:pt x="2638" y="349"/>
                  <a:pt x="2639" y="349"/>
                </a:cubicBezTo>
                <a:cubicBezTo>
                  <a:pt x="2639" y="349"/>
                  <a:pt x="2640" y="349"/>
                  <a:pt x="2641" y="350"/>
                </a:cubicBezTo>
                <a:cubicBezTo>
                  <a:pt x="2642" y="350"/>
                  <a:pt x="2642" y="351"/>
                  <a:pt x="2643" y="351"/>
                </a:cubicBezTo>
                <a:cubicBezTo>
                  <a:pt x="2644" y="351"/>
                  <a:pt x="2645" y="351"/>
                  <a:pt x="2645" y="352"/>
                </a:cubicBezTo>
                <a:cubicBezTo>
                  <a:pt x="2645" y="353"/>
                  <a:pt x="2645" y="354"/>
                  <a:pt x="2645" y="355"/>
                </a:cubicBezTo>
                <a:cubicBezTo>
                  <a:pt x="2645" y="356"/>
                  <a:pt x="2646" y="356"/>
                  <a:pt x="2646" y="357"/>
                </a:cubicBezTo>
                <a:cubicBezTo>
                  <a:pt x="2646" y="358"/>
                  <a:pt x="2647" y="359"/>
                  <a:pt x="2647" y="359"/>
                </a:cubicBezTo>
                <a:cubicBezTo>
                  <a:pt x="2648" y="359"/>
                  <a:pt x="2648" y="360"/>
                  <a:pt x="2648" y="360"/>
                </a:cubicBezTo>
                <a:cubicBezTo>
                  <a:pt x="2649" y="361"/>
                  <a:pt x="2648" y="361"/>
                  <a:pt x="2649" y="362"/>
                </a:cubicBezTo>
                <a:cubicBezTo>
                  <a:pt x="2649" y="362"/>
                  <a:pt x="2649" y="362"/>
                  <a:pt x="2650" y="362"/>
                </a:cubicBezTo>
                <a:cubicBezTo>
                  <a:pt x="2650" y="363"/>
                  <a:pt x="2651" y="363"/>
                  <a:pt x="2650" y="364"/>
                </a:cubicBezTo>
                <a:cubicBezTo>
                  <a:pt x="2650" y="364"/>
                  <a:pt x="2648" y="364"/>
                  <a:pt x="2648" y="364"/>
                </a:cubicBezTo>
                <a:cubicBezTo>
                  <a:pt x="2647" y="364"/>
                  <a:pt x="2646" y="364"/>
                  <a:pt x="2646" y="365"/>
                </a:cubicBezTo>
                <a:cubicBezTo>
                  <a:pt x="2645" y="365"/>
                  <a:pt x="2645" y="366"/>
                  <a:pt x="2644" y="367"/>
                </a:cubicBezTo>
                <a:cubicBezTo>
                  <a:pt x="2643" y="367"/>
                  <a:pt x="2643" y="368"/>
                  <a:pt x="2643" y="369"/>
                </a:cubicBezTo>
                <a:cubicBezTo>
                  <a:pt x="2643" y="370"/>
                  <a:pt x="2643" y="370"/>
                  <a:pt x="2644" y="370"/>
                </a:cubicBezTo>
                <a:cubicBezTo>
                  <a:pt x="2644" y="370"/>
                  <a:pt x="2644" y="370"/>
                  <a:pt x="2644" y="371"/>
                </a:cubicBezTo>
                <a:cubicBezTo>
                  <a:pt x="2644" y="371"/>
                  <a:pt x="2644" y="371"/>
                  <a:pt x="2644" y="372"/>
                </a:cubicBezTo>
                <a:cubicBezTo>
                  <a:pt x="2643" y="372"/>
                  <a:pt x="2643" y="372"/>
                  <a:pt x="2643" y="373"/>
                </a:cubicBezTo>
                <a:cubicBezTo>
                  <a:pt x="2643" y="373"/>
                  <a:pt x="2643" y="373"/>
                  <a:pt x="2643" y="374"/>
                </a:cubicBezTo>
                <a:cubicBezTo>
                  <a:pt x="2643" y="374"/>
                  <a:pt x="2644" y="374"/>
                  <a:pt x="2644" y="374"/>
                </a:cubicBezTo>
                <a:cubicBezTo>
                  <a:pt x="2645" y="374"/>
                  <a:pt x="2645" y="375"/>
                  <a:pt x="2646" y="375"/>
                </a:cubicBezTo>
                <a:cubicBezTo>
                  <a:pt x="2647" y="374"/>
                  <a:pt x="2647" y="374"/>
                  <a:pt x="2647" y="374"/>
                </a:cubicBezTo>
                <a:cubicBezTo>
                  <a:pt x="2648" y="374"/>
                  <a:pt x="2648" y="375"/>
                  <a:pt x="2648" y="375"/>
                </a:cubicBezTo>
                <a:cubicBezTo>
                  <a:pt x="2648" y="376"/>
                  <a:pt x="2649" y="375"/>
                  <a:pt x="2650" y="375"/>
                </a:cubicBezTo>
                <a:cubicBezTo>
                  <a:pt x="2651" y="375"/>
                  <a:pt x="2651" y="376"/>
                  <a:pt x="2652" y="376"/>
                </a:cubicBezTo>
                <a:cubicBezTo>
                  <a:pt x="2653" y="376"/>
                  <a:pt x="2653" y="376"/>
                  <a:pt x="2653" y="376"/>
                </a:cubicBezTo>
                <a:cubicBezTo>
                  <a:pt x="2654" y="376"/>
                  <a:pt x="2654" y="376"/>
                  <a:pt x="2654" y="376"/>
                </a:cubicBezTo>
                <a:cubicBezTo>
                  <a:pt x="2655" y="376"/>
                  <a:pt x="2655" y="376"/>
                  <a:pt x="2655" y="376"/>
                </a:cubicBezTo>
                <a:cubicBezTo>
                  <a:pt x="2656" y="376"/>
                  <a:pt x="2656" y="376"/>
                  <a:pt x="2656" y="376"/>
                </a:cubicBezTo>
                <a:cubicBezTo>
                  <a:pt x="2655" y="376"/>
                  <a:pt x="2655" y="376"/>
                  <a:pt x="2655" y="377"/>
                </a:cubicBezTo>
                <a:cubicBezTo>
                  <a:pt x="2655" y="377"/>
                  <a:pt x="2656" y="377"/>
                  <a:pt x="2656" y="377"/>
                </a:cubicBezTo>
                <a:cubicBezTo>
                  <a:pt x="2657" y="377"/>
                  <a:pt x="2657" y="377"/>
                  <a:pt x="2658" y="376"/>
                </a:cubicBezTo>
                <a:cubicBezTo>
                  <a:pt x="2659" y="376"/>
                  <a:pt x="2659" y="377"/>
                  <a:pt x="2660" y="377"/>
                </a:cubicBezTo>
                <a:cubicBezTo>
                  <a:pt x="2660" y="378"/>
                  <a:pt x="2659" y="377"/>
                  <a:pt x="2658" y="377"/>
                </a:cubicBezTo>
                <a:cubicBezTo>
                  <a:pt x="2658" y="377"/>
                  <a:pt x="2657" y="377"/>
                  <a:pt x="2657" y="377"/>
                </a:cubicBezTo>
                <a:cubicBezTo>
                  <a:pt x="2656" y="378"/>
                  <a:pt x="2655" y="378"/>
                  <a:pt x="2655" y="377"/>
                </a:cubicBezTo>
                <a:cubicBezTo>
                  <a:pt x="2654" y="377"/>
                  <a:pt x="2654" y="377"/>
                  <a:pt x="2654" y="377"/>
                </a:cubicBezTo>
                <a:cubicBezTo>
                  <a:pt x="2653" y="378"/>
                  <a:pt x="2653" y="378"/>
                  <a:pt x="2652" y="378"/>
                </a:cubicBezTo>
                <a:cubicBezTo>
                  <a:pt x="2652" y="377"/>
                  <a:pt x="2651" y="377"/>
                  <a:pt x="2651" y="377"/>
                </a:cubicBezTo>
                <a:cubicBezTo>
                  <a:pt x="2650" y="377"/>
                  <a:pt x="2649" y="378"/>
                  <a:pt x="2649" y="378"/>
                </a:cubicBezTo>
                <a:cubicBezTo>
                  <a:pt x="2648" y="378"/>
                  <a:pt x="2647" y="378"/>
                  <a:pt x="2646" y="378"/>
                </a:cubicBezTo>
                <a:cubicBezTo>
                  <a:pt x="2645" y="378"/>
                  <a:pt x="2645" y="377"/>
                  <a:pt x="2644" y="376"/>
                </a:cubicBezTo>
                <a:cubicBezTo>
                  <a:pt x="2644" y="376"/>
                  <a:pt x="2643" y="376"/>
                  <a:pt x="2643" y="375"/>
                </a:cubicBezTo>
                <a:cubicBezTo>
                  <a:pt x="2642" y="375"/>
                  <a:pt x="2642" y="375"/>
                  <a:pt x="2641" y="374"/>
                </a:cubicBezTo>
                <a:cubicBezTo>
                  <a:pt x="2641" y="374"/>
                  <a:pt x="2640" y="374"/>
                  <a:pt x="2640" y="373"/>
                </a:cubicBezTo>
                <a:cubicBezTo>
                  <a:pt x="2640" y="373"/>
                  <a:pt x="2639" y="373"/>
                  <a:pt x="2639" y="373"/>
                </a:cubicBezTo>
                <a:cubicBezTo>
                  <a:pt x="2639" y="373"/>
                  <a:pt x="2639" y="372"/>
                  <a:pt x="2639" y="372"/>
                </a:cubicBezTo>
                <a:cubicBezTo>
                  <a:pt x="2640" y="373"/>
                  <a:pt x="2641" y="373"/>
                  <a:pt x="2641" y="372"/>
                </a:cubicBezTo>
                <a:cubicBezTo>
                  <a:pt x="2641" y="372"/>
                  <a:pt x="2641" y="372"/>
                  <a:pt x="2641" y="371"/>
                </a:cubicBezTo>
                <a:cubicBezTo>
                  <a:pt x="2641" y="371"/>
                  <a:pt x="2641" y="371"/>
                  <a:pt x="2641" y="371"/>
                </a:cubicBezTo>
                <a:cubicBezTo>
                  <a:pt x="2641" y="371"/>
                  <a:pt x="2641" y="370"/>
                  <a:pt x="2641" y="370"/>
                </a:cubicBezTo>
                <a:cubicBezTo>
                  <a:pt x="2641" y="369"/>
                  <a:pt x="2641" y="368"/>
                  <a:pt x="2641" y="367"/>
                </a:cubicBezTo>
                <a:cubicBezTo>
                  <a:pt x="2641" y="366"/>
                  <a:pt x="2642" y="366"/>
                  <a:pt x="2642" y="365"/>
                </a:cubicBezTo>
                <a:cubicBezTo>
                  <a:pt x="2642" y="364"/>
                  <a:pt x="2640" y="364"/>
                  <a:pt x="2640" y="363"/>
                </a:cubicBezTo>
                <a:cubicBezTo>
                  <a:pt x="2640" y="363"/>
                  <a:pt x="2640" y="362"/>
                  <a:pt x="2641" y="361"/>
                </a:cubicBezTo>
                <a:cubicBezTo>
                  <a:pt x="2641" y="360"/>
                  <a:pt x="2642" y="358"/>
                  <a:pt x="2640" y="358"/>
                </a:cubicBezTo>
                <a:cubicBezTo>
                  <a:pt x="2640" y="357"/>
                  <a:pt x="2640" y="357"/>
                  <a:pt x="2639" y="357"/>
                </a:cubicBezTo>
                <a:cubicBezTo>
                  <a:pt x="2639" y="357"/>
                  <a:pt x="2639" y="357"/>
                  <a:pt x="2639" y="357"/>
                </a:cubicBezTo>
                <a:cubicBezTo>
                  <a:pt x="2638" y="357"/>
                  <a:pt x="2637" y="356"/>
                  <a:pt x="2637" y="355"/>
                </a:cubicBezTo>
                <a:cubicBezTo>
                  <a:pt x="2637" y="355"/>
                  <a:pt x="2636" y="355"/>
                  <a:pt x="2636" y="354"/>
                </a:cubicBezTo>
                <a:cubicBezTo>
                  <a:pt x="2636" y="354"/>
                  <a:pt x="2635" y="353"/>
                  <a:pt x="2635" y="352"/>
                </a:cubicBezTo>
                <a:cubicBezTo>
                  <a:pt x="2634" y="351"/>
                  <a:pt x="2634" y="351"/>
                  <a:pt x="2633" y="350"/>
                </a:cubicBezTo>
                <a:cubicBezTo>
                  <a:pt x="2633" y="349"/>
                  <a:pt x="2632" y="349"/>
                  <a:pt x="2631" y="349"/>
                </a:cubicBezTo>
                <a:cubicBezTo>
                  <a:pt x="2629" y="350"/>
                  <a:pt x="2627" y="350"/>
                  <a:pt x="2626" y="350"/>
                </a:cubicBezTo>
                <a:cubicBezTo>
                  <a:pt x="2624" y="351"/>
                  <a:pt x="2622" y="351"/>
                  <a:pt x="2620" y="352"/>
                </a:cubicBezTo>
                <a:cubicBezTo>
                  <a:pt x="2618" y="352"/>
                  <a:pt x="2616" y="353"/>
                  <a:pt x="2614" y="354"/>
                </a:cubicBezTo>
                <a:cubicBezTo>
                  <a:pt x="2613" y="354"/>
                  <a:pt x="2613" y="354"/>
                  <a:pt x="2612" y="354"/>
                </a:cubicBezTo>
                <a:cubicBezTo>
                  <a:pt x="2611" y="354"/>
                  <a:pt x="2612" y="354"/>
                  <a:pt x="2611" y="355"/>
                </a:cubicBezTo>
                <a:cubicBezTo>
                  <a:pt x="2611" y="355"/>
                  <a:pt x="2611" y="355"/>
                  <a:pt x="2610" y="355"/>
                </a:cubicBezTo>
                <a:cubicBezTo>
                  <a:pt x="2610" y="355"/>
                  <a:pt x="2609" y="355"/>
                  <a:pt x="2609" y="355"/>
                </a:cubicBezTo>
                <a:cubicBezTo>
                  <a:pt x="2609" y="356"/>
                  <a:pt x="2609" y="356"/>
                  <a:pt x="2609" y="356"/>
                </a:cubicBezTo>
                <a:cubicBezTo>
                  <a:pt x="2609" y="356"/>
                  <a:pt x="2608" y="357"/>
                  <a:pt x="2608" y="357"/>
                </a:cubicBezTo>
                <a:cubicBezTo>
                  <a:pt x="2608" y="358"/>
                  <a:pt x="2609" y="358"/>
                  <a:pt x="2609" y="359"/>
                </a:cubicBezTo>
                <a:cubicBezTo>
                  <a:pt x="2609" y="359"/>
                  <a:pt x="2608" y="360"/>
                  <a:pt x="2608" y="360"/>
                </a:cubicBezTo>
                <a:cubicBezTo>
                  <a:pt x="2608" y="361"/>
                  <a:pt x="2607" y="361"/>
                  <a:pt x="2607" y="361"/>
                </a:cubicBezTo>
                <a:cubicBezTo>
                  <a:pt x="2607" y="362"/>
                  <a:pt x="2608" y="362"/>
                  <a:pt x="2608" y="362"/>
                </a:cubicBezTo>
                <a:cubicBezTo>
                  <a:pt x="2609" y="363"/>
                  <a:pt x="2609" y="363"/>
                  <a:pt x="2610" y="364"/>
                </a:cubicBezTo>
                <a:cubicBezTo>
                  <a:pt x="2610" y="364"/>
                  <a:pt x="2611" y="365"/>
                  <a:pt x="2611" y="365"/>
                </a:cubicBezTo>
                <a:cubicBezTo>
                  <a:pt x="2612" y="366"/>
                  <a:pt x="2612" y="367"/>
                  <a:pt x="2612" y="368"/>
                </a:cubicBezTo>
                <a:cubicBezTo>
                  <a:pt x="2613" y="369"/>
                  <a:pt x="2613" y="369"/>
                  <a:pt x="2613" y="370"/>
                </a:cubicBezTo>
                <a:cubicBezTo>
                  <a:pt x="2613" y="370"/>
                  <a:pt x="2613" y="370"/>
                  <a:pt x="2613" y="370"/>
                </a:cubicBezTo>
                <a:cubicBezTo>
                  <a:pt x="2613" y="371"/>
                  <a:pt x="2612" y="371"/>
                  <a:pt x="2612" y="372"/>
                </a:cubicBezTo>
                <a:cubicBezTo>
                  <a:pt x="2612" y="373"/>
                  <a:pt x="2612" y="373"/>
                  <a:pt x="2612" y="374"/>
                </a:cubicBezTo>
                <a:cubicBezTo>
                  <a:pt x="2612" y="375"/>
                  <a:pt x="2612" y="376"/>
                  <a:pt x="2611" y="376"/>
                </a:cubicBezTo>
                <a:cubicBezTo>
                  <a:pt x="2610" y="377"/>
                  <a:pt x="2609" y="378"/>
                  <a:pt x="2608" y="378"/>
                </a:cubicBezTo>
                <a:cubicBezTo>
                  <a:pt x="2607" y="379"/>
                  <a:pt x="2606" y="379"/>
                  <a:pt x="2605" y="380"/>
                </a:cubicBezTo>
                <a:cubicBezTo>
                  <a:pt x="2604" y="381"/>
                  <a:pt x="2604" y="381"/>
                  <a:pt x="2603" y="382"/>
                </a:cubicBezTo>
                <a:cubicBezTo>
                  <a:pt x="2603" y="382"/>
                  <a:pt x="2603" y="383"/>
                  <a:pt x="2603" y="383"/>
                </a:cubicBezTo>
                <a:cubicBezTo>
                  <a:pt x="2603" y="383"/>
                  <a:pt x="2603" y="384"/>
                  <a:pt x="2603" y="384"/>
                </a:cubicBezTo>
                <a:cubicBezTo>
                  <a:pt x="2603" y="386"/>
                  <a:pt x="2602" y="388"/>
                  <a:pt x="2601" y="389"/>
                </a:cubicBezTo>
                <a:cubicBezTo>
                  <a:pt x="2601" y="390"/>
                  <a:pt x="2600" y="390"/>
                  <a:pt x="2600" y="390"/>
                </a:cubicBezTo>
                <a:cubicBezTo>
                  <a:pt x="2600" y="390"/>
                  <a:pt x="2599" y="390"/>
                  <a:pt x="2599" y="391"/>
                </a:cubicBezTo>
                <a:cubicBezTo>
                  <a:pt x="2598" y="391"/>
                  <a:pt x="2598" y="391"/>
                  <a:pt x="2598" y="392"/>
                </a:cubicBezTo>
                <a:cubicBezTo>
                  <a:pt x="2597" y="392"/>
                  <a:pt x="2596" y="392"/>
                  <a:pt x="2595" y="393"/>
                </a:cubicBezTo>
                <a:cubicBezTo>
                  <a:pt x="2594" y="393"/>
                  <a:pt x="2593" y="394"/>
                  <a:pt x="2592" y="394"/>
                </a:cubicBezTo>
                <a:cubicBezTo>
                  <a:pt x="2591" y="395"/>
                  <a:pt x="2591" y="395"/>
                  <a:pt x="2590" y="396"/>
                </a:cubicBezTo>
                <a:cubicBezTo>
                  <a:pt x="2589" y="396"/>
                  <a:pt x="2588" y="396"/>
                  <a:pt x="2587" y="396"/>
                </a:cubicBezTo>
                <a:cubicBezTo>
                  <a:pt x="2586" y="396"/>
                  <a:pt x="2586" y="397"/>
                  <a:pt x="2585" y="397"/>
                </a:cubicBezTo>
                <a:cubicBezTo>
                  <a:pt x="2585" y="398"/>
                  <a:pt x="2584" y="398"/>
                  <a:pt x="2584" y="398"/>
                </a:cubicBezTo>
                <a:cubicBezTo>
                  <a:pt x="2584" y="398"/>
                  <a:pt x="2585" y="398"/>
                  <a:pt x="2585" y="399"/>
                </a:cubicBezTo>
                <a:cubicBezTo>
                  <a:pt x="2585" y="399"/>
                  <a:pt x="2585" y="400"/>
                  <a:pt x="2585" y="401"/>
                </a:cubicBezTo>
                <a:cubicBezTo>
                  <a:pt x="2584" y="402"/>
                  <a:pt x="2583" y="402"/>
                  <a:pt x="2583" y="403"/>
                </a:cubicBezTo>
                <a:cubicBezTo>
                  <a:pt x="2582" y="403"/>
                  <a:pt x="2582" y="403"/>
                  <a:pt x="2582" y="403"/>
                </a:cubicBezTo>
                <a:cubicBezTo>
                  <a:pt x="2581" y="403"/>
                  <a:pt x="2581" y="403"/>
                  <a:pt x="2580" y="403"/>
                </a:cubicBezTo>
                <a:cubicBezTo>
                  <a:pt x="2580" y="403"/>
                  <a:pt x="2579" y="403"/>
                  <a:pt x="2578" y="403"/>
                </a:cubicBezTo>
                <a:cubicBezTo>
                  <a:pt x="2578" y="402"/>
                  <a:pt x="2578" y="401"/>
                  <a:pt x="2576" y="401"/>
                </a:cubicBezTo>
                <a:cubicBezTo>
                  <a:pt x="2576" y="401"/>
                  <a:pt x="2576" y="401"/>
                  <a:pt x="2575" y="401"/>
                </a:cubicBezTo>
                <a:cubicBezTo>
                  <a:pt x="2575" y="401"/>
                  <a:pt x="2574" y="401"/>
                  <a:pt x="2574" y="401"/>
                </a:cubicBezTo>
                <a:cubicBezTo>
                  <a:pt x="2573" y="400"/>
                  <a:pt x="2572" y="400"/>
                  <a:pt x="2571" y="400"/>
                </a:cubicBezTo>
                <a:cubicBezTo>
                  <a:pt x="2569" y="400"/>
                  <a:pt x="2568" y="400"/>
                  <a:pt x="2567" y="401"/>
                </a:cubicBezTo>
                <a:cubicBezTo>
                  <a:pt x="2566" y="401"/>
                  <a:pt x="2564" y="402"/>
                  <a:pt x="2562" y="401"/>
                </a:cubicBezTo>
                <a:cubicBezTo>
                  <a:pt x="2561" y="401"/>
                  <a:pt x="2560" y="401"/>
                  <a:pt x="2559" y="400"/>
                </a:cubicBezTo>
                <a:cubicBezTo>
                  <a:pt x="2559" y="400"/>
                  <a:pt x="2558" y="400"/>
                  <a:pt x="2557" y="400"/>
                </a:cubicBezTo>
                <a:cubicBezTo>
                  <a:pt x="2556" y="399"/>
                  <a:pt x="2555" y="398"/>
                  <a:pt x="2554" y="398"/>
                </a:cubicBezTo>
                <a:cubicBezTo>
                  <a:pt x="2553" y="398"/>
                  <a:pt x="2552" y="398"/>
                  <a:pt x="2551" y="398"/>
                </a:cubicBezTo>
                <a:cubicBezTo>
                  <a:pt x="2550" y="398"/>
                  <a:pt x="2550" y="397"/>
                  <a:pt x="2549" y="397"/>
                </a:cubicBezTo>
                <a:cubicBezTo>
                  <a:pt x="2549" y="396"/>
                  <a:pt x="2548" y="396"/>
                  <a:pt x="2548" y="395"/>
                </a:cubicBezTo>
                <a:cubicBezTo>
                  <a:pt x="2547" y="395"/>
                  <a:pt x="2547" y="394"/>
                  <a:pt x="2547" y="393"/>
                </a:cubicBezTo>
                <a:cubicBezTo>
                  <a:pt x="2547" y="393"/>
                  <a:pt x="2547" y="393"/>
                  <a:pt x="2546" y="392"/>
                </a:cubicBezTo>
                <a:cubicBezTo>
                  <a:pt x="2548" y="392"/>
                  <a:pt x="2550" y="392"/>
                  <a:pt x="2552" y="392"/>
                </a:cubicBezTo>
                <a:cubicBezTo>
                  <a:pt x="2554" y="392"/>
                  <a:pt x="2556" y="391"/>
                  <a:pt x="2557" y="392"/>
                </a:cubicBezTo>
                <a:cubicBezTo>
                  <a:pt x="2558" y="392"/>
                  <a:pt x="2559" y="392"/>
                  <a:pt x="2560" y="393"/>
                </a:cubicBezTo>
                <a:cubicBezTo>
                  <a:pt x="2560" y="394"/>
                  <a:pt x="2561" y="394"/>
                  <a:pt x="2562" y="395"/>
                </a:cubicBezTo>
                <a:cubicBezTo>
                  <a:pt x="2564" y="395"/>
                  <a:pt x="2565" y="393"/>
                  <a:pt x="2567" y="393"/>
                </a:cubicBezTo>
                <a:cubicBezTo>
                  <a:pt x="2568" y="393"/>
                  <a:pt x="2569" y="392"/>
                  <a:pt x="2570" y="392"/>
                </a:cubicBezTo>
                <a:cubicBezTo>
                  <a:pt x="2571" y="392"/>
                  <a:pt x="2572" y="392"/>
                  <a:pt x="2573" y="392"/>
                </a:cubicBezTo>
                <a:cubicBezTo>
                  <a:pt x="2574" y="391"/>
                  <a:pt x="2576" y="391"/>
                  <a:pt x="2577" y="391"/>
                </a:cubicBezTo>
                <a:cubicBezTo>
                  <a:pt x="2578" y="390"/>
                  <a:pt x="2579" y="390"/>
                  <a:pt x="2580" y="389"/>
                </a:cubicBezTo>
                <a:cubicBezTo>
                  <a:pt x="2580" y="388"/>
                  <a:pt x="2581" y="387"/>
                  <a:pt x="2581" y="387"/>
                </a:cubicBezTo>
                <a:cubicBezTo>
                  <a:pt x="2582" y="387"/>
                  <a:pt x="2582" y="386"/>
                  <a:pt x="2582" y="386"/>
                </a:cubicBezTo>
                <a:cubicBezTo>
                  <a:pt x="2583" y="386"/>
                  <a:pt x="2583" y="386"/>
                  <a:pt x="2583" y="386"/>
                </a:cubicBezTo>
                <a:cubicBezTo>
                  <a:pt x="2584" y="385"/>
                  <a:pt x="2584" y="384"/>
                  <a:pt x="2584" y="383"/>
                </a:cubicBezTo>
                <a:cubicBezTo>
                  <a:pt x="2585" y="382"/>
                  <a:pt x="2586" y="382"/>
                  <a:pt x="2586" y="381"/>
                </a:cubicBezTo>
                <a:cubicBezTo>
                  <a:pt x="2586" y="381"/>
                  <a:pt x="2586" y="380"/>
                  <a:pt x="2587" y="380"/>
                </a:cubicBezTo>
                <a:cubicBezTo>
                  <a:pt x="2587" y="380"/>
                  <a:pt x="2587" y="379"/>
                  <a:pt x="2588" y="379"/>
                </a:cubicBezTo>
                <a:cubicBezTo>
                  <a:pt x="2589" y="378"/>
                  <a:pt x="2591" y="377"/>
                  <a:pt x="2592" y="376"/>
                </a:cubicBezTo>
                <a:cubicBezTo>
                  <a:pt x="2593" y="375"/>
                  <a:pt x="2594" y="375"/>
                  <a:pt x="2594" y="374"/>
                </a:cubicBezTo>
                <a:cubicBezTo>
                  <a:pt x="2594" y="374"/>
                  <a:pt x="2593" y="373"/>
                  <a:pt x="2594" y="373"/>
                </a:cubicBezTo>
                <a:cubicBezTo>
                  <a:pt x="2594" y="372"/>
                  <a:pt x="2595" y="372"/>
                  <a:pt x="2595" y="372"/>
                </a:cubicBezTo>
                <a:cubicBezTo>
                  <a:pt x="2595" y="371"/>
                  <a:pt x="2595" y="369"/>
                  <a:pt x="2594" y="368"/>
                </a:cubicBezTo>
                <a:cubicBezTo>
                  <a:pt x="2593" y="367"/>
                  <a:pt x="2593" y="367"/>
                  <a:pt x="2594" y="366"/>
                </a:cubicBezTo>
                <a:cubicBezTo>
                  <a:pt x="2595" y="365"/>
                  <a:pt x="2596" y="365"/>
                  <a:pt x="2596" y="364"/>
                </a:cubicBezTo>
                <a:cubicBezTo>
                  <a:pt x="2597" y="363"/>
                  <a:pt x="2597" y="362"/>
                  <a:pt x="2598" y="362"/>
                </a:cubicBezTo>
                <a:cubicBezTo>
                  <a:pt x="2599" y="361"/>
                  <a:pt x="2600" y="361"/>
                  <a:pt x="2600" y="360"/>
                </a:cubicBezTo>
                <a:cubicBezTo>
                  <a:pt x="2600" y="359"/>
                  <a:pt x="2600" y="359"/>
                  <a:pt x="2599" y="359"/>
                </a:cubicBezTo>
                <a:cubicBezTo>
                  <a:pt x="2599" y="358"/>
                  <a:pt x="2598" y="357"/>
                  <a:pt x="2597" y="357"/>
                </a:cubicBezTo>
                <a:cubicBezTo>
                  <a:pt x="2596" y="356"/>
                  <a:pt x="2596" y="356"/>
                  <a:pt x="2595" y="355"/>
                </a:cubicBezTo>
                <a:cubicBezTo>
                  <a:pt x="2594" y="355"/>
                  <a:pt x="2594" y="354"/>
                  <a:pt x="2593" y="354"/>
                </a:cubicBezTo>
                <a:cubicBezTo>
                  <a:pt x="2592" y="354"/>
                  <a:pt x="2591" y="354"/>
                  <a:pt x="2591" y="354"/>
                </a:cubicBezTo>
                <a:cubicBezTo>
                  <a:pt x="2590" y="353"/>
                  <a:pt x="2590" y="352"/>
                  <a:pt x="2589" y="352"/>
                </a:cubicBezTo>
                <a:cubicBezTo>
                  <a:pt x="2588" y="351"/>
                  <a:pt x="2588" y="351"/>
                  <a:pt x="2587" y="350"/>
                </a:cubicBezTo>
                <a:cubicBezTo>
                  <a:pt x="2587" y="349"/>
                  <a:pt x="2587" y="349"/>
                  <a:pt x="2587" y="348"/>
                </a:cubicBezTo>
                <a:cubicBezTo>
                  <a:pt x="2587" y="347"/>
                  <a:pt x="2587" y="347"/>
                  <a:pt x="2587" y="346"/>
                </a:cubicBezTo>
                <a:cubicBezTo>
                  <a:pt x="2588" y="345"/>
                  <a:pt x="2588" y="345"/>
                  <a:pt x="2588" y="344"/>
                </a:cubicBezTo>
                <a:cubicBezTo>
                  <a:pt x="2588" y="344"/>
                  <a:pt x="2588" y="343"/>
                  <a:pt x="2588" y="342"/>
                </a:cubicBezTo>
                <a:cubicBezTo>
                  <a:pt x="2588" y="342"/>
                  <a:pt x="2588" y="341"/>
                  <a:pt x="2588" y="341"/>
                </a:cubicBezTo>
                <a:cubicBezTo>
                  <a:pt x="2588" y="340"/>
                  <a:pt x="2588" y="339"/>
                  <a:pt x="2588" y="338"/>
                </a:cubicBezTo>
                <a:cubicBezTo>
                  <a:pt x="2587" y="338"/>
                  <a:pt x="2587" y="337"/>
                  <a:pt x="2588" y="336"/>
                </a:cubicBezTo>
                <a:cubicBezTo>
                  <a:pt x="2588" y="335"/>
                  <a:pt x="2588" y="335"/>
                  <a:pt x="2588" y="334"/>
                </a:cubicBezTo>
                <a:cubicBezTo>
                  <a:pt x="2588" y="333"/>
                  <a:pt x="2589" y="333"/>
                  <a:pt x="2589" y="332"/>
                </a:cubicBezTo>
                <a:cubicBezTo>
                  <a:pt x="2589" y="332"/>
                  <a:pt x="2588" y="332"/>
                  <a:pt x="2588" y="331"/>
                </a:cubicBezTo>
                <a:cubicBezTo>
                  <a:pt x="2588" y="331"/>
                  <a:pt x="2587" y="330"/>
                  <a:pt x="2587" y="329"/>
                </a:cubicBezTo>
                <a:cubicBezTo>
                  <a:pt x="2587" y="328"/>
                  <a:pt x="2587" y="327"/>
                  <a:pt x="2588" y="326"/>
                </a:cubicBezTo>
                <a:cubicBezTo>
                  <a:pt x="2588" y="325"/>
                  <a:pt x="2587" y="325"/>
                  <a:pt x="2587" y="324"/>
                </a:cubicBezTo>
                <a:cubicBezTo>
                  <a:pt x="2586" y="323"/>
                  <a:pt x="2586" y="323"/>
                  <a:pt x="2587" y="322"/>
                </a:cubicBezTo>
                <a:cubicBezTo>
                  <a:pt x="2588" y="321"/>
                  <a:pt x="2590" y="321"/>
                  <a:pt x="2590" y="319"/>
                </a:cubicBezTo>
                <a:cubicBezTo>
                  <a:pt x="2590" y="318"/>
                  <a:pt x="2589" y="318"/>
                  <a:pt x="2589" y="318"/>
                </a:cubicBezTo>
                <a:cubicBezTo>
                  <a:pt x="2589" y="317"/>
                  <a:pt x="2589" y="317"/>
                  <a:pt x="2589" y="316"/>
                </a:cubicBezTo>
                <a:cubicBezTo>
                  <a:pt x="2589" y="316"/>
                  <a:pt x="2590" y="316"/>
                  <a:pt x="2590" y="315"/>
                </a:cubicBezTo>
                <a:cubicBezTo>
                  <a:pt x="2590" y="315"/>
                  <a:pt x="2590" y="314"/>
                  <a:pt x="2590" y="314"/>
                </a:cubicBezTo>
                <a:cubicBezTo>
                  <a:pt x="2590" y="314"/>
                  <a:pt x="2590" y="314"/>
                  <a:pt x="2590" y="313"/>
                </a:cubicBezTo>
                <a:cubicBezTo>
                  <a:pt x="2590" y="313"/>
                  <a:pt x="2590" y="313"/>
                  <a:pt x="2590" y="312"/>
                </a:cubicBezTo>
                <a:cubicBezTo>
                  <a:pt x="2591" y="311"/>
                  <a:pt x="2590" y="311"/>
                  <a:pt x="2589" y="310"/>
                </a:cubicBezTo>
                <a:cubicBezTo>
                  <a:pt x="2589" y="310"/>
                  <a:pt x="2588" y="309"/>
                  <a:pt x="2588" y="308"/>
                </a:cubicBezTo>
                <a:cubicBezTo>
                  <a:pt x="2588" y="307"/>
                  <a:pt x="2588" y="307"/>
                  <a:pt x="2588" y="306"/>
                </a:cubicBezTo>
                <a:cubicBezTo>
                  <a:pt x="2588" y="306"/>
                  <a:pt x="2588" y="305"/>
                  <a:pt x="2588" y="305"/>
                </a:cubicBezTo>
                <a:cubicBezTo>
                  <a:pt x="2587" y="304"/>
                  <a:pt x="2586" y="305"/>
                  <a:pt x="2585" y="304"/>
                </a:cubicBezTo>
                <a:cubicBezTo>
                  <a:pt x="2584" y="304"/>
                  <a:pt x="2584" y="303"/>
                  <a:pt x="2583" y="303"/>
                </a:cubicBezTo>
                <a:cubicBezTo>
                  <a:pt x="2582" y="302"/>
                  <a:pt x="2581" y="302"/>
                  <a:pt x="2581" y="301"/>
                </a:cubicBezTo>
                <a:cubicBezTo>
                  <a:pt x="2580" y="300"/>
                  <a:pt x="2580" y="300"/>
                  <a:pt x="2580" y="299"/>
                </a:cubicBezTo>
                <a:cubicBezTo>
                  <a:pt x="2579" y="298"/>
                  <a:pt x="2579" y="298"/>
                  <a:pt x="2579" y="297"/>
                </a:cubicBezTo>
                <a:cubicBezTo>
                  <a:pt x="2580" y="297"/>
                  <a:pt x="2581" y="297"/>
                  <a:pt x="2582" y="296"/>
                </a:cubicBezTo>
                <a:cubicBezTo>
                  <a:pt x="2583" y="296"/>
                  <a:pt x="2584" y="296"/>
                  <a:pt x="2584" y="295"/>
                </a:cubicBezTo>
                <a:cubicBezTo>
                  <a:pt x="2585" y="293"/>
                  <a:pt x="2584" y="291"/>
                  <a:pt x="2586" y="290"/>
                </a:cubicBezTo>
                <a:cubicBezTo>
                  <a:pt x="2586" y="290"/>
                  <a:pt x="2587" y="289"/>
                  <a:pt x="2587" y="288"/>
                </a:cubicBezTo>
                <a:cubicBezTo>
                  <a:pt x="2587" y="287"/>
                  <a:pt x="2588" y="286"/>
                  <a:pt x="2589" y="285"/>
                </a:cubicBezTo>
                <a:cubicBezTo>
                  <a:pt x="2589" y="285"/>
                  <a:pt x="2589" y="285"/>
                  <a:pt x="2589" y="284"/>
                </a:cubicBezTo>
                <a:cubicBezTo>
                  <a:pt x="2589" y="284"/>
                  <a:pt x="2590" y="283"/>
                  <a:pt x="2590" y="283"/>
                </a:cubicBezTo>
                <a:cubicBezTo>
                  <a:pt x="2590" y="283"/>
                  <a:pt x="2591" y="282"/>
                  <a:pt x="2591" y="281"/>
                </a:cubicBezTo>
                <a:cubicBezTo>
                  <a:pt x="2591" y="281"/>
                  <a:pt x="2590" y="280"/>
                  <a:pt x="2590" y="279"/>
                </a:cubicBezTo>
                <a:cubicBezTo>
                  <a:pt x="2590" y="279"/>
                  <a:pt x="2590" y="278"/>
                  <a:pt x="2590" y="277"/>
                </a:cubicBezTo>
                <a:cubicBezTo>
                  <a:pt x="2590" y="276"/>
                  <a:pt x="2590" y="275"/>
                  <a:pt x="2590" y="274"/>
                </a:cubicBezTo>
                <a:cubicBezTo>
                  <a:pt x="2590" y="273"/>
                  <a:pt x="2590" y="272"/>
                  <a:pt x="2589" y="272"/>
                </a:cubicBezTo>
                <a:cubicBezTo>
                  <a:pt x="2589" y="272"/>
                  <a:pt x="2588" y="271"/>
                  <a:pt x="2587" y="271"/>
                </a:cubicBezTo>
                <a:cubicBezTo>
                  <a:pt x="2586" y="271"/>
                  <a:pt x="2585" y="270"/>
                  <a:pt x="2583" y="270"/>
                </a:cubicBezTo>
                <a:cubicBezTo>
                  <a:pt x="2583" y="270"/>
                  <a:pt x="2582" y="270"/>
                  <a:pt x="2581" y="270"/>
                </a:cubicBezTo>
                <a:cubicBezTo>
                  <a:pt x="2581" y="270"/>
                  <a:pt x="2580" y="270"/>
                  <a:pt x="2580" y="270"/>
                </a:cubicBezTo>
                <a:cubicBezTo>
                  <a:pt x="2580" y="270"/>
                  <a:pt x="2581" y="270"/>
                  <a:pt x="2580" y="269"/>
                </a:cubicBezTo>
                <a:cubicBezTo>
                  <a:pt x="2580" y="269"/>
                  <a:pt x="2579" y="269"/>
                  <a:pt x="2579" y="269"/>
                </a:cubicBezTo>
                <a:cubicBezTo>
                  <a:pt x="2578" y="269"/>
                  <a:pt x="2578" y="269"/>
                  <a:pt x="2577" y="268"/>
                </a:cubicBezTo>
                <a:cubicBezTo>
                  <a:pt x="2577" y="268"/>
                  <a:pt x="2576" y="268"/>
                  <a:pt x="2575" y="268"/>
                </a:cubicBezTo>
                <a:cubicBezTo>
                  <a:pt x="2574" y="268"/>
                  <a:pt x="2573" y="268"/>
                  <a:pt x="2572" y="268"/>
                </a:cubicBezTo>
                <a:cubicBezTo>
                  <a:pt x="2571" y="268"/>
                  <a:pt x="2571" y="268"/>
                  <a:pt x="2570" y="268"/>
                </a:cubicBezTo>
                <a:cubicBezTo>
                  <a:pt x="2569" y="268"/>
                  <a:pt x="2569" y="268"/>
                  <a:pt x="2568" y="268"/>
                </a:cubicBezTo>
                <a:cubicBezTo>
                  <a:pt x="2568" y="268"/>
                  <a:pt x="2567" y="268"/>
                  <a:pt x="2566" y="268"/>
                </a:cubicBezTo>
                <a:cubicBezTo>
                  <a:pt x="2566" y="268"/>
                  <a:pt x="2565" y="268"/>
                  <a:pt x="2564" y="268"/>
                </a:cubicBezTo>
                <a:cubicBezTo>
                  <a:pt x="2564" y="268"/>
                  <a:pt x="2563" y="268"/>
                  <a:pt x="2563" y="268"/>
                </a:cubicBezTo>
                <a:cubicBezTo>
                  <a:pt x="2562" y="268"/>
                  <a:pt x="2562" y="268"/>
                  <a:pt x="2561" y="268"/>
                </a:cubicBezTo>
                <a:cubicBezTo>
                  <a:pt x="2560" y="268"/>
                  <a:pt x="2559" y="268"/>
                  <a:pt x="2558" y="268"/>
                </a:cubicBezTo>
                <a:cubicBezTo>
                  <a:pt x="2557" y="268"/>
                  <a:pt x="2556" y="268"/>
                  <a:pt x="2555" y="268"/>
                </a:cubicBezTo>
                <a:cubicBezTo>
                  <a:pt x="2555" y="268"/>
                  <a:pt x="2553" y="269"/>
                  <a:pt x="2554" y="268"/>
                </a:cubicBezTo>
                <a:cubicBezTo>
                  <a:pt x="2554" y="268"/>
                  <a:pt x="2554" y="268"/>
                  <a:pt x="2555" y="267"/>
                </a:cubicBezTo>
                <a:cubicBezTo>
                  <a:pt x="2555" y="267"/>
                  <a:pt x="2555" y="267"/>
                  <a:pt x="2555" y="267"/>
                </a:cubicBezTo>
                <a:cubicBezTo>
                  <a:pt x="2556" y="266"/>
                  <a:pt x="2554" y="267"/>
                  <a:pt x="2554" y="267"/>
                </a:cubicBezTo>
                <a:cubicBezTo>
                  <a:pt x="2553" y="267"/>
                  <a:pt x="2552" y="266"/>
                  <a:pt x="2551" y="267"/>
                </a:cubicBezTo>
                <a:cubicBezTo>
                  <a:pt x="2550" y="267"/>
                  <a:pt x="2550" y="268"/>
                  <a:pt x="2550" y="269"/>
                </a:cubicBezTo>
                <a:cubicBezTo>
                  <a:pt x="2550" y="269"/>
                  <a:pt x="2549" y="270"/>
                  <a:pt x="2549" y="271"/>
                </a:cubicBezTo>
                <a:cubicBezTo>
                  <a:pt x="2548" y="272"/>
                  <a:pt x="2547" y="272"/>
                  <a:pt x="2547" y="273"/>
                </a:cubicBezTo>
                <a:cubicBezTo>
                  <a:pt x="2546" y="274"/>
                  <a:pt x="2546" y="275"/>
                  <a:pt x="2546" y="276"/>
                </a:cubicBezTo>
                <a:cubicBezTo>
                  <a:pt x="2546" y="277"/>
                  <a:pt x="2545" y="278"/>
                  <a:pt x="2545" y="279"/>
                </a:cubicBezTo>
                <a:cubicBezTo>
                  <a:pt x="2544" y="281"/>
                  <a:pt x="2544" y="282"/>
                  <a:pt x="2543" y="284"/>
                </a:cubicBezTo>
                <a:cubicBezTo>
                  <a:pt x="2543" y="285"/>
                  <a:pt x="2543" y="286"/>
                  <a:pt x="2542" y="288"/>
                </a:cubicBezTo>
                <a:cubicBezTo>
                  <a:pt x="2542" y="288"/>
                  <a:pt x="2542" y="289"/>
                  <a:pt x="2541" y="289"/>
                </a:cubicBezTo>
                <a:cubicBezTo>
                  <a:pt x="2541" y="290"/>
                  <a:pt x="2540" y="291"/>
                  <a:pt x="2539" y="292"/>
                </a:cubicBezTo>
                <a:cubicBezTo>
                  <a:pt x="2538" y="295"/>
                  <a:pt x="2536" y="297"/>
                  <a:pt x="2534" y="298"/>
                </a:cubicBezTo>
                <a:cubicBezTo>
                  <a:pt x="2532" y="299"/>
                  <a:pt x="2530" y="300"/>
                  <a:pt x="2528" y="301"/>
                </a:cubicBezTo>
                <a:cubicBezTo>
                  <a:pt x="2527" y="301"/>
                  <a:pt x="2526" y="302"/>
                  <a:pt x="2526" y="302"/>
                </a:cubicBezTo>
                <a:cubicBezTo>
                  <a:pt x="2525" y="302"/>
                  <a:pt x="2524" y="302"/>
                  <a:pt x="2523" y="302"/>
                </a:cubicBezTo>
                <a:cubicBezTo>
                  <a:pt x="2522" y="303"/>
                  <a:pt x="2522" y="304"/>
                  <a:pt x="2522" y="304"/>
                </a:cubicBezTo>
                <a:cubicBezTo>
                  <a:pt x="2522" y="305"/>
                  <a:pt x="2521" y="306"/>
                  <a:pt x="2520" y="306"/>
                </a:cubicBezTo>
                <a:cubicBezTo>
                  <a:pt x="2520" y="307"/>
                  <a:pt x="2519" y="308"/>
                  <a:pt x="2520" y="308"/>
                </a:cubicBezTo>
                <a:cubicBezTo>
                  <a:pt x="2521" y="309"/>
                  <a:pt x="2521" y="307"/>
                  <a:pt x="2522" y="307"/>
                </a:cubicBezTo>
                <a:cubicBezTo>
                  <a:pt x="2522" y="307"/>
                  <a:pt x="2522" y="308"/>
                  <a:pt x="2522" y="309"/>
                </a:cubicBezTo>
                <a:cubicBezTo>
                  <a:pt x="2521" y="309"/>
                  <a:pt x="2521" y="310"/>
                  <a:pt x="2521" y="310"/>
                </a:cubicBezTo>
                <a:cubicBezTo>
                  <a:pt x="2520" y="311"/>
                  <a:pt x="2519" y="311"/>
                  <a:pt x="2520" y="312"/>
                </a:cubicBezTo>
                <a:cubicBezTo>
                  <a:pt x="2520" y="312"/>
                  <a:pt x="2520" y="313"/>
                  <a:pt x="2520" y="313"/>
                </a:cubicBezTo>
                <a:cubicBezTo>
                  <a:pt x="2521" y="314"/>
                  <a:pt x="2522" y="313"/>
                  <a:pt x="2523" y="313"/>
                </a:cubicBezTo>
                <a:cubicBezTo>
                  <a:pt x="2523" y="313"/>
                  <a:pt x="2523" y="313"/>
                  <a:pt x="2524" y="313"/>
                </a:cubicBezTo>
                <a:cubicBezTo>
                  <a:pt x="2524" y="312"/>
                  <a:pt x="2524" y="312"/>
                  <a:pt x="2525" y="312"/>
                </a:cubicBezTo>
                <a:cubicBezTo>
                  <a:pt x="2525" y="312"/>
                  <a:pt x="2526" y="312"/>
                  <a:pt x="2526" y="313"/>
                </a:cubicBezTo>
                <a:cubicBezTo>
                  <a:pt x="2527" y="313"/>
                  <a:pt x="2528" y="313"/>
                  <a:pt x="2528" y="314"/>
                </a:cubicBezTo>
                <a:cubicBezTo>
                  <a:pt x="2528" y="315"/>
                  <a:pt x="2527" y="316"/>
                  <a:pt x="2526" y="316"/>
                </a:cubicBezTo>
                <a:cubicBezTo>
                  <a:pt x="2526" y="318"/>
                  <a:pt x="2528" y="320"/>
                  <a:pt x="2526" y="321"/>
                </a:cubicBezTo>
                <a:cubicBezTo>
                  <a:pt x="2526" y="322"/>
                  <a:pt x="2525" y="322"/>
                  <a:pt x="2525" y="323"/>
                </a:cubicBezTo>
                <a:cubicBezTo>
                  <a:pt x="2525" y="324"/>
                  <a:pt x="2525" y="325"/>
                  <a:pt x="2525" y="325"/>
                </a:cubicBezTo>
                <a:cubicBezTo>
                  <a:pt x="2526" y="326"/>
                  <a:pt x="2526" y="326"/>
                  <a:pt x="2527" y="326"/>
                </a:cubicBezTo>
                <a:cubicBezTo>
                  <a:pt x="2527" y="326"/>
                  <a:pt x="2527" y="326"/>
                  <a:pt x="2527" y="327"/>
                </a:cubicBezTo>
                <a:cubicBezTo>
                  <a:pt x="2528" y="328"/>
                  <a:pt x="2527" y="328"/>
                  <a:pt x="2526" y="329"/>
                </a:cubicBezTo>
                <a:cubicBezTo>
                  <a:pt x="2526" y="329"/>
                  <a:pt x="2525" y="330"/>
                  <a:pt x="2525" y="329"/>
                </a:cubicBezTo>
                <a:cubicBezTo>
                  <a:pt x="2525" y="329"/>
                  <a:pt x="2524" y="329"/>
                  <a:pt x="2524" y="329"/>
                </a:cubicBezTo>
                <a:cubicBezTo>
                  <a:pt x="2524" y="328"/>
                  <a:pt x="2524" y="328"/>
                  <a:pt x="2524" y="328"/>
                </a:cubicBezTo>
                <a:cubicBezTo>
                  <a:pt x="2523" y="327"/>
                  <a:pt x="2523" y="329"/>
                  <a:pt x="2523" y="329"/>
                </a:cubicBezTo>
                <a:cubicBezTo>
                  <a:pt x="2523" y="330"/>
                  <a:pt x="2522" y="331"/>
                  <a:pt x="2522" y="331"/>
                </a:cubicBezTo>
                <a:cubicBezTo>
                  <a:pt x="2521" y="332"/>
                  <a:pt x="2521" y="333"/>
                  <a:pt x="2521" y="334"/>
                </a:cubicBezTo>
                <a:cubicBezTo>
                  <a:pt x="2521" y="335"/>
                  <a:pt x="2521" y="336"/>
                  <a:pt x="2521" y="337"/>
                </a:cubicBezTo>
                <a:cubicBezTo>
                  <a:pt x="2521" y="337"/>
                  <a:pt x="2522" y="339"/>
                  <a:pt x="2522" y="338"/>
                </a:cubicBezTo>
                <a:cubicBezTo>
                  <a:pt x="2523" y="338"/>
                  <a:pt x="2522" y="337"/>
                  <a:pt x="2523" y="337"/>
                </a:cubicBezTo>
                <a:cubicBezTo>
                  <a:pt x="2523" y="337"/>
                  <a:pt x="2523" y="337"/>
                  <a:pt x="2524" y="336"/>
                </a:cubicBezTo>
                <a:cubicBezTo>
                  <a:pt x="2524" y="336"/>
                  <a:pt x="2524" y="335"/>
                  <a:pt x="2524" y="335"/>
                </a:cubicBezTo>
                <a:cubicBezTo>
                  <a:pt x="2525" y="335"/>
                  <a:pt x="2525" y="335"/>
                  <a:pt x="2525" y="336"/>
                </a:cubicBezTo>
                <a:cubicBezTo>
                  <a:pt x="2526" y="336"/>
                  <a:pt x="2527" y="336"/>
                  <a:pt x="2527" y="336"/>
                </a:cubicBezTo>
                <a:cubicBezTo>
                  <a:pt x="2528" y="337"/>
                  <a:pt x="2529" y="337"/>
                  <a:pt x="2530" y="337"/>
                </a:cubicBezTo>
                <a:cubicBezTo>
                  <a:pt x="2531" y="337"/>
                  <a:pt x="2531" y="338"/>
                  <a:pt x="2532" y="339"/>
                </a:cubicBezTo>
                <a:cubicBezTo>
                  <a:pt x="2533" y="339"/>
                  <a:pt x="2534" y="339"/>
                  <a:pt x="2534" y="339"/>
                </a:cubicBezTo>
                <a:cubicBezTo>
                  <a:pt x="2534" y="340"/>
                  <a:pt x="2535" y="340"/>
                  <a:pt x="2535" y="340"/>
                </a:cubicBezTo>
                <a:cubicBezTo>
                  <a:pt x="2536" y="340"/>
                  <a:pt x="2536" y="339"/>
                  <a:pt x="2536" y="339"/>
                </a:cubicBezTo>
                <a:cubicBezTo>
                  <a:pt x="2537" y="339"/>
                  <a:pt x="2536" y="341"/>
                  <a:pt x="2536" y="341"/>
                </a:cubicBezTo>
                <a:cubicBezTo>
                  <a:pt x="2536" y="342"/>
                  <a:pt x="2535" y="342"/>
                  <a:pt x="2536" y="343"/>
                </a:cubicBezTo>
                <a:cubicBezTo>
                  <a:pt x="2536" y="344"/>
                  <a:pt x="2536" y="344"/>
                  <a:pt x="2537" y="345"/>
                </a:cubicBezTo>
                <a:cubicBezTo>
                  <a:pt x="2537" y="345"/>
                  <a:pt x="2537" y="346"/>
                  <a:pt x="2537" y="346"/>
                </a:cubicBezTo>
                <a:cubicBezTo>
                  <a:pt x="2538" y="346"/>
                  <a:pt x="2538" y="347"/>
                  <a:pt x="2538" y="347"/>
                </a:cubicBezTo>
                <a:cubicBezTo>
                  <a:pt x="2539" y="347"/>
                  <a:pt x="2539" y="347"/>
                  <a:pt x="2539" y="348"/>
                </a:cubicBezTo>
                <a:cubicBezTo>
                  <a:pt x="2540" y="348"/>
                  <a:pt x="2540" y="349"/>
                  <a:pt x="2540" y="350"/>
                </a:cubicBezTo>
                <a:cubicBezTo>
                  <a:pt x="2541" y="350"/>
                  <a:pt x="2541" y="350"/>
                  <a:pt x="2542" y="350"/>
                </a:cubicBezTo>
                <a:cubicBezTo>
                  <a:pt x="2542" y="350"/>
                  <a:pt x="2543" y="351"/>
                  <a:pt x="2543" y="351"/>
                </a:cubicBezTo>
                <a:cubicBezTo>
                  <a:pt x="2544" y="351"/>
                  <a:pt x="2545" y="351"/>
                  <a:pt x="2545" y="351"/>
                </a:cubicBezTo>
                <a:cubicBezTo>
                  <a:pt x="2546" y="350"/>
                  <a:pt x="2547" y="350"/>
                  <a:pt x="2548" y="351"/>
                </a:cubicBezTo>
                <a:cubicBezTo>
                  <a:pt x="2548" y="352"/>
                  <a:pt x="2547" y="351"/>
                  <a:pt x="2547" y="351"/>
                </a:cubicBezTo>
                <a:cubicBezTo>
                  <a:pt x="2546" y="351"/>
                  <a:pt x="2546" y="352"/>
                  <a:pt x="2546" y="352"/>
                </a:cubicBezTo>
                <a:cubicBezTo>
                  <a:pt x="2547" y="352"/>
                  <a:pt x="2547" y="352"/>
                  <a:pt x="2547" y="353"/>
                </a:cubicBezTo>
                <a:cubicBezTo>
                  <a:pt x="2547" y="353"/>
                  <a:pt x="2547" y="353"/>
                  <a:pt x="2546" y="354"/>
                </a:cubicBezTo>
                <a:cubicBezTo>
                  <a:pt x="2546" y="354"/>
                  <a:pt x="2546" y="355"/>
                  <a:pt x="2546" y="356"/>
                </a:cubicBezTo>
                <a:cubicBezTo>
                  <a:pt x="2545" y="358"/>
                  <a:pt x="2544" y="359"/>
                  <a:pt x="2543" y="360"/>
                </a:cubicBezTo>
                <a:cubicBezTo>
                  <a:pt x="2543" y="360"/>
                  <a:pt x="2542" y="361"/>
                  <a:pt x="2542" y="361"/>
                </a:cubicBezTo>
                <a:cubicBezTo>
                  <a:pt x="2542" y="362"/>
                  <a:pt x="2542" y="363"/>
                  <a:pt x="2541" y="363"/>
                </a:cubicBezTo>
                <a:cubicBezTo>
                  <a:pt x="2540" y="364"/>
                  <a:pt x="2540" y="365"/>
                  <a:pt x="2539" y="364"/>
                </a:cubicBezTo>
                <a:cubicBezTo>
                  <a:pt x="2538" y="364"/>
                  <a:pt x="2538" y="363"/>
                  <a:pt x="2537" y="363"/>
                </a:cubicBezTo>
                <a:cubicBezTo>
                  <a:pt x="2537" y="362"/>
                  <a:pt x="2537" y="362"/>
                  <a:pt x="2536" y="362"/>
                </a:cubicBezTo>
                <a:cubicBezTo>
                  <a:pt x="2536" y="362"/>
                  <a:pt x="2536" y="362"/>
                  <a:pt x="2535" y="361"/>
                </a:cubicBezTo>
                <a:cubicBezTo>
                  <a:pt x="2535" y="361"/>
                  <a:pt x="2534" y="360"/>
                  <a:pt x="2534" y="359"/>
                </a:cubicBezTo>
                <a:cubicBezTo>
                  <a:pt x="2533" y="358"/>
                  <a:pt x="2532" y="358"/>
                  <a:pt x="2531" y="357"/>
                </a:cubicBezTo>
                <a:cubicBezTo>
                  <a:pt x="2531" y="357"/>
                  <a:pt x="2531" y="357"/>
                  <a:pt x="2530" y="357"/>
                </a:cubicBezTo>
                <a:cubicBezTo>
                  <a:pt x="2530" y="356"/>
                  <a:pt x="2530" y="356"/>
                  <a:pt x="2529" y="356"/>
                </a:cubicBezTo>
                <a:cubicBezTo>
                  <a:pt x="2529" y="355"/>
                  <a:pt x="2528" y="354"/>
                  <a:pt x="2527" y="354"/>
                </a:cubicBezTo>
                <a:cubicBezTo>
                  <a:pt x="2527" y="353"/>
                  <a:pt x="2526" y="353"/>
                  <a:pt x="2526" y="353"/>
                </a:cubicBezTo>
                <a:cubicBezTo>
                  <a:pt x="2525" y="352"/>
                  <a:pt x="2525" y="352"/>
                  <a:pt x="2524" y="352"/>
                </a:cubicBezTo>
                <a:cubicBezTo>
                  <a:pt x="2523" y="352"/>
                  <a:pt x="2522" y="352"/>
                  <a:pt x="2520" y="352"/>
                </a:cubicBezTo>
                <a:cubicBezTo>
                  <a:pt x="2519" y="352"/>
                  <a:pt x="2518" y="351"/>
                  <a:pt x="2518" y="351"/>
                </a:cubicBezTo>
                <a:cubicBezTo>
                  <a:pt x="2517" y="350"/>
                  <a:pt x="2516" y="350"/>
                  <a:pt x="2515" y="349"/>
                </a:cubicBezTo>
                <a:cubicBezTo>
                  <a:pt x="2514" y="349"/>
                  <a:pt x="2514" y="349"/>
                  <a:pt x="2513" y="349"/>
                </a:cubicBezTo>
                <a:cubicBezTo>
                  <a:pt x="2512" y="349"/>
                  <a:pt x="2511" y="348"/>
                  <a:pt x="2511" y="348"/>
                </a:cubicBezTo>
                <a:cubicBezTo>
                  <a:pt x="2510" y="347"/>
                  <a:pt x="2510" y="347"/>
                  <a:pt x="2509" y="346"/>
                </a:cubicBezTo>
                <a:cubicBezTo>
                  <a:pt x="2509" y="346"/>
                  <a:pt x="2508" y="346"/>
                  <a:pt x="2507" y="345"/>
                </a:cubicBezTo>
                <a:cubicBezTo>
                  <a:pt x="2506" y="345"/>
                  <a:pt x="2505" y="345"/>
                  <a:pt x="2504" y="345"/>
                </a:cubicBezTo>
                <a:cubicBezTo>
                  <a:pt x="2504" y="345"/>
                  <a:pt x="2503" y="344"/>
                  <a:pt x="2502" y="344"/>
                </a:cubicBezTo>
                <a:cubicBezTo>
                  <a:pt x="2501" y="344"/>
                  <a:pt x="2501" y="344"/>
                  <a:pt x="2500" y="345"/>
                </a:cubicBezTo>
                <a:cubicBezTo>
                  <a:pt x="2500" y="345"/>
                  <a:pt x="2499" y="346"/>
                  <a:pt x="2499" y="345"/>
                </a:cubicBezTo>
                <a:cubicBezTo>
                  <a:pt x="2499" y="345"/>
                  <a:pt x="2499" y="344"/>
                  <a:pt x="2500" y="344"/>
                </a:cubicBezTo>
                <a:cubicBezTo>
                  <a:pt x="2500" y="344"/>
                  <a:pt x="2500" y="344"/>
                  <a:pt x="2501" y="344"/>
                </a:cubicBezTo>
                <a:cubicBezTo>
                  <a:pt x="2501" y="344"/>
                  <a:pt x="2501" y="343"/>
                  <a:pt x="2501" y="343"/>
                </a:cubicBezTo>
                <a:cubicBezTo>
                  <a:pt x="2501" y="343"/>
                  <a:pt x="2500" y="343"/>
                  <a:pt x="2500" y="343"/>
                </a:cubicBezTo>
                <a:cubicBezTo>
                  <a:pt x="2499" y="342"/>
                  <a:pt x="2499" y="342"/>
                  <a:pt x="2498" y="341"/>
                </a:cubicBezTo>
                <a:cubicBezTo>
                  <a:pt x="2497" y="341"/>
                  <a:pt x="2496" y="341"/>
                  <a:pt x="2495" y="340"/>
                </a:cubicBezTo>
                <a:cubicBezTo>
                  <a:pt x="2494" y="339"/>
                  <a:pt x="2492" y="338"/>
                  <a:pt x="2489" y="338"/>
                </a:cubicBezTo>
                <a:cubicBezTo>
                  <a:pt x="2488" y="337"/>
                  <a:pt x="2487" y="337"/>
                  <a:pt x="2486" y="337"/>
                </a:cubicBezTo>
                <a:cubicBezTo>
                  <a:pt x="2485" y="337"/>
                  <a:pt x="2484" y="336"/>
                  <a:pt x="2483" y="336"/>
                </a:cubicBezTo>
                <a:cubicBezTo>
                  <a:pt x="2483" y="336"/>
                  <a:pt x="2482" y="336"/>
                  <a:pt x="2482" y="336"/>
                </a:cubicBezTo>
                <a:cubicBezTo>
                  <a:pt x="2481" y="335"/>
                  <a:pt x="2480" y="335"/>
                  <a:pt x="2479" y="335"/>
                </a:cubicBezTo>
                <a:cubicBezTo>
                  <a:pt x="2478" y="335"/>
                  <a:pt x="2477" y="335"/>
                  <a:pt x="2476" y="335"/>
                </a:cubicBezTo>
                <a:cubicBezTo>
                  <a:pt x="2475" y="335"/>
                  <a:pt x="2474" y="334"/>
                  <a:pt x="2473" y="334"/>
                </a:cubicBezTo>
                <a:cubicBezTo>
                  <a:pt x="2472" y="334"/>
                  <a:pt x="2471" y="334"/>
                  <a:pt x="2470" y="334"/>
                </a:cubicBezTo>
                <a:cubicBezTo>
                  <a:pt x="2469" y="334"/>
                  <a:pt x="2468" y="334"/>
                  <a:pt x="2467" y="334"/>
                </a:cubicBezTo>
                <a:cubicBezTo>
                  <a:pt x="2466" y="333"/>
                  <a:pt x="2464" y="333"/>
                  <a:pt x="2462" y="333"/>
                </a:cubicBezTo>
                <a:cubicBezTo>
                  <a:pt x="2461" y="333"/>
                  <a:pt x="2460" y="333"/>
                  <a:pt x="2459" y="332"/>
                </a:cubicBezTo>
                <a:cubicBezTo>
                  <a:pt x="2459" y="332"/>
                  <a:pt x="2458" y="332"/>
                  <a:pt x="2457" y="332"/>
                </a:cubicBezTo>
                <a:cubicBezTo>
                  <a:pt x="2457" y="332"/>
                  <a:pt x="2456" y="332"/>
                  <a:pt x="2456" y="332"/>
                </a:cubicBezTo>
                <a:cubicBezTo>
                  <a:pt x="2455" y="332"/>
                  <a:pt x="2455" y="332"/>
                  <a:pt x="2455" y="333"/>
                </a:cubicBezTo>
                <a:cubicBezTo>
                  <a:pt x="2454" y="333"/>
                  <a:pt x="2453" y="334"/>
                  <a:pt x="2452" y="334"/>
                </a:cubicBezTo>
                <a:cubicBezTo>
                  <a:pt x="2451" y="335"/>
                  <a:pt x="2450" y="336"/>
                  <a:pt x="2448" y="336"/>
                </a:cubicBezTo>
                <a:cubicBezTo>
                  <a:pt x="2448" y="336"/>
                  <a:pt x="2447" y="336"/>
                  <a:pt x="2446" y="336"/>
                </a:cubicBezTo>
                <a:cubicBezTo>
                  <a:pt x="2446" y="336"/>
                  <a:pt x="2446" y="337"/>
                  <a:pt x="2446" y="337"/>
                </a:cubicBezTo>
                <a:cubicBezTo>
                  <a:pt x="2446" y="338"/>
                  <a:pt x="2446" y="338"/>
                  <a:pt x="2447" y="338"/>
                </a:cubicBezTo>
                <a:cubicBezTo>
                  <a:pt x="2448" y="339"/>
                  <a:pt x="2447" y="340"/>
                  <a:pt x="2448" y="341"/>
                </a:cubicBezTo>
                <a:cubicBezTo>
                  <a:pt x="2449" y="341"/>
                  <a:pt x="2450" y="342"/>
                  <a:pt x="2450" y="343"/>
                </a:cubicBezTo>
                <a:cubicBezTo>
                  <a:pt x="2450" y="343"/>
                  <a:pt x="2451" y="344"/>
                  <a:pt x="2451" y="345"/>
                </a:cubicBezTo>
                <a:cubicBezTo>
                  <a:pt x="2451" y="345"/>
                  <a:pt x="2451" y="346"/>
                  <a:pt x="2451" y="346"/>
                </a:cubicBezTo>
                <a:cubicBezTo>
                  <a:pt x="2451" y="346"/>
                  <a:pt x="2451" y="347"/>
                  <a:pt x="2451" y="347"/>
                </a:cubicBezTo>
                <a:cubicBezTo>
                  <a:pt x="2451" y="347"/>
                  <a:pt x="2451" y="348"/>
                  <a:pt x="2452" y="348"/>
                </a:cubicBezTo>
                <a:cubicBezTo>
                  <a:pt x="2453" y="348"/>
                  <a:pt x="2453" y="347"/>
                  <a:pt x="2453" y="347"/>
                </a:cubicBezTo>
                <a:cubicBezTo>
                  <a:pt x="2453" y="346"/>
                  <a:pt x="2454" y="346"/>
                  <a:pt x="2454" y="347"/>
                </a:cubicBezTo>
                <a:cubicBezTo>
                  <a:pt x="2454" y="348"/>
                  <a:pt x="2455" y="349"/>
                  <a:pt x="2454" y="350"/>
                </a:cubicBezTo>
                <a:cubicBezTo>
                  <a:pt x="2454" y="350"/>
                  <a:pt x="2454" y="351"/>
                  <a:pt x="2454" y="351"/>
                </a:cubicBezTo>
                <a:cubicBezTo>
                  <a:pt x="2453" y="351"/>
                  <a:pt x="2453" y="352"/>
                  <a:pt x="2453" y="352"/>
                </a:cubicBezTo>
                <a:cubicBezTo>
                  <a:pt x="2452" y="352"/>
                  <a:pt x="2452" y="353"/>
                  <a:pt x="2452" y="353"/>
                </a:cubicBezTo>
                <a:cubicBezTo>
                  <a:pt x="2451" y="353"/>
                  <a:pt x="2451" y="353"/>
                  <a:pt x="2450" y="353"/>
                </a:cubicBezTo>
                <a:cubicBezTo>
                  <a:pt x="2449" y="354"/>
                  <a:pt x="2447" y="354"/>
                  <a:pt x="2446" y="354"/>
                </a:cubicBezTo>
                <a:cubicBezTo>
                  <a:pt x="2445" y="355"/>
                  <a:pt x="2444" y="355"/>
                  <a:pt x="2443" y="356"/>
                </a:cubicBezTo>
                <a:cubicBezTo>
                  <a:pt x="2443" y="356"/>
                  <a:pt x="2443" y="357"/>
                  <a:pt x="2443" y="358"/>
                </a:cubicBezTo>
                <a:cubicBezTo>
                  <a:pt x="2443" y="359"/>
                  <a:pt x="2444" y="360"/>
                  <a:pt x="2443" y="360"/>
                </a:cubicBezTo>
                <a:cubicBezTo>
                  <a:pt x="2443" y="361"/>
                  <a:pt x="2442" y="362"/>
                  <a:pt x="2441" y="362"/>
                </a:cubicBezTo>
                <a:cubicBezTo>
                  <a:pt x="2440" y="362"/>
                  <a:pt x="2439" y="362"/>
                  <a:pt x="2438" y="362"/>
                </a:cubicBezTo>
                <a:cubicBezTo>
                  <a:pt x="2437" y="362"/>
                  <a:pt x="2436" y="361"/>
                  <a:pt x="2436" y="361"/>
                </a:cubicBezTo>
                <a:cubicBezTo>
                  <a:pt x="2435" y="361"/>
                  <a:pt x="2434" y="361"/>
                  <a:pt x="2434" y="360"/>
                </a:cubicBezTo>
                <a:cubicBezTo>
                  <a:pt x="2433" y="360"/>
                  <a:pt x="2434" y="359"/>
                  <a:pt x="2434" y="358"/>
                </a:cubicBezTo>
                <a:cubicBezTo>
                  <a:pt x="2434" y="357"/>
                  <a:pt x="2433" y="357"/>
                  <a:pt x="2434" y="356"/>
                </a:cubicBezTo>
                <a:cubicBezTo>
                  <a:pt x="2434" y="356"/>
                  <a:pt x="2434" y="356"/>
                  <a:pt x="2434" y="356"/>
                </a:cubicBezTo>
                <a:cubicBezTo>
                  <a:pt x="2435" y="356"/>
                  <a:pt x="2435" y="356"/>
                  <a:pt x="2435" y="355"/>
                </a:cubicBezTo>
                <a:cubicBezTo>
                  <a:pt x="2435" y="355"/>
                  <a:pt x="2436" y="355"/>
                  <a:pt x="2436" y="355"/>
                </a:cubicBezTo>
                <a:cubicBezTo>
                  <a:pt x="2436" y="355"/>
                  <a:pt x="2437" y="355"/>
                  <a:pt x="2437" y="355"/>
                </a:cubicBezTo>
                <a:cubicBezTo>
                  <a:pt x="2437" y="355"/>
                  <a:pt x="2437" y="354"/>
                  <a:pt x="2437" y="354"/>
                </a:cubicBezTo>
                <a:cubicBezTo>
                  <a:pt x="2437" y="353"/>
                  <a:pt x="2436" y="353"/>
                  <a:pt x="2435" y="352"/>
                </a:cubicBezTo>
                <a:cubicBezTo>
                  <a:pt x="2435" y="352"/>
                  <a:pt x="2434" y="352"/>
                  <a:pt x="2434" y="351"/>
                </a:cubicBezTo>
                <a:cubicBezTo>
                  <a:pt x="2433" y="351"/>
                  <a:pt x="2433" y="351"/>
                  <a:pt x="2432" y="351"/>
                </a:cubicBezTo>
                <a:cubicBezTo>
                  <a:pt x="2432" y="350"/>
                  <a:pt x="2433" y="350"/>
                  <a:pt x="2433" y="350"/>
                </a:cubicBezTo>
                <a:cubicBezTo>
                  <a:pt x="2434" y="350"/>
                  <a:pt x="2435" y="350"/>
                  <a:pt x="2435" y="350"/>
                </a:cubicBezTo>
                <a:cubicBezTo>
                  <a:pt x="2435" y="349"/>
                  <a:pt x="2434" y="349"/>
                  <a:pt x="2433" y="349"/>
                </a:cubicBezTo>
                <a:cubicBezTo>
                  <a:pt x="2432" y="350"/>
                  <a:pt x="2431" y="349"/>
                  <a:pt x="2430" y="350"/>
                </a:cubicBezTo>
                <a:cubicBezTo>
                  <a:pt x="2429" y="350"/>
                  <a:pt x="2429" y="350"/>
                  <a:pt x="2429" y="350"/>
                </a:cubicBezTo>
                <a:cubicBezTo>
                  <a:pt x="2428" y="351"/>
                  <a:pt x="2426" y="351"/>
                  <a:pt x="2426" y="353"/>
                </a:cubicBezTo>
                <a:cubicBezTo>
                  <a:pt x="2425" y="353"/>
                  <a:pt x="2424" y="354"/>
                  <a:pt x="2424" y="353"/>
                </a:cubicBezTo>
                <a:cubicBezTo>
                  <a:pt x="2424" y="353"/>
                  <a:pt x="2425" y="351"/>
                  <a:pt x="2424" y="351"/>
                </a:cubicBezTo>
                <a:cubicBezTo>
                  <a:pt x="2423" y="351"/>
                  <a:pt x="2423" y="352"/>
                  <a:pt x="2423" y="352"/>
                </a:cubicBezTo>
                <a:cubicBezTo>
                  <a:pt x="2422" y="352"/>
                  <a:pt x="2422" y="352"/>
                  <a:pt x="2422" y="352"/>
                </a:cubicBezTo>
                <a:cubicBezTo>
                  <a:pt x="2420" y="353"/>
                  <a:pt x="2420" y="353"/>
                  <a:pt x="2419" y="354"/>
                </a:cubicBezTo>
                <a:cubicBezTo>
                  <a:pt x="2418" y="354"/>
                  <a:pt x="2417" y="354"/>
                  <a:pt x="2417" y="355"/>
                </a:cubicBezTo>
                <a:cubicBezTo>
                  <a:pt x="2416" y="355"/>
                  <a:pt x="2415" y="356"/>
                  <a:pt x="2414" y="357"/>
                </a:cubicBezTo>
                <a:cubicBezTo>
                  <a:pt x="2414" y="357"/>
                  <a:pt x="2414" y="358"/>
                  <a:pt x="2413" y="358"/>
                </a:cubicBezTo>
                <a:cubicBezTo>
                  <a:pt x="2411" y="358"/>
                  <a:pt x="2409" y="357"/>
                  <a:pt x="2408" y="357"/>
                </a:cubicBezTo>
                <a:cubicBezTo>
                  <a:pt x="2407" y="357"/>
                  <a:pt x="2406" y="357"/>
                  <a:pt x="2405" y="357"/>
                </a:cubicBezTo>
                <a:cubicBezTo>
                  <a:pt x="2404" y="357"/>
                  <a:pt x="2403" y="357"/>
                  <a:pt x="2402" y="357"/>
                </a:cubicBezTo>
                <a:cubicBezTo>
                  <a:pt x="2401" y="357"/>
                  <a:pt x="2401" y="356"/>
                  <a:pt x="2400" y="356"/>
                </a:cubicBezTo>
                <a:cubicBezTo>
                  <a:pt x="2399" y="356"/>
                  <a:pt x="2398" y="356"/>
                  <a:pt x="2397" y="356"/>
                </a:cubicBezTo>
                <a:cubicBezTo>
                  <a:pt x="2396" y="357"/>
                  <a:pt x="2394" y="357"/>
                  <a:pt x="2393" y="358"/>
                </a:cubicBezTo>
                <a:cubicBezTo>
                  <a:pt x="2393" y="359"/>
                  <a:pt x="2392" y="360"/>
                  <a:pt x="2391" y="360"/>
                </a:cubicBezTo>
                <a:cubicBezTo>
                  <a:pt x="2391" y="360"/>
                  <a:pt x="2390" y="361"/>
                  <a:pt x="2390" y="361"/>
                </a:cubicBezTo>
                <a:cubicBezTo>
                  <a:pt x="2389" y="362"/>
                  <a:pt x="2388" y="362"/>
                  <a:pt x="2387" y="362"/>
                </a:cubicBezTo>
                <a:cubicBezTo>
                  <a:pt x="2387" y="363"/>
                  <a:pt x="2386" y="363"/>
                  <a:pt x="2386" y="363"/>
                </a:cubicBezTo>
                <a:cubicBezTo>
                  <a:pt x="2386" y="364"/>
                  <a:pt x="2385" y="366"/>
                  <a:pt x="2384" y="365"/>
                </a:cubicBezTo>
                <a:cubicBezTo>
                  <a:pt x="2384" y="364"/>
                  <a:pt x="2384" y="364"/>
                  <a:pt x="2383" y="364"/>
                </a:cubicBezTo>
                <a:cubicBezTo>
                  <a:pt x="2383" y="364"/>
                  <a:pt x="2382" y="363"/>
                  <a:pt x="2381" y="363"/>
                </a:cubicBezTo>
                <a:cubicBezTo>
                  <a:pt x="2380" y="363"/>
                  <a:pt x="2380" y="364"/>
                  <a:pt x="2379" y="364"/>
                </a:cubicBezTo>
                <a:cubicBezTo>
                  <a:pt x="2379" y="364"/>
                  <a:pt x="2378" y="365"/>
                  <a:pt x="2378" y="365"/>
                </a:cubicBezTo>
                <a:cubicBezTo>
                  <a:pt x="2378" y="364"/>
                  <a:pt x="2378" y="364"/>
                  <a:pt x="2378" y="363"/>
                </a:cubicBezTo>
                <a:cubicBezTo>
                  <a:pt x="2378" y="363"/>
                  <a:pt x="2376" y="363"/>
                  <a:pt x="2376" y="364"/>
                </a:cubicBezTo>
                <a:cubicBezTo>
                  <a:pt x="2376" y="364"/>
                  <a:pt x="2376" y="364"/>
                  <a:pt x="2376" y="364"/>
                </a:cubicBezTo>
                <a:cubicBezTo>
                  <a:pt x="2375" y="365"/>
                  <a:pt x="2374" y="365"/>
                  <a:pt x="2373" y="364"/>
                </a:cubicBezTo>
                <a:cubicBezTo>
                  <a:pt x="2372" y="364"/>
                  <a:pt x="2372" y="364"/>
                  <a:pt x="2371" y="363"/>
                </a:cubicBezTo>
                <a:cubicBezTo>
                  <a:pt x="2371" y="363"/>
                  <a:pt x="2370" y="363"/>
                  <a:pt x="2370" y="363"/>
                </a:cubicBezTo>
                <a:cubicBezTo>
                  <a:pt x="2370" y="363"/>
                  <a:pt x="2369" y="363"/>
                  <a:pt x="2369" y="362"/>
                </a:cubicBezTo>
                <a:cubicBezTo>
                  <a:pt x="2369" y="362"/>
                  <a:pt x="2371" y="362"/>
                  <a:pt x="2371" y="362"/>
                </a:cubicBezTo>
                <a:cubicBezTo>
                  <a:pt x="2372" y="362"/>
                  <a:pt x="2371" y="362"/>
                  <a:pt x="2372" y="361"/>
                </a:cubicBezTo>
                <a:cubicBezTo>
                  <a:pt x="2372" y="361"/>
                  <a:pt x="2373" y="361"/>
                  <a:pt x="2373" y="361"/>
                </a:cubicBezTo>
                <a:cubicBezTo>
                  <a:pt x="2374" y="361"/>
                  <a:pt x="2375" y="361"/>
                  <a:pt x="2375" y="360"/>
                </a:cubicBezTo>
                <a:cubicBezTo>
                  <a:pt x="2375" y="359"/>
                  <a:pt x="2374" y="358"/>
                  <a:pt x="2374" y="358"/>
                </a:cubicBezTo>
                <a:cubicBezTo>
                  <a:pt x="2373" y="358"/>
                  <a:pt x="2372" y="357"/>
                  <a:pt x="2373" y="356"/>
                </a:cubicBezTo>
                <a:cubicBezTo>
                  <a:pt x="2373" y="355"/>
                  <a:pt x="2374" y="355"/>
                  <a:pt x="2374" y="354"/>
                </a:cubicBezTo>
                <a:cubicBezTo>
                  <a:pt x="2374" y="354"/>
                  <a:pt x="2374" y="354"/>
                  <a:pt x="2374" y="353"/>
                </a:cubicBezTo>
                <a:cubicBezTo>
                  <a:pt x="2375" y="353"/>
                  <a:pt x="2376" y="353"/>
                  <a:pt x="2376" y="352"/>
                </a:cubicBezTo>
                <a:cubicBezTo>
                  <a:pt x="2376" y="351"/>
                  <a:pt x="2374" y="352"/>
                  <a:pt x="2374" y="352"/>
                </a:cubicBezTo>
                <a:cubicBezTo>
                  <a:pt x="2373" y="352"/>
                  <a:pt x="2373" y="352"/>
                  <a:pt x="2372" y="352"/>
                </a:cubicBezTo>
                <a:cubicBezTo>
                  <a:pt x="2372" y="351"/>
                  <a:pt x="2373" y="351"/>
                  <a:pt x="2373" y="351"/>
                </a:cubicBezTo>
                <a:cubicBezTo>
                  <a:pt x="2372" y="350"/>
                  <a:pt x="2372" y="350"/>
                  <a:pt x="2371" y="351"/>
                </a:cubicBezTo>
                <a:cubicBezTo>
                  <a:pt x="2371" y="351"/>
                  <a:pt x="2370" y="351"/>
                  <a:pt x="2370" y="351"/>
                </a:cubicBezTo>
                <a:cubicBezTo>
                  <a:pt x="2369" y="351"/>
                  <a:pt x="2368" y="351"/>
                  <a:pt x="2367" y="352"/>
                </a:cubicBezTo>
                <a:cubicBezTo>
                  <a:pt x="2366" y="352"/>
                  <a:pt x="2366" y="353"/>
                  <a:pt x="2365" y="353"/>
                </a:cubicBezTo>
                <a:cubicBezTo>
                  <a:pt x="2363" y="353"/>
                  <a:pt x="2362" y="353"/>
                  <a:pt x="2361" y="354"/>
                </a:cubicBezTo>
                <a:cubicBezTo>
                  <a:pt x="2360" y="354"/>
                  <a:pt x="2359" y="355"/>
                  <a:pt x="2359" y="356"/>
                </a:cubicBezTo>
                <a:cubicBezTo>
                  <a:pt x="2358" y="356"/>
                  <a:pt x="2356" y="356"/>
                  <a:pt x="2356" y="357"/>
                </a:cubicBezTo>
                <a:cubicBezTo>
                  <a:pt x="2356" y="357"/>
                  <a:pt x="2357" y="357"/>
                  <a:pt x="2357" y="358"/>
                </a:cubicBezTo>
                <a:cubicBezTo>
                  <a:pt x="2358" y="358"/>
                  <a:pt x="2357" y="358"/>
                  <a:pt x="2358" y="358"/>
                </a:cubicBezTo>
                <a:cubicBezTo>
                  <a:pt x="2359" y="358"/>
                  <a:pt x="2359" y="358"/>
                  <a:pt x="2360" y="359"/>
                </a:cubicBezTo>
                <a:cubicBezTo>
                  <a:pt x="2360" y="360"/>
                  <a:pt x="2361" y="360"/>
                  <a:pt x="2361" y="360"/>
                </a:cubicBezTo>
                <a:cubicBezTo>
                  <a:pt x="2361" y="361"/>
                  <a:pt x="2360" y="361"/>
                  <a:pt x="2360" y="361"/>
                </a:cubicBezTo>
                <a:cubicBezTo>
                  <a:pt x="2359" y="361"/>
                  <a:pt x="2358" y="362"/>
                  <a:pt x="2357" y="363"/>
                </a:cubicBezTo>
                <a:cubicBezTo>
                  <a:pt x="2356" y="363"/>
                  <a:pt x="2356" y="362"/>
                  <a:pt x="2356" y="361"/>
                </a:cubicBezTo>
                <a:cubicBezTo>
                  <a:pt x="2356" y="361"/>
                  <a:pt x="2356" y="361"/>
                  <a:pt x="2356" y="360"/>
                </a:cubicBezTo>
                <a:cubicBezTo>
                  <a:pt x="2356" y="360"/>
                  <a:pt x="2357" y="360"/>
                  <a:pt x="2357" y="359"/>
                </a:cubicBezTo>
                <a:cubicBezTo>
                  <a:pt x="2357" y="359"/>
                  <a:pt x="2355" y="359"/>
                  <a:pt x="2355" y="359"/>
                </a:cubicBezTo>
                <a:cubicBezTo>
                  <a:pt x="2355" y="358"/>
                  <a:pt x="2355" y="358"/>
                  <a:pt x="2355" y="358"/>
                </a:cubicBezTo>
                <a:cubicBezTo>
                  <a:pt x="2356" y="357"/>
                  <a:pt x="2355" y="357"/>
                  <a:pt x="2355" y="358"/>
                </a:cubicBezTo>
                <a:cubicBezTo>
                  <a:pt x="2354" y="358"/>
                  <a:pt x="2354" y="358"/>
                  <a:pt x="2354" y="358"/>
                </a:cubicBezTo>
                <a:cubicBezTo>
                  <a:pt x="2353" y="358"/>
                  <a:pt x="2353" y="358"/>
                  <a:pt x="2352" y="358"/>
                </a:cubicBezTo>
                <a:cubicBezTo>
                  <a:pt x="2351" y="358"/>
                  <a:pt x="2351" y="358"/>
                  <a:pt x="2350" y="359"/>
                </a:cubicBezTo>
                <a:cubicBezTo>
                  <a:pt x="2349" y="359"/>
                  <a:pt x="2348" y="359"/>
                  <a:pt x="2348" y="359"/>
                </a:cubicBezTo>
                <a:cubicBezTo>
                  <a:pt x="2348" y="360"/>
                  <a:pt x="2348" y="360"/>
                  <a:pt x="2347" y="361"/>
                </a:cubicBezTo>
                <a:cubicBezTo>
                  <a:pt x="2347" y="361"/>
                  <a:pt x="2347" y="361"/>
                  <a:pt x="2346" y="361"/>
                </a:cubicBezTo>
                <a:cubicBezTo>
                  <a:pt x="2345" y="361"/>
                  <a:pt x="2344" y="362"/>
                  <a:pt x="2343" y="362"/>
                </a:cubicBezTo>
                <a:cubicBezTo>
                  <a:pt x="2342" y="362"/>
                  <a:pt x="2341" y="362"/>
                  <a:pt x="2340" y="362"/>
                </a:cubicBezTo>
                <a:cubicBezTo>
                  <a:pt x="2339" y="362"/>
                  <a:pt x="2339" y="362"/>
                  <a:pt x="2338" y="363"/>
                </a:cubicBezTo>
                <a:cubicBezTo>
                  <a:pt x="2337" y="363"/>
                  <a:pt x="2337" y="363"/>
                  <a:pt x="2336" y="364"/>
                </a:cubicBezTo>
                <a:cubicBezTo>
                  <a:pt x="2336" y="364"/>
                  <a:pt x="2335" y="364"/>
                  <a:pt x="2334" y="365"/>
                </a:cubicBezTo>
                <a:cubicBezTo>
                  <a:pt x="2334" y="365"/>
                  <a:pt x="2333" y="365"/>
                  <a:pt x="2333" y="366"/>
                </a:cubicBezTo>
                <a:cubicBezTo>
                  <a:pt x="2332" y="366"/>
                  <a:pt x="2331" y="367"/>
                  <a:pt x="2331" y="367"/>
                </a:cubicBezTo>
                <a:cubicBezTo>
                  <a:pt x="2329" y="369"/>
                  <a:pt x="2327" y="369"/>
                  <a:pt x="2326" y="369"/>
                </a:cubicBezTo>
                <a:cubicBezTo>
                  <a:pt x="2324" y="370"/>
                  <a:pt x="2323" y="371"/>
                  <a:pt x="2321" y="371"/>
                </a:cubicBezTo>
                <a:cubicBezTo>
                  <a:pt x="2320" y="371"/>
                  <a:pt x="2319" y="372"/>
                  <a:pt x="2318" y="372"/>
                </a:cubicBezTo>
                <a:cubicBezTo>
                  <a:pt x="2318" y="372"/>
                  <a:pt x="2317" y="372"/>
                  <a:pt x="2316" y="372"/>
                </a:cubicBezTo>
                <a:cubicBezTo>
                  <a:pt x="2316" y="373"/>
                  <a:pt x="2316" y="373"/>
                  <a:pt x="2317" y="374"/>
                </a:cubicBezTo>
                <a:cubicBezTo>
                  <a:pt x="2317" y="374"/>
                  <a:pt x="2316" y="374"/>
                  <a:pt x="2317" y="375"/>
                </a:cubicBezTo>
                <a:cubicBezTo>
                  <a:pt x="2317" y="375"/>
                  <a:pt x="2318" y="374"/>
                  <a:pt x="2319" y="375"/>
                </a:cubicBezTo>
                <a:cubicBezTo>
                  <a:pt x="2319" y="376"/>
                  <a:pt x="2317" y="376"/>
                  <a:pt x="2317" y="376"/>
                </a:cubicBezTo>
                <a:cubicBezTo>
                  <a:pt x="2316" y="376"/>
                  <a:pt x="2316" y="376"/>
                  <a:pt x="2316" y="376"/>
                </a:cubicBezTo>
                <a:cubicBezTo>
                  <a:pt x="2315" y="375"/>
                  <a:pt x="2315" y="376"/>
                  <a:pt x="2314" y="376"/>
                </a:cubicBezTo>
                <a:cubicBezTo>
                  <a:pt x="2314" y="376"/>
                  <a:pt x="2313" y="376"/>
                  <a:pt x="2312" y="375"/>
                </a:cubicBezTo>
                <a:cubicBezTo>
                  <a:pt x="2312" y="375"/>
                  <a:pt x="2311" y="375"/>
                  <a:pt x="2310" y="376"/>
                </a:cubicBezTo>
                <a:cubicBezTo>
                  <a:pt x="2309" y="376"/>
                  <a:pt x="2309" y="376"/>
                  <a:pt x="2308" y="377"/>
                </a:cubicBezTo>
                <a:cubicBezTo>
                  <a:pt x="2307" y="377"/>
                  <a:pt x="2307" y="377"/>
                  <a:pt x="2306" y="377"/>
                </a:cubicBezTo>
                <a:cubicBezTo>
                  <a:pt x="2306" y="377"/>
                  <a:pt x="2305" y="377"/>
                  <a:pt x="2305" y="377"/>
                </a:cubicBezTo>
                <a:cubicBezTo>
                  <a:pt x="2305" y="377"/>
                  <a:pt x="2305" y="377"/>
                  <a:pt x="2305" y="378"/>
                </a:cubicBezTo>
                <a:cubicBezTo>
                  <a:pt x="2306" y="378"/>
                  <a:pt x="2306" y="378"/>
                  <a:pt x="2306" y="379"/>
                </a:cubicBezTo>
                <a:cubicBezTo>
                  <a:pt x="2306" y="379"/>
                  <a:pt x="2306" y="379"/>
                  <a:pt x="2306" y="380"/>
                </a:cubicBezTo>
                <a:cubicBezTo>
                  <a:pt x="2306" y="380"/>
                  <a:pt x="2306" y="381"/>
                  <a:pt x="2306" y="381"/>
                </a:cubicBezTo>
                <a:cubicBezTo>
                  <a:pt x="2306" y="381"/>
                  <a:pt x="2305" y="381"/>
                  <a:pt x="2305" y="382"/>
                </a:cubicBezTo>
                <a:cubicBezTo>
                  <a:pt x="2304" y="382"/>
                  <a:pt x="2305" y="383"/>
                  <a:pt x="2304" y="384"/>
                </a:cubicBezTo>
                <a:cubicBezTo>
                  <a:pt x="2304" y="385"/>
                  <a:pt x="2304" y="385"/>
                  <a:pt x="2304" y="386"/>
                </a:cubicBezTo>
                <a:cubicBezTo>
                  <a:pt x="2304" y="386"/>
                  <a:pt x="2304" y="387"/>
                  <a:pt x="2304" y="388"/>
                </a:cubicBezTo>
                <a:cubicBezTo>
                  <a:pt x="2304" y="388"/>
                  <a:pt x="2303" y="389"/>
                  <a:pt x="2303" y="389"/>
                </a:cubicBezTo>
                <a:cubicBezTo>
                  <a:pt x="2303" y="389"/>
                  <a:pt x="2302" y="390"/>
                  <a:pt x="2302" y="390"/>
                </a:cubicBezTo>
                <a:cubicBezTo>
                  <a:pt x="2302" y="390"/>
                  <a:pt x="2302" y="390"/>
                  <a:pt x="2302" y="391"/>
                </a:cubicBezTo>
                <a:cubicBezTo>
                  <a:pt x="2302" y="391"/>
                  <a:pt x="2301" y="391"/>
                  <a:pt x="2300" y="391"/>
                </a:cubicBezTo>
                <a:cubicBezTo>
                  <a:pt x="2299" y="391"/>
                  <a:pt x="2298" y="391"/>
                  <a:pt x="2297" y="391"/>
                </a:cubicBezTo>
                <a:cubicBezTo>
                  <a:pt x="2296" y="391"/>
                  <a:pt x="2295" y="391"/>
                  <a:pt x="2294" y="391"/>
                </a:cubicBezTo>
                <a:cubicBezTo>
                  <a:pt x="2293" y="391"/>
                  <a:pt x="2292" y="392"/>
                  <a:pt x="2292" y="392"/>
                </a:cubicBezTo>
                <a:cubicBezTo>
                  <a:pt x="2291" y="392"/>
                  <a:pt x="2291" y="391"/>
                  <a:pt x="2291" y="391"/>
                </a:cubicBezTo>
                <a:cubicBezTo>
                  <a:pt x="2290" y="391"/>
                  <a:pt x="2290" y="391"/>
                  <a:pt x="2290" y="391"/>
                </a:cubicBezTo>
                <a:cubicBezTo>
                  <a:pt x="2289" y="391"/>
                  <a:pt x="2288" y="391"/>
                  <a:pt x="2287" y="392"/>
                </a:cubicBezTo>
                <a:cubicBezTo>
                  <a:pt x="2286" y="392"/>
                  <a:pt x="2286" y="392"/>
                  <a:pt x="2285" y="392"/>
                </a:cubicBezTo>
                <a:cubicBezTo>
                  <a:pt x="2284" y="392"/>
                  <a:pt x="2283" y="391"/>
                  <a:pt x="2282" y="391"/>
                </a:cubicBezTo>
                <a:cubicBezTo>
                  <a:pt x="2281" y="389"/>
                  <a:pt x="2280" y="388"/>
                  <a:pt x="2279" y="386"/>
                </a:cubicBezTo>
                <a:cubicBezTo>
                  <a:pt x="2278" y="385"/>
                  <a:pt x="2276" y="384"/>
                  <a:pt x="2275" y="383"/>
                </a:cubicBezTo>
                <a:cubicBezTo>
                  <a:pt x="2274" y="382"/>
                  <a:pt x="2271" y="381"/>
                  <a:pt x="2273" y="380"/>
                </a:cubicBezTo>
                <a:cubicBezTo>
                  <a:pt x="2273" y="379"/>
                  <a:pt x="2274" y="378"/>
                  <a:pt x="2274" y="378"/>
                </a:cubicBezTo>
                <a:cubicBezTo>
                  <a:pt x="2275" y="377"/>
                  <a:pt x="2276" y="377"/>
                  <a:pt x="2277" y="377"/>
                </a:cubicBezTo>
                <a:cubicBezTo>
                  <a:pt x="2277" y="377"/>
                  <a:pt x="2277" y="376"/>
                  <a:pt x="2277" y="375"/>
                </a:cubicBezTo>
                <a:cubicBezTo>
                  <a:pt x="2277" y="374"/>
                  <a:pt x="2278" y="374"/>
                  <a:pt x="2279" y="374"/>
                </a:cubicBezTo>
                <a:cubicBezTo>
                  <a:pt x="2280" y="374"/>
                  <a:pt x="2281" y="374"/>
                  <a:pt x="2282" y="374"/>
                </a:cubicBezTo>
                <a:cubicBezTo>
                  <a:pt x="2282" y="374"/>
                  <a:pt x="2283" y="373"/>
                  <a:pt x="2284" y="373"/>
                </a:cubicBezTo>
                <a:cubicBezTo>
                  <a:pt x="2285" y="373"/>
                  <a:pt x="2286" y="373"/>
                  <a:pt x="2287" y="373"/>
                </a:cubicBezTo>
                <a:cubicBezTo>
                  <a:pt x="2287" y="373"/>
                  <a:pt x="2288" y="373"/>
                  <a:pt x="2289" y="373"/>
                </a:cubicBezTo>
                <a:cubicBezTo>
                  <a:pt x="2290" y="373"/>
                  <a:pt x="2293" y="374"/>
                  <a:pt x="2293" y="372"/>
                </a:cubicBezTo>
                <a:cubicBezTo>
                  <a:pt x="2293" y="371"/>
                  <a:pt x="2292" y="370"/>
                  <a:pt x="2291" y="369"/>
                </a:cubicBezTo>
                <a:cubicBezTo>
                  <a:pt x="2291" y="368"/>
                  <a:pt x="2291" y="368"/>
                  <a:pt x="2290" y="367"/>
                </a:cubicBezTo>
                <a:cubicBezTo>
                  <a:pt x="2290" y="367"/>
                  <a:pt x="2290" y="366"/>
                  <a:pt x="2289" y="365"/>
                </a:cubicBezTo>
                <a:cubicBezTo>
                  <a:pt x="2289" y="365"/>
                  <a:pt x="2288" y="365"/>
                  <a:pt x="2288" y="365"/>
                </a:cubicBezTo>
                <a:cubicBezTo>
                  <a:pt x="2287" y="364"/>
                  <a:pt x="2286" y="363"/>
                  <a:pt x="2285" y="362"/>
                </a:cubicBezTo>
                <a:cubicBezTo>
                  <a:pt x="2285" y="362"/>
                  <a:pt x="2285" y="362"/>
                  <a:pt x="2284" y="361"/>
                </a:cubicBezTo>
                <a:cubicBezTo>
                  <a:pt x="2284" y="361"/>
                  <a:pt x="2284" y="361"/>
                  <a:pt x="2284" y="361"/>
                </a:cubicBezTo>
                <a:cubicBezTo>
                  <a:pt x="2284" y="360"/>
                  <a:pt x="2285" y="360"/>
                  <a:pt x="2284" y="360"/>
                </a:cubicBezTo>
                <a:cubicBezTo>
                  <a:pt x="2284" y="360"/>
                  <a:pt x="2283" y="360"/>
                  <a:pt x="2283" y="360"/>
                </a:cubicBezTo>
                <a:cubicBezTo>
                  <a:pt x="2282" y="360"/>
                  <a:pt x="2282" y="360"/>
                  <a:pt x="2282" y="360"/>
                </a:cubicBezTo>
                <a:cubicBezTo>
                  <a:pt x="2281" y="360"/>
                  <a:pt x="2280" y="360"/>
                  <a:pt x="2279" y="359"/>
                </a:cubicBezTo>
                <a:cubicBezTo>
                  <a:pt x="2279" y="359"/>
                  <a:pt x="2278" y="359"/>
                  <a:pt x="2278" y="359"/>
                </a:cubicBezTo>
                <a:cubicBezTo>
                  <a:pt x="2277" y="359"/>
                  <a:pt x="2276" y="359"/>
                  <a:pt x="2275" y="359"/>
                </a:cubicBezTo>
                <a:cubicBezTo>
                  <a:pt x="2273" y="358"/>
                  <a:pt x="2271" y="358"/>
                  <a:pt x="2269" y="358"/>
                </a:cubicBezTo>
                <a:cubicBezTo>
                  <a:pt x="2268" y="358"/>
                  <a:pt x="2267" y="358"/>
                  <a:pt x="2266" y="358"/>
                </a:cubicBezTo>
                <a:cubicBezTo>
                  <a:pt x="2265" y="358"/>
                  <a:pt x="2264" y="357"/>
                  <a:pt x="2263" y="357"/>
                </a:cubicBezTo>
                <a:cubicBezTo>
                  <a:pt x="2262" y="357"/>
                  <a:pt x="2260" y="357"/>
                  <a:pt x="2258" y="356"/>
                </a:cubicBezTo>
                <a:cubicBezTo>
                  <a:pt x="2257" y="356"/>
                  <a:pt x="2255" y="356"/>
                  <a:pt x="2254" y="356"/>
                </a:cubicBezTo>
                <a:cubicBezTo>
                  <a:pt x="2253" y="356"/>
                  <a:pt x="2253" y="355"/>
                  <a:pt x="2253" y="356"/>
                </a:cubicBezTo>
                <a:cubicBezTo>
                  <a:pt x="2253" y="356"/>
                  <a:pt x="2253" y="356"/>
                  <a:pt x="2253" y="356"/>
                </a:cubicBezTo>
                <a:cubicBezTo>
                  <a:pt x="2254" y="357"/>
                  <a:pt x="2254" y="357"/>
                  <a:pt x="2255" y="358"/>
                </a:cubicBezTo>
                <a:cubicBezTo>
                  <a:pt x="2256" y="359"/>
                  <a:pt x="2257" y="360"/>
                  <a:pt x="2259" y="360"/>
                </a:cubicBezTo>
                <a:cubicBezTo>
                  <a:pt x="2259" y="360"/>
                  <a:pt x="2260" y="360"/>
                  <a:pt x="2261" y="361"/>
                </a:cubicBezTo>
                <a:cubicBezTo>
                  <a:pt x="2262" y="361"/>
                  <a:pt x="2262" y="362"/>
                  <a:pt x="2263" y="363"/>
                </a:cubicBezTo>
                <a:cubicBezTo>
                  <a:pt x="2264" y="363"/>
                  <a:pt x="2264" y="364"/>
                  <a:pt x="2265" y="365"/>
                </a:cubicBezTo>
                <a:cubicBezTo>
                  <a:pt x="2265" y="365"/>
                  <a:pt x="2265" y="365"/>
                  <a:pt x="2265" y="366"/>
                </a:cubicBezTo>
                <a:cubicBezTo>
                  <a:pt x="2265" y="366"/>
                  <a:pt x="2265" y="367"/>
                  <a:pt x="2265" y="367"/>
                </a:cubicBezTo>
                <a:cubicBezTo>
                  <a:pt x="2266" y="368"/>
                  <a:pt x="2265" y="368"/>
                  <a:pt x="2264" y="368"/>
                </a:cubicBezTo>
                <a:cubicBezTo>
                  <a:pt x="2264" y="369"/>
                  <a:pt x="2263" y="369"/>
                  <a:pt x="2263" y="370"/>
                </a:cubicBezTo>
                <a:cubicBezTo>
                  <a:pt x="2263" y="370"/>
                  <a:pt x="2264" y="370"/>
                  <a:pt x="2264" y="371"/>
                </a:cubicBezTo>
                <a:cubicBezTo>
                  <a:pt x="2264" y="371"/>
                  <a:pt x="2263" y="371"/>
                  <a:pt x="2263" y="371"/>
                </a:cubicBezTo>
                <a:cubicBezTo>
                  <a:pt x="2262" y="372"/>
                  <a:pt x="2262" y="373"/>
                  <a:pt x="2262" y="373"/>
                </a:cubicBezTo>
                <a:cubicBezTo>
                  <a:pt x="2262" y="374"/>
                  <a:pt x="2262" y="374"/>
                  <a:pt x="2262" y="375"/>
                </a:cubicBezTo>
                <a:cubicBezTo>
                  <a:pt x="2262" y="375"/>
                  <a:pt x="2261" y="376"/>
                  <a:pt x="2261" y="377"/>
                </a:cubicBezTo>
                <a:cubicBezTo>
                  <a:pt x="2261" y="378"/>
                  <a:pt x="2260" y="378"/>
                  <a:pt x="2260" y="379"/>
                </a:cubicBezTo>
                <a:cubicBezTo>
                  <a:pt x="2259" y="380"/>
                  <a:pt x="2259" y="381"/>
                  <a:pt x="2259" y="382"/>
                </a:cubicBezTo>
                <a:cubicBezTo>
                  <a:pt x="2259" y="384"/>
                  <a:pt x="2260" y="384"/>
                  <a:pt x="2262" y="385"/>
                </a:cubicBezTo>
                <a:cubicBezTo>
                  <a:pt x="2262" y="385"/>
                  <a:pt x="2263" y="385"/>
                  <a:pt x="2264" y="386"/>
                </a:cubicBezTo>
                <a:cubicBezTo>
                  <a:pt x="2264" y="387"/>
                  <a:pt x="2265" y="387"/>
                  <a:pt x="2266" y="387"/>
                </a:cubicBezTo>
                <a:cubicBezTo>
                  <a:pt x="2266" y="387"/>
                  <a:pt x="2267" y="388"/>
                  <a:pt x="2267" y="389"/>
                </a:cubicBezTo>
                <a:cubicBezTo>
                  <a:pt x="2267" y="390"/>
                  <a:pt x="2267" y="390"/>
                  <a:pt x="2267" y="391"/>
                </a:cubicBezTo>
                <a:cubicBezTo>
                  <a:pt x="2267" y="391"/>
                  <a:pt x="2267" y="392"/>
                  <a:pt x="2267" y="392"/>
                </a:cubicBezTo>
                <a:cubicBezTo>
                  <a:pt x="2268" y="393"/>
                  <a:pt x="2267" y="394"/>
                  <a:pt x="2267" y="395"/>
                </a:cubicBezTo>
                <a:cubicBezTo>
                  <a:pt x="2267" y="398"/>
                  <a:pt x="2264" y="399"/>
                  <a:pt x="2263" y="402"/>
                </a:cubicBezTo>
                <a:cubicBezTo>
                  <a:pt x="2263" y="402"/>
                  <a:pt x="2262" y="403"/>
                  <a:pt x="2262" y="404"/>
                </a:cubicBezTo>
                <a:cubicBezTo>
                  <a:pt x="2262" y="405"/>
                  <a:pt x="2263" y="405"/>
                  <a:pt x="2263" y="406"/>
                </a:cubicBezTo>
                <a:cubicBezTo>
                  <a:pt x="2263" y="407"/>
                  <a:pt x="2263" y="408"/>
                  <a:pt x="2263" y="409"/>
                </a:cubicBezTo>
                <a:cubicBezTo>
                  <a:pt x="2263" y="409"/>
                  <a:pt x="2264" y="409"/>
                  <a:pt x="2264" y="409"/>
                </a:cubicBezTo>
                <a:cubicBezTo>
                  <a:pt x="2263" y="409"/>
                  <a:pt x="2263" y="409"/>
                  <a:pt x="2263" y="409"/>
                </a:cubicBezTo>
                <a:cubicBezTo>
                  <a:pt x="2263" y="409"/>
                  <a:pt x="2262" y="408"/>
                  <a:pt x="2262" y="408"/>
                </a:cubicBezTo>
                <a:cubicBezTo>
                  <a:pt x="2262" y="408"/>
                  <a:pt x="2263" y="407"/>
                  <a:pt x="2263" y="407"/>
                </a:cubicBezTo>
                <a:cubicBezTo>
                  <a:pt x="2262" y="407"/>
                  <a:pt x="2262" y="406"/>
                  <a:pt x="2262" y="406"/>
                </a:cubicBezTo>
                <a:cubicBezTo>
                  <a:pt x="2262" y="406"/>
                  <a:pt x="2262" y="405"/>
                  <a:pt x="2261" y="405"/>
                </a:cubicBezTo>
                <a:cubicBezTo>
                  <a:pt x="2261" y="405"/>
                  <a:pt x="2261" y="405"/>
                  <a:pt x="2261" y="404"/>
                </a:cubicBezTo>
                <a:cubicBezTo>
                  <a:pt x="2260" y="404"/>
                  <a:pt x="2260" y="404"/>
                  <a:pt x="2260" y="404"/>
                </a:cubicBezTo>
                <a:cubicBezTo>
                  <a:pt x="2259" y="404"/>
                  <a:pt x="2259" y="404"/>
                  <a:pt x="2259" y="404"/>
                </a:cubicBezTo>
                <a:cubicBezTo>
                  <a:pt x="2258" y="404"/>
                  <a:pt x="2258" y="404"/>
                  <a:pt x="2257" y="405"/>
                </a:cubicBezTo>
                <a:cubicBezTo>
                  <a:pt x="2257" y="405"/>
                  <a:pt x="2257" y="405"/>
                  <a:pt x="2257" y="405"/>
                </a:cubicBezTo>
                <a:cubicBezTo>
                  <a:pt x="2256" y="406"/>
                  <a:pt x="2256" y="406"/>
                  <a:pt x="2256" y="406"/>
                </a:cubicBezTo>
                <a:cubicBezTo>
                  <a:pt x="2256" y="406"/>
                  <a:pt x="2256" y="407"/>
                  <a:pt x="2256" y="407"/>
                </a:cubicBezTo>
                <a:cubicBezTo>
                  <a:pt x="2256" y="407"/>
                  <a:pt x="2256" y="408"/>
                  <a:pt x="2256" y="408"/>
                </a:cubicBezTo>
                <a:cubicBezTo>
                  <a:pt x="2256" y="408"/>
                  <a:pt x="2256" y="407"/>
                  <a:pt x="2256" y="407"/>
                </a:cubicBezTo>
                <a:cubicBezTo>
                  <a:pt x="2256" y="407"/>
                  <a:pt x="2255" y="407"/>
                  <a:pt x="2255" y="407"/>
                </a:cubicBezTo>
                <a:cubicBezTo>
                  <a:pt x="2255" y="407"/>
                  <a:pt x="2254" y="407"/>
                  <a:pt x="2254" y="407"/>
                </a:cubicBezTo>
                <a:cubicBezTo>
                  <a:pt x="2254" y="406"/>
                  <a:pt x="2254" y="406"/>
                  <a:pt x="2254" y="406"/>
                </a:cubicBezTo>
                <a:cubicBezTo>
                  <a:pt x="2254" y="406"/>
                  <a:pt x="2254" y="406"/>
                  <a:pt x="2255" y="406"/>
                </a:cubicBezTo>
                <a:cubicBezTo>
                  <a:pt x="2255" y="406"/>
                  <a:pt x="2255" y="405"/>
                  <a:pt x="2256" y="405"/>
                </a:cubicBezTo>
                <a:cubicBezTo>
                  <a:pt x="2256" y="404"/>
                  <a:pt x="2257" y="404"/>
                  <a:pt x="2257" y="404"/>
                </a:cubicBezTo>
                <a:cubicBezTo>
                  <a:pt x="2258" y="404"/>
                  <a:pt x="2258" y="403"/>
                  <a:pt x="2258" y="402"/>
                </a:cubicBezTo>
                <a:cubicBezTo>
                  <a:pt x="2258" y="401"/>
                  <a:pt x="2257" y="402"/>
                  <a:pt x="2256" y="402"/>
                </a:cubicBezTo>
                <a:cubicBezTo>
                  <a:pt x="2256" y="402"/>
                  <a:pt x="2256" y="401"/>
                  <a:pt x="2255" y="401"/>
                </a:cubicBezTo>
                <a:cubicBezTo>
                  <a:pt x="2255" y="401"/>
                  <a:pt x="2254" y="400"/>
                  <a:pt x="2253" y="400"/>
                </a:cubicBezTo>
                <a:cubicBezTo>
                  <a:pt x="2252" y="399"/>
                  <a:pt x="2250" y="399"/>
                  <a:pt x="2249" y="399"/>
                </a:cubicBezTo>
                <a:cubicBezTo>
                  <a:pt x="2248" y="399"/>
                  <a:pt x="2248" y="399"/>
                  <a:pt x="2247" y="399"/>
                </a:cubicBezTo>
                <a:cubicBezTo>
                  <a:pt x="2247" y="399"/>
                  <a:pt x="2247" y="399"/>
                  <a:pt x="2246" y="399"/>
                </a:cubicBezTo>
                <a:cubicBezTo>
                  <a:pt x="2245" y="399"/>
                  <a:pt x="2245" y="398"/>
                  <a:pt x="2244" y="398"/>
                </a:cubicBezTo>
                <a:cubicBezTo>
                  <a:pt x="2243" y="398"/>
                  <a:pt x="2243" y="397"/>
                  <a:pt x="2242" y="397"/>
                </a:cubicBezTo>
                <a:cubicBezTo>
                  <a:pt x="2241" y="397"/>
                  <a:pt x="2240" y="398"/>
                  <a:pt x="2240" y="399"/>
                </a:cubicBezTo>
                <a:cubicBezTo>
                  <a:pt x="2239" y="400"/>
                  <a:pt x="2238" y="400"/>
                  <a:pt x="2237" y="401"/>
                </a:cubicBezTo>
                <a:cubicBezTo>
                  <a:pt x="2236" y="403"/>
                  <a:pt x="2235" y="404"/>
                  <a:pt x="2234" y="405"/>
                </a:cubicBezTo>
                <a:cubicBezTo>
                  <a:pt x="2233" y="405"/>
                  <a:pt x="2232" y="405"/>
                  <a:pt x="2231" y="406"/>
                </a:cubicBezTo>
                <a:cubicBezTo>
                  <a:pt x="2230" y="406"/>
                  <a:pt x="2230" y="406"/>
                  <a:pt x="2229" y="406"/>
                </a:cubicBezTo>
                <a:cubicBezTo>
                  <a:pt x="2228" y="407"/>
                  <a:pt x="2227" y="407"/>
                  <a:pt x="2226" y="407"/>
                </a:cubicBezTo>
                <a:cubicBezTo>
                  <a:pt x="2225" y="407"/>
                  <a:pt x="2225" y="408"/>
                  <a:pt x="2224" y="408"/>
                </a:cubicBezTo>
                <a:cubicBezTo>
                  <a:pt x="2223" y="409"/>
                  <a:pt x="2222" y="409"/>
                  <a:pt x="2221" y="410"/>
                </a:cubicBezTo>
                <a:cubicBezTo>
                  <a:pt x="2220" y="411"/>
                  <a:pt x="2218" y="412"/>
                  <a:pt x="2217" y="413"/>
                </a:cubicBezTo>
                <a:cubicBezTo>
                  <a:pt x="2216" y="414"/>
                  <a:pt x="2215" y="414"/>
                  <a:pt x="2214" y="415"/>
                </a:cubicBezTo>
                <a:cubicBezTo>
                  <a:pt x="2214" y="415"/>
                  <a:pt x="2213" y="415"/>
                  <a:pt x="2213" y="416"/>
                </a:cubicBezTo>
                <a:cubicBezTo>
                  <a:pt x="2212" y="417"/>
                  <a:pt x="2212" y="418"/>
                  <a:pt x="2213" y="418"/>
                </a:cubicBezTo>
                <a:cubicBezTo>
                  <a:pt x="2213" y="419"/>
                  <a:pt x="2214" y="420"/>
                  <a:pt x="2214" y="420"/>
                </a:cubicBezTo>
                <a:cubicBezTo>
                  <a:pt x="2214" y="421"/>
                  <a:pt x="2214" y="422"/>
                  <a:pt x="2215" y="422"/>
                </a:cubicBezTo>
                <a:cubicBezTo>
                  <a:pt x="2216" y="423"/>
                  <a:pt x="2216" y="424"/>
                  <a:pt x="2217" y="424"/>
                </a:cubicBezTo>
                <a:cubicBezTo>
                  <a:pt x="2218" y="425"/>
                  <a:pt x="2219" y="427"/>
                  <a:pt x="2220" y="428"/>
                </a:cubicBezTo>
                <a:cubicBezTo>
                  <a:pt x="2220" y="429"/>
                  <a:pt x="2221" y="430"/>
                  <a:pt x="2221" y="430"/>
                </a:cubicBezTo>
                <a:cubicBezTo>
                  <a:pt x="2221" y="431"/>
                  <a:pt x="2221" y="432"/>
                  <a:pt x="2221" y="433"/>
                </a:cubicBezTo>
                <a:cubicBezTo>
                  <a:pt x="2221" y="433"/>
                  <a:pt x="2222" y="434"/>
                  <a:pt x="2221" y="435"/>
                </a:cubicBezTo>
                <a:cubicBezTo>
                  <a:pt x="2221" y="435"/>
                  <a:pt x="2220" y="434"/>
                  <a:pt x="2219" y="434"/>
                </a:cubicBezTo>
                <a:cubicBezTo>
                  <a:pt x="2217" y="434"/>
                  <a:pt x="2216" y="434"/>
                  <a:pt x="2214" y="433"/>
                </a:cubicBezTo>
                <a:cubicBezTo>
                  <a:pt x="2213" y="433"/>
                  <a:pt x="2212" y="433"/>
                  <a:pt x="2211" y="433"/>
                </a:cubicBezTo>
                <a:cubicBezTo>
                  <a:pt x="2210" y="433"/>
                  <a:pt x="2210" y="433"/>
                  <a:pt x="2209" y="433"/>
                </a:cubicBezTo>
                <a:cubicBezTo>
                  <a:pt x="2208" y="433"/>
                  <a:pt x="2207" y="433"/>
                  <a:pt x="2207" y="432"/>
                </a:cubicBezTo>
                <a:cubicBezTo>
                  <a:pt x="2206" y="432"/>
                  <a:pt x="2205" y="432"/>
                  <a:pt x="2204" y="432"/>
                </a:cubicBezTo>
                <a:cubicBezTo>
                  <a:pt x="2202" y="432"/>
                  <a:pt x="2200" y="432"/>
                  <a:pt x="2198" y="431"/>
                </a:cubicBezTo>
                <a:cubicBezTo>
                  <a:pt x="2198" y="431"/>
                  <a:pt x="2197" y="431"/>
                  <a:pt x="2196" y="431"/>
                </a:cubicBezTo>
                <a:cubicBezTo>
                  <a:pt x="2196" y="431"/>
                  <a:pt x="2195" y="431"/>
                  <a:pt x="2195" y="431"/>
                </a:cubicBezTo>
                <a:cubicBezTo>
                  <a:pt x="2195" y="432"/>
                  <a:pt x="2195" y="432"/>
                  <a:pt x="2195" y="432"/>
                </a:cubicBezTo>
                <a:cubicBezTo>
                  <a:pt x="2194" y="432"/>
                  <a:pt x="2194" y="432"/>
                  <a:pt x="2193" y="432"/>
                </a:cubicBezTo>
                <a:cubicBezTo>
                  <a:pt x="2193" y="432"/>
                  <a:pt x="2194" y="431"/>
                  <a:pt x="2194" y="431"/>
                </a:cubicBezTo>
                <a:cubicBezTo>
                  <a:pt x="2194" y="431"/>
                  <a:pt x="2194" y="431"/>
                  <a:pt x="2195" y="431"/>
                </a:cubicBezTo>
                <a:cubicBezTo>
                  <a:pt x="2195" y="430"/>
                  <a:pt x="2195" y="430"/>
                  <a:pt x="2196" y="430"/>
                </a:cubicBezTo>
                <a:cubicBezTo>
                  <a:pt x="2196" y="430"/>
                  <a:pt x="2198" y="430"/>
                  <a:pt x="2198" y="430"/>
                </a:cubicBezTo>
                <a:cubicBezTo>
                  <a:pt x="2198" y="429"/>
                  <a:pt x="2197" y="429"/>
                  <a:pt x="2196" y="428"/>
                </a:cubicBezTo>
                <a:cubicBezTo>
                  <a:pt x="2195" y="428"/>
                  <a:pt x="2195" y="427"/>
                  <a:pt x="2194" y="427"/>
                </a:cubicBezTo>
                <a:cubicBezTo>
                  <a:pt x="2193" y="427"/>
                  <a:pt x="2192" y="427"/>
                  <a:pt x="2192" y="426"/>
                </a:cubicBezTo>
                <a:cubicBezTo>
                  <a:pt x="2190" y="425"/>
                  <a:pt x="2189" y="425"/>
                  <a:pt x="2187" y="424"/>
                </a:cubicBezTo>
                <a:cubicBezTo>
                  <a:pt x="2186" y="424"/>
                  <a:pt x="2186" y="423"/>
                  <a:pt x="2185" y="423"/>
                </a:cubicBezTo>
                <a:cubicBezTo>
                  <a:pt x="2184" y="423"/>
                  <a:pt x="2183" y="422"/>
                  <a:pt x="2183" y="422"/>
                </a:cubicBezTo>
                <a:cubicBezTo>
                  <a:pt x="2182" y="422"/>
                  <a:pt x="2181" y="422"/>
                  <a:pt x="2180" y="423"/>
                </a:cubicBezTo>
                <a:cubicBezTo>
                  <a:pt x="2180" y="423"/>
                  <a:pt x="2179" y="424"/>
                  <a:pt x="2179" y="425"/>
                </a:cubicBezTo>
                <a:cubicBezTo>
                  <a:pt x="2179" y="426"/>
                  <a:pt x="2179" y="426"/>
                  <a:pt x="2179" y="427"/>
                </a:cubicBezTo>
                <a:cubicBezTo>
                  <a:pt x="2178" y="428"/>
                  <a:pt x="2177" y="428"/>
                  <a:pt x="2177" y="427"/>
                </a:cubicBezTo>
                <a:cubicBezTo>
                  <a:pt x="2176" y="427"/>
                  <a:pt x="2176" y="427"/>
                  <a:pt x="2176" y="427"/>
                </a:cubicBezTo>
                <a:cubicBezTo>
                  <a:pt x="2175" y="427"/>
                  <a:pt x="2175" y="428"/>
                  <a:pt x="2175" y="428"/>
                </a:cubicBezTo>
                <a:cubicBezTo>
                  <a:pt x="2176" y="428"/>
                  <a:pt x="2176" y="428"/>
                  <a:pt x="2176" y="429"/>
                </a:cubicBezTo>
                <a:cubicBezTo>
                  <a:pt x="2177" y="429"/>
                  <a:pt x="2177" y="430"/>
                  <a:pt x="2177" y="430"/>
                </a:cubicBezTo>
                <a:cubicBezTo>
                  <a:pt x="2177" y="431"/>
                  <a:pt x="2178" y="431"/>
                  <a:pt x="2179" y="432"/>
                </a:cubicBezTo>
                <a:cubicBezTo>
                  <a:pt x="2179" y="432"/>
                  <a:pt x="2180" y="433"/>
                  <a:pt x="2180" y="434"/>
                </a:cubicBezTo>
                <a:cubicBezTo>
                  <a:pt x="2181" y="435"/>
                  <a:pt x="2181" y="435"/>
                  <a:pt x="2182" y="435"/>
                </a:cubicBezTo>
                <a:cubicBezTo>
                  <a:pt x="2183" y="436"/>
                  <a:pt x="2183" y="436"/>
                  <a:pt x="2184" y="437"/>
                </a:cubicBezTo>
                <a:cubicBezTo>
                  <a:pt x="2184" y="438"/>
                  <a:pt x="2185" y="438"/>
                  <a:pt x="2186" y="438"/>
                </a:cubicBezTo>
                <a:cubicBezTo>
                  <a:pt x="2186" y="438"/>
                  <a:pt x="2187" y="438"/>
                  <a:pt x="2187" y="438"/>
                </a:cubicBezTo>
                <a:cubicBezTo>
                  <a:pt x="2188" y="437"/>
                  <a:pt x="2188" y="437"/>
                  <a:pt x="2188" y="438"/>
                </a:cubicBezTo>
                <a:cubicBezTo>
                  <a:pt x="2189" y="438"/>
                  <a:pt x="2189" y="437"/>
                  <a:pt x="2190" y="436"/>
                </a:cubicBezTo>
                <a:cubicBezTo>
                  <a:pt x="2191" y="436"/>
                  <a:pt x="2191" y="438"/>
                  <a:pt x="2191" y="438"/>
                </a:cubicBezTo>
                <a:cubicBezTo>
                  <a:pt x="2191" y="438"/>
                  <a:pt x="2192" y="438"/>
                  <a:pt x="2192" y="439"/>
                </a:cubicBezTo>
                <a:cubicBezTo>
                  <a:pt x="2193" y="439"/>
                  <a:pt x="2193" y="439"/>
                  <a:pt x="2193" y="440"/>
                </a:cubicBezTo>
                <a:cubicBezTo>
                  <a:pt x="2193" y="440"/>
                  <a:pt x="2193" y="441"/>
                  <a:pt x="2194" y="442"/>
                </a:cubicBezTo>
                <a:cubicBezTo>
                  <a:pt x="2194" y="443"/>
                  <a:pt x="2194" y="444"/>
                  <a:pt x="2194" y="444"/>
                </a:cubicBezTo>
                <a:cubicBezTo>
                  <a:pt x="2193" y="445"/>
                  <a:pt x="2193" y="445"/>
                  <a:pt x="2192" y="446"/>
                </a:cubicBezTo>
                <a:cubicBezTo>
                  <a:pt x="2191" y="446"/>
                  <a:pt x="2191" y="446"/>
                  <a:pt x="2190" y="446"/>
                </a:cubicBezTo>
                <a:cubicBezTo>
                  <a:pt x="2189" y="446"/>
                  <a:pt x="2188" y="447"/>
                  <a:pt x="2188" y="447"/>
                </a:cubicBezTo>
                <a:cubicBezTo>
                  <a:pt x="2187" y="448"/>
                  <a:pt x="2186" y="448"/>
                  <a:pt x="2185" y="448"/>
                </a:cubicBezTo>
                <a:cubicBezTo>
                  <a:pt x="2184" y="447"/>
                  <a:pt x="2184" y="447"/>
                  <a:pt x="2183" y="447"/>
                </a:cubicBezTo>
                <a:cubicBezTo>
                  <a:pt x="2182" y="447"/>
                  <a:pt x="2182" y="446"/>
                  <a:pt x="2181" y="446"/>
                </a:cubicBezTo>
                <a:cubicBezTo>
                  <a:pt x="2180" y="446"/>
                  <a:pt x="2179" y="446"/>
                  <a:pt x="2178" y="446"/>
                </a:cubicBezTo>
                <a:cubicBezTo>
                  <a:pt x="2177" y="445"/>
                  <a:pt x="2175" y="444"/>
                  <a:pt x="2174" y="443"/>
                </a:cubicBezTo>
                <a:cubicBezTo>
                  <a:pt x="2174" y="442"/>
                  <a:pt x="2173" y="442"/>
                  <a:pt x="2172" y="441"/>
                </a:cubicBezTo>
                <a:cubicBezTo>
                  <a:pt x="2172" y="440"/>
                  <a:pt x="2171" y="440"/>
                  <a:pt x="2170" y="439"/>
                </a:cubicBezTo>
                <a:cubicBezTo>
                  <a:pt x="2169" y="438"/>
                  <a:pt x="2168" y="438"/>
                  <a:pt x="2167" y="438"/>
                </a:cubicBezTo>
                <a:cubicBezTo>
                  <a:pt x="2166" y="438"/>
                  <a:pt x="2165" y="438"/>
                  <a:pt x="2164" y="438"/>
                </a:cubicBezTo>
                <a:cubicBezTo>
                  <a:pt x="2163" y="438"/>
                  <a:pt x="2162" y="438"/>
                  <a:pt x="2162" y="437"/>
                </a:cubicBezTo>
                <a:cubicBezTo>
                  <a:pt x="2161" y="437"/>
                  <a:pt x="2160" y="437"/>
                  <a:pt x="2159" y="436"/>
                </a:cubicBezTo>
                <a:cubicBezTo>
                  <a:pt x="2158" y="436"/>
                  <a:pt x="2158" y="436"/>
                  <a:pt x="2157" y="435"/>
                </a:cubicBezTo>
                <a:cubicBezTo>
                  <a:pt x="2157" y="435"/>
                  <a:pt x="2156" y="434"/>
                  <a:pt x="2157" y="433"/>
                </a:cubicBezTo>
                <a:cubicBezTo>
                  <a:pt x="2157" y="433"/>
                  <a:pt x="2157" y="433"/>
                  <a:pt x="2157" y="432"/>
                </a:cubicBezTo>
                <a:cubicBezTo>
                  <a:pt x="2157" y="432"/>
                  <a:pt x="2157" y="432"/>
                  <a:pt x="2157" y="431"/>
                </a:cubicBezTo>
                <a:cubicBezTo>
                  <a:pt x="2158" y="431"/>
                  <a:pt x="2159" y="431"/>
                  <a:pt x="2159" y="430"/>
                </a:cubicBezTo>
                <a:cubicBezTo>
                  <a:pt x="2159" y="430"/>
                  <a:pt x="2158" y="430"/>
                  <a:pt x="2158" y="430"/>
                </a:cubicBezTo>
                <a:cubicBezTo>
                  <a:pt x="2158" y="429"/>
                  <a:pt x="2158" y="429"/>
                  <a:pt x="2158" y="429"/>
                </a:cubicBezTo>
                <a:cubicBezTo>
                  <a:pt x="2157" y="428"/>
                  <a:pt x="2157" y="427"/>
                  <a:pt x="2156" y="427"/>
                </a:cubicBezTo>
                <a:cubicBezTo>
                  <a:pt x="2156" y="426"/>
                  <a:pt x="2156" y="426"/>
                  <a:pt x="2155" y="425"/>
                </a:cubicBezTo>
                <a:cubicBezTo>
                  <a:pt x="2155" y="425"/>
                  <a:pt x="2155" y="425"/>
                  <a:pt x="2155" y="424"/>
                </a:cubicBezTo>
                <a:cubicBezTo>
                  <a:pt x="2155" y="423"/>
                  <a:pt x="2154" y="422"/>
                  <a:pt x="2154" y="421"/>
                </a:cubicBezTo>
                <a:cubicBezTo>
                  <a:pt x="2154" y="421"/>
                  <a:pt x="2154" y="421"/>
                  <a:pt x="2153" y="421"/>
                </a:cubicBezTo>
                <a:cubicBezTo>
                  <a:pt x="2153" y="420"/>
                  <a:pt x="2153" y="420"/>
                  <a:pt x="2153" y="420"/>
                </a:cubicBezTo>
                <a:cubicBezTo>
                  <a:pt x="2152" y="420"/>
                  <a:pt x="2152" y="420"/>
                  <a:pt x="2152" y="419"/>
                </a:cubicBezTo>
                <a:cubicBezTo>
                  <a:pt x="2151" y="419"/>
                  <a:pt x="2152" y="419"/>
                  <a:pt x="2152" y="419"/>
                </a:cubicBezTo>
                <a:cubicBezTo>
                  <a:pt x="2153" y="418"/>
                  <a:pt x="2153" y="418"/>
                  <a:pt x="2153" y="418"/>
                </a:cubicBezTo>
                <a:cubicBezTo>
                  <a:pt x="2154" y="418"/>
                  <a:pt x="2155" y="418"/>
                  <a:pt x="2155" y="417"/>
                </a:cubicBezTo>
                <a:cubicBezTo>
                  <a:pt x="2156" y="416"/>
                  <a:pt x="2155" y="415"/>
                  <a:pt x="2155" y="415"/>
                </a:cubicBezTo>
                <a:cubicBezTo>
                  <a:pt x="2155" y="414"/>
                  <a:pt x="2155" y="413"/>
                  <a:pt x="2155" y="412"/>
                </a:cubicBezTo>
                <a:cubicBezTo>
                  <a:pt x="2156" y="411"/>
                  <a:pt x="2157" y="412"/>
                  <a:pt x="2157" y="413"/>
                </a:cubicBezTo>
                <a:cubicBezTo>
                  <a:pt x="2157" y="413"/>
                  <a:pt x="2158" y="413"/>
                  <a:pt x="2158" y="413"/>
                </a:cubicBezTo>
                <a:cubicBezTo>
                  <a:pt x="2159" y="412"/>
                  <a:pt x="2158" y="412"/>
                  <a:pt x="2158" y="412"/>
                </a:cubicBezTo>
                <a:cubicBezTo>
                  <a:pt x="2158" y="411"/>
                  <a:pt x="2158" y="411"/>
                  <a:pt x="2158" y="411"/>
                </a:cubicBezTo>
                <a:cubicBezTo>
                  <a:pt x="2158" y="410"/>
                  <a:pt x="2157" y="410"/>
                  <a:pt x="2157" y="410"/>
                </a:cubicBezTo>
                <a:cubicBezTo>
                  <a:pt x="2157" y="409"/>
                  <a:pt x="2157" y="409"/>
                  <a:pt x="2156" y="409"/>
                </a:cubicBezTo>
                <a:cubicBezTo>
                  <a:pt x="2156" y="408"/>
                  <a:pt x="2156" y="408"/>
                  <a:pt x="2156" y="408"/>
                </a:cubicBezTo>
                <a:cubicBezTo>
                  <a:pt x="2155" y="407"/>
                  <a:pt x="2155" y="407"/>
                  <a:pt x="2155" y="407"/>
                </a:cubicBezTo>
                <a:cubicBezTo>
                  <a:pt x="2155" y="406"/>
                  <a:pt x="2154" y="406"/>
                  <a:pt x="2154" y="406"/>
                </a:cubicBezTo>
                <a:cubicBezTo>
                  <a:pt x="2153" y="405"/>
                  <a:pt x="2153" y="405"/>
                  <a:pt x="2152" y="405"/>
                </a:cubicBezTo>
                <a:cubicBezTo>
                  <a:pt x="2151" y="405"/>
                  <a:pt x="2150" y="405"/>
                  <a:pt x="2149" y="404"/>
                </a:cubicBezTo>
                <a:cubicBezTo>
                  <a:pt x="2148" y="404"/>
                  <a:pt x="2148" y="404"/>
                  <a:pt x="2147" y="403"/>
                </a:cubicBezTo>
                <a:cubicBezTo>
                  <a:pt x="2146" y="403"/>
                  <a:pt x="2145" y="403"/>
                  <a:pt x="2144" y="403"/>
                </a:cubicBezTo>
                <a:cubicBezTo>
                  <a:pt x="2144" y="403"/>
                  <a:pt x="2143" y="402"/>
                  <a:pt x="2142" y="402"/>
                </a:cubicBezTo>
                <a:cubicBezTo>
                  <a:pt x="2142" y="402"/>
                  <a:pt x="2141" y="402"/>
                  <a:pt x="2141" y="402"/>
                </a:cubicBezTo>
                <a:cubicBezTo>
                  <a:pt x="2140" y="401"/>
                  <a:pt x="2141" y="401"/>
                  <a:pt x="2141" y="401"/>
                </a:cubicBezTo>
                <a:cubicBezTo>
                  <a:pt x="2142" y="401"/>
                  <a:pt x="2143" y="401"/>
                  <a:pt x="2143" y="400"/>
                </a:cubicBezTo>
                <a:cubicBezTo>
                  <a:pt x="2144" y="400"/>
                  <a:pt x="2144" y="399"/>
                  <a:pt x="2144" y="398"/>
                </a:cubicBezTo>
                <a:cubicBezTo>
                  <a:pt x="2143" y="398"/>
                  <a:pt x="2142" y="398"/>
                  <a:pt x="2141" y="398"/>
                </a:cubicBezTo>
                <a:cubicBezTo>
                  <a:pt x="2141" y="398"/>
                  <a:pt x="2141" y="398"/>
                  <a:pt x="2140" y="398"/>
                </a:cubicBezTo>
                <a:cubicBezTo>
                  <a:pt x="2139" y="398"/>
                  <a:pt x="2139" y="398"/>
                  <a:pt x="2138" y="398"/>
                </a:cubicBezTo>
                <a:cubicBezTo>
                  <a:pt x="2138" y="397"/>
                  <a:pt x="2138" y="397"/>
                  <a:pt x="2137" y="397"/>
                </a:cubicBezTo>
                <a:cubicBezTo>
                  <a:pt x="2137" y="396"/>
                  <a:pt x="2137" y="396"/>
                  <a:pt x="2136" y="396"/>
                </a:cubicBezTo>
                <a:cubicBezTo>
                  <a:pt x="2136" y="396"/>
                  <a:pt x="2137" y="396"/>
                  <a:pt x="2137" y="396"/>
                </a:cubicBezTo>
                <a:cubicBezTo>
                  <a:pt x="2137" y="396"/>
                  <a:pt x="2137" y="396"/>
                  <a:pt x="2138" y="396"/>
                </a:cubicBezTo>
                <a:cubicBezTo>
                  <a:pt x="2138" y="396"/>
                  <a:pt x="2140" y="395"/>
                  <a:pt x="2139" y="395"/>
                </a:cubicBezTo>
                <a:cubicBezTo>
                  <a:pt x="2139" y="395"/>
                  <a:pt x="2138" y="395"/>
                  <a:pt x="2138" y="395"/>
                </a:cubicBezTo>
                <a:cubicBezTo>
                  <a:pt x="2137" y="394"/>
                  <a:pt x="2137" y="394"/>
                  <a:pt x="2137" y="394"/>
                </a:cubicBezTo>
                <a:cubicBezTo>
                  <a:pt x="2136" y="394"/>
                  <a:pt x="2135" y="394"/>
                  <a:pt x="2134" y="394"/>
                </a:cubicBezTo>
                <a:cubicBezTo>
                  <a:pt x="2134" y="393"/>
                  <a:pt x="2134" y="393"/>
                  <a:pt x="2134" y="393"/>
                </a:cubicBezTo>
                <a:cubicBezTo>
                  <a:pt x="2134" y="392"/>
                  <a:pt x="2132" y="392"/>
                  <a:pt x="2132" y="392"/>
                </a:cubicBezTo>
                <a:cubicBezTo>
                  <a:pt x="2132" y="392"/>
                  <a:pt x="2131" y="391"/>
                  <a:pt x="2131" y="391"/>
                </a:cubicBezTo>
                <a:cubicBezTo>
                  <a:pt x="2130" y="391"/>
                  <a:pt x="2129" y="391"/>
                  <a:pt x="2129" y="390"/>
                </a:cubicBezTo>
                <a:cubicBezTo>
                  <a:pt x="2129" y="389"/>
                  <a:pt x="2130" y="389"/>
                  <a:pt x="2130" y="389"/>
                </a:cubicBezTo>
                <a:cubicBezTo>
                  <a:pt x="2130" y="389"/>
                  <a:pt x="2130" y="388"/>
                  <a:pt x="2130" y="388"/>
                </a:cubicBezTo>
                <a:cubicBezTo>
                  <a:pt x="2131" y="388"/>
                  <a:pt x="2130" y="388"/>
                  <a:pt x="2130" y="388"/>
                </a:cubicBezTo>
                <a:cubicBezTo>
                  <a:pt x="2129" y="388"/>
                  <a:pt x="2129" y="387"/>
                  <a:pt x="2129" y="387"/>
                </a:cubicBezTo>
                <a:cubicBezTo>
                  <a:pt x="2128" y="386"/>
                  <a:pt x="2128" y="387"/>
                  <a:pt x="2127" y="386"/>
                </a:cubicBezTo>
                <a:cubicBezTo>
                  <a:pt x="2127" y="386"/>
                  <a:pt x="2127" y="386"/>
                  <a:pt x="2127" y="386"/>
                </a:cubicBezTo>
                <a:cubicBezTo>
                  <a:pt x="2127" y="386"/>
                  <a:pt x="2126" y="385"/>
                  <a:pt x="2126" y="385"/>
                </a:cubicBezTo>
                <a:cubicBezTo>
                  <a:pt x="2127" y="385"/>
                  <a:pt x="2128" y="386"/>
                  <a:pt x="2128" y="386"/>
                </a:cubicBezTo>
                <a:cubicBezTo>
                  <a:pt x="2129" y="386"/>
                  <a:pt x="2129" y="386"/>
                  <a:pt x="2130" y="386"/>
                </a:cubicBezTo>
                <a:cubicBezTo>
                  <a:pt x="2130" y="386"/>
                  <a:pt x="2131" y="386"/>
                  <a:pt x="2131" y="386"/>
                </a:cubicBezTo>
                <a:cubicBezTo>
                  <a:pt x="2132" y="386"/>
                  <a:pt x="2132" y="386"/>
                  <a:pt x="2133" y="387"/>
                </a:cubicBezTo>
                <a:cubicBezTo>
                  <a:pt x="2134" y="387"/>
                  <a:pt x="2134" y="387"/>
                  <a:pt x="2134" y="387"/>
                </a:cubicBezTo>
                <a:cubicBezTo>
                  <a:pt x="2135" y="387"/>
                  <a:pt x="2135" y="387"/>
                  <a:pt x="2134" y="387"/>
                </a:cubicBezTo>
                <a:cubicBezTo>
                  <a:pt x="2133" y="388"/>
                  <a:pt x="2134" y="388"/>
                  <a:pt x="2135" y="389"/>
                </a:cubicBezTo>
                <a:cubicBezTo>
                  <a:pt x="2135" y="389"/>
                  <a:pt x="2135" y="390"/>
                  <a:pt x="2136" y="391"/>
                </a:cubicBezTo>
                <a:cubicBezTo>
                  <a:pt x="2137" y="391"/>
                  <a:pt x="2137" y="391"/>
                  <a:pt x="2137" y="391"/>
                </a:cubicBezTo>
                <a:cubicBezTo>
                  <a:pt x="2138" y="391"/>
                  <a:pt x="2138" y="391"/>
                  <a:pt x="2138" y="392"/>
                </a:cubicBezTo>
                <a:cubicBezTo>
                  <a:pt x="2139" y="392"/>
                  <a:pt x="2139" y="392"/>
                  <a:pt x="2140" y="393"/>
                </a:cubicBezTo>
                <a:cubicBezTo>
                  <a:pt x="2141" y="393"/>
                  <a:pt x="2141" y="393"/>
                  <a:pt x="2141" y="394"/>
                </a:cubicBezTo>
                <a:cubicBezTo>
                  <a:pt x="2141" y="394"/>
                  <a:pt x="2142" y="394"/>
                  <a:pt x="2142" y="394"/>
                </a:cubicBezTo>
                <a:cubicBezTo>
                  <a:pt x="2143" y="394"/>
                  <a:pt x="2144" y="394"/>
                  <a:pt x="2145" y="394"/>
                </a:cubicBezTo>
                <a:cubicBezTo>
                  <a:pt x="2145" y="394"/>
                  <a:pt x="2146" y="395"/>
                  <a:pt x="2147" y="394"/>
                </a:cubicBezTo>
                <a:cubicBezTo>
                  <a:pt x="2147" y="394"/>
                  <a:pt x="2147" y="394"/>
                  <a:pt x="2148" y="394"/>
                </a:cubicBezTo>
                <a:cubicBezTo>
                  <a:pt x="2148" y="394"/>
                  <a:pt x="2148" y="394"/>
                  <a:pt x="2149" y="394"/>
                </a:cubicBezTo>
                <a:cubicBezTo>
                  <a:pt x="2149" y="394"/>
                  <a:pt x="2150" y="393"/>
                  <a:pt x="2150" y="393"/>
                </a:cubicBezTo>
                <a:cubicBezTo>
                  <a:pt x="2151" y="394"/>
                  <a:pt x="2151" y="394"/>
                  <a:pt x="2151" y="394"/>
                </a:cubicBezTo>
                <a:cubicBezTo>
                  <a:pt x="2152" y="395"/>
                  <a:pt x="2153" y="394"/>
                  <a:pt x="2153" y="395"/>
                </a:cubicBezTo>
                <a:cubicBezTo>
                  <a:pt x="2153" y="396"/>
                  <a:pt x="2152" y="397"/>
                  <a:pt x="2154" y="397"/>
                </a:cubicBezTo>
                <a:cubicBezTo>
                  <a:pt x="2155" y="397"/>
                  <a:pt x="2156" y="397"/>
                  <a:pt x="2156" y="397"/>
                </a:cubicBezTo>
                <a:cubicBezTo>
                  <a:pt x="2158" y="397"/>
                  <a:pt x="2159" y="397"/>
                  <a:pt x="2160" y="397"/>
                </a:cubicBezTo>
                <a:cubicBezTo>
                  <a:pt x="2161" y="398"/>
                  <a:pt x="2162" y="398"/>
                  <a:pt x="2162" y="398"/>
                </a:cubicBezTo>
                <a:cubicBezTo>
                  <a:pt x="2164" y="398"/>
                  <a:pt x="2165" y="399"/>
                  <a:pt x="2166" y="399"/>
                </a:cubicBezTo>
                <a:cubicBezTo>
                  <a:pt x="2167" y="399"/>
                  <a:pt x="2168" y="399"/>
                  <a:pt x="2170" y="400"/>
                </a:cubicBezTo>
                <a:cubicBezTo>
                  <a:pt x="2171" y="400"/>
                  <a:pt x="2173" y="400"/>
                  <a:pt x="2174" y="401"/>
                </a:cubicBezTo>
                <a:cubicBezTo>
                  <a:pt x="2175" y="401"/>
                  <a:pt x="2177" y="401"/>
                  <a:pt x="2178" y="402"/>
                </a:cubicBezTo>
                <a:cubicBezTo>
                  <a:pt x="2179" y="402"/>
                  <a:pt x="2180" y="402"/>
                  <a:pt x="2182" y="403"/>
                </a:cubicBezTo>
                <a:cubicBezTo>
                  <a:pt x="2183" y="403"/>
                  <a:pt x="2185" y="403"/>
                  <a:pt x="2186" y="404"/>
                </a:cubicBezTo>
                <a:cubicBezTo>
                  <a:pt x="2187" y="404"/>
                  <a:pt x="2189" y="404"/>
                  <a:pt x="2190" y="405"/>
                </a:cubicBezTo>
                <a:cubicBezTo>
                  <a:pt x="2191" y="405"/>
                  <a:pt x="2192" y="405"/>
                  <a:pt x="2193" y="405"/>
                </a:cubicBezTo>
                <a:cubicBezTo>
                  <a:pt x="2195" y="406"/>
                  <a:pt x="2197" y="406"/>
                  <a:pt x="2199" y="406"/>
                </a:cubicBezTo>
                <a:cubicBezTo>
                  <a:pt x="2200" y="406"/>
                  <a:pt x="2202" y="406"/>
                  <a:pt x="2203" y="406"/>
                </a:cubicBezTo>
                <a:cubicBezTo>
                  <a:pt x="2206" y="406"/>
                  <a:pt x="2208" y="406"/>
                  <a:pt x="2211" y="404"/>
                </a:cubicBezTo>
                <a:cubicBezTo>
                  <a:pt x="2211" y="404"/>
                  <a:pt x="2212" y="404"/>
                  <a:pt x="2213" y="403"/>
                </a:cubicBezTo>
                <a:cubicBezTo>
                  <a:pt x="2213" y="403"/>
                  <a:pt x="2214" y="403"/>
                  <a:pt x="2215" y="403"/>
                </a:cubicBezTo>
                <a:cubicBezTo>
                  <a:pt x="2216" y="403"/>
                  <a:pt x="2217" y="403"/>
                  <a:pt x="2218" y="402"/>
                </a:cubicBezTo>
                <a:cubicBezTo>
                  <a:pt x="2219" y="402"/>
                  <a:pt x="2220" y="401"/>
                  <a:pt x="2221" y="400"/>
                </a:cubicBezTo>
                <a:cubicBezTo>
                  <a:pt x="2222" y="399"/>
                  <a:pt x="2223" y="398"/>
                  <a:pt x="2224" y="397"/>
                </a:cubicBezTo>
                <a:cubicBezTo>
                  <a:pt x="2225" y="397"/>
                  <a:pt x="2225" y="395"/>
                  <a:pt x="2226" y="395"/>
                </a:cubicBezTo>
                <a:cubicBezTo>
                  <a:pt x="2227" y="393"/>
                  <a:pt x="2228" y="392"/>
                  <a:pt x="2229" y="391"/>
                </a:cubicBezTo>
                <a:cubicBezTo>
                  <a:pt x="2230" y="390"/>
                  <a:pt x="2231" y="389"/>
                  <a:pt x="2231" y="388"/>
                </a:cubicBezTo>
                <a:cubicBezTo>
                  <a:pt x="2232" y="387"/>
                  <a:pt x="2232" y="386"/>
                  <a:pt x="2232" y="385"/>
                </a:cubicBezTo>
                <a:cubicBezTo>
                  <a:pt x="2232" y="384"/>
                  <a:pt x="2231" y="384"/>
                  <a:pt x="2230" y="384"/>
                </a:cubicBezTo>
                <a:cubicBezTo>
                  <a:pt x="2229" y="384"/>
                  <a:pt x="2229" y="384"/>
                  <a:pt x="2229" y="383"/>
                </a:cubicBezTo>
                <a:cubicBezTo>
                  <a:pt x="2229" y="382"/>
                  <a:pt x="2229" y="381"/>
                  <a:pt x="2228" y="380"/>
                </a:cubicBezTo>
                <a:cubicBezTo>
                  <a:pt x="2228" y="379"/>
                  <a:pt x="2228" y="379"/>
                  <a:pt x="2228" y="379"/>
                </a:cubicBezTo>
                <a:cubicBezTo>
                  <a:pt x="2227" y="377"/>
                  <a:pt x="2228" y="375"/>
                  <a:pt x="2226" y="374"/>
                </a:cubicBezTo>
                <a:cubicBezTo>
                  <a:pt x="2225" y="374"/>
                  <a:pt x="2225" y="374"/>
                  <a:pt x="2224" y="374"/>
                </a:cubicBezTo>
                <a:cubicBezTo>
                  <a:pt x="2223" y="374"/>
                  <a:pt x="2222" y="374"/>
                  <a:pt x="2221" y="374"/>
                </a:cubicBezTo>
                <a:cubicBezTo>
                  <a:pt x="2221" y="373"/>
                  <a:pt x="2220" y="373"/>
                  <a:pt x="2220" y="372"/>
                </a:cubicBezTo>
                <a:cubicBezTo>
                  <a:pt x="2219" y="371"/>
                  <a:pt x="2218" y="371"/>
                  <a:pt x="2218" y="370"/>
                </a:cubicBezTo>
                <a:cubicBezTo>
                  <a:pt x="2217" y="369"/>
                  <a:pt x="2215" y="368"/>
                  <a:pt x="2214" y="366"/>
                </a:cubicBezTo>
                <a:cubicBezTo>
                  <a:pt x="2214" y="366"/>
                  <a:pt x="2214" y="366"/>
                  <a:pt x="2213" y="366"/>
                </a:cubicBezTo>
                <a:cubicBezTo>
                  <a:pt x="2213" y="366"/>
                  <a:pt x="2213" y="366"/>
                  <a:pt x="2213" y="366"/>
                </a:cubicBezTo>
                <a:cubicBezTo>
                  <a:pt x="2213" y="367"/>
                  <a:pt x="2213" y="367"/>
                  <a:pt x="2213" y="367"/>
                </a:cubicBezTo>
                <a:cubicBezTo>
                  <a:pt x="2212" y="367"/>
                  <a:pt x="2212" y="367"/>
                  <a:pt x="2212" y="366"/>
                </a:cubicBezTo>
                <a:cubicBezTo>
                  <a:pt x="2211" y="366"/>
                  <a:pt x="2210" y="366"/>
                  <a:pt x="2209" y="366"/>
                </a:cubicBezTo>
                <a:cubicBezTo>
                  <a:pt x="2208" y="365"/>
                  <a:pt x="2207" y="365"/>
                  <a:pt x="2207" y="365"/>
                </a:cubicBezTo>
                <a:cubicBezTo>
                  <a:pt x="2206" y="365"/>
                  <a:pt x="2205" y="364"/>
                  <a:pt x="2204" y="364"/>
                </a:cubicBezTo>
                <a:cubicBezTo>
                  <a:pt x="2203" y="364"/>
                  <a:pt x="2202" y="363"/>
                  <a:pt x="2201" y="363"/>
                </a:cubicBezTo>
                <a:cubicBezTo>
                  <a:pt x="2199" y="363"/>
                  <a:pt x="2197" y="362"/>
                  <a:pt x="2196" y="361"/>
                </a:cubicBezTo>
                <a:cubicBezTo>
                  <a:pt x="2195" y="359"/>
                  <a:pt x="2193" y="357"/>
                  <a:pt x="2191" y="356"/>
                </a:cubicBezTo>
                <a:cubicBezTo>
                  <a:pt x="2190" y="356"/>
                  <a:pt x="2189" y="356"/>
                  <a:pt x="2189" y="356"/>
                </a:cubicBezTo>
                <a:cubicBezTo>
                  <a:pt x="2188" y="355"/>
                  <a:pt x="2187" y="355"/>
                  <a:pt x="2186" y="354"/>
                </a:cubicBezTo>
                <a:cubicBezTo>
                  <a:pt x="2185" y="354"/>
                  <a:pt x="2185" y="354"/>
                  <a:pt x="2184" y="353"/>
                </a:cubicBezTo>
                <a:cubicBezTo>
                  <a:pt x="2183" y="353"/>
                  <a:pt x="2182" y="352"/>
                  <a:pt x="2181" y="352"/>
                </a:cubicBezTo>
                <a:cubicBezTo>
                  <a:pt x="2181" y="352"/>
                  <a:pt x="2180" y="352"/>
                  <a:pt x="2179" y="351"/>
                </a:cubicBezTo>
                <a:cubicBezTo>
                  <a:pt x="2178" y="351"/>
                  <a:pt x="2177" y="350"/>
                  <a:pt x="2176" y="350"/>
                </a:cubicBezTo>
                <a:cubicBezTo>
                  <a:pt x="2176" y="349"/>
                  <a:pt x="2175" y="349"/>
                  <a:pt x="2174" y="349"/>
                </a:cubicBezTo>
                <a:cubicBezTo>
                  <a:pt x="2173" y="348"/>
                  <a:pt x="2172" y="348"/>
                  <a:pt x="2171" y="348"/>
                </a:cubicBezTo>
                <a:cubicBezTo>
                  <a:pt x="2170" y="347"/>
                  <a:pt x="2169" y="347"/>
                  <a:pt x="2168" y="346"/>
                </a:cubicBezTo>
                <a:cubicBezTo>
                  <a:pt x="2167" y="346"/>
                  <a:pt x="2167" y="346"/>
                  <a:pt x="2166" y="345"/>
                </a:cubicBezTo>
                <a:cubicBezTo>
                  <a:pt x="2165" y="345"/>
                  <a:pt x="2164" y="344"/>
                  <a:pt x="2163" y="344"/>
                </a:cubicBezTo>
                <a:cubicBezTo>
                  <a:pt x="2162" y="344"/>
                  <a:pt x="2160" y="344"/>
                  <a:pt x="2158" y="344"/>
                </a:cubicBezTo>
                <a:cubicBezTo>
                  <a:pt x="2156" y="343"/>
                  <a:pt x="2155" y="343"/>
                  <a:pt x="2153" y="343"/>
                </a:cubicBezTo>
                <a:cubicBezTo>
                  <a:pt x="2152" y="342"/>
                  <a:pt x="2150" y="343"/>
                  <a:pt x="2148" y="343"/>
                </a:cubicBezTo>
                <a:cubicBezTo>
                  <a:pt x="2147" y="342"/>
                  <a:pt x="2146" y="342"/>
                  <a:pt x="2145" y="342"/>
                </a:cubicBezTo>
                <a:cubicBezTo>
                  <a:pt x="2144" y="342"/>
                  <a:pt x="2144" y="342"/>
                  <a:pt x="2143" y="343"/>
                </a:cubicBezTo>
                <a:cubicBezTo>
                  <a:pt x="2143" y="343"/>
                  <a:pt x="2143" y="343"/>
                  <a:pt x="2143" y="344"/>
                </a:cubicBezTo>
                <a:cubicBezTo>
                  <a:pt x="2142" y="344"/>
                  <a:pt x="2142" y="344"/>
                  <a:pt x="2142" y="345"/>
                </a:cubicBezTo>
                <a:cubicBezTo>
                  <a:pt x="2142" y="345"/>
                  <a:pt x="2142" y="346"/>
                  <a:pt x="2141" y="347"/>
                </a:cubicBezTo>
                <a:cubicBezTo>
                  <a:pt x="2140" y="347"/>
                  <a:pt x="2139" y="348"/>
                  <a:pt x="2139" y="348"/>
                </a:cubicBezTo>
                <a:cubicBezTo>
                  <a:pt x="2138" y="348"/>
                  <a:pt x="2137" y="348"/>
                  <a:pt x="2137" y="349"/>
                </a:cubicBezTo>
                <a:cubicBezTo>
                  <a:pt x="2137" y="348"/>
                  <a:pt x="2137" y="348"/>
                  <a:pt x="2138" y="348"/>
                </a:cubicBezTo>
                <a:cubicBezTo>
                  <a:pt x="2138" y="348"/>
                  <a:pt x="2139" y="348"/>
                  <a:pt x="2139" y="347"/>
                </a:cubicBezTo>
                <a:cubicBezTo>
                  <a:pt x="2139" y="347"/>
                  <a:pt x="2140" y="347"/>
                  <a:pt x="2140" y="347"/>
                </a:cubicBezTo>
                <a:cubicBezTo>
                  <a:pt x="2140" y="346"/>
                  <a:pt x="2142" y="346"/>
                  <a:pt x="2141" y="345"/>
                </a:cubicBezTo>
                <a:cubicBezTo>
                  <a:pt x="2141" y="345"/>
                  <a:pt x="2141" y="345"/>
                  <a:pt x="2140" y="345"/>
                </a:cubicBezTo>
                <a:cubicBezTo>
                  <a:pt x="2140" y="345"/>
                  <a:pt x="2140" y="345"/>
                  <a:pt x="2140" y="345"/>
                </a:cubicBezTo>
                <a:cubicBezTo>
                  <a:pt x="2139" y="344"/>
                  <a:pt x="2139" y="344"/>
                  <a:pt x="2139" y="344"/>
                </a:cubicBezTo>
                <a:cubicBezTo>
                  <a:pt x="2139" y="343"/>
                  <a:pt x="2140" y="344"/>
                  <a:pt x="2140" y="343"/>
                </a:cubicBezTo>
                <a:cubicBezTo>
                  <a:pt x="2141" y="343"/>
                  <a:pt x="2141" y="342"/>
                  <a:pt x="2141" y="341"/>
                </a:cubicBezTo>
                <a:cubicBezTo>
                  <a:pt x="2141" y="341"/>
                  <a:pt x="2140" y="340"/>
                  <a:pt x="2140" y="341"/>
                </a:cubicBezTo>
                <a:cubicBezTo>
                  <a:pt x="2140" y="341"/>
                  <a:pt x="2140" y="341"/>
                  <a:pt x="2139" y="341"/>
                </a:cubicBezTo>
                <a:cubicBezTo>
                  <a:pt x="2139" y="341"/>
                  <a:pt x="2138" y="341"/>
                  <a:pt x="2138" y="341"/>
                </a:cubicBezTo>
                <a:cubicBezTo>
                  <a:pt x="2138" y="342"/>
                  <a:pt x="2138" y="342"/>
                  <a:pt x="2137" y="342"/>
                </a:cubicBezTo>
                <a:cubicBezTo>
                  <a:pt x="2137" y="342"/>
                  <a:pt x="2137" y="342"/>
                  <a:pt x="2136" y="342"/>
                </a:cubicBezTo>
                <a:cubicBezTo>
                  <a:pt x="2136" y="343"/>
                  <a:pt x="2135" y="343"/>
                  <a:pt x="2134" y="343"/>
                </a:cubicBezTo>
                <a:cubicBezTo>
                  <a:pt x="2134" y="342"/>
                  <a:pt x="2134" y="342"/>
                  <a:pt x="2134" y="342"/>
                </a:cubicBezTo>
                <a:cubicBezTo>
                  <a:pt x="2134" y="342"/>
                  <a:pt x="2133" y="342"/>
                  <a:pt x="2133" y="342"/>
                </a:cubicBezTo>
                <a:cubicBezTo>
                  <a:pt x="2132" y="342"/>
                  <a:pt x="2132" y="341"/>
                  <a:pt x="2132" y="341"/>
                </a:cubicBezTo>
                <a:cubicBezTo>
                  <a:pt x="2131" y="341"/>
                  <a:pt x="2130" y="342"/>
                  <a:pt x="2129" y="341"/>
                </a:cubicBezTo>
                <a:cubicBezTo>
                  <a:pt x="2128" y="341"/>
                  <a:pt x="2128" y="341"/>
                  <a:pt x="2128" y="340"/>
                </a:cubicBezTo>
                <a:cubicBezTo>
                  <a:pt x="2127" y="340"/>
                  <a:pt x="2127" y="340"/>
                  <a:pt x="2127" y="340"/>
                </a:cubicBezTo>
                <a:cubicBezTo>
                  <a:pt x="2126" y="340"/>
                  <a:pt x="2126" y="339"/>
                  <a:pt x="2126" y="339"/>
                </a:cubicBezTo>
                <a:cubicBezTo>
                  <a:pt x="2126" y="339"/>
                  <a:pt x="2126" y="339"/>
                  <a:pt x="2125" y="338"/>
                </a:cubicBezTo>
                <a:cubicBezTo>
                  <a:pt x="2125" y="338"/>
                  <a:pt x="2125" y="337"/>
                  <a:pt x="2125" y="336"/>
                </a:cubicBezTo>
                <a:cubicBezTo>
                  <a:pt x="2125" y="336"/>
                  <a:pt x="2126" y="336"/>
                  <a:pt x="2126" y="335"/>
                </a:cubicBezTo>
                <a:cubicBezTo>
                  <a:pt x="2126" y="335"/>
                  <a:pt x="2126" y="334"/>
                  <a:pt x="2127" y="335"/>
                </a:cubicBezTo>
                <a:cubicBezTo>
                  <a:pt x="2127" y="335"/>
                  <a:pt x="2127" y="336"/>
                  <a:pt x="2127" y="336"/>
                </a:cubicBezTo>
                <a:cubicBezTo>
                  <a:pt x="2127" y="336"/>
                  <a:pt x="2128" y="336"/>
                  <a:pt x="2128" y="336"/>
                </a:cubicBezTo>
                <a:cubicBezTo>
                  <a:pt x="2128" y="336"/>
                  <a:pt x="2128" y="336"/>
                  <a:pt x="2128" y="336"/>
                </a:cubicBezTo>
                <a:cubicBezTo>
                  <a:pt x="2129" y="337"/>
                  <a:pt x="2130" y="337"/>
                  <a:pt x="2131" y="337"/>
                </a:cubicBezTo>
                <a:cubicBezTo>
                  <a:pt x="2131" y="337"/>
                  <a:pt x="2132" y="337"/>
                  <a:pt x="2133" y="337"/>
                </a:cubicBezTo>
                <a:cubicBezTo>
                  <a:pt x="2134" y="338"/>
                  <a:pt x="2135" y="338"/>
                  <a:pt x="2135" y="337"/>
                </a:cubicBezTo>
                <a:cubicBezTo>
                  <a:pt x="2136" y="337"/>
                  <a:pt x="2136" y="336"/>
                  <a:pt x="2137" y="336"/>
                </a:cubicBezTo>
                <a:cubicBezTo>
                  <a:pt x="2137" y="335"/>
                  <a:pt x="2137" y="335"/>
                  <a:pt x="2137" y="335"/>
                </a:cubicBezTo>
                <a:cubicBezTo>
                  <a:pt x="2137" y="334"/>
                  <a:pt x="2137" y="334"/>
                  <a:pt x="2137" y="334"/>
                </a:cubicBezTo>
                <a:cubicBezTo>
                  <a:pt x="2136" y="334"/>
                  <a:pt x="2136" y="334"/>
                  <a:pt x="2136" y="334"/>
                </a:cubicBezTo>
                <a:cubicBezTo>
                  <a:pt x="2135" y="334"/>
                  <a:pt x="2135" y="334"/>
                  <a:pt x="2134" y="333"/>
                </a:cubicBezTo>
                <a:cubicBezTo>
                  <a:pt x="2134" y="333"/>
                  <a:pt x="2133" y="333"/>
                  <a:pt x="2132" y="333"/>
                </a:cubicBezTo>
                <a:cubicBezTo>
                  <a:pt x="2131" y="333"/>
                  <a:pt x="2131" y="332"/>
                  <a:pt x="2130" y="332"/>
                </a:cubicBezTo>
                <a:cubicBezTo>
                  <a:pt x="2129" y="331"/>
                  <a:pt x="2129" y="332"/>
                  <a:pt x="2128" y="332"/>
                </a:cubicBezTo>
                <a:cubicBezTo>
                  <a:pt x="2128" y="331"/>
                  <a:pt x="2127" y="331"/>
                  <a:pt x="2127" y="331"/>
                </a:cubicBezTo>
                <a:cubicBezTo>
                  <a:pt x="2127" y="331"/>
                  <a:pt x="2126" y="330"/>
                  <a:pt x="2126" y="330"/>
                </a:cubicBezTo>
                <a:cubicBezTo>
                  <a:pt x="2126" y="330"/>
                  <a:pt x="2124" y="329"/>
                  <a:pt x="2124" y="330"/>
                </a:cubicBezTo>
                <a:cubicBezTo>
                  <a:pt x="2124" y="331"/>
                  <a:pt x="2124" y="331"/>
                  <a:pt x="2124" y="331"/>
                </a:cubicBezTo>
                <a:cubicBezTo>
                  <a:pt x="2125" y="331"/>
                  <a:pt x="2125" y="332"/>
                  <a:pt x="2125" y="332"/>
                </a:cubicBezTo>
                <a:cubicBezTo>
                  <a:pt x="2125" y="332"/>
                  <a:pt x="2126" y="332"/>
                  <a:pt x="2126" y="333"/>
                </a:cubicBezTo>
                <a:cubicBezTo>
                  <a:pt x="2126" y="333"/>
                  <a:pt x="2126" y="333"/>
                  <a:pt x="2125" y="333"/>
                </a:cubicBezTo>
                <a:cubicBezTo>
                  <a:pt x="2125" y="333"/>
                  <a:pt x="2125" y="333"/>
                  <a:pt x="2124" y="333"/>
                </a:cubicBezTo>
                <a:cubicBezTo>
                  <a:pt x="2124" y="333"/>
                  <a:pt x="2123" y="333"/>
                  <a:pt x="2123" y="333"/>
                </a:cubicBezTo>
                <a:cubicBezTo>
                  <a:pt x="2123" y="332"/>
                  <a:pt x="2123" y="332"/>
                  <a:pt x="2122" y="332"/>
                </a:cubicBezTo>
                <a:cubicBezTo>
                  <a:pt x="2121" y="332"/>
                  <a:pt x="2122" y="333"/>
                  <a:pt x="2122" y="333"/>
                </a:cubicBezTo>
                <a:cubicBezTo>
                  <a:pt x="2122" y="335"/>
                  <a:pt x="2120" y="334"/>
                  <a:pt x="2119" y="334"/>
                </a:cubicBezTo>
                <a:cubicBezTo>
                  <a:pt x="2118" y="334"/>
                  <a:pt x="2117" y="335"/>
                  <a:pt x="2116" y="334"/>
                </a:cubicBezTo>
                <a:cubicBezTo>
                  <a:pt x="2116" y="334"/>
                  <a:pt x="2115" y="334"/>
                  <a:pt x="2114" y="334"/>
                </a:cubicBezTo>
                <a:cubicBezTo>
                  <a:pt x="2113" y="334"/>
                  <a:pt x="2112" y="334"/>
                  <a:pt x="2112" y="333"/>
                </a:cubicBezTo>
                <a:cubicBezTo>
                  <a:pt x="2111" y="333"/>
                  <a:pt x="2110" y="333"/>
                  <a:pt x="2109" y="333"/>
                </a:cubicBezTo>
                <a:cubicBezTo>
                  <a:pt x="2108" y="333"/>
                  <a:pt x="2107" y="334"/>
                  <a:pt x="2107" y="335"/>
                </a:cubicBezTo>
                <a:cubicBezTo>
                  <a:pt x="2107" y="334"/>
                  <a:pt x="2106" y="333"/>
                  <a:pt x="2106" y="333"/>
                </a:cubicBezTo>
                <a:cubicBezTo>
                  <a:pt x="2105" y="333"/>
                  <a:pt x="2105" y="333"/>
                  <a:pt x="2105" y="332"/>
                </a:cubicBezTo>
                <a:cubicBezTo>
                  <a:pt x="2105" y="332"/>
                  <a:pt x="2105" y="332"/>
                  <a:pt x="2104" y="332"/>
                </a:cubicBezTo>
                <a:cubicBezTo>
                  <a:pt x="2104" y="332"/>
                  <a:pt x="2104" y="332"/>
                  <a:pt x="2104" y="332"/>
                </a:cubicBezTo>
                <a:cubicBezTo>
                  <a:pt x="2103" y="333"/>
                  <a:pt x="2102" y="333"/>
                  <a:pt x="2101" y="334"/>
                </a:cubicBezTo>
                <a:cubicBezTo>
                  <a:pt x="2101" y="334"/>
                  <a:pt x="2101" y="334"/>
                  <a:pt x="2101" y="334"/>
                </a:cubicBezTo>
                <a:cubicBezTo>
                  <a:pt x="2100" y="334"/>
                  <a:pt x="2100" y="334"/>
                  <a:pt x="2099" y="335"/>
                </a:cubicBezTo>
                <a:cubicBezTo>
                  <a:pt x="2099" y="335"/>
                  <a:pt x="2099" y="335"/>
                  <a:pt x="2098" y="335"/>
                </a:cubicBezTo>
                <a:cubicBezTo>
                  <a:pt x="2098" y="335"/>
                  <a:pt x="2098" y="335"/>
                  <a:pt x="2098" y="335"/>
                </a:cubicBezTo>
                <a:cubicBezTo>
                  <a:pt x="2097" y="335"/>
                  <a:pt x="2097" y="336"/>
                  <a:pt x="2097" y="336"/>
                </a:cubicBezTo>
                <a:cubicBezTo>
                  <a:pt x="2097" y="336"/>
                  <a:pt x="2097" y="335"/>
                  <a:pt x="2098" y="335"/>
                </a:cubicBezTo>
                <a:cubicBezTo>
                  <a:pt x="2098" y="335"/>
                  <a:pt x="2098" y="335"/>
                  <a:pt x="2099" y="334"/>
                </a:cubicBezTo>
                <a:cubicBezTo>
                  <a:pt x="2099" y="334"/>
                  <a:pt x="2098" y="333"/>
                  <a:pt x="2098" y="333"/>
                </a:cubicBezTo>
                <a:cubicBezTo>
                  <a:pt x="2097" y="333"/>
                  <a:pt x="2097" y="333"/>
                  <a:pt x="2096" y="333"/>
                </a:cubicBezTo>
                <a:cubicBezTo>
                  <a:pt x="2096" y="332"/>
                  <a:pt x="2096" y="332"/>
                  <a:pt x="2096" y="332"/>
                </a:cubicBezTo>
                <a:cubicBezTo>
                  <a:pt x="2095" y="331"/>
                  <a:pt x="2096" y="331"/>
                  <a:pt x="2096" y="331"/>
                </a:cubicBezTo>
                <a:cubicBezTo>
                  <a:pt x="2096" y="330"/>
                  <a:pt x="2096" y="330"/>
                  <a:pt x="2096" y="330"/>
                </a:cubicBezTo>
                <a:cubicBezTo>
                  <a:pt x="2095" y="329"/>
                  <a:pt x="2095" y="329"/>
                  <a:pt x="2094" y="328"/>
                </a:cubicBezTo>
                <a:cubicBezTo>
                  <a:pt x="2093" y="328"/>
                  <a:pt x="2093" y="328"/>
                  <a:pt x="2092" y="328"/>
                </a:cubicBezTo>
                <a:cubicBezTo>
                  <a:pt x="2092" y="328"/>
                  <a:pt x="2091" y="328"/>
                  <a:pt x="2091" y="328"/>
                </a:cubicBezTo>
                <a:cubicBezTo>
                  <a:pt x="2091" y="328"/>
                  <a:pt x="2090" y="327"/>
                  <a:pt x="2090" y="327"/>
                </a:cubicBezTo>
                <a:cubicBezTo>
                  <a:pt x="2090" y="327"/>
                  <a:pt x="2089" y="327"/>
                  <a:pt x="2089" y="327"/>
                </a:cubicBezTo>
                <a:cubicBezTo>
                  <a:pt x="2088" y="327"/>
                  <a:pt x="2088" y="327"/>
                  <a:pt x="2088" y="327"/>
                </a:cubicBezTo>
                <a:cubicBezTo>
                  <a:pt x="2087" y="327"/>
                  <a:pt x="2087" y="327"/>
                  <a:pt x="2087" y="326"/>
                </a:cubicBezTo>
                <a:cubicBezTo>
                  <a:pt x="2086" y="326"/>
                  <a:pt x="2087" y="326"/>
                  <a:pt x="2087" y="326"/>
                </a:cubicBezTo>
                <a:cubicBezTo>
                  <a:pt x="2088" y="325"/>
                  <a:pt x="2089" y="326"/>
                  <a:pt x="2090" y="326"/>
                </a:cubicBezTo>
                <a:cubicBezTo>
                  <a:pt x="2091" y="326"/>
                  <a:pt x="2091" y="327"/>
                  <a:pt x="2092" y="327"/>
                </a:cubicBezTo>
                <a:cubicBezTo>
                  <a:pt x="2093" y="327"/>
                  <a:pt x="2094" y="327"/>
                  <a:pt x="2094" y="327"/>
                </a:cubicBezTo>
                <a:cubicBezTo>
                  <a:pt x="2095" y="327"/>
                  <a:pt x="2096" y="327"/>
                  <a:pt x="2097" y="327"/>
                </a:cubicBezTo>
                <a:cubicBezTo>
                  <a:pt x="2098" y="327"/>
                  <a:pt x="2099" y="327"/>
                  <a:pt x="2099" y="327"/>
                </a:cubicBezTo>
                <a:cubicBezTo>
                  <a:pt x="2100" y="327"/>
                  <a:pt x="2101" y="327"/>
                  <a:pt x="2102" y="327"/>
                </a:cubicBezTo>
                <a:cubicBezTo>
                  <a:pt x="2103" y="328"/>
                  <a:pt x="2103" y="328"/>
                  <a:pt x="2104" y="328"/>
                </a:cubicBezTo>
                <a:cubicBezTo>
                  <a:pt x="2105" y="328"/>
                  <a:pt x="2105" y="326"/>
                  <a:pt x="2106" y="326"/>
                </a:cubicBezTo>
                <a:cubicBezTo>
                  <a:pt x="2106" y="326"/>
                  <a:pt x="2107" y="326"/>
                  <a:pt x="2107" y="326"/>
                </a:cubicBezTo>
                <a:cubicBezTo>
                  <a:pt x="2107" y="325"/>
                  <a:pt x="2107" y="325"/>
                  <a:pt x="2108" y="325"/>
                </a:cubicBezTo>
                <a:cubicBezTo>
                  <a:pt x="2109" y="325"/>
                  <a:pt x="2110" y="325"/>
                  <a:pt x="2110" y="325"/>
                </a:cubicBezTo>
                <a:cubicBezTo>
                  <a:pt x="2111" y="324"/>
                  <a:pt x="2112" y="324"/>
                  <a:pt x="2113" y="324"/>
                </a:cubicBezTo>
                <a:cubicBezTo>
                  <a:pt x="2113" y="324"/>
                  <a:pt x="2113" y="324"/>
                  <a:pt x="2114" y="323"/>
                </a:cubicBezTo>
                <a:cubicBezTo>
                  <a:pt x="2114" y="323"/>
                  <a:pt x="2114" y="323"/>
                  <a:pt x="2114" y="322"/>
                </a:cubicBezTo>
                <a:cubicBezTo>
                  <a:pt x="2114" y="322"/>
                  <a:pt x="2114" y="322"/>
                  <a:pt x="2114" y="321"/>
                </a:cubicBezTo>
                <a:cubicBezTo>
                  <a:pt x="2114" y="321"/>
                  <a:pt x="2114" y="321"/>
                  <a:pt x="2113" y="320"/>
                </a:cubicBezTo>
                <a:cubicBezTo>
                  <a:pt x="2113" y="320"/>
                  <a:pt x="2113" y="320"/>
                  <a:pt x="2112" y="320"/>
                </a:cubicBezTo>
                <a:cubicBezTo>
                  <a:pt x="2112" y="320"/>
                  <a:pt x="2112" y="320"/>
                  <a:pt x="2111" y="320"/>
                </a:cubicBezTo>
                <a:cubicBezTo>
                  <a:pt x="2111" y="320"/>
                  <a:pt x="2111" y="319"/>
                  <a:pt x="2110" y="319"/>
                </a:cubicBezTo>
                <a:cubicBezTo>
                  <a:pt x="2110" y="319"/>
                  <a:pt x="2109" y="319"/>
                  <a:pt x="2109" y="319"/>
                </a:cubicBezTo>
                <a:cubicBezTo>
                  <a:pt x="2108" y="319"/>
                  <a:pt x="2107" y="319"/>
                  <a:pt x="2107" y="318"/>
                </a:cubicBezTo>
                <a:cubicBezTo>
                  <a:pt x="2106" y="318"/>
                  <a:pt x="2105" y="319"/>
                  <a:pt x="2104" y="318"/>
                </a:cubicBezTo>
                <a:cubicBezTo>
                  <a:pt x="2104" y="318"/>
                  <a:pt x="2105" y="317"/>
                  <a:pt x="2104" y="317"/>
                </a:cubicBezTo>
                <a:cubicBezTo>
                  <a:pt x="2104" y="316"/>
                  <a:pt x="2104" y="316"/>
                  <a:pt x="2104" y="316"/>
                </a:cubicBezTo>
                <a:cubicBezTo>
                  <a:pt x="2104" y="315"/>
                  <a:pt x="2104" y="314"/>
                  <a:pt x="2103" y="314"/>
                </a:cubicBezTo>
                <a:cubicBezTo>
                  <a:pt x="2102" y="314"/>
                  <a:pt x="2101" y="315"/>
                  <a:pt x="2101" y="315"/>
                </a:cubicBezTo>
                <a:cubicBezTo>
                  <a:pt x="2100" y="315"/>
                  <a:pt x="2100" y="316"/>
                  <a:pt x="2100" y="316"/>
                </a:cubicBezTo>
                <a:cubicBezTo>
                  <a:pt x="2099" y="315"/>
                  <a:pt x="2099" y="315"/>
                  <a:pt x="2099" y="315"/>
                </a:cubicBezTo>
                <a:cubicBezTo>
                  <a:pt x="2099" y="314"/>
                  <a:pt x="2098" y="314"/>
                  <a:pt x="2097" y="314"/>
                </a:cubicBezTo>
                <a:cubicBezTo>
                  <a:pt x="2097" y="314"/>
                  <a:pt x="2096" y="315"/>
                  <a:pt x="2096" y="315"/>
                </a:cubicBezTo>
                <a:cubicBezTo>
                  <a:pt x="2096" y="315"/>
                  <a:pt x="2095" y="315"/>
                  <a:pt x="2095" y="315"/>
                </a:cubicBezTo>
                <a:cubicBezTo>
                  <a:pt x="2095" y="314"/>
                  <a:pt x="2095" y="314"/>
                  <a:pt x="2095" y="314"/>
                </a:cubicBezTo>
                <a:cubicBezTo>
                  <a:pt x="2094" y="314"/>
                  <a:pt x="2094" y="314"/>
                  <a:pt x="2094" y="313"/>
                </a:cubicBezTo>
                <a:cubicBezTo>
                  <a:pt x="2093" y="313"/>
                  <a:pt x="2093" y="312"/>
                  <a:pt x="2092" y="312"/>
                </a:cubicBezTo>
                <a:cubicBezTo>
                  <a:pt x="2092" y="312"/>
                  <a:pt x="2092" y="312"/>
                  <a:pt x="2091" y="312"/>
                </a:cubicBezTo>
                <a:cubicBezTo>
                  <a:pt x="2091" y="312"/>
                  <a:pt x="2091" y="311"/>
                  <a:pt x="2090" y="311"/>
                </a:cubicBezTo>
                <a:cubicBezTo>
                  <a:pt x="2089" y="311"/>
                  <a:pt x="2088" y="311"/>
                  <a:pt x="2088" y="312"/>
                </a:cubicBezTo>
                <a:cubicBezTo>
                  <a:pt x="2087" y="312"/>
                  <a:pt x="2087" y="313"/>
                  <a:pt x="2087" y="314"/>
                </a:cubicBezTo>
                <a:cubicBezTo>
                  <a:pt x="2086" y="315"/>
                  <a:pt x="2084" y="316"/>
                  <a:pt x="2084" y="318"/>
                </a:cubicBezTo>
                <a:cubicBezTo>
                  <a:pt x="2084" y="318"/>
                  <a:pt x="2085" y="319"/>
                  <a:pt x="2085" y="320"/>
                </a:cubicBezTo>
                <a:cubicBezTo>
                  <a:pt x="2085" y="321"/>
                  <a:pt x="2084" y="321"/>
                  <a:pt x="2083" y="322"/>
                </a:cubicBezTo>
                <a:cubicBezTo>
                  <a:pt x="2083" y="322"/>
                  <a:pt x="2083" y="322"/>
                  <a:pt x="2082" y="322"/>
                </a:cubicBezTo>
                <a:cubicBezTo>
                  <a:pt x="2082" y="322"/>
                  <a:pt x="2082" y="322"/>
                  <a:pt x="2082" y="321"/>
                </a:cubicBezTo>
                <a:cubicBezTo>
                  <a:pt x="2082" y="321"/>
                  <a:pt x="2082" y="321"/>
                  <a:pt x="2083" y="321"/>
                </a:cubicBezTo>
                <a:cubicBezTo>
                  <a:pt x="2083" y="320"/>
                  <a:pt x="2083" y="320"/>
                  <a:pt x="2083" y="320"/>
                </a:cubicBezTo>
                <a:cubicBezTo>
                  <a:pt x="2083" y="320"/>
                  <a:pt x="2084" y="319"/>
                  <a:pt x="2083" y="319"/>
                </a:cubicBezTo>
                <a:cubicBezTo>
                  <a:pt x="2083" y="319"/>
                  <a:pt x="2082" y="320"/>
                  <a:pt x="2082" y="320"/>
                </a:cubicBezTo>
                <a:cubicBezTo>
                  <a:pt x="2081" y="320"/>
                  <a:pt x="2081" y="320"/>
                  <a:pt x="2081" y="320"/>
                </a:cubicBezTo>
                <a:cubicBezTo>
                  <a:pt x="2080" y="320"/>
                  <a:pt x="2080" y="320"/>
                  <a:pt x="2080" y="320"/>
                </a:cubicBezTo>
                <a:cubicBezTo>
                  <a:pt x="2079" y="320"/>
                  <a:pt x="2079" y="321"/>
                  <a:pt x="2079" y="320"/>
                </a:cubicBezTo>
                <a:cubicBezTo>
                  <a:pt x="2078" y="320"/>
                  <a:pt x="2078" y="320"/>
                  <a:pt x="2078" y="319"/>
                </a:cubicBezTo>
                <a:cubicBezTo>
                  <a:pt x="2078" y="319"/>
                  <a:pt x="2078" y="319"/>
                  <a:pt x="2079" y="319"/>
                </a:cubicBezTo>
                <a:cubicBezTo>
                  <a:pt x="2079" y="319"/>
                  <a:pt x="2079" y="318"/>
                  <a:pt x="2080" y="318"/>
                </a:cubicBezTo>
                <a:cubicBezTo>
                  <a:pt x="2080" y="317"/>
                  <a:pt x="2081" y="318"/>
                  <a:pt x="2081" y="317"/>
                </a:cubicBezTo>
                <a:cubicBezTo>
                  <a:pt x="2082" y="317"/>
                  <a:pt x="2082" y="316"/>
                  <a:pt x="2082" y="316"/>
                </a:cubicBezTo>
                <a:cubicBezTo>
                  <a:pt x="2082" y="316"/>
                  <a:pt x="2082" y="316"/>
                  <a:pt x="2083" y="315"/>
                </a:cubicBezTo>
                <a:cubicBezTo>
                  <a:pt x="2083" y="315"/>
                  <a:pt x="2083" y="314"/>
                  <a:pt x="2082" y="314"/>
                </a:cubicBezTo>
                <a:cubicBezTo>
                  <a:pt x="2082" y="314"/>
                  <a:pt x="2082" y="314"/>
                  <a:pt x="2082" y="315"/>
                </a:cubicBezTo>
                <a:cubicBezTo>
                  <a:pt x="2082" y="315"/>
                  <a:pt x="2081" y="315"/>
                  <a:pt x="2081" y="315"/>
                </a:cubicBezTo>
                <a:cubicBezTo>
                  <a:pt x="2081" y="315"/>
                  <a:pt x="2080" y="315"/>
                  <a:pt x="2079" y="315"/>
                </a:cubicBezTo>
                <a:cubicBezTo>
                  <a:pt x="2079" y="315"/>
                  <a:pt x="2079" y="314"/>
                  <a:pt x="2078" y="314"/>
                </a:cubicBezTo>
                <a:cubicBezTo>
                  <a:pt x="2078" y="314"/>
                  <a:pt x="2079" y="313"/>
                  <a:pt x="2079" y="313"/>
                </a:cubicBezTo>
                <a:cubicBezTo>
                  <a:pt x="2079" y="313"/>
                  <a:pt x="2079" y="313"/>
                  <a:pt x="2080" y="313"/>
                </a:cubicBezTo>
                <a:cubicBezTo>
                  <a:pt x="2080" y="313"/>
                  <a:pt x="2080" y="313"/>
                  <a:pt x="2080" y="313"/>
                </a:cubicBezTo>
                <a:cubicBezTo>
                  <a:pt x="2081" y="312"/>
                  <a:pt x="2081" y="313"/>
                  <a:pt x="2082" y="313"/>
                </a:cubicBezTo>
                <a:cubicBezTo>
                  <a:pt x="2083" y="313"/>
                  <a:pt x="2084" y="312"/>
                  <a:pt x="2084" y="311"/>
                </a:cubicBezTo>
                <a:cubicBezTo>
                  <a:pt x="2084" y="311"/>
                  <a:pt x="2084" y="311"/>
                  <a:pt x="2085" y="310"/>
                </a:cubicBezTo>
                <a:cubicBezTo>
                  <a:pt x="2085" y="310"/>
                  <a:pt x="2086" y="310"/>
                  <a:pt x="2086" y="310"/>
                </a:cubicBezTo>
                <a:cubicBezTo>
                  <a:pt x="2086" y="309"/>
                  <a:pt x="2084" y="309"/>
                  <a:pt x="2084" y="308"/>
                </a:cubicBezTo>
                <a:cubicBezTo>
                  <a:pt x="2083" y="308"/>
                  <a:pt x="2083" y="308"/>
                  <a:pt x="2082" y="307"/>
                </a:cubicBezTo>
                <a:cubicBezTo>
                  <a:pt x="2081" y="307"/>
                  <a:pt x="2080" y="307"/>
                  <a:pt x="2079" y="307"/>
                </a:cubicBezTo>
                <a:cubicBezTo>
                  <a:pt x="2079" y="307"/>
                  <a:pt x="2078" y="307"/>
                  <a:pt x="2077" y="306"/>
                </a:cubicBezTo>
                <a:cubicBezTo>
                  <a:pt x="2077" y="306"/>
                  <a:pt x="2075" y="305"/>
                  <a:pt x="2075" y="307"/>
                </a:cubicBezTo>
                <a:cubicBezTo>
                  <a:pt x="2075" y="307"/>
                  <a:pt x="2075" y="307"/>
                  <a:pt x="2075" y="308"/>
                </a:cubicBezTo>
                <a:cubicBezTo>
                  <a:pt x="2075" y="308"/>
                  <a:pt x="2075" y="309"/>
                  <a:pt x="2075" y="309"/>
                </a:cubicBezTo>
                <a:cubicBezTo>
                  <a:pt x="2074" y="309"/>
                  <a:pt x="2074" y="310"/>
                  <a:pt x="2074" y="310"/>
                </a:cubicBezTo>
                <a:cubicBezTo>
                  <a:pt x="2074" y="310"/>
                  <a:pt x="2073" y="310"/>
                  <a:pt x="2073" y="310"/>
                </a:cubicBezTo>
                <a:cubicBezTo>
                  <a:pt x="2072" y="310"/>
                  <a:pt x="2072" y="310"/>
                  <a:pt x="2071" y="310"/>
                </a:cubicBezTo>
                <a:cubicBezTo>
                  <a:pt x="2071" y="311"/>
                  <a:pt x="2071" y="311"/>
                  <a:pt x="2071" y="311"/>
                </a:cubicBezTo>
                <a:cubicBezTo>
                  <a:pt x="2072" y="311"/>
                  <a:pt x="2072" y="311"/>
                  <a:pt x="2073" y="311"/>
                </a:cubicBezTo>
                <a:cubicBezTo>
                  <a:pt x="2073" y="311"/>
                  <a:pt x="2073" y="311"/>
                  <a:pt x="2073" y="312"/>
                </a:cubicBezTo>
                <a:cubicBezTo>
                  <a:pt x="2074" y="312"/>
                  <a:pt x="2074" y="312"/>
                  <a:pt x="2074" y="312"/>
                </a:cubicBezTo>
                <a:cubicBezTo>
                  <a:pt x="2074" y="313"/>
                  <a:pt x="2074" y="313"/>
                  <a:pt x="2074" y="313"/>
                </a:cubicBezTo>
                <a:cubicBezTo>
                  <a:pt x="2073" y="313"/>
                  <a:pt x="2073" y="313"/>
                  <a:pt x="2072" y="313"/>
                </a:cubicBezTo>
                <a:cubicBezTo>
                  <a:pt x="2072" y="313"/>
                  <a:pt x="2072" y="313"/>
                  <a:pt x="2071" y="314"/>
                </a:cubicBezTo>
                <a:cubicBezTo>
                  <a:pt x="2071" y="314"/>
                  <a:pt x="2069" y="314"/>
                  <a:pt x="2069" y="315"/>
                </a:cubicBezTo>
                <a:cubicBezTo>
                  <a:pt x="2069" y="315"/>
                  <a:pt x="2069" y="315"/>
                  <a:pt x="2070" y="315"/>
                </a:cubicBezTo>
                <a:cubicBezTo>
                  <a:pt x="2070" y="316"/>
                  <a:pt x="2070" y="316"/>
                  <a:pt x="2070" y="316"/>
                </a:cubicBezTo>
                <a:cubicBezTo>
                  <a:pt x="2069" y="317"/>
                  <a:pt x="2069" y="317"/>
                  <a:pt x="2069" y="317"/>
                </a:cubicBezTo>
                <a:cubicBezTo>
                  <a:pt x="2068" y="317"/>
                  <a:pt x="2068" y="317"/>
                  <a:pt x="2068" y="317"/>
                </a:cubicBezTo>
                <a:cubicBezTo>
                  <a:pt x="2067" y="318"/>
                  <a:pt x="2068" y="318"/>
                  <a:pt x="2069" y="319"/>
                </a:cubicBezTo>
                <a:cubicBezTo>
                  <a:pt x="2069" y="320"/>
                  <a:pt x="2067" y="319"/>
                  <a:pt x="2067" y="319"/>
                </a:cubicBezTo>
                <a:cubicBezTo>
                  <a:pt x="2066" y="319"/>
                  <a:pt x="2066" y="319"/>
                  <a:pt x="2065" y="319"/>
                </a:cubicBezTo>
                <a:cubicBezTo>
                  <a:pt x="2065" y="320"/>
                  <a:pt x="2065" y="320"/>
                  <a:pt x="2064" y="320"/>
                </a:cubicBezTo>
                <a:cubicBezTo>
                  <a:pt x="2064" y="320"/>
                  <a:pt x="2064" y="321"/>
                  <a:pt x="2064" y="321"/>
                </a:cubicBezTo>
                <a:cubicBezTo>
                  <a:pt x="2063" y="323"/>
                  <a:pt x="2063" y="320"/>
                  <a:pt x="2063" y="319"/>
                </a:cubicBezTo>
                <a:cubicBezTo>
                  <a:pt x="2063" y="319"/>
                  <a:pt x="2063" y="318"/>
                  <a:pt x="2063" y="318"/>
                </a:cubicBezTo>
                <a:cubicBezTo>
                  <a:pt x="2063" y="318"/>
                  <a:pt x="2063" y="318"/>
                  <a:pt x="2062" y="317"/>
                </a:cubicBezTo>
                <a:cubicBezTo>
                  <a:pt x="2062" y="317"/>
                  <a:pt x="2063" y="316"/>
                  <a:pt x="2062" y="316"/>
                </a:cubicBezTo>
                <a:cubicBezTo>
                  <a:pt x="2062" y="316"/>
                  <a:pt x="2061" y="315"/>
                  <a:pt x="2062" y="315"/>
                </a:cubicBezTo>
                <a:cubicBezTo>
                  <a:pt x="2062" y="315"/>
                  <a:pt x="2062" y="315"/>
                  <a:pt x="2063" y="315"/>
                </a:cubicBezTo>
                <a:cubicBezTo>
                  <a:pt x="2063" y="315"/>
                  <a:pt x="2063" y="315"/>
                  <a:pt x="2064" y="314"/>
                </a:cubicBezTo>
                <a:cubicBezTo>
                  <a:pt x="2064" y="314"/>
                  <a:pt x="2065" y="313"/>
                  <a:pt x="2065" y="312"/>
                </a:cubicBezTo>
                <a:cubicBezTo>
                  <a:pt x="2065" y="312"/>
                  <a:pt x="2065" y="311"/>
                  <a:pt x="2065" y="310"/>
                </a:cubicBezTo>
                <a:cubicBezTo>
                  <a:pt x="2065" y="310"/>
                  <a:pt x="2065" y="309"/>
                  <a:pt x="2064" y="309"/>
                </a:cubicBezTo>
                <a:cubicBezTo>
                  <a:pt x="2064" y="309"/>
                  <a:pt x="2064" y="310"/>
                  <a:pt x="2063" y="310"/>
                </a:cubicBezTo>
                <a:cubicBezTo>
                  <a:pt x="2063" y="311"/>
                  <a:pt x="2061" y="312"/>
                  <a:pt x="2060" y="313"/>
                </a:cubicBezTo>
                <a:cubicBezTo>
                  <a:pt x="2059" y="313"/>
                  <a:pt x="2059" y="314"/>
                  <a:pt x="2058" y="314"/>
                </a:cubicBezTo>
                <a:cubicBezTo>
                  <a:pt x="2057" y="315"/>
                  <a:pt x="2057" y="316"/>
                  <a:pt x="2056" y="316"/>
                </a:cubicBezTo>
                <a:cubicBezTo>
                  <a:pt x="2055" y="317"/>
                  <a:pt x="2055" y="317"/>
                  <a:pt x="2054" y="318"/>
                </a:cubicBezTo>
                <a:cubicBezTo>
                  <a:pt x="2053" y="319"/>
                  <a:pt x="2052" y="320"/>
                  <a:pt x="2051" y="321"/>
                </a:cubicBezTo>
                <a:cubicBezTo>
                  <a:pt x="2050" y="321"/>
                  <a:pt x="2050" y="321"/>
                  <a:pt x="2050" y="322"/>
                </a:cubicBezTo>
                <a:cubicBezTo>
                  <a:pt x="2050" y="322"/>
                  <a:pt x="2050" y="322"/>
                  <a:pt x="2050" y="322"/>
                </a:cubicBezTo>
                <a:cubicBezTo>
                  <a:pt x="2050" y="322"/>
                  <a:pt x="2050" y="323"/>
                  <a:pt x="2050" y="323"/>
                </a:cubicBezTo>
                <a:cubicBezTo>
                  <a:pt x="2051" y="323"/>
                  <a:pt x="2051" y="323"/>
                  <a:pt x="2051" y="323"/>
                </a:cubicBezTo>
                <a:cubicBezTo>
                  <a:pt x="2051" y="324"/>
                  <a:pt x="2050" y="324"/>
                  <a:pt x="2050" y="324"/>
                </a:cubicBezTo>
                <a:cubicBezTo>
                  <a:pt x="2050" y="325"/>
                  <a:pt x="2049" y="325"/>
                  <a:pt x="2049" y="325"/>
                </a:cubicBezTo>
                <a:cubicBezTo>
                  <a:pt x="2048" y="326"/>
                  <a:pt x="2048" y="326"/>
                  <a:pt x="2048" y="326"/>
                </a:cubicBezTo>
                <a:cubicBezTo>
                  <a:pt x="2048" y="327"/>
                  <a:pt x="2048" y="327"/>
                  <a:pt x="2047" y="327"/>
                </a:cubicBezTo>
                <a:cubicBezTo>
                  <a:pt x="2047" y="327"/>
                  <a:pt x="2047" y="327"/>
                  <a:pt x="2047" y="327"/>
                </a:cubicBezTo>
                <a:cubicBezTo>
                  <a:pt x="2047" y="327"/>
                  <a:pt x="2047" y="327"/>
                  <a:pt x="2047" y="326"/>
                </a:cubicBezTo>
                <a:cubicBezTo>
                  <a:pt x="2047" y="326"/>
                  <a:pt x="2047" y="326"/>
                  <a:pt x="2046" y="326"/>
                </a:cubicBezTo>
                <a:cubicBezTo>
                  <a:pt x="2045" y="326"/>
                  <a:pt x="2046" y="328"/>
                  <a:pt x="2045" y="327"/>
                </a:cubicBezTo>
                <a:cubicBezTo>
                  <a:pt x="2045" y="327"/>
                  <a:pt x="2045" y="325"/>
                  <a:pt x="2045" y="325"/>
                </a:cubicBezTo>
                <a:cubicBezTo>
                  <a:pt x="2045" y="324"/>
                  <a:pt x="2046" y="323"/>
                  <a:pt x="2046" y="323"/>
                </a:cubicBezTo>
                <a:cubicBezTo>
                  <a:pt x="2046" y="322"/>
                  <a:pt x="2046" y="322"/>
                  <a:pt x="2046" y="321"/>
                </a:cubicBezTo>
                <a:cubicBezTo>
                  <a:pt x="2046" y="321"/>
                  <a:pt x="2047" y="321"/>
                  <a:pt x="2047" y="320"/>
                </a:cubicBezTo>
                <a:cubicBezTo>
                  <a:pt x="2047" y="320"/>
                  <a:pt x="2047" y="320"/>
                  <a:pt x="2047" y="319"/>
                </a:cubicBezTo>
                <a:cubicBezTo>
                  <a:pt x="2047" y="319"/>
                  <a:pt x="2046" y="319"/>
                  <a:pt x="2047" y="318"/>
                </a:cubicBezTo>
                <a:cubicBezTo>
                  <a:pt x="2047" y="318"/>
                  <a:pt x="2048" y="317"/>
                  <a:pt x="2049" y="317"/>
                </a:cubicBezTo>
                <a:cubicBezTo>
                  <a:pt x="2049" y="316"/>
                  <a:pt x="2050" y="316"/>
                  <a:pt x="2051" y="315"/>
                </a:cubicBezTo>
                <a:cubicBezTo>
                  <a:pt x="2051" y="315"/>
                  <a:pt x="2052" y="315"/>
                  <a:pt x="2053" y="315"/>
                </a:cubicBezTo>
                <a:cubicBezTo>
                  <a:pt x="2053" y="314"/>
                  <a:pt x="2053" y="314"/>
                  <a:pt x="2054" y="313"/>
                </a:cubicBezTo>
                <a:cubicBezTo>
                  <a:pt x="2054" y="313"/>
                  <a:pt x="2054" y="313"/>
                  <a:pt x="2054" y="312"/>
                </a:cubicBezTo>
                <a:cubicBezTo>
                  <a:pt x="2055" y="312"/>
                  <a:pt x="2055" y="312"/>
                  <a:pt x="2055" y="312"/>
                </a:cubicBezTo>
                <a:cubicBezTo>
                  <a:pt x="2055" y="312"/>
                  <a:pt x="2056" y="312"/>
                  <a:pt x="2056" y="311"/>
                </a:cubicBezTo>
                <a:cubicBezTo>
                  <a:pt x="2056" y="311"/>
                  <a:pt x="2055" y="311"/>
                  <a:pt x="2055" y="311"/>
                </a:cubicBezTo>
                <a:cubicBezTo>
                  <a:pt x="2055" y="311"/>
                  <a:pt x="2054" y="311"/>
                  <a:pt x="2054" y="311"/>
                </a:cubicBezTo>
                <a:cubicBezTo>
                  <a:pt x="2054" y="311"/>
                  <a:pt x="2053" y="310"/>
                  <a:pt x="2053" y="310"/>
                </a:cubicBezTo>
                <a:cubicBezTo>
                  <a:pt x="2053" y="310"/>
                  <a:pt x="2052" y="310"/>
                  <a:pt x="2053" y="309"/>
                </a:cubicBezTo>
                <a:cubicBezTo>
                  <a:pt x="2053" y="309"/>
                  <a:pt x="2054" y="309"/>
                  <a:pt x="2054" y="309"/>
                </a:cubicBezTo>
                <a:cubicBezTo>
                  <a:pt x="2055" y="310"/>
                  <a:pt x="2055" y="309"/>
                  <a:pt x="2055" y="309"/>
                </a:cubicBezTo>
                <a:cubicBezTo>
                  <a:pt x="2055" y="309"/>
                  <a:pt x="2056" y="309"/>
                  <a:pt x="2056" y="309"/>
                </a:cubicBezTo>
                <a:cubicBezTo>
                  <a:pt x="2057" y="309"/>
                  <a:pt x="2057" y="309"/>
                  <a:pt x="2057" y="309"/>
                </a:cubicBezTo>
                <a:cubicBezTo>
                  <a:pt x="2058" y="308"/>
                  <a:pt x="2057" y="308"/>
                  <a:pt x="2057" y="308"/>
                </a:cubicBezTo>
                <a:cubicBezTo>
                  <a:pt x="2057" y="307"/>
                  <a:pt x="2057" y="306"/>
                  <a:pt x="2057" y="306"/>
                </a:cubicBezTo>
                <a:cubicBezTo>
                  <a:pt x="2056" y="305"/>
                  <a:pt x="2055" y="306"/>
                  <a:pt x="2055" y="306"/>
                </a:cubicBezTo>
                <a:cubicBezTo>
                  <a:pt x="2054" y="305"/>
                  <a:pt x="2054" y="305"/>
                  <a:pt x="2053" y="305"/>
                </a:cubicBezTo>
                <a:cubicBezTo>
                  <a:pt x="2053" y="305"/>
                  <a:pt x="2052" y="305"/>
                  <a:pt x="2052" y="306"/>
                </a:cubicBezTo>
                <a:cubicBezTo>
                  <a:pt x="2052" y="306"/>
                  <a:pt x="2053" y="306"/>
                  <a:pt x="2052" y="307"/>
                </a:cubicBezTo>
                <a:cubicBezTo>
                  <a:pt x="2052" y="307"/>
                  <a:pt x="2051" y="307"/>
                  <a:pt x="2051" y="307"/>
                </a:cubicBezTo>
                <a:cubicBezTo>
                  <a:pt x="2050" y="307"/>
                  <a:pt x="2050" y="307"/>
                  <a:pt x="2049" y="307"/>
                </a:cubicBezTo>
                <a:cubicBezTo>
                  <a:pt x="2048" y="308"/>
                  <a:pt x="2049" y="308"/>
                  <a:pt x="2050" y="308"/>
                </a:cubicBezTo>
                <a:cubicBezTo>
                  <a:pt x="2050" y="309"/>
                  <a:pt x="2050" y="309"/>
                  <a:pt x="2050" y="310"/>
                </a:cubicBezTo>
                <a:cubicBezTo>
                  <a:pt x="2050" y="310"/>
                  <a:pt x="2049" y="310"/>
                  <a:pt x="2049" y="310"/>
                </a:cubicBezTo>
                <a:cubicBezTo>
                  <a:pt x="2048" y="310"/>
                  <a:pt x="2047" y="310"/>
                  <a:pt x="2046" y="310"/>
                </a:cubicBezTo>
                <a:cubicBezTo>
                  <a:pt x="2046" y="310"/>
                  <a:pt x="2046" y="310"/>
                  <a:pt x="2046" y="309"/>
                </a:cubicBezTo>
                <a:cubicBezTo>
                  <a:pt x="2046" y="309"/>
                  <a:pt x="2045" y="309"/>
                  <a:pt x="2045" y="309"/>
                </a:cubicBezTo>
                <a:cubicBezTo>
                  <a:pt x="2044" y="309"/>
                  <a:pt x="2045" y="309"/>
                  <a:pt x="2044" y="309"/>
                </a:cubicBezTo>
                <a:cubicBezTo>
                  <a:pt x="2044" y="310"/>
                  <a:pt x="2043" y="309"/>
                  <a:pt x="2043" y="309"/>
                </a:cubicBezTo>
                <a:cubicBezTo>
                  <a:pt x="2043" y="309"/>
                  <a:pt x="2043" y="309"/>
                  <a:pt x="2043" y="309"/>
                </a:cubicBezTo>
                <a:cubicBezTo>
                  <a:pt x="2043" y="309"/>
                  <a:pt x="2042" y="309"/>
                  <a:pt x="2042" y="308"/>
                </a:cubicBezTo>
                <a:cubicBezTo>
                  <a:pt x="2042" y="308"/>
                  <a:pt x="2041" y="308"/>
                  <a:pt x="2040" y="308"/>
                </a:cubicBezTo>
                <a:cubicBezTo>
                  <a:pt x="2040" y="309"/>
                  <a:pt x="2040" y="310"/>
                  <a:pt x="2040" y="310"/>
                </a:cubicBezTo>
                <a:cubicBezTo>
                  <a:pt x="2040" y="311"/>
                  <a:pt x="2040" y="311"/>
                  <a:pt x="2040" y="312"/>
                </a:cubicBezTo>
                <a:cubicBezTo>
                  <a:pt x="2039" y="312"/>
                  <a:pt x="2039" y="312"/>
                  <a:pt x="2039" y="312"/>
                </a:cubicBezTo>
                <a:cubicBezTo>
                  <a:pt x="2038" y="311"/>
                  <a:pt x="2037" y="311"/>
                  <a:pt x="2037" y="312"/>
                </a:cubicBezTo>
                <a:cubicBezTo>
                  <a:pt x="2037" y="312"/>
                  <a:pt x="2037" y="312"/>
                  <a:pt x="2037" y="313"/>
                </a:cubicBezTo>
                <a:cubicBezTo>
                  <a:pt x="2038" y="313"/>
                  <a:pt x="2038" y="313"/>
                  <a:pt x="2038" y="314"/>
                </a:cubicBezTo>
                <a:cubicBezTo>
                  <a:pt x="2038" y="314"/>
                  <a:pt x="2040" y="314"/>
                  <a:pt x="2040" y="315"/>
                </a:cubicBezTo>
                <a:cubicBezTo>
                  <a:pt x="2040" y="315"/>
                  <a:pt x="2039" y="315"/>
                  <a:pt x="2039" y="315"/>
                </a:cubicBezTo>
                <a:cubicBezTo>
                  <a:pt x="2038" y="315"/>
                  <a:pt x="2038" y="315"/>
                  <a:pt x="2038" y="316"/>
                </a:cubicBezTo>
                <a:cubicBezTo>
                  <a:pt x="2037" y="316"/>
                  <a:pt x="2037" y="316"/>
                  <a:pt x="2037" y="317"/>
                </a:cubicBezTo>
                <a:cubicBezTo>
                  <a:pt x="2037" y="317"/>
                  <a:pt x="2036" y="317"/>
                  <a:pt x="2036" y="318"/>
                </a:cubicBezTo>
                <a:cubicBezTo>
                  <a:pt x="2036" y="318"/>
                  <a:pt x="2038" y="319"/>
                  <a:pt x="2037" y="319"/>
                </a:cubicBezTo>
                <a:cubicBezTo>
                  <a:pt x="2036" y="320"/>
                  <a:pt x="2035" y="319"/>
                  <a:pt x="2034" y="319"/>
                </a:cubicBezTo>
                <a:cubicBezTo>
                  <a:pt x="2033" y="319"/>
                  <a:pt x="2032" y="319"/>
                  <a:pt x="2031" y="320"/>
                </a:cubicBezTo>
                <a:cubicBezTo>
                  <a:pt x="2030" y="320"/>
                  <a:pt x="2030" y="321"/>
                  <a:pt x="2029" y="321"/>
                </a:cubicBezTo>
                <a:cubicBezTo>
                  <a:pt x="2028" y="321"/>
                  <a:pt x="2028" y="322"/>
                  <a:pt x="2027" y="322"/>
                </a:cubicBezTo>
                <a:cubicBezTo>
                  <a:pt x="2027" y="323"/>
                  <a:pt x="2027" y="323"/>
                  <a:pt x="2026" y="324"/>
                </a:cubicBezTo>
                <a:cubicBezTo>
                  <a:pt x="2026" y="324"/>
                  <a:pt x="2025" y="324"/>
                  <a:pt x="2025" y="325"/>
                </a:cubicBezTo>
                <a:cubicBezTo>
                  <a:pt x="2026" y="325"/>
                  <a:pt x="2026" y="326"/>
                  <a:pt x="2026" y="327"/>
                </a:cubicBezTo>
                <a:cubicBezTo>
                  <a:pt x="2025" y="327"/>
                  <a:pt x="2025" y="327"/>
                  <a:pt x="2025" y="328"/>
                </a:cubicBezTo>
                <a:cubicBezTo>
                  <a:pt x="2025" y="328"/>
                  <a:pt x="2025" y="328"/>
                  <a:pt x="2026" y="328"/>
                </a:cubicBezTo>
                <a:cubicBezTo>
                  <a:pt x="2026" y="328"/>
                  <a:pt x="2026" y="329"/>
                  <a:pt x="2027" y="329"/>
                </a:cubicBezTo>
                <a:cubicBezTo>
                  <a:pt x="2027" y="329"/>
                  <a:pt x="2028" y="328"/>
                  <a:pt x="2028" y="328"/>
                </a:cubicBezTo>
                <a:cubicBezTo>
                  <a:pt x="2029" y="329"/>
                  <a:pt x="2026" y="329"/>
                  <a:pt x="2026" y="329"/>
                </a:cubicBezTo>
                <a:cubicBezTo>
                  <a:pt x="2026" y="330"/>
                  <a:pt x="2025" y="330"/>
                  <a:pt x="2025" y="330"/>
                </a:cubicBezTo>
                <a:cubicBezTo>
                  <a:pt x="2024" y="330"/>
                  <a:pt x="2024" y="330"/>
                  <a:pt x="2024" y="329"/>
                </a:cubicBezTo>
                <a:cubicBezTo>
                  <a:pt x="2024" y="329"/>
                  <a:pt x="2023" y="329"/>
                  <a:pt x="2023" y="329"/>
                </a:cubicBezTo>
                <a:cubicBezTo>
                  <a:pt x="2023" y="328"/>
                  <a:pt x="2022" y="328"/>
                  <a:pt x="2022" y="328"/>
                </a:cubicBezTo>
                <a:cubicBezTo>
                  <a:pt x="2023" y="328"/>
                  <a:pt x="2022" y="327"/>
                  <a:pt x="2022" y="327"/>
                </a:cubicBezTo>
                <a:cubicBezTo>
                  <a:pt x="2022" y="327"/>
                  <a:pt x="2021" y="327"/>
                  <a:pt x="2021" y="327"/>
                </a:cubicBezTo>
                <a:cubicBezTo>
                  <a:pt x="2020" y="326"/>
                  <a:pt x="2022" y="326"/>
                  <a:pt x="2022" y="326"/>
                </a:cubicBezTo>
                <a:cubicBezTo>
                  <a:pt x="2022" y="326"/>
                  <a:pt x="2022" y="325"/>
                  <a:pt x="2022" y="325"/>
                </a:cubicBezTo>
                <a:cubicBezTo>
                  <a:pt x="2022" y="325"/>
                  <a:pt x="2021" y="325"/>
                  <a:pt x="2021" y="325"/>
                </a:cubicBezTo>
                <a:cubicBezTo>
                  <a:pt x="2020" y="324"/>
                  <a:pt x="2021" y="324"/>
                  <a:pt x="2021" y="324"/>
                </a:cubicBezTo>
                <a:cubicBezTo>
                  <a:pt x="2021" y="324"/>
                  <a:pt x="2021" y="324"/>
                  <a:pt x="2022" y="324"/>
                </a:cubicBezTo>
                <a:cubicBezTo>
                  <a:pt x="2022" y="324"/>
                  <a:pt x="2022" y="324"/>
                  <a:pt x="2022" y="323"/>
                </a:cubicBezTo>
                <a:cubicBezTo>
                  <a:pt x="2022" y="323"/>
                  <a:pt x="2022" y="323"/>
                  <a:pt x="2022" y="323"/>
                </a:cubicBezTo>
                <a:cubicBezTo>
                  <a:pt x="2023" y="323"/>
                  <a:pt x="2022" y="323"/>
                  <a:pt x="2022" y="323"/>
                </a:cubicBezTo>
                <a:cubicBezTo>
                  <a:pt x="2021" y="323"/>
                  <a:pt x="2021" y="323"/>
                  <a:pt x="2021" y="322"/>
                </a:cubicBezTo>
                <a:cubicBezTo>
                  <a:pt x="2021" y="322"/>
                  <a:pt x="2021" y="322"/>
                  <a:pt x="2020" y="322"/>
                </a:cubicBezTo>
                <a:cubicBezTo>
                  <a:pt x="2020" y="322"/>
                  <a:pt x="2019" y="322"/>
                  <a:pt x="2019" y="322"/>
                </a:cubicBezTo>
                <a:cubicBezTo>
                  <a:pt x="2018" y="322"/>
                  <a:pt x="2015" y="321"/>
                  <a:pt x="2015" y="322"/>
                </a:cubicBezTo>
                <a:cubicBezTo>
                  <a:pt x="2015" y="322"/>
                  <a:pt x="2016" y="322"/>
                  <a:pt x="2016" y="322"/>
                </a:cubicBezTo>
                <a:cubicBezTo>
                  <a:pt x="2016" y="323"/>
                  <a:pt x="2016" y="323"/>
                  <a:pt x="2016" y="323"/>
                </a:cubicBezTo>
                <a:cubicBezTo>
                  <a:pt x="2017" y="323"/>
                  <a:pt x="2017" y="323"/>
                  <a:pt x="2018" y="323"/>
                </a:cubicBezTo>
                <a:cubicBezTo>
                  <a:pt x="2018" y="324"/>
                  <a:pt x="2017" y="324"/>
                  <a:pt x="2017" y="324"/>
                </a:cubicBezTo>
                <a:cubicBezTo>
                  <a:pt x="2017" y="324"/>
                  <a:pt x="2016" y="324"/>
                  <a:pt x="2016" y="324"/>
                </a:cubicBezTo>
                <a:cubicBezTo>
                  <a:pt x="2015" y="324"/>
                  <a:pt x="2015" y="324"/>
                  <a:pt x="2015" y="324"/>
                </a:cubicBezTo>
                <a:cubicBezTo>
                  <a:pt x="2015" y="325"/>
                  <a:pt x="2015" y="326"/>
                  <a:pt x="2015" y="326"/>
                </a:cubicBezTo>
                <a:cubicBezTo>
                  <a:pt x="2016" y="326"/>
                  <a:pt x="2016" y="327"/>
                  <a:pt x="2016" y="327"/>
                </a:cubicBezTo>
                <a:cubicBezTo>
                  <a:pt x="2015" y="327"/>
                  <a:pt x="2015" y="327"/>
                  <a:pt x="2014" y="327"/>
                </a:cubicBezTo>
                <a:cubicBezTo>
                  <a:pt x="2014" y="327"/>
                  <a:pt x="2014" y="326"/>
                  <a:pt x="2013" y="326"/>
                </a:cubicBezTo>
                <a:cubicBezTo>
                  <a:pt x="2013" y="326"/>
                  <a:pt x="2012" y="326"/>
                  <a:pt x="2012" y="326"/>
                </a:cubicBezTo>
                <a:cubicBezTo>
                  <a:pt x="2011" y="326"/>
                  <a:pt x="2011" y="326"/>
                  <a:pt x="2011" y="325"/>
                </a:cubicBezTo>
                <a:cubicBezTo>
                  <a:pt x="2010" y="325"/>
                  <a:pt x="2009" y="325"/>
                  <a:pt x="2008" y="325"/>
                </a:cubicBezTo>
                <a:cubicBezTo>
                  <a:pt x="2007" y="325"/>
                  <a:pt x="2006" y="325"/>
                  <a:pt x="2006" y="325"/>
                </a:cubicBezTo>
                <a:cubicBezTo>
                  <a:pt x="2005" y="325"/>
                  <a:pt x="2004" y="325"/>
                  <a:pt x="2003" y="325"/>
                </a:cubicBezTo>
                <a:cubicBezTo>
                  <a:pt x="2003" y="325"/>
                  <a:pt x="2002" y="324"/>
                  <a:pt x="2002" y="325"/>
                </a:cubicBezTo>
                <a:cubicBezTo>
                  <a:pt x="2002" y="325"/>
                  <a:pt x="2003" y="325"/>
                  <a:pt x="2004" y="325"/>
                </a:cubicBezTo>
                <a:cubicBezTo>
                  <a:pt x="2004" y="326"/>
                  <a:pt x="2005" y="326"/>
                  <a:pt x="2005" y="326"/>
                </a:cubicBezTo>
                <a:cubicBezTo>
                  <a:pt x="2005" y="326"/>
                  <a:pt x="2005" y="326"/>
                  <a:pt x="2006" y="327"/>
                </a:cubicBezTo>
                <a:cubicBezTo>
                  <a:pt x="2006" y="327"/>
                  <a:pt x="2006" y="327"/>
                  <a:pt x="2006" y="327"/>
                </a:cubicBezTo>
                <a:cubicBezTo>
                  <a:pt x="2007" y="327"/>
                  <a:pt x="2007" y="328"/>
                  <a:pt x="2007" y="328"/>
                </a:cubicBezTo>
                <a:cubicBezTo>
                  <a:pt x="2008" y="328"/>
                  <a:pt x="2009" y="328"/>
                  <a:pt x="2010" y="328"/>
                </a:cubicBezTo>
                <a:cubicBezTo>
                  <a:pt x="2010" y="327"/>
                  <a:pt x="2010" y="327"/>
                  <a:pt x="2011" y="327"/>
                </a:cubicBezTo>
                <a:cubicBezTo>
                  <a:pt x="2011" y="327"/>
                  <a:pt x="2012" y="327"/>
                  <a:pt x="2012" y="327"/>
                </a:cubicBezTo>
                <a:cubicBezTo>
                  <a:pt x="2012" y="327"/>
                  <a:pt x="2012" y="328"/>
                  <a:pt x="2012" y="328"/>
                </a:cubicBezTo>
                <a:cubicBezTo>
                  <a:pt x="2012" y="328"/>
                  <a:pt x="2012" y="329"/>
                  <a:pt x="2012" y="329"/>
                </a:cubicBezTo>
                <a:cubicBezTo>
                  <a:pt x="2012" y="330"/>
                  <a:pt x="2012" y="330"/>
                  <a:pt x="2011" y="330"/>
                </a:cubicBezTo>
                <a:cubicBezTo>
                  <a:pt x="2011" y="331"/>
                  <a:pt x="2010" y="331"/>
                  <a:pt x="2010" y="331"/>
                </a:cubicBezTo>
                <a:cubicBezTo>
                  <a:pt x="2010" y="331"/>
                  <a:pt x="2010" y="331"/>
                  <a:pt x="2011" y="332"/>
                </a:cubicBezTo>
                <a:cubicBezTo>
                  <a:pt x="2011" y="332"/>
                  <a:pt x="2011" y="332"/>
                  <a:pt x="2011" y="332"/>
                </a:cubicBezTo>
                <a:cubicBezTo>
                  <a:pt x="2011" y="333"/>
                  <a:pt x="2011" y="334"/>
                  <a:pt x="2010" y="333"/>
                </a:cubicBezTo>
                <a:cubicBezTo>
                  <a:pt x="2010" y="333"/>
                  <a:pt x="2010" y="333"/>
                  <a:pt x="2009" y="333"/>
                </a:cubicBezTo>
                <a:cubicBezTo>
                  <a:pt x="2009" y="332"/>
                  <a:pt x="2008" y="332"/>
                  <a:pt x="2007" y="332"/>
                </a:cubicBezTo>
                <a:cubicBezTo>
                  <a:pt x="2007" y="332"/>
                  <a:pt x="2007" y="332"/>
                  <a:pt x="2006" y="332"/>
                </a:cubicBezTo>
                <a:cubicBezTo>
                  <a:pt x="2006" y="331"/>
                  <a:pt x="2005" y="331"/>
                  <a:pt x="2004" y="330"/>
                </a:cubicBezTo>
                <a:cubicBezTo>
                  <a:pt x="2004" y="330"/>
                  <a:pt x="2002" y="329"/>
                  <a:pt x="2002" y="330"/>
                </a:cubicBezTo>
                <a:cubicBezTo>
                  <a:pt x="2002" y="331"/>
                  <a:pt x="2003" y="331"/>
                  <a:pt x="2003" y="331"/>
                </a:cubicBezTo>
                <a:cubicBezTo>
                  <a:pt x="2002" y="332"/>
                  <a:pt x="2002" y="332"/>
                  <a:pt x="2002" y="332"/>
                </a:cubicBezTo>
                <a:cubicBezTo>
                  <a:pt x="2002" y="333"/>
                  <a:pt x="2001" y="333"/>
                  <a:pt x="2000" y="333"/>
                </a:cubicBezTo>
                <a:cubicBezTo>
                  <a:pt x="2000" y="333"/>
                  <a:pt x="2000" y="332"/>
                  <a:pt x="2000" y="332"/>
                </a:cubicBezTo>
                <a:cubicBezTo>
                  <a:pt x="2000" y="331"/>
                  <a:pt x="1999" y="331"/>
                  <a:pt x="1999" y="331"/>
                </a:cubicBezTo>
                <a:cubicBezTo>
                  <a:pt x="1998" y="331"/>
                  <a:pt x="1998" y="331"/>
                  <a:pt x="1997" y="332"/>
                </a:cubicBezTo>
                <a:cubicBezTo>
                  <a:pt x="1997" y="332"/>
                  <a:pt x="1996" y="332"/>
                  <a:pt x="1996" y="332"/>
                </a:cubicBezTo>
                <a:cubicBezTo>
                  <a:pt x="1995" y="332"/>
                  <a:pt x="1995" y="333"/>
                  <a:pt x="1994" y="333"/>
                </a:cubicBezTo>
                <a:cubicBezTo>
                  <a:pt x="1994" y="333"/>
                  <a:pt x="1993" y="334"/>
                  <a:pt x="1993" y="334"/>
                </a:cubicBezTo>
                <a:cubicBezTo>
                  <a:pt x="1994" y="334"/>
                  <a:pt x="1994" y="334"/>
                  <a:pt x="1994" y="335"/>
                </a:cubicBezTo>
                <a:cubicBezTo>
                  <a:pt x="1994" y="335"/>
                  <a:pt x="1994" y="336"/>
                  <a:pt x="1994" y="336"/>
                </a:cubicBezTo>
                <a:cubicBezTo>
                  <a:pt x="1994" y="336"/>
                  <a:pt x="1995" y="337"/>
                  <a:pt x="1995" y="337"/>
                </a:cubicBezTo>
                <a:cubicBezTo>
                  <a:pt x="1995" y="338"/>
                  <a:pt x="1993" y="337"/>
                  <a:pt x="1993" y="338"/>
                </a:cubicBezTo>
                <a:cubicBezTo>
                  <a:pt x="1993" y="338"/>
                  <a:pt x="1993" y="339"/>
                  <a:pt x="1993" y="339"/>
                </a:cubicBezTo>
                <a:cubicBezTo>
                  <a:pt x="1993" y="340"/>
                  <a:pt x="1992" y="340"/>
                  <a:pt x="1992" y="340"/>
                </a:cubicBezTo>
                <a:cubicBezTo>
                  <a:pt x="1992" y="341"/>
                  <a:pt x="1991" y="341"/>
                  <a:pt x="1991" y="342"/>
                </a:cubicBezTo>
                <a:cubicBezTo>
                  <a:pt x="1990" y="342"/>
                  <a:pt x="1990" y="343"/>
                  <a:pt x="1990" y="342"/>
                </a:cubicBezTo>
                <a:cubicBezTo>
                  <a:pt x="1990" y="342"/>
                  <a:pt x="1990" y="342"/>
                  <a:pt x="1990" y="341"/>
                </a:cubicBezTo>
                <a:cubicBezTo>
                  <a:pt x="1991" y="341"/>
                  <a:pt x="1991" y="340"/>
                  <a:pt x="1991" y="339"/>
                </a:cubicBezTo>
                <a:cubicBezTo>
                  <a:pt x="1991" y="338"/>
                  <a:pt x="1991" y="338"/>
                  <a:pt x="1992" y="338"/>
                </a:cubicBezTo>
                <a:cubicBezTo>
                  <a:pt x="1992" y="337"/>
                  <a:pt x="1992" y="337"/>
                  <a:pt x="1993" y="337"/>
                </a:cubicBezTo>
                <a:cubicBezTo>
                  <a:pt x="1993" y="336"/>
                  <a:pt x="1992" y="335"/>
                  <a:pt x="1992" y="334"/>
                </a:cubicBezTo>
                <a:cubicBezTo>
                  <a:pt x="1992" y="333"/>
                  <a:pt x="1993" y="333"/>
                  <a:pt x="1993" y="332"/>
                </a:cubicBezTo>
                <a:cubicBezTo>
                  <a:pt x="1993" y="331"/>
                  <a:pt x="1993" y="331"/>
                  <a:pt x="1993" y="330"/>
                </a:cubicBezTo>
                <a:cubicBezTo>
                  <a:pt x="1992" y="330"/>
                  <a:pt x="1992" y="329"/>
                  <a:pt x="1992" y="329"/>
                </a:cubicBezTo>
                <a:cubicBezTo>
                  <a:pt x="1991" y="329"/>
                  <a:pt x="1991" y="330"/>
                  <a:pt x="1991" y="330"/>
                </a:cubicBezTo>
                <a:cubicBezTo>
                  <a:pt x="1990" y="330"/>
                  <a:pt x="1990" y="330"/>
                  <a:pt x="1990" y="331"/>
                </a:cubicBezTo>
                <a:cubicBezTo>
                  <a:pt x="1990" y="331"/>
                  <a:pt x="1989" y="331"/>
                  <a:pt x="1989" y="331"/>
                </a:cubicBezTo>
                <a:cubicBezTo>
                  <a:pt x="1989" y="331"/>
                  <a:pt x="1989" y="332"/>
                  <a:pt x="1989" y="332"/>
                </a:cubicBezTo>
                <a:cubicBezTo>
                  <a:pt x="1988" y="333"/>
                  <a:pt x="1988" y="332"/>
                  <a:pt x="1988" y="332"/>
                </a:cubicBezTo>
                <a:cubicBezTo>
                  <a:pt x="1987" y="332"/>
                  <a:pt x="1988" y="333"/>
                  <a:pt x="1987" y="333"/>
                </a:cubicBezTo>
                <a:cubicBezTo>
                  <a:pt x="1987" y="334"/>
                  <a:pt x="1986" y="334"/>
                  <a:pt x="1986" y="335"/>
                </a:cubicBezTo>
                <a:cubicBezTo>
                  <a:pt x="1986" y="335"/>
                  <a:pt x="1986" y="336"/>
                  <a:pt x="1986" y="336"/>
                </a:cubicBezTo>
                <a:cubicBezTo>
                  <a:pt x="1986" y="336"/>
                  <a:pt x="1986" y="336"/>
                  <a:pt x="1987" y="336"/>
                </a:cubicBezTo>
                <a:cubicBezTo>
                  <a:pt x="1987" y="337"/>
                  <a:pt x="1987" y="337"/>
                  <a:pt x="1988" y="337"/>
                </a:cubicBezTo>
                <a:cubicBezTo>
                  <a:pt x="1988" y="337"/>
                  <a:pt x="1988" y="337"/>
                  <a:pt x="1988" y="338"/>
                </a:cubicBezTo>
                <a:cubicBezTo>
                  <a:pt x="1988" y="339"/>
                  <a:pt x="1988" y="338"/>
                  <a:pt x="1987" y="339"/>
                </a:cubicBezTo>
                <a:cubicBezTo>
                  <a:pt x="1987" y="339"/>
                  <a:pt x="1987" y="339"/>
                  <a:pt x="1986" y="339"/>
                </a:cubicBezTo>
                <a:cubicBezTo>
                  <a:pt x="1986" y="340"/>
                  <a:pt x="1985" y="340"/>
                  <a:pt x="1985" y="341"/>
                </a:cubicBezTo>
                <a:cubicBezTo>
                  <a:pt x="1984" y="341"/>
                  <a:pt x="1984" y="340"/>
                  <a:pt x="1984" y="339"/>
                </a:cubicBezTo>
                <a:cubicBezTo>
                  <a:pt x="1984" y="339"/>
                  <a:pt x="1984" y="338"/>
                  <a:pt x="1985" y="338"/>
                </a:cubicBezTo>
                <a:cubicBezTo>
                  <a:pt x="1985" y="338"/>
                  <a:pt x="1985" y="338"/>
                  <a:pt x="1985" y="337"/>
                </a:cubicBezTo>
                <a:cubicBezTo>
                  <a:pt x="1986" y="337"/>
                  <a:pt x="1985" y="336"/>
                  <a:pt x="1985" y="336"/>
                </a:cubicBezTo>
                <a:cubicBezTo>
                  <a:pt x="1985" y="335"/>
                  <a:pt x="1985" y="334"/>
                  <a:pt x="1985" y="334"/>
                </a:cubicBezTo>
                <a:cubicBezTo>
                  <a:pt x="1985" y="332"/>
                  <a:pt x="1984" y="333"/>
                  <a:pt x="1983" y="333"/>
                </a:cubicBezTo>
                <a:cubicBezTo>
                  <a:pt x="1983" y="333"/>
                  <a:pt x="1982" y="333"/>
                  <a:pt x="1982" y="333"/>
                </a:cubicBezTo>
                <a:cubicBezTo>
                  <a:pt x="1981" y="333"/>
                  <a:pt x="1980" y="333"/>
                  <a:pt x="1979" y="334"/>
                </a:cubicBezTo>
                <a:cubicBezTo>
                  <a:pt x="1979" y="334"/>
                  <a:pt x="1978" y="334"/>
                  <a:pt x="1978" y="335"/>
                </a:cubicBezTo>
                <a:cubicBezTo>
                  <a:pt x="1977" y="335"/>
                  <a:pt x="1977" y="336"/>
                  <a:pt x="1977" y="336"/>
                </a:cubicBezTo>
                <a:cubicBezTo>
                  <a:pt x="1976" y="337"/>
                  <a:pt x="1977" y="337"/>
                  <a:pt x="1977" y="337"/>
                </a:cubicBezTo>
                <a:cubicBezTo>
                  <a:pt x="1978" y="337"/>
                  <a:pt x="1978" y="338"/>
                  <a:pt x="1978" y="338"/>
                </a:cubicBezTo>
                <a:cubicBezTo>
                  <a:pt x="1978" y="338"/>
                  <a:pt x="1979" y="338"/>
                  <a:pt x="1979" y="338"/>
                </a:cubicBezTo>
                <a:cubicBezTo>
                  <a:pt x="1980" y="339"/>
                  <a:pt x="1978" y="339"/>
                  <a:pt x="1978" y="339"/>
                </a:cubicBezTo>
                <a:cubicBezTo>
                  <a:pt x="1977" y="339"/>
                  <a:pt x="1977" y="339"/>
                  <a:pt x="1977" y="339"/>
                </a:cubicBezTo>
                <a:cubicBezTo>
                  <a:pt x="1977" y="340"/>
                  <a:pt x="1978" y="340"/>
                  <a:pt x="1977" y="340"/>
                </a:cubicBezTo>
                <a:cubicBezTo>
                  <a:pt x="1977" y="341"/>
                  <a:pt x="1977" y="340"/>
                  <a:pt x="1977" y="340"/>
                </a:cubicBezTo>
                <a:cubicBezTo>
                  <a:pt x="1976" y="340"/>
                  <a:pt x="1976" y="340"/>
                  <a:pt x="1976" y="340"/>
                </a:cubicBezTo>
                <a:cubicBezTo>
                  <a:pt x="1975" y="340"/>
                  <a:pt x="1974" y="339"/>
                  <a:pt x="1973" y="339"/>
                </a:cubicBezTo>
                <a:cubicBezTo>
                  <a:pt x="1973" y="339"/>
                  <a:pt x="1972" y="338"/>
                  <a:pt x="1971" y="339"/>
                </a:cubicBezTo>
                <a:cubicBezTo>
                  <a:pt x="1971" y="340"/>
                  <a:pt x="1972" y="340"/>
                  <a:pt x="1972" y="340"/>
                </a:cubicBezTo>
                <a:cubicBezTo>
                  <a:pt x="1973" y="340"/>
                  <a:pt x="1973" y="340"/>
                  <a:pt x="1973" y="340"/>
                </a:cubicBezTo>
                <a:cubicBezTo>
                  <a:pt x="1973" y="341"/>
                  <a:pt x="1974" y="341"/>
                  <a:pt x="1975" y="342"/>
                </a:cubicBezTo>
                <a:cubicBezTo>
                  <a:pt x="1975" y="342"/>
                  <a:pt x="1975" y="342"/>
                  <a:pt x="1975" y="343"/>
                </a:cubicBezTo>
                <a:cubicBezTo>
                  <a:pt x="1976" y="343"/>
                  <a:pt x="1976" y="343"/>
                  <a:pt x="1976" y="344"/>
                </a:cubicBezTo>
                <a:cubicBezTo>
                  <a:pt x="1975" y="344"/>
                  <a:pt x="1974" y="343"/>
                  <a:pt x="1974" y="343"/>
                </a:cubicBezTo>
                <a:cubicBezTo>
                  <a:pt x="1973" y="343"/>
                  <a:pt x="1973" y="343"/>
                  <a:pt x="1973" y="343"/>
                </a:cubicBezTo>
                <a:cubicBezTo>
                  <a:pt x="1972" y="343"/>
                  <a:pt x="1972" y="343"/>
                  <a:pt x="1972" y="343"/>
                </a:cubicBezTo>
                <a:cubicBezTo>
                  <a:pt x="1971" y="343"/>
                  <a:pt x="1971" y="343"/>
                  <a:pt x="1970" y="342"/>
                </a:cubicBezTo>
                <a:cubicBezTo>
                  <a:pt x="1970" y="342"/>
                  <a:pt x="1970" y="342"/>
                  <a:pt x="1970" y="341"/>
                </a:cubicBezTo>
                <a:cubicBezTo>
                  <a:pt x="1969" y="341"/>
                  <a:pt x="1969" y="341"/>
                  <a:pt x="1970" y="340"/>
                </a:cubicBezTo>
                <a:cubicBezTo>
                  <a:pt x="1970" y="340"/>
                  <a:pt x="1968" y="339"/>
                  <a:pt x="1968" y="340"/>
                </a:cubicBezTo>
                <a:cubicBezTo>
                  <a:pt x="1968" y="340"/>
                  <a:pt x="1967" y="340"/>
                  <a:pt x="1967" y="340"/>
                </a:cubicBezTo>
                <a:cubicBezTo>
                  <a:pt x="1967" y="341"/>
                  <a:pt x="1967" y="341"/>
                  <a:pt x="1967" y="341"/>
                </a:cubicBezTo>
                <a:cubicBezTo>
                  <a:pt x="1966" y="342"/>
                  <a:pt x="1966" y="340"/>
                  <a:pt x="1966" y="340"/>
                </a:cubicBezTo>
                <a:cubicBezTo>
                  <a:pt x="1966" y="339"/>
                  <a:pt x="1966" y="339"/>
                  <a:pt x="1965" y="339"/>
                </a:cubicBezTo>
                <a:cubicBezTo>
                  <a:pt x="1965" y="339"/>
                  <a:pt x="1965" y="338"/>
                  <a:pt x="1964" y="338"/>
                </a:cubicBezTo>
                <a:cubicBezTo>
                  <a:pt x="1963" y="338"/>
                  <a:pt x="1963" y="339"/>
                  <a:pt x="1962" y="338"/>
                </a:cubicBezTo>
                <a:cubicBezTo>
                  <a:pt x="1962" y="338"/>
                  <a:pt x="1962" y="337"/>
                  <a:pt x="1962" y="337"/>
                </a:cubicBezTo>
                <a:cubicBezTo>
                  <a:pt x="1961" y="337"/>
                  <a:pt x="1961" y="338"/>
                  <a:pt x="1961" y="338"/>
                </a:cubicBezTo>
                <a:cubicBezTo>
                  <a:pt x="1961" y="338"/>
                  <a:pt x="1961" y="338"/>
                  <a:pt x="1960" y="337"/>
                </a:cubicBezTo>
                <a:cubicBezTo>
                  <a:pt x="1960" y="337"/>
                  <a:pt x="1960" y="337"/>
                  <a:pt x="1960" y="337"/>
                </a:cubicBezTo>
                <a:cubicBezTo>
                  <a:pt x="1960" y="338"/>
                  <a:pt x="1960" y="338"/>
                  <a:pt x="1960" y="338"/>
                </a:cubicBezTo>
                <a:cubicBezTo>
                  <a:pt x="1961" y="338"/>
                  <a:pt x="1961" y="339"/>
                  <a:pt x="1961" y="339"/>
                </a:cubicBezTo>
                <a:cubicBezTo>
                  <a:pt x="1961" y="340"/>
                  <a:pt x="1961" y="340"/>
                  <a:pt x="1961" y="340"/>
                </a:cubicBezTo>
                <a:cubicBezTo>
                  <a:pt x="1960" y="339"/>
                  <a:pt x="1960" y="339"/>
                  <a:pt x="1960" y="339"/>
                </a:cubicBezTo>
                <a:cubicBezTo>
                  <a:pt x="1959" y="339"/>
                  <a:pt x="1959" y="339"/>
                  <a:pt x="1959" y="339"/>
                </a:cubicBezTo>
                <a:cubicBezTo>
                  <a:pt x="1958" y="339"/>
                  <a:pt x="1958" y="339"/>
                  <a:pt x="1957" y="339"/>
                </a:cubicBezTo>
                <a:cubicBezTo>
                  <a:pt x="1957" y="339"/>
                  <a:pt x="1956" y="339"/>
                  <a:pt x="1956" y="339"/>
                </a:cubicBezTo>
                <a:cubicBezTo>
                  <a:pt x="1956" y="340"/>
                  <a:pt x="1956" y="340"/>
                  <a:pt x="1957" y="340"/>
                </a:cubicBezTo>
                <a:cubicBezTo>
                  <a:pt x="1957" y="340"/>
                  <a:pt x="1957" y="340"/>
                  <a:pt x="1957" y="341"/>
                </a:cubicBezTo>
                <a:cubicBezTo>
                  <a:pt x="1958" y="341"/>
                  <a:pt x="1958" y="341"/>
                  <a:pt x="1958" y="341"/>
                </a:cubicBezTo>
                <a:cubicBezTo>
                  <a:pt x="1958" y="341"/>
                  <a:pt x="1957" y="341"/>
                  <a:pt x="1957" y="341"/>
                </a:cubicBezTo>
                <a:cubicBezTo>
                  <a:pt x="1956" y="341"/>
                  <a:pt x="1955" y="341"/>
                  <a:pt x="1954" y="341"/>
                </a:cubicBezTo>
                <a:cubicBezTo>
                  <a:pt x="1953" y="342"/>
                  <a:pt x="1952" y="342"/>
                  <a:pt x="1953" y="343"/>
                </a:cubicBezTo>
                <a:cubicBezTo>
                  <a:pt x="1953" y="343"/>
                  <a:pt x="1953" y="343"/>
                  <a:pt x="1953" y="343"/>
                </a:cubicBezTo>
                <a:cubicBezTo>
                  <a:pt x="1954" y="343"/>
                  <a:pt x="1954" y="343"/>
                  <a:pt x="1954" y="344"/>
                </a:cubicBezTo>
                <a:cubicBezTo>
                  <a:pt x="1954" y="344"/>
                  <a:pt x="1954" y="344"/>
                  <a:pt x="1955" y="344"/>
                </a:cubicBezTo>
                <a:cubicBezTo>
                  <a:pt x="1956" y="345"/>
                  <a:pt x="1954" y="345"/>
                  <a:pt x="1953" y="345"/>
                </a:cubicBezTo>
                <a:cubicBezTo>
                  <a:pt x="1953" y="345"/>
                  <a:pt x="1953" y="345"/>
                  <a:pt x="1953" y="346"/>
                </a:cubicBezTo>
                <a:cubicBezTo>
                  <a:pt x="1954" y="346"/>
                  <a:pt x="1954" y="346"/>
                  <a:pt x="1954" y="346"/>
                </a:cubicBezTo>
                <a:cubicBezTo>
                  <a:pt x="1954" y="346"/>
                  <a:pt x="1953" y="346"/>
                  <a:pt x="1953" y="347"/>
                </a:cubicBezTo>
                <a:cubicBezTo>
                  <a:pt x="1953" y="347"/>
                  <a:pt x="1953" y="347"/>
                  <a:pt x="1952" y="347"/>
                </a:cubicBezTo>
                <a:cubicBezTo>
                  <a:pt x="1952" y="348"/>
                  <a:pt x="1952" y="348"/>
                  <a:pt x="1953" y="348"/>
                </a:cubicBezTo>
                <a:cubicBezTo>
                  <a:pt x="1953" y="348"/>
                  <a:pt x="1954" y="348"/>
                  <a:pt x="1954" y="348"/>
                </a:cubicBezTo>
                <a:cubicBezTo>
                  <a:pt x="1955" y="348"/>
                  <a:pt x="1955" y="348"/>
                  <a:pt x="1955" y="349"/>
                </a:cubicBezTo>
                <a:cubicBezTo>
                  <a:pt x="1955" y="350"/>
                  <a:pt x="1956" y="349"/>
                  <a:pt x="1957" y="349"/>
                </a:cubicBezTo>
                <a:cubicBezTo>
                  <a:pt x="1957" y="348"/>
                  <a:pt x="1957" y="348"/>
                  <a:pt x="1958" y="348"/>
                </a:cubicBezTo>
                <a:cubicBezTo>
                  <a:pt x="1958" y="348"/>
                  <a:pt x="1959" y="348"/>
                  <a:pt x="1959" y="347"/>
                </a:cubicBezTo>
                <a:cubicBezTo>
                  <a:pt x="1959" y="347"/>
                  <a:pt x="1960" y="347"/>
                  <a:pt x="1960" y="347"/>
                </a:cubicBezTo>
                <a:cubicBezTo>
                  <a:pt x="1961" y="347"/>
                  <a:pt x="1961" y="347"/>
                  <a:pt x="1962" y="347"/>
                </a:cubicBezTo>
                <a:cubicBezTo>
                  <a:pt x="1962" y="347"/>
                  <a:pt x="1962" y="346"/>
                  <a:pt x="1963" y="346"/>
                </a:cubicBezTo>
                <a:cubicBezTo>
                  <a:pt x="1964" y="346"/>
                  <a:pt x="1965" y="346"/>
                  <a:pt x="1965" y="345"/>
                </a:cubicBezTo>
                <a:cubicBezTo>
                  <a:pt x="1964" y="347"/>
                  <a:pt x="1963" y="346"/>
                  <a:pt x="1961" y="347"/>
                </a:cubicBezTo>
                <a:cubicBezTo>
                  <a:pt x="1961" y="348"/>
                  <a:pt x="1961" y="349"/>
                  <a:pt x="1961" y="350"/>
                </a:cubicBezTo>
                <a:cubicBezTo>
                  <a:pt x="1961" y="350"/>
                  <a:pt x="1962" y="350"/>
                  <a:pt x="1962" y="350"/>
                </a:cubicBezTo>
                <a:cubicBezTo>
                  <a:pt x="1962" y="351"/>
                  <a:pt x="1962" y="351"/>
                  <a:pt x="1963" y="351"/>
                </a:cubicBezTo>
                <a:cubicBezTo>
                  <a:pt x="1964" y="352"/>
                  <a:pt x="1962" y="352"/>
                  <a:pt x="1961" y="352"/>
                </a:cubicBezTo>
                <a:cubicBezTo>
                  <a:pt x="1961" y="352"/>
                  <a:pt x="1961" y="353"/>
                  <a:pt x="1960" y="353"/>
                </a:cubicBezTo>
                <a:cubicBezTo>
                  <a:pt x="1960" y="353"/>
                  <a:pt x="1959" y="353"/>
                  <a:pt x="1960" y="353"/>
                </a:cubicBezTo>
                <a:cubicBezTo>
                  <a:pt x="1960" y="353"/>
                  <a:pt x="1961" y="353"/>
                  <a:pt x="1961" y="353"/>
                </a:cubicBezTo>
                <a:cubicBezTo>
                  <a:pt x="1962" y="353"/>
                  <a:pt x="1962" y="354"/>
                  <a:pt x="1961" y="354"/>
                </a:cubicBezTo>
                <a:cubicBezTo>
                  <a:pt x="1961" y="354"/>
                  <a:pt x="1959" y="353"/>
                  <a:pt x="1959" y="353"/>
                </a:cubicBezTo>
                <a:cubicBezTo>
                  <a:pt x="1959" y="353"/>
                  <a:pt x="1960" y="354"/>
                  <a:pt x="1960" y="354"/>
                </a:cubicBezTo>
                <a:cubicBezTo>
                  <a:pt x="1960" y="354"/>
                  <a:pt x="1960" y="355"/>
                  <a:pt x="1960" y="355"/>
                </a:cubicBezTo>
                <a:cubicBezTo>
                  <a:pt x="1960" y="355"/>
                  <a:pt x="1960" y="355"/>
                  <a:pt x="1960" y="355"/>
                </a:cubicBezTo>
                <a:cubicBezTo>
                  <a:pt x="1959" y="356"/>
                  <a:pt x="1958" y="355"/>
                  <a:pt x="1957" y="355"/>
                </a:cubicBezTo>
                <a:cubicBezTo>
                  <a:pt x="1956" y="355"/>
                  <a:pt x="1956" y="355"/>
                  <a:pt x="1955" y="356"/>
                </a:cubicBezTo>
                <a:cubicBezTo>
                  <a:pt x="1954" y="356"/>
                  <a:pt x="1953" y="356"/>
                  <a:pt x="1952" y="356"/>
                </a:cubicBezTo>
                <a:cubicBezTo>
                  <a:pt x="1952" y="357"/>
                  <a:pt x="1951" y="357"/>
                  <a:pt x="1950" y="358"/>
                </a:cubicBezTo>
                <a:cubicBezTo>
                  <a:pt x="1950" y="358"/>
                  <a:pt x="1949" y="358"/>
                  <a:pt x="1949" y="359"/>
                </a:cubicBezTo>
                <a:cubicBezTo>
                  <a:pt x="1949" y="360"/>
                  <a:pt x="1949" y="360"/>
                  <a:pt x="1950" y="360"/>
                </a:cubicBezTo>
                <a:cubicBezTo>
                  <a:pt x="1951" y="360"/>
                  <a:pt x="1952" y="360"/>
                  <a:pt x="1953" y="360"/>
                </a:cubicBezTo>
                <a:cubicBezTo>
                  <a:pt x="1954" y="360"/>
                  <a:pt x="1954" y="360"/>
                  <a:pt x="1955" y="360"/>
                </a:cubicBezTo>
                <a:cubicBezTo>
                  <a:pt x="1956" y="360"/>
                  <a:pt x="1957" y="360"/>
                  <a:pt x="1957" y="360"/>
                </a:cubicBezTo>
                <a:cubicBezTo>
                  <a:pt x="1958" y="359"/>
                  <a:pt x="1959" y="359"/>
                  <a:pt x="1960" y="359"/>
                </a:cubicBezTo>
                <a:cubicBezTo>
                  <a:pt x="1960" y="359"/>
                  <a:pt x="1960" y="359"/>
                  <a:pt x="1961" y="360"/>
                </a:cubicBezTo>
                <a:cubicBezTo>
                  <a:pt x="1961" y="360"/>
                  <a:pt x="1961" y="360"/>
                  <a:pt x="1961" y="360"/>
                </a:cubicBezTo>
                <a:cubicBezTo>
                  <a:pt x="1962" y="361"/>
                  <a:pt x="1962" y="360"/>
                  <a:pt x="1963" y="361"/>
                </a:cubicBezTo>
                <a:cubicBezTo>
                  <a:pt x="1963" y="361"/>
                  <a:pt x="1963" y="362"/>
                  <a:pt x="1962" y="362"/>
                </a:cubicBezTo>
                <a:cubicBezTo>
                  <a:pt x="1961" y="362"/>
                  <a:pt x="1961" y="362"/>
                  <a:pt x="1960" y="362"/>
                </a:cubicBezTo>
                <a:cubicBezTo>
                  <a:pt x="1960" y="362"/>
                  <a:pt x="1960" y="363"/>
                  <a:pt x="1959" y="363"/>
                </a:cubicBezTo>
                <a:cubicBezTo>
                  <a:pt x="1959" y="363"/>
                  <a:pt x="1959" y="363"/>
                  <a:pt x="1958" y="364"/>
                </a:cubicBezTo>
                <a:cubicBezTo>
                  <a:pt x="1958" y="364"/>
                  <a:pt x="1958" y="364"/>
                  <a:pt x="1958" y="365"/>
                </a:cubicBezTo>
                <a:cubicBezTo>
                  <a:pt x="1957" y="365"/>
                  <a:pt x="1957" y="364"/>
                  <a:pt x="1957" y="364"/>
                </a:cubicBezTo>
                <a:cubicBezTo>
                  <a:pt x="1957" y="363"/>
                  <a:pt x="1957" y="363"/>
                  <a:pt x="1956" y="363"/>
                </a:cubicBezTo>
                <a:cubicBezTo>
                  <a:pt x="1956" y="363"/>
                  <a:pt x="1955" y="363"/>
                  <a:pt x="1955" y="362"/>
                </a:cubicBezTo>
                <a:cubicBezTo>
                  <a:pt x="1955" y="362"/>
                  <a:pt x="1954" y="361"/>
                  <a:pt x="1953" y="362"/>
                </a:cubicBezTo>
                <a:cubicBezTo>
                  <a:pt x="1953" y="362"/>
                  <a:pt x="1953" y="362"/>
                  <a:pt x="1953" y="363"/>
                </a:cubicBezTo>
                <a:cubicBezTo>
                  <a:pt x="1953" y="363"/>
                  <a:pt x="1953" y="363"/>
                  <a:pt x="1952" y="363"/>
                </a:cubicBezTo>
                <a:cubicBezTo>
                  <a:pt x="1952" y="363"/>
                  <a:pt x="1951" y="363"/>
                  <a:pt x="1951" y="364"/>
                </a:cubicBezTo>
                <a:cubicBezTo>
                  <a:pt x="1951" y="364"/>
                  <a:pt x="1950" y="365"/>
                  <a:pt x="1950" y="365"/>
                </a:cubicBezTo>
                <a:cubicBezTo>
                  <a:pt x="1949" y="365"/>
                  <a:pt x="1948" y="364"/>
                  <a:pt x="1948" y="365"/>
                </a:cubicBezTo>
                <a:cubicBezTo>
                  <a:pt x="1948" y="365"/>
                  <a:pt x="1950" y="365"/>
                  <a:pt x="1949" y="366"/>
                </a:cubicBezTo>
                <a:cubicBezTo>
                  <a:pt x="1949" y="366"/>
                  <a:pt x="1948" y="366"/>
                  <a:pt x="1948" y="366"/>
                </a:cubicBezTo>
                <a:cubicBezTo>
                  <a:pt x="1948" y="366"/>
                  <a:pt x="1947" y="367"/>
                  <a:pt x="1947" y="367"/>
                </a:cubicBezTo>
                <a:cubicBezTo>
                  <a:pt x="1948" y="367"/>
                  <a:pt x="1948" y="366"/>
                  <a:pt x="1948" y="367"/>
                </a:cubicBezTo>
                <a:cubicBezTo>
                  <a:pt x="1949" y="367"/>
                  <a:pt x="1950" y="367"/>
                  <a:pt x="1949" y="368"/>
                </a:cubicBezTo>
                <a:cubicBezTo>
                  <a:pt x="1949" y="368"/>
                  <a:pt x="1948" y="367"/>
                  <a:pt x="1947" y="368"/>
                </a:cubicBezTo>
                <a:cubicBezTo>
                  <a:pt x="1947" y="368"/>
                  <a:pt x="1947" y="368"/>
                  <a:pt x="1948" y="368"/>
                </a:cubicBezTo>
                <a:cubicBezTo>
                  <a:pt x="1948" y="369"/>
                  <a:pt x="1948" y="369"/>
                  <a:pt x="1948" y="369"/>
                </a:cubicBezTo>
                <a:cubicBezTo>
                  <a:pt x="1948" y="369"/>
                  <a:pt x="1949" y="369"/>
                  <a:pt x="1948" y="370"/>
                </a:cubicBezTo>
                <a:cubicBezTo>
                  <a:pt x="1948" y="370"/>
                  <a:pt x="1947" y="371"/>
                  <a:pt x="1947" y="371"/>
                </a:cubicBezTo>
                <a:cubicBezTo>
                  <a:pt x="1947" y="371"/>
                  <a:pt x="1947" y="371"/>
                  <a:pt x="1946" y="371"/>
                </a:cubicBezTo>
                <a:cubicBezTo>
                  <a:pt x="1946" y="371"/>
                  <a:pt x="1946" y="371"/>
                  <a:pt x="1946" y="371"/>
                </a:cubicBezTo>
                <a:cubicBezTo>
                  <a:pt x="1946" y="371"/>
                  <a:pt x="1946" y="371"/>
                  <a:pt x="1945" y="371"/>
                </a:cubicBezTo>
                <a:cubicBezTo>
                  <a:pt x="1945" y="371"/>
                  <a:pt x="1945" y="370"/>
                  <a:pt x="1945" y="370"/>
                </a:cubicBezTo>
                <a:cubicBezTo>
                  <a:pt x="1945" y="369"/>
                  <a:pt x="1945" y="369"/>
                  <a:pt x="1945" y="369"/>
                </a:cubicBezTo>
                <a:cubicBezTo>
                  <a:pt x="1945" y="368"/>
                  <a:pt x="1945" y="368"/>
                  <a:pt x="1944" y="368"/>
                </a:cubicBezTo>
                <a:cubicBezTo>
                  <a:pt x="1944" y="367"/>
                  <a:pt x="1944" y="366"/>
                  <a:pt x="1944" y="365"/>
                </a:cubicBezTo>
                <a:cubicBezTo>
                  <a:pt x="1944" y="365"/>
                  <a:pt x="1943" y="365"/>
                  <a:pt x="1943" y="365"/>
                </a:cubicBezTo>
                <a:cubicBezTo>
                  <a:pt x="1943" y="364"/>
                  <a:pt x="1943" y="364"/>
                  <a:pt x="1942" y="364"/>
                </a:cubicBezTo>
                <a:cubicBezTo>
                  <a:pt x="1942" y="364"/>
                  <a:pt x="1941" y="365"/>
                  <a:pt x="1941" y="365"/>
                </a:cubicBezTo>
                <a:cubicBezTo>
                  <a:pt x="1941" y="365"/>
                  <a:pt x="1940" y="366"/>
                  <a:pt x="1940" y="366"/>
                </a:cubicBezTo>
                <a:cubicBezTo>
                  <a:pt x="1940" y="367"/>
                  <a:pt x="1939" y="367"/>
                  <a:pt x="1938" y="368"/>
                </a:cubicBezTo>
                <a:cubicBezTo>
                  <a:pt x="1938" y="367"/>
                  <a:pt x="1939" y="367"/>
                  <a:pt x="1939" y="367"/>
                </a:cubicBezTo>
                <a:cubicBezTo>
                  <a:pt x="1939" y="366"/>
                  <a:pt x="1939" y="366"/>
                  <a:pt x="1939" y="366"/>
                </a:cubicBezTo>
                <a:cubicBezTo>
                  <a:pt x="1939" y="365"/>
                  <a:pt x="1939" y="365"/>
                  <a:pt x="1938" y="365"/>
                </a:cubicBezTo>
                <a:cubicBezTo>
                  <a:pt x="1938" y="366"/>
                  <a:pt x="1938" y="366"/>
                  <a:pt x="1937" y="366"/>
                </a:cubicBezTo>
                <a:cubicBezTo>
                  <a:pt x="1937" y="367"/>
                  <a:pt x="1937" y="366"/>
                  <a:pt x="1937" y="366"/>
                </a:cubicBezTo>
                <a:cubicBezTo>
                  <a:pt x="1937" y="366"/>
                  <a:pt x="1936" y="366"/>
                  <a:pt x="1936" y="366"/>
                </a:cubicBezTo>
                <a:cubicBezTo>
                  <a:pt x="1935" y="367"/>
                  <a:pt x="1936" y="367"/>
                  <a:pt x="1935" y="367"/>
                </a:cubicBezTo>
                <a:cubicBezTo>
                  <a:pt x="1935" y="367"/>
                  <a:pt x="1934" y="367"/>
                  <a:pt x="1935" y="368"/>
                </a:cubicBezTo>
                <a:cubicBezTo>
                  <a:pt x="1935" y="368"/>
                  <a:pt x="1936" y="367"/>
                  <a:pt x="1937" y="368"/>
                </a:cubicBezTo>
                <a:cubicBezTo>
                  <a:pt x="1937" y="368"/>
                  <a:pt x="1937" y="368"/>
                  <a:pt x="1937" y="368"/>
                </a:cubicBezTo>
                <a:cubicBezTo>
                  <a:pt x="1938" y="368"/>
                  <a:pt x="1938" y="368"/>
                  <a:pt x="1938" y="368"/>
                </a:cubicBezTo>
                <a:cubicBezTo>
                  <a:pt x="1939" y="368"/>
                  <a:pt x="1939" y="368"/>
                  <a:pt x="1939" y="368"/>
                </a:cubicBezTo>
                <a:cubicBezTo>
                  <a:pt x="1940" y="368"/>
                  <a:pt x="1942" y="368"/>
                  <a:pt x="1941" y="369"/>
                </a:cubicBezTo>
                <a:cubicBezTo>
                  <a:pt x="1940" y="369"/>
                  <a:pt x="1940" y="369"/>
                  <a:pt x="1939" y="370"/>
                </a:cubicBezTo>
                <a:cubicBezTo>
                  <a:pt x="1939" y="370"/>
                  <a:pt x="1939" y="370"/>
                  <a:pt x="1938" y="370"/>
                </a:cubicBezTo>
                <a:cubicBezTo>
                  <a:pt x="1937" y="371"/>
                  <a:pt x="1937" y="370"/>
                  <a:pt x="1936" y="371"/>
                </a:cubicBezTo>
                <a:cubicBezTo>
                  <a:pt x="1935" y="371"/>
                  <a:pt x="1935" y="371"/>
                  <a:pt x="1934" y="372"/>
                </a:cubicBezTo>
                <a:cubicBezTo>
                  <a:pt x="1933" y="372"/>
                  <a:pt x="1933" y="371"/>
                  <a:pt x="1932" y="371"/>
                </a:cubicBezTo>
                <a:cubicBezTo>
                  <a:pt x="1932" y="371"/>
                  <a:pt x="1931" y="371"/>
                  <a:pt x="1930" y="371"/>
                </a:cubicBezTo>
                <a:cubicBezTo>
                  <a:pt x="1930" y="372"/>
                  <a:pt x="1929" y="372"/>
                  <a:pt x="1929" y="373"/>
                </a:cubicBezTo>
                <a:cubicBezTo>
                  <a:pt x="1929" y="373"/>
                  <a:pt x="1929" y="373"/>
                  <a:pt x="1929" y="374"/>
                </a:cubicBezTo>
                <a:cubicBezTo>
                  <a:pt x="1929" y="374"/>
                  <a:pt x="1929" y="375"/>
                  <a:pt x="1929" y="375"/>
                </a:cubicBezTo>
                <a:cubicBezTo>
                  <a:pt x="1929" y="375"/>
                  <a:pt x="1929" y="376"/>
                  <a:pt x="1929" y="376"/>
                </a:cubicBezTo>
                <a:cubicBezTo>
                  <a:pt x="1930" y="376"/>
                  <a:pt x="1930" y="375"/>
                  <a:pt x="1930" y="375"/>
                </a:cubicBezTo>
                <a:cubicBezTo>
                  <a:pt x="1930" y="375"/>
                  <a:pt x="1931" y="374"/>
                  <a:pt x="1931" y="374"/>
                </a:cubicBezTo>
                <a:cubicBezTo>
                  <a:pt x="1932" y="374"/>
                  <a:pt x="1932" y="375"/>
                  <a:pt x="1932" y="374"/>
                </a:cubicBezTo>
                <a:cubicBezTo>
                  <a:pt x="1933" y="374"/>
                  <a:pt x="1933" y="373"/>
                  <a:pt x="1934" y="373"/>
                </a:cubicBezTo>
                <a:cubicBezTo>
                  <a:pt x="1934" y="373"/>
                  <a:pt x="1935" y="373"/>
                  <a:pt x="1935" y="372"/>
                </a:cubicBezTo>
                <a:cubicBezTo>
                  <a:pt x="1935" y="372"/>
                  <a:pt x="1936" y="372"/>
                  <a:pt x="1936" y="372"/>
                </a:cubicBezTo>
                <a:cubicBezTo>
                  <a:pt x="1937" y="372"/>
                  <a:pt x="1937" y="372"/>
                  <a:pt x="1937" y="372"/>
                </a:cubicBezTo>
                <a:cubicBezTo>
                  <a:pt x="1937" y="373"/>
                  <a:pt x="1938" y="373"/>
                  <a:pt x="1938" y="373"/>
                </a:cubicBezTo>
                <a:cubicBezTo>
                  <a:pt x="1939" y="373"/>
                  <a:pt x="1938" y="374"/>
                  <a:pt x="1937" y="374"/>
                </a:cubicBezTo>
                <a:cubicBezTo>
                  <a:pt x="1937" y="374"/>
                  <a:pt x="1936" y="374"/>
                  <a:pt x="1936" y="375"/>
                </a:cubicBezTo>
                <a:cubicBezTo>
                  <a:pt x="1936" y="375"/>
                  <a:pt x="1935" y="375"/>
                  <a:pt x="1935" y="375"/>
                </a:cubicBezTo>
                <a:cubicBezTo>
                  <a:pt x="1935" y="375"/>
                  <a:pt x="1934" y="375"/>
                  <a:pt x="1934" y="375"/>
                </a:cubicBezTo>
                <a:cubicBezTo>
                  <a:pt x="1933" y="376"/>
                  <a:pt x="1933" y="376"/>
                  <a:pt x="1934" y="376"/>
                </a:cubicBezTo>
                <a:cubicBezTo>
                  <a:pt x="1935" y="376"/>
                  <a:pt x="1936" y="375"/>
                  <a:pt x="1936" y="377"/>
                </a:cubicBezTo>
                <a:cubicBezTo>
                  <a:pt x="1936" y="377"/>
                  <a:pt x="1936" y="378"/>
                  <a:pt x="1937" y="378"/>
                </a:cubicBezTo>
                <a:cubicBezTo>
                  <a:pt x="1938" y="379"/>
                  <a:pt x="1938" y="378"/>
                  <a:pt x="1938" y="378"/>
                </a:cubicBezTo>
                <a:cubicBezTo>
                  <a:pt x="1939" y="378"/>
                  <a:pt x="1939" y="378"/>
                  <a:pt x="1939" y="378"/>
                </a:cubicBezTo>
                <a:cubicBezTo>
                  <a:pt x="1940" y="378"/>
                  <a:pt x="1940" y="377"/>
                  <a:pt x="1940" y="378"/>
                </a:cubicBezTo>
                <a:cubicBezTo>
                  <a:pt x="1941" y="378"/>
                  <a:pt x="1940" y="378"/>
                  <a:pt x="1940" y="379"/>
                </a:cubicBezTo>
                <a:cubicBezTo>
                  <a:pt x="1939" y="379"/>
                  <a:pt x="1938" y="379"/>
                  <a:pt x="1938" y="380"/>
                </a:cubicBezTo>
                <a:cubicBezTo>
                  <a:pt x="1938" y="380"/>
                  <a:pt x="1938" y="381"/>
                  <a:pt x="1937" y="381"/>
                </a:cubicBezTo>
                <a:cubicBezTo>
                  <a:pt x="1937" y="381"/>
                  <a:pt x="1937" y="380"/>
                  <a:pt x="1936" y="380"/>
                </a:cubicBezTo>
                <a:cubicBezTo>
                  <a:pt x="1936" y="380"/>
                  <a:pt x="1936" y="380"/>
                  <a:pt x="1935" y="379"/>
                </a:cubicBezTo>
                <a:cubicBezTo>
                  <a:pt x="1935" y="379"/>
                  <a:pt x="1935" y="379"/>
                  <a:pt x="1934" y="379"/>
                </a:cubicBezTo>
                <a:cubicBezTo>
                  <a:pt x="1933" y="378"/>
                  <a:pt x="1933" y="379"/>
                  <a:pt x="1932" y="379"/>
                </a:cubicBezTo>
                <a:cubicBezTo>
                  <a:pt x="1931" y="379"/>
                  <a:pt x="1931" y="378"/>
                  <a:pt x="1932" y="378"/>
                </a:cubicBezTo>
                <a:cubicBezTo>
                  <a:pt x="1932" y="378"/>
                  <a:pt x="1932" y="378"/>
                  <a:pt x="1932" y="377"/>
                </a:cubicBezTo>
                <a:cubicBezTo>
                  <a:pt x="1932" y="377"/>
                  <a:pt x="1931" y="377"/>
                  <a:pt x="1931" y="377"/>
                </a:cubicBezTo>
                <a:cubicBezTo>
                  <a:pt x="1930" y="378"/>
                  <a:pt x="1929" y="378"/>
                  <a:pt x="1929" y="378"/>
                </a:cubicBezTo>
                <a:cubicBezTo>
                  <a:pt x="1928" y="379"/>
                  <a:pt x="1928" y="379"/>
                  <a:pt x="1928" y="379"/>
                </a:cubicBezTo>
                <a:cubicBezTo>
                  <a:pt x="1928" y="380"/>
                  <a:pt x="1930" y="379"/>
                  <a:pt x="1930" y="379"/>
                </a:cubicBezTo>
                <a:cubicBezTo>
                  <a:pt x="1931" y="379"/>
                  <a:pt x="1931" y="379"/>
                  <a:pt x="1931" y="380"/>
                </a:cubicBezTo>
                <a:cubicBezTo>
                  <a:pt x="1931" y="380"/>
                  <a:pt x="1930" y="380"/>
                  <a:pt x="1930" y="380"/>
                </a:cubicBezTo>
                <a:cubicBezTo>
                  <a:pt x="1929" y="381"/>
                  <a:pt x="1929" y="380"/>
                  <a:pt x="1929" y="380"/>
                </a:cubicBezTo>
                <a:cubicBezTo>
                  <a:pt x="1929" y="380"/>
                  <a:pt x="1928" y="380"/>
                  <a:pt x="1928" y="380"/>
                </a:cubicBezTo>
                <a:cubicBezTo>
                  <a:pt x="1927" y="380"/>
                  <a:pt x="1927" y="381"/>
                  <a:pt x="1926" y="382"/>
                </a:cubicBezTo>
                <a:cubicBezTo>
                  <a:pt x="1926" y="382"/>
                  <a:pt x="1926" y="382"/>
                  <a:pt x="1925" y="382"/>
                </a:cubicBezTo>
                <a:cubicBezTo>
                  <a:pt x="1925" y="382"/>
                  <a:pt x="1924" y="382"/>
                  <a:pt x="1924" y="383"/>
                </a:cubicBezTo>
                <a:cubicBezTo>
                  <a:pt x="1924" y="383"/>
                  <a:pt x="1926" y="383"/>
                  <a:pt x="1926" y="383"/>
                </a:cubicBezTo>
                <a:cubicBezTo>
                  <a:pt x="1927" y="383"/>
                  <a:pt x="1928" y="383"/>
                  <a:pt x="1929" y="383"/>
                </a:cubicBezTo>
                <a:cubicBezTo>
                  <a:pt x="1930" y="383"/>
                  <a:pt x="1930" y="382"/>
                  <a:pt x="1931" y="382"/>
                </a:cubicBezTo>
                <a:cubicBezTo>
                  <a:pt x="1932" y="382"/>
                  <a:pt x="1932" y="382"/>
                  <a:pt x="1933" y="383"/>
                </a:cubicBezTo>
                <a:cubicBezTo>
                  <a:pt x="1933" y="383"/>
                  <a:pt x="1933" y="383"/>
                  <a:pt x="1933" y="383"/>
                </a:cubicBezTo>
                <a:cubicBezTo>
                  <a:pt x="1934" y="383"/>
                  <a:pt x="1934" y="383"/>
                  <a:pt x="1934" y="383"/>
                </a:cubicBezTo>
                <a:cubicBezTo>
                  <a:pt x="1935" y="384"/>
                  <a:pt x="1935" y="384"/>
                  <a:pt x="1936" y="384"/>
                </a:cubicBezTo>
                <a:cubicBezTo>
                  <a:pt x="1936" y="384"/>
                  <a:pt x="1936" y="385"/>
                  <a:pt x="1936" y="385"/>
                </a:cubicBezTo>
                <a:cubicBezTo>
                  <a:pt x="1936" y="386"/>
                  <a:pt x="1935" y="385"/>
                  <a:pt x="1935" y="385"/>
                </a:cubicBezTo>
                <a:cubicBezTo>
                  <a:pt x="1934" y="384"/>
                  <a:pt x="1934" y="385"/>
                  <a:pt x="1933" y="385"/>
                </a:cubicBezTo>
                <a:cubicBezTo>
                  <a:pt x="1932" y="385"/>
                  <a:pt x="1932" y="385"/>
                  <a:pt x="1932" y="384"/>
                </a:cubicBezTo>
                <a:cubicBezTo>
                  <a:pt x="1932" y="384"/>
                  <a:pt x="1931" y="384"/>
                  <a:pt x="1931" y="384"/>
                </a:cubicBezTo>
                <a:cubicBezTo>
                  <a:pt x="1930" y="384"/>
                  <a:pt x="1930" y="384"/>
                  <a:pt x="1930" y="384"/>
                </a:cubicBezTo>
                <a:cubicBezTo>
                  <a:pt x="1929" y="384"/>
                  <a:pt x="1928" y="384"/>
                  <a:pt x="1927" y="384"/>
                </a:cubicBezTo>
                <a:cubicBezTo>
                  <a:pt x="1927" y="385"/>
                  <a:pt x="1927" y="385"/>
                  <a:pt x="1926" y="385"/>
                </a:cubicBezTo>
                <a:cubicBezTo>
                  <a:pt x="1926" y="385"/>
                  <a:pt x="1925" y="385"/>
                  <a:pt x="1925" y="385"/>
                </a:cubicBezTo>
                <a:cubicBezTo>
                  <a:pt x="1925" y="385"/>
                  <a:pt x="1923" y="385"/>
                  <a:pt x="1923" y="386"/>
                </a:cubicBezTo>
                <a:cubicBezTo>
                  <a:pt x="1924" y="386"/>
                  <a:pt x="1924" y="386"/>
                  <a:pt x="1924" y="387"/>
                </a:cubicBezTo>
                <a:cubicBezTo>
                  <a:pt x="1924" y="387"/>
                  <a:pt x="1924" y="387"/>
                  <a:pt x="1924" y="387"/>
                </a:cubicBezTo>
                <a:cubicBezTo>
                  <a:pt x="1923" y="388"/>
                  <a:pt x="1923" y="387"/>
                  <a:pt x="1922" y="387"/>
                </a:cubicBezTo>
                <a:cubicBezTo>
                  <a:pt x="1921" y="387"/>
                  <a:pt x="1920" y="388"/>
                  <a:pt x="1919" y="388"/>
                </a:cubicBezTo>
                <a:cubicBezTo>
                  <a:pt x="1919" y="388"/>
                  <a:pt x="1919" y="388"/>
                  <a:pt x="1918" y="388"/>
                </a:cubicBezTo>
                <a:cubicBezTo>
                  <a:pt x="1918" y="388"/>
                  <a:pt x="1918" y="388"/>
                  <a:pt x="1917" y="389"/>
                </a:cubicBezTo>
                <a:cubicBezTo>
                  <a:pt x="1917" y="389"/>
                  <a:pt x="1917" y="389"/>
                  <a:pt x="1916" y="389"/>
                </a:cubicBezTo>
                <a:cubicBezTo>
                  <a:pt x="1916" y="389"/>
                  <a:pt x="1915" y="389"/>
                  <a:pt x="1915" y="389"/>
                </a:cubicBezTo>
                <a:cubicBezTo>
                  <a:pt x="1915" y="390"/>
                  <a:pt x="1916" y="390"/>
                  <a:pt x="1916" y="390"/>
                </a:cubicBezTo>
                <a:cubicBezTo>
                  <a:pt x="1916" y="390"/>
                  <a:pt x="1916" y="391"/>
                  <a:pt x="1916" y="391"/>
                </a:cubicBezTo>
                <a:cubicBezTo>
                  <a:pt x="1917" y="392"/>
                  <a:pt x="1918" y="391"/>
                  <a:pt x="1918" y="392"/>
                </a:cubicBezTo>
                <a:cubicBezTo>
                  <a:pt x="1918" y="393"/>
                  <a:pt x="1916" y="393"/>
                  <a:pt x="1916" y="393"/>
                </a:cubicBezTo>
                <a:cubicBezTo>
                  <a:pt x="1916" y="393"/>
                  <a:pt x="1915" y="393"/>
                  <a:pt x="1915" y="393"/>
                </a:cubicBezTo>
                <a:cubicBezTo>
                  <a:pt x="1914" y="393"/>
                  <a:pt x="1914" y="393"/>
                  <a:pt x="1914" y="393"/>
                </a:cubicBezTo>
                <a:cubicBezTo>
                  <a:pt x="1913" y="393"/>
                  <a:pt x="1913" y="393"/>
                  <a:pt x="1913" y="393"/>
                </a:cubicBezTo>
                <a:cubicBezTo>
                  <a:pt x="1912" y="394"/>
                  <a:pt x="1913" y="394"/>
                  <a:pt x="1913" y="394"/>
                </a:cubicBezTo>
                <a:cubicBezTo>
                  <a:pt x="1913" y="394"/>
                  <a:pt x="1914" y="394"/>
                  <a:pt x="1914" y="395"/>
                </a:cubicBezTo>
                <a:cubicBezTo>
                  <a:pt x="1913" y="395"/>
                  <a:pt x="1913" y="395"/>
                  <a:pt x="1913" y="395"/>
                </a:cubicBezTo>
                <a:cubicBezTo>
                  <a:pt x="1912" y="395"/>
                  <a:pt x="1912" y="395"/>
                  <a:pt x="1912" y="395"/>
                </a:cubicBezTo>
                <a:cubicBezTo>
                  <a:pt x="1912" y="396"/>
                  <a:pt x="1912" y="395"/>
                  <a:pt x="1913" y="396"/>
                </a:cubicBezTo>
                <a:cubicBezTo>
                  <a:pt x="1913" y="396"/>
                  <a:pt x="1913" y="397"/>
                  <a:pt x="1913" y="397"/>
                </a:cubicBezTo>
                <a:cubicBezTo>
                  <a:pt x="1913" y="397"/>
                  <a:pt x="1914" y="397"/>
                  <a:pt x="1914" y="396"/>
                </a:cubicBezTo>
                <a:cubicBezTo>
                  <a:pt x="1914" y="396"/>
                  <a:pt x="1915" y="396"/>
                  <a:pt x="1915" y="396"/>
                </a:cubicBezTo>
                <a:cubicBezTo>
                  <a:pt x="1916" y="396"/>
                  <a:pt x="1916" y="396"/>
                  <a:pt x="1916" y="396"/>
                </a:cubicBezTo>
                <a:cubicBezTo>
                  <a:pt x="1917" y="396"/>
                  <a:pt x="1916" y="396"/>
                  <a:pt x="1916" y="397"/>
                </a:cubicBezTo>
                <a:cubicBezTo>
                  <a:pt x="1916" y="397"/>
                  <a:pt x="1916" y="397"/>
                  <a:pt x="1915" y="397"/>
                </a:cubicBezTo>
                <a:cubicBezTo>
                  <a:pt x="1915" y="398"/>
                  <a:pt x="1914" y="398"/>
                  <a:pt x="1914" y="398"/>
                </a:cubicBezTo>
                <a:cubicBezTo>
                  <a:pt x="1913" y="398"/>
                  <a:pt x="1912" y="397"/>
                  <a:pt x="1912" y="397"/>
                </a:cubicBezTo>
                <a:cubicBezTo>
                  <a:pt x="1911" y="397"/>
                  <a:pt x="1910" y="397"/>
                  <a:pt x="1909" y="397"/>
                </a:cubicBezTo>
                <a:cubicBezTo>
                  <a:pt x="1908" y="398"/>
                  <a:pt x="1908" y="399"/>
                  <a:pt x="1909" y="399"/>
                </a:cubicBezTo>
                <a:cubicBezTo>
                  <a:pt x="1909" y="400"/>
                  <a:pt x="1908" y="401"/>
                  <a:pt x="1909" y="401"/>
                </a:cubicBezTo>
                <a:cubicBezTo>
                  <a:pt x="1910" y="401"/>
                  <a:pt x="1910" y="401"/>
                  <a:pt x="1910" y="402"/>
                </a:cubicBezTo>
                <a:cubicBezTo>
                  <a:pt x="1911" y="402"/>
                  <a:pt x="1910" y="403"/>
                  <a:pt x="1910" y="403"/>
                </a:cubicBezTo>
                <a:cubicBezTo>
                  <a:pt x="1910" y="403"/>
                  <a:pt x="1909" y="403"/>
                  <a:pt x="1909" y="404"/>
                </a:cubicBezTo>
                <a:cubicBezTo>
                  <a:pt x="1909" y="404"/>
                  <a:pt x="1909" y="404"/>
                  <a:pt x="1910" y="403"/>
                </a:cubicBezTo>
                <a:cubicBezTo>
                  <a:pt x="1910" y="403"/>
                  <a:pt x="1910" y="403"/>
                  <a:pt x="1911" y="403"/>
                </a:cubicBezTo>
                <a:cubicBezTo>
                  <a:pt x="1911" y="403"/>
                  <a:pt x="1912" y="403"/>
                  <a:pt x="1912" y="403"/>
                </a:cubicBezTo>
                <a:cubicBezTo>
                  <a:pt x="1912" y="403"/>
                  <a:pt x="1912" y="403"/>
                  <a:pt x="1913" y="403"/>
                </a:cubicBezTo>
                <a:cubicBezTo>
                  <a:pt x="1913" y="403"/>
                  <a:pt x="1914" y="403"/>
                  <a:pt x="1914" y="403"/>
                </a:cubicBezTo>
                <a:cubicBezTo>
                  <a:pt x="1914" y="403"/>
                  <a:pt x="1915" y="403"/>
                  <a:pt x="1915" y="402"/>
                </a:cubicBezTo>
                <a:cubicBezTo>
                  <a:pt x="1916" y="402"/>
                  <a:pt x="1917" y="402"/>
                  <a:pt x="1917" y="402"/>
                </a:cubicBezTo>
                <a:cubicBezTo>
                  <a:pt x="1918" y="402"/>
                  <a:pt x="1918" y="402"/>
                  <a:pt x="1919" y="402"/>
                </a:cubicBezTo>
                <a:cubicBezTo>
                  <a:pt x="1919" y="402"/>
                  <a:pt x="1919" y="402"/>
                  <a:pt x="1919" y="402"/>
                </a:cubicBezTo>
                <a:cubicBezTo>
                  <a:pt x="1920" y="401"/>
                  <a:pt x="1920" y="401"/>
                  <a:pt x="1920" y="402"/>
                </a:cubicBezTo>
                <a:cubicBezTo>
                  <a:pt x="1920" y="402"/>
                  <a:pt x="1920" y="403"/>
                  <a:pt x="1919" y="403"/>
                </a:cubicBezTo>
                <a:cubicBezTo>
                  <a:pt x="1919" y="403"/>
                  <a:pt x="1919" y="403"/>
                  <a:pt x="1918" y="403"/>
                </a:cubicBezTo>
                <a:cubicBezTo>
                  <a:pt x="1918" y="403"/>
                  <a:pt x="1918" y="403"/>
                  <a:pt x="1918" y="404"/>
                </a:cubicBezTo>
                <a:cubicBezTo>
                  <a:pt x="1917" y="404"/>
                  <a:pt x="1917" y="404"/>
                  <a:pt x="1917" y="404"/>
                </a:cubicBezTo>
                <a:cubicBezTo>
                  <a:pt x="1916" y="404"/>
                  <a:pt x="1916" y="404"/>
                  <a:pt x="1916" y="404"/>
                </a:cubicBezTo>
                <a:cubicBezTo>
                  <a:pt x="1915" y="404"/>
                  <a:pt x="1915" y="404"/>
                  <a:pt x="1915" y="404"/>
                </a:cubicBezTo>
                <a:cubicBezTo>
                  <a:pt x="1915" y="403"/>
                  <a:pt x="1914" y="403"/>
                  <a:pt x="1914" y="403"/>
                </a:cubicBezTo>
                <a:cubicBezTo>
                  <a:pt x="1913" y="403"/>
                  <a:pt x="1913" y="403"/>
                  <a:pt x="1912" y="404"/>
                </a:cubicBezTo>
                <a:cubicBezTo>
                  <a:pt x="1911" y="404"/>
                  <a:pt x="1911" y="403"/>
                  <a:pt x="1910" y="404"/>
                </a:cubicBezTo>
                <a:cubicBezTo>
                  <a:pt x="1910" y="404"/>
                  <a:pt x="1910" y="404"/>
                  <a:pt x="1909" y="404"/>
                </a:cubicBezTo>
                <a:cubicBezTo>
                  <a:pt x="1909" y="405"/>
                  <a:pt x="1908" y="405"/>
                  <a:pt x="1908" y="405"/>
                </a:cubicBezTo>
                <a:cubicBezTo>
                  <a:pt x="1907" y="405"/>
                  <a:pt x="1907" y="405"/>
                  <a:pt x="1907" y="405"/>
                </a:cubicBezTo>
                <a:cubicBezTo>
                  <a:pt x="1906" y="405"/>
                  <a:pt x="1906" y="405"/>
                  <a:pt x="1906" y="406"/>
                </a:cubicBezTo>
                <a:cubicBezTo>
                  <a:pt x="1906" y="407"/>
                  <a:pt x="1908" y="406"/>
                  <a:pt x="1908" y="406"/>
                </a:cubicBezTo>
                <a:cubicBezTo>
                  <a:pt x="1909" y="407"/>
                  <a:pt x="1907" y="407"/>
                  <a:pt x="1908" y="408"/>
                </a:cubicBezTo>
                <a:cubicBezTo>
                  <a:pt x="1908" y="408"/>
                  <a:pt x="1909" y="409"/>
                  <a:pt x="1909" y="409"/>
                </a:cubicBezTo>
                <a:cubicBezTo>
                  <a:pt x="1909" y="409"/>
                  <a:pt x="1908" y="408"/>
                  <a:pt x="1908" y="408"/>
                </a:cubicBezTo>
                <a:cubicBezTo>
                  <a:pt x="1907" y="408"/>
                  <a:pt x="1906" y="409"/>
                  <a:pt x="1906" y="409"/>
                </a:cubicBezTo>
                <a:cubicBezTo>
                  <a:pt x="1905" y="410"/>
                  <a:pt x="1905" y="410"/>
                  <a:pt x="1904" y="411"/>
                </a:cubicBezTo>
                <a:cubicBezTo>
                  <a:pt x="1904" y="411"/>
                  <a:pt x="1904" y="411"/>
                  <a:pt x="1904" y="412"/>
                </a:cubicBezTo>
                <a:cubicBezTo>
                  <a:pt x="1904" y="412"/>
                  <a:pt x="1904" y="412"/>
                  <a:pt x="1904" y="412"/>
                </a:cubicBezTo>
                <a:cubicBezTo>
                  <a:pt x="1905" y="413"/>
                  <a:pt x="1904" y="413"/>
                  <a:pt x="1904" y="413"/>
                </a:cubicBezTo>
                <a:cubicBezTo>
                  <a:pt x="1903" y="413"/>
                  <a:pt x="1903" y="413"/>
                  <a:pt x="1903" y="413"/>
                </a:cubicBezTo>
                <a:cubicBezTo>
                  <a:pt x="1902" y="413"/>
                  <a:pt x="1903" y="414"/>
                  <a:pt x="1903" y="414"/>
                </a:cubicBezTo>
                <a:cubicBezTo>
                  <a:pt x="1902" y="415"/>
                  <a:pt x="1902" y="414"/>
                  <a:pt x="1902" y="415"/>
                </a:cubicBezTo>
                <a:cubicBezTo>
                  <a:pt x="1902" y="416"/>
                  <a:pt x="1903" y="416"/>
                  <a:pt x="1903" y="416"/>
                </a:cubicBezTo>
                <a:cubicBezTo>
                  <a:pt x="1904" y="416"/>
                  <a:pt x="1904" y="416"/>
                  <a:pt x="1904" y="417"/>
                </a:cubicBezTo>
                <a:cubicBezTo>
                  <a:pt x="1904" y="417"/>
                  <a:pt x="1905" y="417"/>
                  <a:pt x="1905" y="417"/>
                </a:cubicBezTo>
                <a:cubicBezTo>
                  <a:pt x="1905" y="418"/>
                  <a:pt x="1905" y="418"/>
                  <a:pt x="1905" y="418"/>
                </a:cubicBezTo>
                <a:cubicBezTo>
                  <a:pt x="1905" y="419"/>
                  <a:pt x="1904" y="418"/>
                  <a:pt x="1904" y="418"/>
                </a:cubicBezTo>
                <a:cubicBezTo>
                  <a:pt x="1904" y="418"/>
                  <a:pt x="1904" y="418"/>
                  <a:pt x="1903" y="418"/>
                </a:cubicBezTo>
                <a:cubicBezTo>
                  <a:pt x="1903" y="418"/>
                  <a:pt x="1903" y="418"/>
                  <a:pt x="1902" y="417"/>
                </a:cubicBezTo>
                <a:cubicBezTo>
                  <a:pt x="1902" y="417"/>
                  <a:pt x="1902" y="416"/>
                  <a:pt x="1901" y="416"/>
                </a:cubicBezTo>
                <a:cubicBezTo>
                  <a:pt x="1901" y="415"/>
                  <a:pt x="1901" y="416"/>
                  <a:pt x="1901" y="416"/>
                </a:cubicBezTo>
                <a:cubicBezTo>
                  <a:pt x="1900" y="416"/>
                  <a:pt x="1900" y="417"/>
                  <a:pt x="1900" y="417"/>
                </a:cubicBezTo>
                <a:cubicBezTo>
                  <a:pt x="1900" y="418"/>
                  <a:pt x="1899" y="418"/>
                  <a:pt x="1899" y="418"/>
                </a:cubicBezTo>
                <a:cubicBezTo>
                  <a:pt x="1899" y="419"/>
                  <a:pt x="1899" y="419"/>
                  <a:pt x="1899" y="420"/>
                </a:cubicBezTo>
                <a:cubicBezTo>
                  <a:pt x="1899" y="420"/>
                  <a:pt x="1898" y="421"/>
                  <a:pt x="1898" y="422"/>
                </a:cubicBezTo>
                <a:cubicBezTo>
                  <a:pt x="1899" y="422"/>
                  <a:pt x="1899" y="421"/>
                  <a:pt x="1900" y="421"/>
                </a:cubicBezTo>
                <a:cubicBezTo>
                  <a:pt x="1900" y="421"/>
                  <a:pt x="1900" y="421"/>
                  <a:pt x="1900" y="421"/>
                </a:cubicBezTo>
                <a:cubicBezTo>
                  <a:pt x="1901" y="420"/>
                  <a:pt x="1901" y="420"/>
                  <a:pt x="1901" y="420"/>
                </a:cubicBezTo>
                <a:cubicBezTo>
                  <a:pt x="1902" y="421"/>
                  <a:pt x="1902" y="421"/>
                  <a:pt x="1902" y="421"/>
                </a:cubicBezTo>
                <a:cubicBezTo>
                  <a:pt x="1902" y="422"/>
                  <a:pt x="1902" y="422"/>
                  <a:pt x="1902" y="422"/>
                </a:cubicBezTo>
                <a:cubicBezTo>
                  <a:pt x="1903" y="423"/>
                  <a:pt x="1901" y="423"/>
                  <a:pt x="1901" y="424"/>
                </a:cubicBezTo>
                <a:cubicBezTo>
                  <a:pt x="1902" y="424"/>
                  <a:pt x="1902" y="423"/>
                  <a:pt x="1903" y="423"/>
                </a:cubicBezTo>
                <a:cubicBezTo>
                  <a:pt x="1903" y="424"/>
                  <a:pt x="1902" y="424"/>
                  <a:pt x="1902" y="425"/>
                </a:cubicBezTo>
                <a:cubicBezTo>
                  <a:pt x="1901" y="425"/>
                  <a:pt x="1901" y="425"/>
                  <a:pt x="1901" y="425"/>
                </a:cubicBezTo>
                <a:cubicBezTo>
                  <a:pt x="1900" y="424"/>
                  <a:pt x="1901" y="424"/>
                  <a:pt x="1901" y="423"/>
                </a:cubicBezTo>
                <a:cubicBezTo>
                  <a:pt x="1901" y="423"/>
                  <a:pt x="1901" y="423"/>
                  <a:pt x="1901" y="422"/>
                </a:cubicBezTo>
                <a:cubicBezTo>
                  <a:pt x="1900" y="422"/>
                  <a:pt x="1900" y="422"/>
                  <a:pt x="1899" y="422"/>
                </a:cubicBezTo>
                <a:cubicBezTo>
                  <a:pt x="1899" y="422"/>
                  <a:pt x="1899" y="422"/>
                  <a:pt x="1898" y="422"/>
                </a:cubicBezTo>
                <a:cubicBezTo>
                  <a:pt x="1897" y="422"/>
                  <a:pt x="1897" y="423"/>
                  <a:pt x="1897" y="423"/>
                </a:cubicBezTo>
                <a:cubicBezTo>
                  <a:pt x="1896" y="424"/>
                  <a:pt x="1895" y="424"/>
                  <a:pt x="1895" y="425"/>
                </a:cubicBezTo>
                <a:cubicBezTo>
                  <a:pt x="1895" y="426"/>
                  <a:pt x="1895" y="426"/>
                  <a:pt x="1894" y="427"/>
                </a:cubicBezTo>
                <a:cubicBezTo>
                  <a:pt x="1893" y="427"/>
                  <a:pt x="1893" y="428"/>
                  <a:pt x="1892" y="428"/>
                </a:cubicBezTo>
                <a:cubicBezTo>
                  <a:pt x="1891" y="428"/>
                  <a:pt x="1891" y="429"/>
                  <a:pt x="1890" y="429"/>
                </a:cubicBezTo>
                <a:cubicBezTo>
                  <a:pt x="1890" y="430"/>
                  <a:pt x="1889" y="430"/>
                  <a:pt x="1888" y="431"/>
                </a:cubicBezTo>
                <a:cubicBezTo>
                  <a:pt x="1888" y="431"/>
                  <a:pt x="1890" y="430"/>
                  <a:pt x="1890" y="430"/>
                </a:cubicBezTo>
                <a:cubicBezTo>
                  <a:pt x="1891" y="430"/>
                  <a:pt x="1892" y="430"/>
                  <a:pt x="1892" y="429"/>
                </a:cubicBezTo>
                <a:cubicBezTo>
                  <a:pt x="1893" y="429"/>
                  <a:pt x="1893" y="429"/>
                  <a:pt x="1893" y="429"/>
                </a:cubicBezTo>
                <a:cubicBezTo>
                  <a:pt x="1894" y="428"/>
                  <a:pt x="1894" y="429"/>
                  <a:pt x="1893" y="429"/>
                </a:cubicBezTo>
                <a:cubicBezTo>
                  <a:pt x="1893" y="430"/>
                  <a:pt x="1894" y="431"/>
                  <a:pt x="1893" y="431"/>
                </a:cubicBezTo>
                <a:cubicBezTo>
                  <a:pt x="1892" y="431"/>
                  <a:pt x="1892" y="431"/>
                  <a:pt x="1892" y="431"/>
                </a:cubicBezTo>
                <a:cubicBezTo>
                  <a:pt x="1891" y="432"/>
                  <a:pt x="1891" y="432"/>
                  <a:pt x="1891" y="432"/>
                </a:cubicBezTo>
                <a:cubicBezTo>
                  <a:pt x="1890" y="432"/>
                  <a:pt x="1891" y="432"/>
                  <a:pt x="1891" y="433"/>
                </a:cubicBezTo>
                <a:cubicBezTo>
                  <a:pt x="1892" y="433"/>
                  <a:pt x="1892" y="433"/>
                  <a:pt x="1892" y="433"/>
                </a:cubicBezTo>
                <a:cubicBezTo>
                  <a:pt x="1892" y="434"/>
                  <a:pt x="1893" y="433"/>
                  <a:pt x="1893" y="434"/>
                </a:cubicBezTo>
                <a:cubicBezTo>
                  <a:pt x="1893" y="435"/>
                  <a:pt x="1892" y="435"/>
                  <a:pt x="1892" y="435"/>
                </a:cubicBezTo>
                <a:cubicBezTo>
                  <a:pt x="1892" y="435"/>
                  <a:pt x="1891" y="435"/>
                  <a:pt x="1891" y="435"/>
                </a:cubicBezTo>
                <a:cubicBezTo>
                  <a:pt x="1891" y="436"/>
                  <a:pt x="1891" y="436"/>
                  <a:pt x="1891" y="437"/>
                </a:cubicBezTo>
                <a:cubicBezTo>
                  <a:pt x="1891" y="437"/>
                  <a:pt x="1890" y="437"/>
                  <a:pt x="1890" y="437"/>
                </a:cubicBezTo>
                <a:cubicBezTo>
                  <a:pt x="1890" y="437"/>
                  <a:pt x="1890" y="438"/>
                  <a:pt x="1889" y="438"/>
                </a:cubicBezTo>
                <a:cubicBezTo>
                  <a:pt x="1889" y="438"/>
                  <a:pt x="1889" y="438"/>
                  <a:pt x="1889" y="437"/>
                </a:cubicBezTo>
                <a:cubicBezTo>
                  <a:pt x="1889" y="437"/>
                  <a:pt x="1889" y="437"/>
                  <a:pt x="1889" y="436"/>
                </a:cubicBezTo>
                <a:cubicBezTo>
                  <a:pt x="1889" y="436"/>
                  <a:pt x="1888" y="436"/>
                  <a:pt x="1887" y="435"/>
                </a:cubicBezTo>
                <a:cubicBezTo>
                  <a:pt x="1887" y="435"/>
                  <a:pt x="1886" y="435"/>
                  <a:pt x="1886" y="435"/>
                </a:cubicBezTo>
                <a:cubicBezTo>
                  <a:pt x="1885" y="435"/>
                  <a:pt x="1885" y="435"/>
                  <a:pt x="1884" y="435"/>
                </a:cubicBezTo>
                <a:cubicBezTo>
                  <a:pt x="1884" y="436"/>
                  <a:pt x="1883" y="436"/>
                  <a:pt x="1883" y="437"/>
                </a:cubicBezTo>
                <a:cubicBezTo>
                  <a:pt x="1882" y="437"/>
                  <a:pt x="1881" y="437"/>
                  <a:pt x="1880" y="438"/>
                </a:cubicBezTo>
                <a:cubicBezTo>
                  <a:pt x="1880" y="438"/>
                  <a:pt x="1879" y="439"/>
                  <a:pt x="1879" y="439"/>
                </a:cubicBezTo>
                <a:cubicBezTo>
                  <a:pt x="1878" y="440"/>
                  <a:pt x="1878" y="440"/>
                  <a:pt x="1878" y="440"/>
                </a:cubicBezTo>
                <a:cubicBezTo>
                  <a:pt x="1877" y="441"/>
                  <a:pt x="1878" y="440"/>
                  <a:pt x="1878" y="441"/>
                </a:cubicBezTo>
                <a:cubicBezTo>
                  <a:pt x="1879" y="441"/>
                  <a:pt x="1877" y="442"/>
                  <a:pt x="1877" y="442"/>
                </a:cubicBezTo>
                <a:cubicBezTo>
                  <a:pt x="1876" y="443"/>
                  <a:pt x="1875" y="443"/>
                  <a:pt x="1874" y="444"/>
                </a:cubicBezTo>
                <a:cubicBezTo>
                  <a:pt x="1874" y="444"/>
                  <a:pt x="1874" y="444"/>
                  <a:pt x="1874" y="445"/>
                </a:cubicBezTo>
                <a:cubicBezTo>
                  <a:pt x="1873" y="446"/>
                  <a:pt x="1874" y="445"/>
                  <a:pt x="1874" y="445"/>
                </a:cubicBezTo>
                <a:cubicBezTo>
                  <a:pt x="1875" y="446"/>
                  <a:pt x="1873" y="447"/>
                  <a:pt x="1873" y="447"/>
                </a:cubicBezTo>
                <a:cubicBezTo>
                  <a:pt x="1872" y="447"/>
                  <a:pt x="1872" y="448"/>
                  <a:pt x="1871" y="448"/>
                </a:cubicBezTo>
                <a:cubicBezTo>
                  <a:pt x="1871" y="449"/>
                  <a:pt x="1869" y="450"/>
                  <a:pt x="1870" y="450"/>
                </a:cubicBezTo>
                <a:cubicBezTo>
                  <a:pt x="1870" y="450"/>
                  <a:pt x="1870" y="450"/>
                  <a:pt x="1870" y="450"/>
                </a:cubicBezTo>
                <a:cubicBezTo>
                  <a:pt x="1871" y="450"/>
                  <a:pt x="1871" y="450"/>
                  <a:pt x="1871" y="450"/>
                </a:cubicBezTo>
                <a:cubicBezTo>
                  <a:pt x="1871" y="450"/>
                  <a:pt x="1871" y="450"/>
                  <a:pt x="1872" y="450"/>
                </a:cubicBezTo>
                <a:cubicBezTo>
                  <a:pt x="1872" y="450"/>
                  <a:pt x="1873" y="449"/>
                  <a:pt x="1874" y="449"/>
                </a:cubicBezTo>
                <a:cubicBezTo>
                  <a:pt x="1874" y="450"/>
                  <a:pt x="1872" y="451"/>
                  <a:pt x="1873" y="452"/>
                </a:cubicBezTo>
                <a:cubicBezTo>
                  <a:pt x="1873" y="452"/>
                  <a:pt x="1873" y="452"/>
                  <a:pt x="1873" y="452"/>
                </a:cubicBezTo>
                <a:cubicBezTo>
                  <a:pt x="1874" y="453"/>
                  <a:pt x="1873" y="453"/>
                  <a:pt x="1874" y="454"/>
                </a:cubicBezTo>
                <a:cubicBezTo>
                  <a:pt x="1874" y="454"/>
                  <a:pt x="1876" y="454"/>
                  <a:pt x="1876" y="453"/>
                </a:cubicBezTo>
                <a:cubicBezTo>
                  <a:pt x="1877" y="453"/>
                  <a:pt x="1878" y="452"/>
                  <a:pt x="1878" y="452"/>
                </a:cubicBezTo>
                <a:cubicBezTo>
                  <a:pt x="1879" y="452"/>
                  <a:pt x="1879" y="452"/>
                  <a:pt x="1880" y="452"/>
                </a:cubicBezTo>
                <a:cubicBezTo>
                  <a:pt x="1880" y="452"/>
                  <a:pt x="1880" y="451"/>
                  <a:pt x="1881" y="451"/>
                </a:cubicBezTo>
                <a:cubicBezTo>
                  <a:pt x="1881" y="451"/>
                  <a:pt x="1881" y="451"/>
                  <a:pt x="1881" y="451"/>
                </a:cubicBezTo>
                <a:cubicBezTo>
                  <a:pt x="1882" y="451"/>
                  <a:pt x="1882" y="451"/>
                  <a:pt x="1882" y="451"/>
                </a:cubicBezTo>
                <a:cubicBezTo>
                  <a:pt x="1882" y="450"/>
                  <a:pt x="1882" y="450"/>
                  <a:pt x="1883" y="450"/>
                </a:cubicBezTo>
                <a:cubicBezTo>
                  <a:pt x="1883" y="449"/>
                  <a:pt x="1884" y="449"/>
                  <a:pt x="1885" y="449"/>
                </a:cubicBezTo>
                <a:cubicBezTo>
                  <a:pt x="1886" y="448"/>
                  <a:pt x="1886" y="448"/>
                  <a:pt x="1886" y="448"/>
                </a:cubicBezTo>
                <a:cubicBezTo>
                  <a:pt x="1886" y="447"/>
                  <a:pt x="1886" y="447"/>
                  <a:pt x="1886" y="447"/>
                </a:cubicBezTo>
                <a:cubicBezTo>
                  <a:pt x="1886" y="447"/>
                  <a:pt x="1886" y="446"/>
                  <a:pt x="1885" y="446"/>
                </a:cubicBezTo>
                <a:cubicBezTo>
                  <a:pt x="1885" y="446"/>
                  <a:pt x="1885" y="447"/>
                  <a:pt x="1884" y="447"/>
                </a:cubicBezTo>
                <a:cubicBezTo>
                  <a:pt x="1884" y="447"/>
                  <a:pt x="1883" y="447"/>
                  <a:pt x="1884" y="446"/>
                </a:cubicBezTo>
                <a:cubicBezTo>
                  <a:pt x="1884" y="446"/>
                  <a:pt x="1884" y="446"/>
                  <a:pt x="1885" y="446"/>
                </a:cubicBezTo>
                <a:cubicBezTo>
                  <a:pt x="1885" y="446"/>
                  <a:pt x="1885" y="445"/>
                  <a:pt x="1886" y="445"/>
                </a:cubicBezTo>
                <a:cubicBezTo>
                  <a:pt x="1886" y="445"/>
                  <a:pt x="1886" y="445"/>
                  <a:pt x="1887" y="444"/>
                </a:cubicBezTo>
                <a:cubicBezTo>
                  <a:pt x="1887" y="444"/>
                  <a:pt x="1889" y="442"/>
                  <a:pt x="1890" y="443"/>
                </a:cubicBezTo>
                <a:cubicBezTo>
                  <a:pt x="1890" y="443"/>
                  <a:pt x="1890" y="443"/>
                  <a:pt x="1890" y="443"/>
                </a:cubicBezTo>
                <a:cubicBezTo>
                  <a:pt x="1890" y="443"/>
                  <a:pt x="1890" y="444"/>
                  <a:pt x="1890" y="444"/>
                </a:cubicBezTo>
                <a:cubicBezTo>
                  <a:pt x="1891" y="444"/>
                  <a:pt x="1890" y="444"/>
                  <a:pt x="1889" y="445"/>
                </a:cubicBezTo>
                <a:cubicBezTo>
                  <a:pt x="1889" y="445"/>
                  <a:pt x="1889" y="445"/>
                  <a:pt x="1888" y="445"/>
                </a:cubicBezTo>
                <a:cubicBezTo>
                  <a:pt x="1888" y="446"/>
                  <a:pt x="1888" y="446"/>
                  <a:pt x="1887" y="446"/>
                </a:cubicBezTo>
                <a:cubicBezTo>
                  <a:pt x="1887" y="446"/>
                  <a:pt x="1887" y="446"/>
                  <a:pt x="1887" y="446"/>
                </a:cubicBezTo>
                <a:cubicBezTo>
                  <a:pt x="1887" y="447"/>
                  <a:pt x="1887" y="447"/>
                  <a:pt x="1888" y="447"/>
                </a:cubicBezTo>
                <a:cubicBezTo>
                  <a:pt x="1888" y="447"/>
                  <a:pt x="1888" y="447"/>
                  <a:pt x="1888" y="447"/>
                </a:cubicBezTo>
                <a:cubicBezTo>
                  <a:pt x="1889" y="448"/>
                  <a:pt x="1889" y="447"/>
                  <a:pt x="1890" y="447"/>
                </a:cubicBezTo>
                <a:cubicBezTo>
                  <a:pt x="1891" y="448"/>
                  <a:pt x="1889" y="449"/>
                  <a:pt x="1888" y="449"/>
                </a:cubicBezTo>
                <a:cubicBezTo>
                  <a:pt x="1888" y="449"/>
                  <a:pt x="1888" y="449"/>
                  <a:pt x="1887" y="449"/>
                </a:cubicBezTo>
                <a:cubicBezTo>
                  <a:pt x="1887" y="450"/>
                  <a:pt x="1887" y="450"/>
                  <a:pt x="1886" y="450"/>
                </a:cubicBezTo>
                <a:cubicBezTo>
                  <a:pt x="1886" y="450"/>
                  <a:pt x="1885" y="450"/>
                  <a:pt x="1884" y="451"/>
                </a:cubicBezTo>
                <a:cubicBezTo>
                  <a:pt x="1884" y="451"/>
                  <a:pt x="1883" y="451"/>
                  <a:pt x="1883" y="452"/>
                </a:cubicBezTo>
                <a:cubicBezTo>
                  <a:pt x="1882" y="452"/>
                  <a:pt x="1882" y="452"/>
                  <a:pt x="1882" y="453"/>
                </a:cubicBezTo>
                <a:cubicBezTo>
                  <a:pt x="1882" y="453"/>
                  <a:pt x="1883" y="452"/>
                  <a:pt x="1883" y="452"/>
                </a:cubicBezTo>
                <a:cubicBezTo>
                  <a:pt x="1884" y="453"/>
                  <a:pt x="1883" y="453"/>
                  <a:pt x="1883" y="453"/>
                </a:cubicBezTo>
                <a:cubicBezTo>
                  <a:pt x="1883" y="454"/>
                  <a:pt x="1883" y="454"/>
                  <a:pt x="1883" y="454"/>
                </a:cubicBezTo>
                <a:cubicBezTo>
                  <a:pt x="1883" y="455"/>
                  <a:pt x="1882" y="455"/>
                  <a:pt x="1882" y="455"/>
                </a:cubicBezTo>
                <a:cubicBezTo>
                  <a:pt x="1881" y="455"/>
                  <a:pt x="1881" y="455"/>
                  <a:pt x="1880" y="455"/>
                </a:cubicBezTo>
                <a:cubicBezTo>
                  <a:pt x="1879" y="455"/>
                  <a:pt x="1878" y="455"/>
                  <a:pt x="1878" y="455"/>
                </a:cubicBezTo>
                <a:cubicBezTo>
                  <a:pt x="1877" y="455"/>
                  <a:pt x="1876" y="456"/>
                  <a:pt x="1875" y="456"/>
                </a:cubicBezTo>
                <a:cubicBezTo>
                  <a:pt x="1875" y="456"/>
                  <a:pt x="1874" y="457"/>
                  <a:pt x="1873" y="457"/>
                </a:cubicBezTo>
                <a:cubicBezTo>
                  <a:pt x="1873" y="456"/>
                  <a:pt x="1873" y="455"/>
                  <a:pt x="1873" y="454"/>
                </a:cubicBezTo>
                <a:cubicBezTo>
                  <a:pt x="1873" y="454"/>
                  <a:pt x="1873" y="453"/>
                  <a:pt x="1872" y="453"/>
                </a:cubicBezTo>
                <a:cubicBezTo>
                  <a:pt x="1872" y="452"/>
                  <a:pt x="1872" y="452"/>
                  <a:pt x="1871" y="451"/>
                </a:cubicBezTo>
                <a:cubicBezTo>
                  <a:pt x="1870" y="451"/>
                  <a:pt x="1870" y="451"/>
                  <a:pt x="1869" y="452"/>
                </a:cubicBezTo>
                <a:cubicBezTo>
                  <a:pt x="1868" y="452"/>
                  <a:pt x="1868" y="452"/>
                  <a:pt x="1868" y="452"/>
                </a:cubicBezTo>
                <a:cubicBezTo>
                  <a:pt x="1867" y="452"/>
                  <a:pt x="1867" y="452"/>
                  <a:pt x="1866" y="453"/>
                </a:cubicBezTo>
                <a:cubicBezTo>
                  <a:pt x="1866" y="453"/>
                  <a:pt x="1864" y="454"/>
                  <a:pt x="1865" y="454"/>
                </a:cubicBezTo>
                <a:cubicBezTo>
                  <a:pt x="1866" y="454"/>
                  <a:pt x="1867" y="454"/>
                  <a:pt x="1867" y="455"/>
                </a:cubicBezTo>
                <a:cubicBezTo>
                  <a:pt x="1867" y="455"/>
                  <a:pt x="1866" y="455"/>
                  <a:pt x="1866" y="456"/>
                </a:cubicBezTo>
                <a:cubicBezTo>
                  <a:pt x="1865" y="456"/>
                  <a:pt x="1865" y="456"/>
                  <a:pt x="1865" y="456"/>
                </a:cubicBezTo>
                <a:cubicBezTo>
                  <a:pt x="1864" y="457"/>
                  <a:pt x="1864" y="456"/>
                  <a:pt x="1864" y="455"/>
                </a:cubicBezTo>
                <a:cubicBezTo>
                  <a:pt x="1863" y="454"/>
                  <a:pt x="1862" y="455"/>
                  <a:pt x="1862" y="455"/>
                </a:cubicBezTo>
                <a:cubicBezTo>
                  <a:pt x="1861" y="455"/>
                  <a:pt x="1860" y="455"/>
                  <a:pt x="1859" y="455"/>
                </a:cubicBezTo>
                <a:cubicBezTo>
                  <a:pt x="1859" y="456"/>
                  <a:pt x="1858" y="456"/>
                  <a:pt x="1858" y="457"/>
                </a:cubicBezTo>
                <a:cubicBezTo>
                  <a:pt x="1858" y="457"/>
                  <a:pt x="1857" y="457"/>
                  <a:pt x="1858" y="458"/>
                </a:cubicBezTo>
                <a:cubicBezTo>
                  <a:pt x="1858" y="458"/>
                  <a:pt x="1858" y="458"/>
                  <a:pt x="1859" y="458"/>
                </a:cubicBezTo>
                <a:cubicBezTo>
                  <a:pt x="1859" y="458"/>
                  <a:pt x="1859" y="458"/>
                  <a:pt x="1860" y="458"/>
                </a:cubicBezTo>
                <a:cubicBezTo>
                  <a:pt x="1860" y="459"/>
                  <a:pt x="1859" y="459"/>
                  <a:pt x="1858" y="459"/>
                </a:cubicBezTo>
                <a:cubicBezTo>
                  <a:pt x="1857" y="460"/>
                  <a:pt x="1857" y="460"/>
                  <a:pt x="1856" y="459"/>
                </a:cubicBezTo>
                <a:cubicBezTo>
                  <a:pt x="1855" y="459"/>
                  <a:pt x="1855" y="459"/>
                  <a:pt x="1855" y="460"/>
                </a:cubicBezTo>
                <a:cubicBezTo>
                  <a:pt x="1855" y="460"/>
                  <a:pt x="1855" y="460"/>
                  <a:pt x="1854" y="460"/>
                </a:cubicBezTo>
                <a:cubicBezTo>
                  <a:pt x="1854" y="460"/>
                  <a:pt x="1854" y="460"/>
                  <a:pt x="1854" y="460"/>
                </a:cubicBezTo>
                <a:cubicBezTo>
                  <a:pt x="1853" y="460"/>
                  <a:pt x="1853" y="461"/>
                  <a:pt x="1853" y="461"/>
                </a:cubicBezTo>
                <a:cubicBezTo>
                  <a:pt x="1854" y="461"/>
                  <a:pt x="1854" y="461"/>
                  <a:pt x="1854" y="462"/>
                </a:cubicBezTo>
                <a:cubicBezTo>
                  <a:pt x="1855" y="462"/>
                  <a:pt x="1855" y="462"/>
                  <a:pt x="1855" y="462"/>
                </a:cubicBezTo>
                <a:cubicBezTo>
                  <a:pt x="1855" y="462"/>
                  <a:pt x="1856" y="462"/>
                  <a:pt x="1856" y="462"/>
                </a:cubicBezTo>
                <a:cubicBezTo>
                  <a:pt x="1857" y="462"/>
                  <a:pt x="1857" y="462"/>
                  <a:pt x="1857" y="463"/>
                </a:cubicBezTo>
                <a:cubicBezTo>
                  <a:pt x="1858" y="463"/>
                  <a:pt x="1858" y="463"/>
                  <a:pt x="1858" y="463"/>
                </a:cubicBezTo>
                <a:cubicBezTo>
                  <a:pt x="1859" y="463"/>
                  <a:pt x="1860" y="465"/>
                  <a:pt x="1859" y="465"/>
                </a:cubicBezTo>
                <a:cubicBezTo>
                  <a:pt x="1859" y="466"/>
                  <a:pt x="1859" y="465"/>
                  <a:pt x="1859" y="465"/>
                </a:cubicBezTo>
                <a:cubicBezTo>
                  <a:pt x="1858" y="465"/>
                  <a:pt x="1858" y="465"/>
                  <a:pt x="1858" y="465"/>
                </a:cubicBezTo>
                <a:cubicBezTo>
                  <a:pt x="1856" y="465"/>
                  <a:pt x="1856" y="465"/>
                  <a:pt x="1856" y="464"/>
                </a:cubicBezTo>
                <a:cubicBezTo>
                  <a:pt x="1855" y="464"/>
                  <a:pt x="1855" y="463"/>
                  <a:pt x="1855" y="463"/>
                </a:cubicBezTo>
                <a:cubicBezTo>
                  <a:pt x="1855" y="463"/>
                  <a:pt x="1854" y="463"/>
                  <a:pt x="1854" y="462"/>
                </a:cubicBezTo>
                <a:cubicBezTo>
                  <a:pt x="1854" y="462"/>
                  <a:pt x="1853" y="461"/>
                  <a:pt x="1852" y="461"/>
                </a:cubicBezTo>
                <a:cubicBezTo>
                  <a:pt x="1852" y="461"/>
                  <a:pt x="1851" y="461"/>
                  <a:pt x="1851" y="462"/>
                </a:cubicBezTo>
                <a:cubicBezTo>
                  <a:pt x="1851" y="463"/>
                  <a:pt x="1852" y="463"/>
                  <a:pt x="1853" y="464"/>
                </a:cubicBezTo>
                <a:cubicBezTo>
                  <a:pt x="1853" y="464"/>
                  <a:pt x="1853" y="464"/>
                  <a:pt x="1854" y="464"/>
                </a:cubicBezTo>
                <a:cubicBezTo>
                  <a:pt x="1854" y="465"/>
                  <a:pt x="1854" y="465"/>
                  <a:pt x="1854" y="465"/>
                </a:cubicBezTo>
                <a:cubicBezTo>
                  <a:pt x="1854" y="466"/>
                  <a:pt x="1854" y="466"/>
                  <a:pt x="1854" y="466"/>
                </a:cubicBezTo>
                <a:cubicBezTo>
                  <a:pt x="1853" y="465"/>
                  <a:pt x="1853" y="465"/>
                  <a:pt x="1853" y="465"/>
                </a:cubicBezTo>
                <a:cubicBezTo>
                  <a:pt x="1852" y="464"/>
                  <a:pt x="1852" y="464"/>
                  <a:pt x="1852" y="464"/>
                </a:cubicBezTo>
                <a:cubicBezTo>
                  <a:pt x="1851" y="464"/>
                  <a:pt x="1851" y="464"/>
                  <a:pt x="1851" y="464"/>
                </a:cubicBezTo>
                <a:cubicBezTo>
                  <a:pt x="1850" y="463"/>
                  <a:pt x="1848" y="464"/>
                  <a:pt x="1848" y="464"/>
                </a:cubicBezTo>
                <a:cubicBezTo>
                  <a:pt x="1847" y="464"/>
                  <a:pt x="1845" y="464"/>
                  <a:pt x="1845" y="463"/>
                </a:cubicBezTo>
                <a:cubicBezTo>
                  <a:pt x="1844" y="463"/>
                  <a:pt x="1843" y="462"/>
                  <a:pt x="1843" y="462"/>
                </a:cubicBezTo>
                <a:cubicBezTo>
                  <a:pt x="1842" y="463"/>
                  <a:pt x="1842" y="463"/>
                  <a:pt x="1841" y="463"/>
                </a:cubicBezTo>
                <a:cubicBezTo>
                  <a:pt x="1841" y="463"/>
                  <a:pt x="1841" y="463"/>
                  <a:pt x="1840" y="464"/>
                </a:cubicBezTo>
                <a:cubicBezTo>
                  <a:pt x="1840" y="464"/>
                  <a:pt x="1839" y="464"/>
                  <a:pt x="1839" y="465"/>
                </a:cubicBezTo>
                <a:cubicBezTo>
                  <a:pt x="1839" y="465"/>
                  <a:pt x="1840" y="465"/>
                  <a:pt x="1840" y="465"/>
                </a:cubicBezTo>
                <a:cubicBezTo>
                  <a:pt x="1840" y="465"/>
                  <a:pt x="1840" y="465"/>
                  <a:pt x="1841" y="465"/>
                </a:cubicBezTo>
                <a:cubicBezTo>
                  <a:pt x="1841" y="466"/>
                  <a:pt x="1842" y="466"/>
                  <a:pt x="1841" y="467"/>
                </a:cubicBezTo>
                <a:cubicBezTo>
                  <a:pt x="1841" y="467"/>
                  <a:pt x="1839" y="467"/>
                  <a:pt x="1840" y="468"/>
                </a:cubicBezTo>
                <a:cubicBezTo>
                  <a:pt x="1840" y="468"/>
                  <a:pt x="1841" y="468"/>
                  <a:pt x="1842" y="468"/>
                </a:cubicBezTo>
                <a:cubicBezTo>
                  <a:pt x="1843" y="468"/>
                  <a:pt x="1843" y="467"/>
                  <a:pt x="1844" y="468"/>
                </a:cubicBezTo>
                <a:cubicBezTo>
                  <a:pt x="1845" y="468"/>
                  <a:pt x="1846" y="468"/>
                  <a:pt x="1847" y="468"/>
                </a:cubicBezTo>
                <a:cubicBezTo>
                  <a:pt x="1847" y="468"/>
                  <a:pt x="1848" y="468"/>
                  <a:pt x="1847" y="468"/>
                </a:cubicBezTo>
                <a:cubicBezTo>
                  <a:pt x="1847" y="469"/>
                  <a:pt x="1846" y="468"/>
                  <a:pt x="1846" y="469"/>
                </a:cubicBezTo>
                <a:cubicBezTo>
                  <a:pt x="1845" y="469"/>
                  <a:pt x="1844" y="470"/>
                  <a:pt x="1845" y="470"/>
                </a:cubicBezTo>
                <a:cubicBezTo>
                  <a:pt x="1846" y="470"/>
                  <a:pt x="1846" y="470"/>
                  <a:pt x="1846" y="470"/>
                </a:cubicBezTo>
                <a:cubicBezTo>
                  <a:pt x="1847" y="470"/>
                  <a:pt x="1847" y="470"/>
                  <a:pt x="1847" y="471"/>
                </a:cubicBezTo>
                <a:cubicBezTo>
                  <a:pt x="1846" y="471"/>
                  <a:pt x="1845" y="471"/>
                  <a:pt x="1844" y="470"/>
                </a:cubicBezTo>
                <a:cubicBezTo>
                  <a:pt x="1844" y="470"/>
                  <a:pt x="1843" y="469"/>
                  <a:pt x="1842" y="469"/>
                </a:cubicBezTo>
                <a:cubicBezTo>
                  <a:pt x="1841" y="469"/>
                  <a:pt x="1841" y="469"/>
                  <a:pt x="1840" y="469"/>
                </a:cubicBezTo>
                <a:cubicBezTo>
                  <a:pt x="1840" y="470"/>
                  <a:pt x="1839" y="470"/>
                  <a:pt x="1839" y="470"/>
                </a:cubicBezTo>
                <a:cubicBezTo>
                  <a:pt x="1839" y="470"/>
                  <a:pt x="1838" y="470"/>
                  <a:pt x="1838" y="470"/>
                </a:cubicBezTo>
                <a:cubicBezTo>
                  <a:pt x="1837" y="469"/>
                  <a:pt x="1836" y="469"/>
                  <a:pt x="1835" y="470"/>
                </a:cubicBezTo>
                <a:cubicBezTo>
                  <a:pt x="1835" y="470"/>
                  <a:pt x="1834" y="470"/>
                  <a:pt x="1833" y="470"/>
                </a:cubicBezTo>
                <a:cubicBezTo>
                  <a:pt x="1833" y="470"/>
                  <a:pt x="1832" y="470"/>
                  <a:pt x="1832" y="470"/>
                </a:cubicBezTo>
                <a:cubicBezTo>
                  <a:pt x="1832" y="471"/>
                  <a:pt x="1833" y="471"/>
                  <a:pt x="1833" y="471"/>
                </a:cubicBezTo>
                <a:cubicBezTo>
                  <a:pt x="1833" y="471"/>
                  <a:pt x="1834" y="471"/>
                  <a:pt x="1834" y="471"/>
                </a:cubicBezTo>
                <a:cubicBezTo>
                  <a:pt x="1835" y="471"/>
                  <a:pt x="1834" y="471"/>
                  <a:pt x="1833" y="472"/>
                </a:cubicBezTo>
                <a:cubicBezTo>
                  <a:pt x="1833" y="472"/>
                  <a:pt x="1834" y="473"/>
                  <a:pt x="1835" y="472"/>
                </a:cubicBezTo>
                <a:cubicBezTo>
                  <a:pt x="1835" y="472"/>
                  <a:pt x="1835" y="472"/>
                  <a:pt x="1836" y="472"/>
                </a:cubicBezTo>
                <a:cubicBezTo>
                  <a:pt x="1836" y="472"/>
                  <a:pt x="1836" y="472"/>
                  <a:pt x="1837" y="472"/>
                </a:cubicBezTo>
                <a:cubicBezTo>
                  <a:pt x="1837" y="472"/>
                  <a:pt x="1838" y="472"/>
                  <a:pt x="1838" y="472"/>
                </a:cubicBezTo>
                <a:cubicBezTo>
                  <a:pt x="1838" y="473"/>
                  <a:pt x="1837" y="473"/>
                  <a:pt x="1837" y="473"/>
                </a:cubicBezTo>
                <a:cubicBezTo>
                  <a:pt x="1836" y="472"/>
                  <a:pt x="1836" y="472"/>
                  <a:pt x="1835" y="473"/>
                </a:cubicBezTo>
                <a:cubicBezTo>
                  <a:pt x="1835" y="473"/>
                  <a:pt x="1835" y="473"/>
                  <a:pt x="1834" y="473"/>
                </a:cubicBezTo>
                <a:cubicBezTo>
                  <a:pt x="1834" y="473"/>
                  <a:pt x="1834" y="473"/>
                  <a:pt x="1833" y="474"/>
                </a:cubicBezTo>
                <a:cubicBezTo>
                  <a:pt x="1833" y="474"/>
                  <a:pt x="1833" y="474"/>
                  <a:pt x="1833" y="474"/>
                </a:cubicBezTo>
                <a:cubicBezTo>
                  <a:pt x="1832" y="474"/>
                  <a:pt x="1832" y="474"/>
                  <a:pt x="1831" y="474"/>
                </a:cubicBezTo>
                <a:cubicBezTo>
                  <a:pt x="1831" y="474"/>
                  <a:pt x="1831" y="474"/>
                  <a:pt x="1831" y="475"/>
                </a:cubicBezTo>
                <a:cubicBezTo>
                  <a:pt x="1831" y="475"/>
                  <a:pt x="1830" y="475"/>
                  <a:pt x="1830" y="475"/>
                </a:cubicBezTo>
                <a:cubicBezTo>
                  <a:pt x="1829" y="475"/>
                  <a:pt x="1829" y="476"/>
                  <a:pt x="1828" y="476"/>
                </a:cubicBezTo>
                <a:cubicBezTo>
                  <a:pt x="1828" y="477"/>
                  <a:pt x="1829" y="477"/>
                  <a:pt x="1829" y="477"/>
                </a:cubicBezTo>
                <a:cubicBezTo>
                  <a:pt x="1829" y="478"/>
                  <a:pt x="1829" y="478"/>
                  <a:pt x="1829" y="478"/>
                </a:cubicBezTo>
                <a:cubicBezTo>
                  <a:pt x="1829" y="478"/>
                  <a:pt x="1828" y="478"/>
                  <a:pt x="1828" y="478"/>
                </a:cubicBezTo>
                <a:cubicBezTo>
                  <a:pt x="1828" y="478"/>
                  <a:pt x="1828" y="478"/>
                  <a:pt x="1828" y="479"/>
                </a:cubicBezTo>
                <a:cubicBezTo>
                  <a:pt x="1828" y="479"/>
                  <a:pt x="1827" y="479"/>
                  <a:pt x="1827" y="479"/>
                </a:cubicBezTo>
                <a:cubicBezTo>
                  <a:pt x="1827" y="478"/>
                  <a:pt x="1827" y="478"/>
                  <a:pt x="1827" y="477"/>
                </a:cubicBezTo>
                <a:cubicBezTo>
                  <a:pt x="1827" y="477"/>
                  <a:pt x="1826" y="477"/>
                  <a:pt x="1826" y="477"/>
                </a:cubicBezTo>
                <a:cubicBezTo>
                  <a:pt x="1826" y="477"/>
                  <a:pt x="1826" y="477"/>
                  <a:pt x="1825" y="477"/>
                </a:cubicBezTo>
                <a:cubicBezTo>
                  <a:pt x="1825" y="478"/>
                  <a:pt x="1825" y="477"/>
                  <a:pt x="1825" y="477"/>
                </a:cubicBezTo>
                <a:cubicBezTo>
                  <a:pt x="1825" y="476"/>
                  <a:pt x="1826" y="476"/>
                  <a:pt x="1826" y="476"/>
                </a:cubicBezTo>
                <a:cubicBezTo>
                  <a:pt x="1826" y="476"/>
                  <a:pt x="1826" y="475"/>
                  <a:pt x="1827" y="476"/>
                </a:cubicBezTo>
                <a:cubicBezTo>
                  <a:pt x="1827" y="476"/>
                  <a:pt x="1827" y="476"/>
                  <a:pt x="1827" y="476"/>
                </a:cubicBezTo>
                <a:cubicBezTo>
                  <a:pt x="1827" y="476"/>
                  <a:pt x="1827" y="476"/>
                  <a:pt x="1827" y="476"/>
                </a:cubicBezTo>
                <a:cubicBezTo>
                  <a:pt x="1828" y="476"/>
                  <a:pt x="1828" y="475"/>
                  <a:pt x="1828" y="475"/>
                </a:cubicBezTo>
                <a:cubicBezTo>
                  <a:pt x="1828" y="474"/>
                  <a:pt x="1828" y="474"/>
                  <a:pt x="1829" y="474"/>
                </a:cubicBezTo>
                <a:cubicBezTo>
                  <a:pt x="1829" y="474"/>
                  <a:pt x="1830" y="474"/>
                  <a:pt x="1829" y="473"/>
                </a:cubicBezTo>
                <a:cubicBezTo>
                  <a:pt x="1829" y="473"/>
                  <a:pt x="1828" y="473"/>
                  <a:pt x="1828" y="474"/>
                </a:cubicBezTo>
                <a:cubicBezTo>
                  <a:pt x="1828" y="474"/>
                  <a:pt x="1827" y="473"/>
                  <a:pt x="1827" y="474"/>
                </a:cubicBezTo>
                <a:cubicBezTo>
                  <a:pt x="1826" y="474"/>
                  <a:pt x="1827" y="474"/>
                  <a:pt x="1827" y="475"/>
                </a:cubicBezTo>
                <a:cubicBezTo>
                  <a:pt x="1827" y="475"/>
                  <a:pt x="1826" y="475"/>
                  <a:pt x="1826" y="475"/>
                </a:cubicBezTo>
                <a:cubicBezTo>
                  <a:pt x="1825" y="475"/>
                  <a:pt x="1825" y="475"/>
                  <a:pt x="1825" y="476"/>
                </a:cubicBezTo>
                <a:cubicBezTo>
                  <a:pt x="1825" y="476"/>
                  <a:pt x="1825" y="476"/>
                  <a:pt x="1824" y="476"/>
                </a:cubicBezTo>
                <a:cubicBezTo>
                  <a:pt x="1824" y="476"/>
                  <a:pt x="1824" y="476"/>
                  <a:pt x="1824" y="477"/>
                </a:cubicBezTo>
                <a:cubicBezTo>
                  <a:pt x="1824" y="477"/>
                  <a:pt x="1824" y="477"/>
                  <a:pt x="1823" y="477"/>
                </a:cubicBezTo>
                <a:cubicBezTo>
                  <a:pt x="1823" y="477"/>
                  <a:pt x="1823" y="477"/>
                  <a:pt x="1822" y="477"/>
                </a:cubicBezTo>
                <a:cubicBezTo>
                  <a:pt x="1822" y="478"/>
                  <a:pt x="1823" y="478"/>
                  <a:pt x="1822" y="478"/>
                </a:cubicBezTo>
                <a:cubicBezTo>
                  <a:pt x="1822" y="478"/>
                  <a:pt x="1822" y="478"/>
                  <a:pt x="1822" y="478"/>
                </a:cubicBezTo>
                <a:cubicBezTo>
                  <a:pt x="1821" y="478"/>
                  <a:pt x="1821" y="477"/>
                  <a:pt x="1821" y="477"/>
                </a:cubicBezTo>
                <a:cubicBezTo>
                  <a:pt x="1821" y="477"/>
                  <a:pt x="1820" y="476"/>
                  <a:pt x="1820" y="476"/>
                </a:cubicBezTo>
                <a:cubicBezTo>
                  <a:pt x="1819" y="476"/>
                  <a:pt x="1820" y="477"/>
                  <a:pt x="1820" y="477"/>
                </a:cubicBezTo>
                <a:cubicBezTo>
                  <a:pt x="1820" y="478"/>
                  <a:pt x="1821" y="478"/>
                  <a:pt x="1821" y="478"/>
                </a:cubicBezTo>
                <a:cubicBezTo>
                  <a:pt x="1821" y="479"/>
                  <a:pt x="1821" y="479"/>
                  <a:pt x="1821" y="479"/>
                </a:cubicBezTo>
                <a:cubicBezTo>
                  <a:pt x="1822" y="479"/>
                  <a:pt x="1822" y="479"/>
                  <a:pt x="1822" y="480"/>
                </a:cubicBezTo>
                <a:cubicBezTo>
                  <a:pt x="1822" y="480"/>
                  <a:pt x="1822" y="480"/>
                  <a:pt x="1822" y="480"/>
                </a:cubicBezTo>
                <a:cubicBezTo>
                  <a:pt x="1821" y="480"/>
                  <a:pt x="1821" y="480"/>
                  <a:pt x="1820" y="480"/>
                </a:cubicBezTo>
                <a:cubicBezTo>
                  <a:pt x="1820" y="481"/>
                  <a:pt x="1820" y="481"/>
                  <a:pt x="1819" y="481"/>
                </a:cubicBezTo>
                <a:cubicBezTo>
                  <a:pt x="1820" y="482"/>
                  <a:pt x="1821" y="481"/>
                  <a:pt x="1821" y="482"/>
                </a:cubicBezTo>
                <a:cubicBezTo>
                  <a:pt x="1821" y="483"/>
                  <a:pt x="1820" y="483"/>
                  <a:pt x="1819" y="483"/>
                </a:cubicBezTo>
                <a:cubicBezTo>
                  <a:pt x="1819" y="483"/>
                  <a:pt x="1818" y="483"/>
                  <a:pt x="1817" y="483"/>
                </a:cubicBezTo>
                <a:cubicBezTo>
                  <a:pt x="1816" y="483"/>
                  <a:pt x="1816" y="483"/>
                  <a:pt x="1816" y="483"/>
                </a:cubicBezTo>
                <a:cubicBezTo>
                  <a:pt x="1816" y="483"/>
                  <a:pt x="1816" y="484"/>
                  <a:pt x="1817" y="484"/>
                </a:cubicBezTo>
                <a:cubicBezTo>
                  <a:pt x="1817" y="484"/>
                  <a:pt x="1817" y="484"/>
                  <a:pt x="1817" y="484"/>
                </a:cubicBezTo>
                <a:cubicBezTo>
                  <a:pt x="1818" y="484"/>
                  <a:pt x="1818" y="483"/>
                  <a:pt x="1819" y="484"/>
                </a:cubicBezTo>
                <a:cubicBezTo>
                  <a:pt x="1819" y="484"/>
                  <a:pt x="1819" y="484"/>
                  <a:pt x="1819" y="484"/>
                </a:cubicBezTo>
                <a:cubicBezTo>
                  <a:pt x="1819" y="485"/>
                  <a:pt x="1818" y="485"/>
                  <a:pt x="1817" y="485"/>
                </a:cubicBezTo>
                <a:cubicBezTo>
                  <a:pt x="1817" y="487"/>
                  <a:pt x="1819" y="486"/>
                  <a:pt x="1819" y="487"/>
                </a:cubicBezTo>
                <a:cubicBezTo>
                  <a:pt x="1818" y="487"/>
                  <a:pt x="1818" y="487"/>
                  <a:pt x="1818" y="487"/>
                </a:cubicBezTo>
                <a:cubicBezTo>
                  <a:pt x="1819" y="488"/>
                  <a:pt x="1819" y="487"/>
                  <a:pt x="1819" y="487"/>
                </a:cubicBezTo>
                <a:cubicBezTo>
                  <a:pt x="1820" y="487"/>
                  <a:pt x="1820" y="487"/>
                  <a:pt x="1820" y="488"/>
                </a:cubicBezTo>
                <a:cubicBezTo>
                  <a:pt x="1821" y="488"/>
                  <a:pt x="1821" y="488"/>
                  <a:pt x="1821" y="488"/>
                </a:cubicBezTo>
                <a:cubicBezTo>
                  <a:pt x="1821" y="488"/>
                  <a:pt x="1821" y="489"/>
                  <a:pt x="1821" y="489"/>
                </a:cubicBezTo>
                <a:cubicBezTo>
                  <a:pt x="1820" y="489"/>
                  <a:pt x="1820" y="489"/>
                  <a:pt x="1820" y="489"/>
                </a:cubicBezTo>
                <a:cubicBezTo>
                  <a:pt x="1819" y="490"/>
                  <a:pt x="1818" y="490"/>
                  <a:pt x="1818" y="491"/>
                </a:cubicBezTo>
                <a:cubicBezTo>
                  <a:pt x="1819" y="492"/>
                  <a:pt x="1819" y="491"/>
                  <a:pt x="1819" y="492"/>
                </a:cubicBezTo>
                <a:cubicBezTo>
                  <a:pt x="1820" y="492"/>
                  <a:pt x="1819" y="492"/>
                  <a:pt x="1819" y="492"/>
                </a:cubicBezTo>
                <a:cubicBezTo>
                  <a:pt x="1818" y="493"/>
                  <a:pt x="1818" y="494"/>
                  <a:pt x="1818" y="494"/>
                </a:cubicBezTo>
                <a:cubicBezTo>
                  <a:pt x="1819" y="495"/>
                  <a:pt x="1819" y="495"/>
                  <a:pt x="1820" y="495"/>
                </a:cubicBezTo>
                <a:cubicBezTo>
                  <a:pt x="1820" y="495"/>
                  <a:pt x="1820" y="496"/>
                  <a:pt x="1821" y="496"/>
                </a:cubicBezTo>
                <a:cubicBezTo>
                  <a:pt x="1821" y="496"/>
                  <a:pt x="1822" y="496"/>
                  <a:pt x="1823" y="496"/>
                </a:cubicBezTo>
                <a:cubicBezTo>
                  <a:pt x="1824" y="496"/>
                  <a:pt x="1825" y="496"/>
                  <a:pt x="1826" y="496"/>
                </a:cubicBezTo>
                <a:cubicBezTo>
                  <a:pt x="1826" y="496"/>
                  <a:pt x="1827" y="495"/>
                  <a:pt x="1828" y="495"/>
                </a:cubicBezTo>
                <a:cubicBezTo>
                  <a:pt x="1829" y="495"/>
                  <a:pt x="1830" y="495"/>
                  <a:pt x="1830" y="495"/>
                </a:cubicBezTo>
                <a:cubicBezTo>
                  <a:pt x="1831" y="495"/>
                  <a:pt x="1832" y="496"/>
                  <a:pt x="1833" y="496"/>
                </a:cubicBezTo>
                <a:cubicBezTo>
                  <a:pt x="1834" y="496"/>
                  <a:pt x="1835" y="494"/>
                  <a:pt x="1837" y="494"/>
                </a:cubicBezTo>
                <a:cubicBezTo>
                  <a:pt x="1838" y="495"/>
                  <a:pt x="1840" y="495"/>
                  <a:pt x="1842" y="495"/>
                </a:cubicBezTo>
                <a:cubicBezTo>
                  <a:pt x="1842" y="495"/>
                  <a:pt x="1843" y="495"/>
                  <a:pt x="1844" y="494"/>
                </a:cubicBezTo>
                <a:cubicBezTo>
                  <a:pt x="1844" y="493"/>
                  <a:pt x="1843" y="493"/>
                  <a:pt x="1843" y="492"/>
                </a:cubicBezTo>
                <a:cubicBezTo>
                  <a:pt x="1844" y="491"/>
                  <a:pt x="1844" y="491"/>
                  <a:pt x="1845" y="491"/>
                </a:cubicBezTo>
                <a:cubicBezTo>
                  <a:pt x="1844" y="492"/>
                  <a:pt x="1844" y="492"/>
                  <a:pt x="1844" y="493"/>
                </a:cubicBezTo>
                <a:cubicBezTo>
                  <a:pt x="1844" y="494"/>
                  <a:pt x="1844" y="494"/>
                  <a:pt x="1845" y="495"/>
                </a:cubicBezTo>
                <a:cubicBezTo>
                  <a:pt x="1844" y="495"/>
                  <a:pt x="1844" y="494"/>
                  <a:pt x="1844" y="494"/>
                </a:cubicBezTo>
                <a:cubicBezTo>
                  <a:pt x="1843" y="495"/>
                  <a:pt x="1843" y="495"/>
                  <a:pt x="1843" y="495"/>
                </a:cubicBezTo>
                <a:cubicBezTo>
                  <a:pt x="1842" y="495"/>
                  <a:pt x="1842" y="495"/>
                  <a:pt x="1842" y="496"/>
                </a:cubicBezTo>
                <a:cubicBezTo>
                  <a:pt x="1841" y="496"/>
                  <a:pt x="1841" y="496"/>
                  <a:pt x="1840" y="497"/>
                </a:cubicBezTo>
                <a:cubicBezTo>
                  <a:pt x="1840" y="497"/>
                  <a:pt x="1841" y="498"/>
                  <a:pt x="1841" y="498"/>
                </a:cubicBezTo>
                <a:cubicBezTo>
                  <a:pt x="1842" y="498"/>
                  <a:pt x="1842" y="499"/>
                  <a:pt x="1842" y="499"/>
                </a:cubicBezTo>
                <a:cubicBezTo>
                  <a:pt x="1841" y="499"/>
                  <a:pt x="1841" y="499"/>
                  <a:pt x="1841" y="499"/>
                </a:cubicBezTo>
                <a:cubicBezTo>
                  <a:pt x="1841" y="499"/>
                  <a:pt x="1841" y="499"/>
                  <a:pt x="1841" y="499"/>
                </a:cubicBezTo>
                <a:cubicBezTo>
                  <a:pt x="1841" y="499"/>
                  <a:pt x="1841" y="499"/>
                  <a:pt x="1841" y="499"/>
                </a:cubicBezTo>
                <a:cubicBezTo>
                  <a:pt x="1840" y="498"/>
                  <a:pt x="1839" y="499"/>
                  <a:pt x="1839" y="498"/>
                </a:cubicBezTo>
                <a:cubicBezTo>
                  <a:pt x="1840" y="498"/>
                  <a:pt x="1840" y="498"/>
                  <a:pt x="1840" y="497"/>
                </a:cubicBezTo>
                <a:cubicBezTo>
                  <a:pt x="1840" y="497"/>
                  <a:pt x="1840" y="497"/>
                  <a:pt x="1840" y="496"/>
                </a:cubicBezTo>
                <a:cubicBezTo>
                  <a:pt x="1839" y="496"/>
                  <a:pt x="1839" y="496"/>
                  <a:pt x="1839" y="496"/>
                </a:cubicBezTo>
                <a:cubicBezTo>
                  <a:pt x="1838" y="496"/>
                  <a:pt x="1837" y="495"/>
                  <a:pt x="1836" y="495"/>
                </a:cubicBezTo>
                <a:cubicBezTo>
                  <a:pt x="1835" y="495"/>
                  <a:pt x="1835" y="496"/>
                  <a:pt x="1834" y="496"/>
                </a:cubicBezTo>
                <a:cubicBezTo>
                  <a:pt x="1833" y="497"/>
                  <a:pt x="1833" y="497"/>
                  <a:pt x="1832" y="497"/>
                </a:cubicBezTo>
                <a:cubicBezTo>
                  <a:pt x="1832" y="497"/>
                  <a:pt x="1831" y="496"/>
                  <a:pt x="1831" y="496"/>
                </a:cubicBezTo>
                <a:cubicBezTo>
                  <a:pt x="1830" y="495"/>
                  <a:pt x="1829" y="496"/>
                  <a:pt x="1829" y="496"/>
                </a:cubicBezTo>
                <a:cubicBezTo>
                  <a:pt x="1828" y="496"/>
                  <a:pt x="1827" y="496"/>
                  <a:pt x="1827" y="496"/>
                </a:cubicBezTo>
                <a:cubicBezTo>
                  <a:pt x="1826" y="496"/>
                  <a:pt x="1825" y="496"/>
                  <a:pt x="1824" y="496"/>
                </a:cubicBezTo>
                <a:cubicBezTo>
                  <a:pt x="1823" y="496"/>
                  <a:pt x="1823" y="496"/>
                  <a:pt x="1822" y="496"/>
                </a:cubicBezTo>
                <a:cubicBezTo>
                  <a:pt x="1821" y="496"/>
                  <a:pt x="1820" y="496"/>
                  <a:pt x="1820" y="496"/>
                </a:cubicBezTo>
                <a:cubicBezTo>
                  <a:pt x="1819" y="496"/>
                  <a:pt x="1819" y="496"/>
                  <a:pt x="1819" y="496"/>
                </a:cubicBezTo>
                <a:cubicBezTo>
                  <a:pt x="1818" y="497"/>
                  <a:pt x="1818" y="497"/>
                  <a:pt x="1819" y="497"/>
                </a:cubicBezTo>
                <a:cubicBezTo>
                  <a:pt x="1819" y="498"/>
                  <a:pt x="1820" y="498"/>
                  <a:pt x="1819" y="499"/>
                </a:cubicBezTo>
                <a:cubicBezTo>
                  <a:pt x="1819" y="499"/>
                  <a:pt x="1819" y="499"/>
                  <a:pt x="1818" y="499"/>
                </a:cubicBezTo>
                <a:cubicBezTo>
                  <a:pt x="1818" y="499"/>
                  <a:pt x="1818" y="498"/>
                  <a:pt x="1817" y="498"/>
                </a:cubicBezTo>
                <a:cubicBezTo>
                  <a:pt x="1817" y="499"/>
                  <a:pt x="1818" y="499"/>
                  <a:pt x="1818" y="499"/>
                </a:cubicBezTo>
                <a:cubicBezTo>
                  <a:pt x="1818" y="500"/>
                  <a:pt x="1817" y="500"/>
                  <a:pt x="1818" y="500"/>
                </a:cubicBezTo>
                <a:cubicBezTo>
                  <a:pt x="1819" y="501"/>
                  <a:pt x="1820" y="500"/>
                  <a:pt x="1820" y="500"/>
                </a:cubicBezTo>
                <a:cubicBezTo>
                  <a:pt x="1821" y="500"/>
                  <a:pt x="1821" y="501"/>
                  <a:pt x="1821" y="501"/>
                </a:cubicBezTo>
                <a:cubicBezTo>
                  <a:pt x="1821" y="502"/>
                  <a:pt x="1821" y="502"/>
                  <a:pt x="1821" y="502"/>
                </a:cubicBezTo>
                <a:cubicBezTo>
                  <a:pt x="1822" y="503"/>
                  <a:pt x="1821" y="503"/>
                  <a:pt x="1820" y="504"/>
                </a:cubicBezTo>
                <a:cubicBezTo>
                  <a:pt x="1820" y="504"/>
                  <a:pt x="1820" y="504"/>
                  <a:pt x="1820" y="504"/>
                </a:cubicBezTo>
                <a:cubicBezTo>
                  <a:pt x="1820" y="505"/>
                  <a:pt x="1820" y="505"/>
                  <a:pt x="1821" y="505"/>
                </a:cubicBezTo>
                <a:cubicBezTo>
                  <a:pt x="1821" y="505"/>
                  <a:pt x="1821" y="505"/>
                  <a:pt x="1822" y="505"/>
                </a:cubicBezTo>
                <a:cubicBezTo>
                  <a:pt x="1822" y="505"/>
                  <a:pt x="1823" y="505"/>
                  <a:pt x="1823" y="504"/>
                </a:cubicBezTo>
                <a:cubicBezTo>
                  <a:pt x="1823" y="504"/>
                  <a:pt x="1823" y="504"/>
                  <a:pt x="1823" y="503"/>
                </a:cubicBezTo>
                <a:cubicBezTo>
                  <a:pt x="1824" y="503"/>
                  <a:pt x="1824" y="503"/>
                  <a:pt x="1824" y="503"/>
                </a:cubicBezTo>
                <a:cubicBezTo>
                  <a:pt x="1825" y="503"/>
                  <a:pt x="1825" y="502"/>
                  <a:pt x="1825" y="503"/>
                </a:cubicBezTo>
                <a:cubicBezTo>
                  <a:pt x="1826" y="503"/>
                  <a:pt x="1826" y="503"/>
                  <a:pt x="1826" y="504"/>
                </a:cubicBezTo>
                <a:cubicBezTo>
                  <a:pt x="1826" y="504"/>
                  <a:pt x="1825" y="504"/>
                  <a:pt x="1825" y="505"/>
                </a:cubicBezTo>
                <a:cubicBezTo>
                  <a:pt x="1825" y="505"/>
                  <a:pt x="1825" y="505"/>
                  <a:pt x="1825" y="506"/>
                </a:cubicBezTo>
                <a:cubicBezTo>
                  <a:pt x="1825" y="506"/>
                  <a:pt x="1825" y="507"/>
                  <a:pt x="1824" y="507"/>
                </a:cubicBezTo>
                <a:cubicBezTo>
                  <a:pt x="1824" y="507"/>
                  <a:pt x="1823" y="507"/>
                  <a:pt x="1823" y="507"/>
                </a:cubicBezTo>
                <a:cubicBezTo>
                  <a:pt x="1822" y="507"/>
                  <a:pt x="1822" y="506"/>
                  <a:pt x="1821" y="506"/>
                </a:cubicBezTo>
                <a:cubicBezTo>
                  <a:pt x="1821" y="506"/>
                  <a:pt x="1820" y="506"/>
                  <a:pt x="1820" y="506"/>
                </a:cubicBezTo>
                <a:cubicBezTo>
                  <a:pt x="1820" y="506"/>
                  <a:pt x="1820" y="506"/>
                  <a:pt x="1820" y="507"/>
                </a:cubicBezTo>
                <a:cubicBezTo>
                  <a:pt x="1820" y="507"/>
                  <a:pt x="1820" y="507"/>
                  <a:pt x="1820" y="507"/>
                </a:cubicBezTo>
                <a:cubicBezTo>
                  <a:pt x="1820" y="508"/>
                  <a:pt x="1819" y="509"/>
                  <a:pt x="1820" y="509"/>
                </a:cubicBezTo>
                <a:cubicBezTo>
                  <a:pt x="1820" y="510"/>
                  <a:pt x="1820" y="510"/>
                  <a:pt x="1821" y="510"/>
                </a:cubicBezTo>
                <a:cubicBezTo>
                  <a:pt x="1821" y="510"/>
                  <a:pt x="1821" y="511"/>
                  <a:pt x="1821" y="511"/>
                </a:cubicBezTo>
                <a:cubicBezTo>
                  <a:pt x="1821" y="512"/>
                  <a:pt x="1822" y="513"/>
                  <a:pt x="1823" y="512"/>
                </a:cubicBezTo>
                <a:cubicBezTo>
                  <a:pt x="1823" y="511"/>
                  <a:pt x="1823" y="511"/>
                  <a:pt x="1823" y="511"/>
                </a:cubicBezTo>
                <a:cubicBezTo>
                  <a:pt x="1824" y="510"/>
                  <a:pt x="1824" y="511"/>
                  <a:pt x="1824" y="511"/>
                </a:cubicBezTo>
                <a:cubicBezTo>
                  <a:pt x="1824" y="512"/>
                  <a:pt x="1824" y="512"/>
                  <a:pt x="1825" y="512"/>
                </a:cubicBezTo>
                <a:cubicBezTo>
                  <a:pt x="1825" y="512"/>
                  <a:pt x="1826" y="512"/>
                  <a:pt x="1826" y="512"/>
                </a:cubicBezTo>
                <a:cubicBezTo>
                  <a:pt x="1826" y="513"/>
                  <a:pt x="1826" y="514"/>
                  <a:pt x="1826" y="515"/>
                </a:cubicBezTo>
                <a:cubicBezTo>
                  <a:pt x="1826" y="516"/>
                  <a:pt x="1827" y="515"/>
                  <a:pt x="1827" y="514"/>
                </a:cubicBezTo>
                <a:cubicBezTo>
                  <a:pt x="1827" y="514"/>
                  <a:pt x="1827" y="513"/>
                  <a:pt x="1828" y="512"/>
                </a:cubicBezTo>
                <a:cubicBezTo>
                  <a:pt x="1828" y="512"/>
                  <a:pt x="1828" y="512"/>
                  <a:pt x="1829" y="512"/>
                </a:cubicBezTo>
                <a:cubicBezTo>
                  <a:pt x="1829" y="512"/>
                  <a:pt x="1829" y="511"/>
                  <a:pt x="1830" y="511"/>
                </a:cubicBezTo>
                <a:cubicBezTo>
                  <a:pt x="1830" y="511"/>
                  <a:pt x="1830" y="512"/>
                  <a:pt x="1830" y="513"/>
                </a:cubicBezTo>
                <a:cubicBezTo>
                  <a:pt x="1830" y="513"/>
                  <a:pt x="1832" y="513"/>
                  <a:pt x="1831" y="513"/>
                </a:cubicBezTo>
                <a:cubicBezTo>
                  <a:pt x="1831" y="514"/>
                  <a:pt x="1830" y="514"/>
                  <a:pt x="1830" y="514"/>
                </a:cubicBezTo>
                <a:cubicBezTo>
                  <a:pt x="1830" y="514"/>
                  <a:pt x="1829" y="514"/>
                  <a:pt x="1829" y="514"/>
                </a:cubicBezTo>
                <a:cubicBezTo>
                  <a:pt x="1828" y="515"/>
                  <a:pt x="1828" y="515"/>
                  <a:pt x="1828" y="516"/>
                </a:cubicBezTo>
                <a:cubicBezTo>
                  <a:pt x="1827" y="516"/>
                  <a:pt x="1827" y="516"/>
                  <a:pt x="1826" y="517"/>
                </a:cubicBezTo>
                <a:cubicBezTo>
                  <a:pt x="1826" y="517"/>
                  <a:pt x="1826" y="517"/>
                  <a:pt x="1825" y="517"/>
                </a:cubicBezTo>
                <a:cubicBezTo>
                  <a:pt x="1825" y="517"/>
                  <a:pt x="1825" y="517"/>
                  <a:pt x="1825" y="517"/>
                </a:cubicBezTo>
                <a:cubicBezTo>
                  <a:pt x="1825" y="518"/>
                  <a:pt x="1825" y="518"/>
                  <a:pt x="1825" y="518"/>
                </a:cubicBezTo>
                <a:cubicBezTo>
                  <a:pt x="1825" y="518"/>
                  <a:pt x="1826" y="518"/>
                  <a:pt x="1826" y="518"/>
                </a:cubicBezTo>
                <a:cubicBezTo>
                  <a:pt x="1826" y="518"/>
                  <a:pt x="1826" y="518"/>
                  <a:pt x="1826" y="518"/>
                </a:cubicBezTo>
                <a:cubicBezTo>
                  <a:pt x="1826" y="519"/>
                  <a:pt x="1827" y="519"/>
                  <a:pt x="1827" y="519"/>
                </a:cubicBezTo>
                <a:cubicBezTo>
                  <a:pt x="1828" y="519"/>
                  <a:pt x="1828" y="518"/>
                  <a:pt x="1828" y="519"/>
                </a:cubicBezTo>
                <a:cubicBezTo>
                  <a:pt x="1829" y="519"/>
                  <a:pt x="1828" y="519"/>
                  <a:pt x="1828" y="520"/>
                </a:cubicBezTo>
                <a:cubicBezTo>
                  <a:pt x="1827" y="520"/>
                  <a:pt x="1827" y="520"/>
                  <a:pt x="1827" y="520"/>
                </a:cubicBezTo>
                <a:cubicBezTo>
                  <a:pt x="1827" y="520"/>
                  <a:pt x="1827" y="521"/>
                  <a:pt x="1826" y="521"/>
                </a:cubicBezTo>
                <a:cubicBezTo>
                  <a:pt x="1826" y="522"/>
                  <a:pt x="1825" y="520"/>
                  <a:pt x="1824" y="520"/>
                </a:cubicBezTo>
                <a:cubicBezTo>
                  <a:pt x="1824" y="521"/>
                  <a:pt x="1823" y="524"/>
                  <a:pt x="1823" y="523"/>
                </a:cubicBezTo>
                <a:cubicBezTo>
                  <a:pt x="1823" y="522"/>
                  <a:pt x="1823" y="522"/>
                  <a:pt x="1823" y="522"/>
                </a:cubicBezTo>
                <a:cubicBezTo>
                  <a:pt x="1823" y="522"/>
                  <a:pt x="1823" y="521"/>
                  <a:pt x="1823" y="521"/>
                </a:cubicBezTo>
                <a:cubicBezTo>
                  <a:pt x="1823" y="521"/>
                  <a:pt x="1823" y="521"/>
                  <a:pt x="1823" y="521"/>
                </a:cubicBezTo>
                <a:cubicBezTo>
                  <a:pt x="1823" y="520"/>
                  <a:pt x="1823" y="520"/>
                  <a:pt x="1823" y="520"/>
                </a:cubicBezTo>
                <a:cubicBezTo>
                  <a:pt x="1822" y="520"/>
                  <a:pt x="1822" y="520"/>
                  <a:pt x="1822" y="521"/>
                </a:cubicBezTo>
                <a:cubicBezTo>
                  <a:pt x="1821" y="521"/>
                  <a:pt x="1820" y="521"/>
                  <a:pt x="1820" y="522"/>
                </a:cubicBezTo>
                <a:cubicBezTo>
                  <a:pt x="1820" y="522"/>
                  <a:pt x="1821" y="523"/>
                  <a:pt x="1821" y="523"/>
                </a:cubicBezTo>
                <a:cubicBezTo>
                  <a:pt x="1821" y="523"/>
                  <a:pt x="1820" y="524"/>
                  <a:pt x="1820" y="524"/>
                </a:cubicBezTo>
                <a:cubicBezTo>
                  <a:pt x="1820" y="525"/>
                  <a:pt x="1820" y="525"/>
                  <a:pt x="1821" y="525"/>
                </a:cubicBezTo>
                <a:cubicBezTo>
                  <a:pt x="1821" y="525"/>
                  <a:pt x="1821" y="525"/>
                  <a:pt x="1822" y="525"/>
                </a:cubicBezTo>
                <a:cubicBezTo>
                  <a:pt x="1822" y="526"/>
                  <a:pt x="1822" y="526"/>
                  <a:pt x="1822" y="526"/>
                </a:cubicBezTo>
                <a:cubicBezTo>
                  <a:pt x="1823" y="526"/>
                  <a:pt x="1823" y="527"/>
                  <a:pt x="1823" y="527"/>
                </a:cubicBezTo>
                <a:cubicBezTo>
                  <a:pt x="1823" y="527"/>
                  <a:pt x="1824" y="527"/>
                  <a:pt x="1824" y="527"/>
                </a:cubicBezTo>
                <a:cubicBezTo>
                  <a:pt x="1825" y="527"/>
                  <a:pt x="1825" y="527"/>
                  <a:pt x="1825" y="527"/>
                </a:cubicBezTo>
                <a:cubicBezTo>
                  <a:pt x="1826" y="527"/>
                  <a:pt x="1826" y="526"/>
                  <a:pt x="1826" y="525"/>
                </a:cubicBezTo>
                <a:cubicBezTo>
                  <a:pt x="1826" y="525"/>
                  <a:pt x="1826" y="525"/>
                  <a:pt x="1826" y="525"/>
                </a:cubicBezTo>
                <a:cubicBezTo>
                  <a:pt x="1826" y="525"/>
                  <a:pt x="1826" y="524"/>
                  <a:pt x="1826" y="524"/>
                </a:cubicBezTo>
                <a:cubicBezTo>
                  <a:pt x="1826" y="524"/>
                  <a:pt x="1826" y="524"/>
                  <a:pt x="1827" y="524"/>
                </a:cubicBezTo>
                <a:cubicBezTo>
                  <a:pt x="1827" y="524"/>
                  <a:pt x="1828" y="524"/>
                  <a:pt x="1828" y="524"/>
                </a:cubicBezTo>
                <a:cubicBezTo>
                  <a:pt x="1828" y="524"/>
                  <a:pt x="1829" y="523"/>
                  <a:pt x="1829" y="524"/>
                </a:cubicBezTo>
                <a:cubicBezTo>
                  <a:pt x="1830" y="524"/>
                  <a:pt x="1831" y="524"/>
                  <a:pt x="1831" y="523"/>
                </a:cubicBezTo>
                <a:cubicBezTo>
                  <a:pt x="1832" y="523"/>
                  <a:pt x="1832" y="523"/>
                  <a:pt x="1832" y="522"/>
                </a:cubicBezTo>
                <a:cubicBezTo>
                  <a:pt x="1832" y="522"/>
                  <a:pt x="1833" y="522"/>
                  <a:pt x="1833" y="522"/>
                </a:cubicBezTo>
                <a:cubicBezTo>
                  <a:pt x="1834" y="522"/>
                  <a:pt x="1834" y="522"/>
                  <a:pt x="1834" y="523"/>
                </a:cubicBezTo>
                <a:cubicBezTo>
                  <a:pt x="1833" y="523"/>
                  <a:pt x="1833" y="523"/>
                  <a:pt x="1832" y="523"/>
                </a:cubicBezTo>
                <a:cubicBezTo>
                  <a:pt x="1832" y="524"/>
                  <a:pt x="1832" y="524"/>
                  <a:pt x="1831" y="524"/>
                </a:cubicBezTo>
                <a:cubicBezTo>
                  <a:pt x="1831" y="524"/>
                  <a:pt x="1831" y="524"/>
                  <a:pt x="1830" y="524"/>
                </a:cubicBezTo>
                <a:cubicBezTo>
                  <a:pt x="1830" y="524"/>
                  <a:pt x="1829" y="524"/>
                  <a:pt x="1829" y="525"/>
                </a:cubicBezTo>
                <a:cubicBezTo>
                  <a:pt x="1829" y="526"/>
                  <a:pt x="1829" y="526"/>
                  <a:pt x="1830" y="526"/>
                </a:cubicBezTo>
                <a:cubicBezTo>
                  <a:pt x="1830" y="526"/>
                  <a:pt x="1830" y="526"/>
                  <a:pt x="1830" y="526"/>
                </a:cubicBezTo>
                <a:cubicBezTo>
                  <a:pt x="1831" y="527"/>
                  <a:pt x="1832" y="526"/>
                  <a:pt x="1832" y="527"/>
                </a:cubicBezTo>
                <a:cubicBezTo>
                  <a:pt x="1833" y="527"/>
                  <a:pt x="1833" y="527"/>
                  <a:pt x="1832" y="527"/>
                </a:cubicBezTo>
                <a:cubicBezTo>
                  <a:pt x="1832" y="528"/>
                  <a:pt x="1831" y="527"/>
                  <a:pt x="1831" y="528"/>
                </a:cubicBezTo>
                <a:cubicBezTo>
                  <a:pt x="1831" y="528"/>
                  <a:pt x="1830" y="528"/>
                  <a:pt x="1830" y="528"/>
                </a:cubicBezTo>
                <a:cubicBezTo>
                  <a:pt x="1829" y="529"/>
                  <a:pt x="1829" y="529"/>
                  <a:pt x="1828" y="530"/>
                </a:cubicBezTo>
                <a:cubicBezTo>
                  <a:pt x="1828" y="530"/>
                  <a:pt x="1827" y="532"/>
                  <a:pt x="1828" y="531"/>
                </a:cubicBezTo>
                <a:cubicBezTo>
                  <a:pt x="1829" y="531"/>
                  <a:pt x="1829" y="531"/>
                  <a:pt x="1830" y="531"/>
                </a:cubicBezTo>
                <a:cubicBezTo>
                  <a:pt x="1830" y="532"/>
                  <a:pt x="1830" y="532"/>
                  <a:pt x="1831" y="532"/>
                </a:cubicBezTo>
                <a:cubicBezTo>
                  <a:pt x="1831" y="532"/>
                  <a:pt x="1832" y="531"/>
                  <a:pt x="1832" y="532"/>
                </a:cubicBezTo>
                <a:cubicBezTo>
                  <a:pt x="1831" y="532"/>
                  <a:pt x="1831" y="532"/>
                  <a:pt x="1831" y="533"/>
                </a:cubicBezTo>
                <a:cubicBezTo>
                  <a:pt x="1831" y="533"/>
                  <a:pt x="1831" y="534"/>
                  <a:pt x="1831" y="534"/>
                </a:cubicBezTo>
                <a:cubicBezTo>
                  <a:pt x="1830" y="535"/>
                  <a:pt x="1830" y="534"/>
                  <a:pt x="1830" y="534"/>
                </a:cubicBezTo>
                <a:cubicBezTo>
                  <a:pt x="1830" y="534"/>
                  <a:pt x="1830" y="534"/>
                  <a:pt x="1829" y="534"/>
                </a:cubicBezTo>
                <a:cubicBezTo>
                  <a:pt x="1829" y="534"/>
                  <a:pt x="1829" y="534"/>
                  <a:pt x="1829" y="534"/>
                </a:cubicBezTo>
                <a:cubicBezTo>
                  <a:pt x="1828" y="534"/>
                  <a:pt x="1828" y="534"/>
                  <a:pt x="1828" y="533"/>
                </a:cubicBezTo>
                <a:cubicBezTo>
                  <a:pt x="1827" y="533"/>
                  <a:pt x="1826" y="533"/>
                  <a:pt x="1826" y="533"/>
                </a:cubicBezTo>
                <a:cubicBezTo>
                  <a:pt x="1825" y="533"/>
                  <a:pt x="1825" y="533"/>
                  <a:pt x="1825" y="533"/>
                </a:cubicBezTo>
                <a:cubicBezTo>
                  <a:pt x="1825" y="532"/>
                  <a:pt x="1824" y="531"/>
                  <a:pt x="1824" y="532"/>
                </a:cubicBezTo>
                <a:cubicBezTo>
                  <a:pt x="1824" y="532"/>
                  <a:pt x="1825" y="532"/>
                  <a:pt x="1825" y="533"/>
                </a:cubicBezTo>
                <a:cubicBezTo>
                  <a:pt x="1825" y="533"/>
                  <a:pt x="1824" y="533"/>
                  <a:pt x="1824" y="534"/>
                </a:cubicBezTo>
                <a:cubicBezTo>
                  <a:pt x="1823" y="534"/>
                  <a:pt x="1823" y="535"/>
                  <a:pt x="1823" y="535"/>
                </a:cubicBezTo>
                <a:cubicBezTo>
                  <a:pt x="1823" y="535"/>
                  <a:pt x="1823" y="536"/>
                  <a:pt x="1823" y="536"/>
                </a:cubicBezTo>
                <a:cubicBezTo>
                  <a:pt x="1823" y="537"/>
                  <a:pt x="1824" y="537"/>
                  <a:pt x="1824" y="538"/>
                </a:cubicBezTo>
                <a:cubicBezTo>
                  <a:pt x="1825" y="539"/>
                  <a:pt x="1825" y="540"/>
                  <a:pt x="1826" y="540"/>
                </a:cubicBezTo>
                <a:cubicBezTo>
                  <a:pt x="1826" y="541"/>
                  <a:pt x="1827" y="541"/>
                  <a:pt x="1828" y="541"/>
                </a:cubicBezTo>
                <a:cubicBezTo>
                  <a:pt x="1829" y="542"/>
                  <a:pt x="1829" y="543"/>
                  <a:pt x="1830" y="543"/>
                </a:cubicBezTo>
                <a:cubicBezTo>
                  <a:pt x="1831" y="543"/>
                  <a:pt x="1832" y="543"/>
                  <a:pt x="1832" y="544"/>
                </a:cubicBezTo>
                <a:cubicBezTo>
                  <a:pt x="1833" y="544"/>
                  <a:pt x="1834" y="544"/>
                  <a:pt x="1835" y="544"/>
                </a:cubicBezTo>
                <a:cubicBezTo>
                  <a:pt x="1835" y="544"/>
                  <a:pt x="1837" y="544"/>
                  <a:pt x="1837" y="545"/>
                </a:cubicBezTo>
                <a:cubicBezTo>
                  <a:pt x="1837" y="545"/>
                  <a:pt x="1836" y="546"/>
                  <a:pt x="1836" y="546"/>
                </a:cubicBezTo>
                <a:cubicBezTo>
                  <a:pt x="1836" y="546"/>
                  <a:pt x="1835" y="546"/>
                  <a:pt x="1835" y="547"/>
                </a:cubicBezTo>
                <a:cubicBezTo>
                  <a:pt x="1835" y="548"/>
                  <a:pt x="1837" y="547"/>
                  <a:pt x="1837" y="547"/>
                </a:cubicBezTo>
                <a:cubicBezTo>
                  <a:pt x="1838" y="547"/>
                  <a:pt x="1838" y="547"/>
                  <a:pt x="1838" y="547"/>
                </a:cubicBezTo>
                <a:cubicBezTo>
                  <a:pt x="1839" y="548"/>
                  <a:pt x="1839" y="548"/>
                  <a:pt x="1840" y="548"/>
                </a:cubicBezTo>
                <a:cubicBezTo>
                  <a:pt x="1840" y="548"/>
                  <a:pt x="1840" y="548"/>
                  <a:pt x="1841" y="548"/>
                </a:cubicBezTo>
                <a:cubicBezTo>
                  <a:pt x="1841" y="549"/>
                  <a:pt x="1841" y="548"/>
                  <a:pt x="1842" y="548"/>
                </a:cubicBezTo>
                <a:cubicBezTo>
                  <a:pt x="1842" y="548"/>
                  <a:pt x="1842" y="548"/>
                  <a:pt x="1843" y="548"/>
                </a:cubicBezTo>
                <a:cubicBezTo>
                  <a:pt x="1843" y="548"/>
                  <a:pt x="1844" y="548"/>
                  <a:pt x="1844" y="548"/>
                </a:cubicBezTo>
                <a:cubicBezTo>
                  <a:pt x="1845" y="548"/>
                  <a:pt x="1846" y="548"/>
                  <a:pt x="1847" y="548"/>
                </a:cubicBezTo>
                <a:cubicBezTo>
                  <a:pt x="1847" y="547"/>
                  <a:pt x="1848" y="547"/>
                  <a:pt x="1848" y="547"/>
                </a:cubicBezTo>
                <a:cubicBezTo>
                  <a:pt x="1848" y="547"/>
                  <a:pt x="1848" y="547"/>
                  <a:pt x="1849" y="547"/>
                </a:cubicBezTo>
                <a:cubicBezTo>
                  <a:pt x="1849" y="547"/>
                  <a:pt x="1849" y="547"/>
                  <a:pt x="1849" y="547"/>
                </a:cubicBezTo>
                <a:cubicBezTo>
                  <a:pt x="1851" y="546"/>
                  <a:pt x="1853" y="547"/>
                  <a:pt x="1854" y="546"/>
                </a:cubicBezTo>
                <a:cubicBezTo>
                  <a:pt x="1855" y="545"/>
                  <a:pt x="1856" y="545"/>
                  <a:pt x="1857" y="544"/>
                </a:cubicBezTo>
                <a:cubicBezTo>
                  <a:pt x="1858" y="543"/>
                  <a:pt x="1860" y="542"/>
                  <a:pt x="1862" y="540"/>
                </a:cubicBezTo>
                <a:cubicBezTo>
                  <a:pt x="1862" y="539"/>
                  <a:pt x="1862" y="539"/>
                  <a:pt x="1863" y="538"/>
                </a:cubicBezTo>
                <a:cubicBezTo>
                  <a:pt x="1864" y="538"/>
                  <a:pt x="1864" y="538"/>
                  <a:pt x="1865" y="538"/>
                </a:cubicBezTo>
                <a:cubicBezTo>
                  <a:pt x="1865" y="537"/>
                  <a:pt x="1865" y="537"/>
                  <a:pt x="1865" y="537"/>
                </a:cubicBezTo>
                <a:cubicBezTo>
                  <a:pt x="1865" y="537"/>
                  <a:pt x="1865" y="537"/>
                  <a:pt x="1865" y="536"/>
                </a:cubicBezTo>
                <a:cubicBezTo>
                  <a:pt x="1865" y="536"/>
                  <a:pt x="1867" y="536"/>
                  <a:pt x="1867" y="536"/>
                </a:cubicBezTo>
                <a:cubicBezTo>
                  <a:pt x="1867" y="535"/>
                  <a:pt x="1867" y="535"/>
                  <a:pt x="1867" y="534"/>
                </a:cubicBezTo>
                <a:cubicBezTo>
                  <a:pt x="1867" y="534"/>
                  <a:pt x="1867" y="534"/>
                  <a:pt x="1868" y="534"/>
                </a:cubicBezTo>
                <a:cubicBezTo>
                  <a:pt x="1868" y="533"/>
                  <a:pt x="1869" y="533"/>
                  <a:pt x="1869" y="533"/>
                </a:cubicBezTo>
                <a:cubicBezTo>
                  <a:pt x="1869" y="533"/>
                  <a:pt x="1870" y="533"/>
                  <a:pt x="1870" y="533"/>
                </a:cubicBezTo>
                <a:cubicBezTo>
                  <a:pt x="1870" y="532"/>
                  <a:pt x="1871" y="532"/>
                  <a:pt x="1871" y="532"/>
                </a:cubicBezTo>
                <a:cubicBezTo>
                  <a:pt x="1871" y="531"/>
                  <a:pt x="1870" y="531"/>
                  <a:pt x="1870" y="531"/>
                </a:cubicBezTo>
                <a:cubicBezTo>
                  <a:pt x="1870" y="531"/>
                  <a:pt x="1869" y="530"/>
                  <a:pt x="1870" y="530"/>
                </a:cubicBezTo>
                <a:cubicBezTo>
                  <a:pt x="1870" y="530"/>
                  <a:pt x="1871" y="530"/>
                  <a:pt x="1871" y="531"/>
                </a:cubicBezTo>
                <a:cubicBezTo>
                  <a:pt x="1872" y="531"/>
                  <a:pt x="1872" y="531"/>
                  <a:pt x="1873" y="531"/>
                </a:cubicBezTo>
                <a:cubicBezTo>
                  <a:pt x="1874" y="531"/>
                  <a:pt x="1875" y="531"/>
                  <a:pt x="1876" y="531"/>
                </a:cubicBezTo>
                <a:cubicBezTo>
                  <a:pt x="1877" y="531"/>
                  <a:pt x="1877" y="530"/>
                  <a:pt x="1877" y="529"/>
                </a:cubicBezTo>
                <a:cubicBezTo>
                  <a:pt x="1878" y="529"/>
                  <a:pt x="1878" y="528"/>
                  <a:pt x="1878" y="528"/>
                </a:cubicBezTo>
                <a:cubicBezTo>
                  <a:pt x="1879" y="528"/>
                  <a:pt x="1879" y="528"/>
                  <a:pt x="1879" y="528"/>
                </a:cubicBezTo>
                <a:cubicBezTo>
                  <a:pt x="1880" y="529"/>
                  <a:pt x="1880" y="528"/>
                  <a:pt x="1880" y="527"/>
                </a:cubicBezTo>
                <a:cubicBezTo>
                  <a:pt x="1880" y="526"/>
                  <a:pt x="1880" y="525"/>
                  <a:pt x="1879" y="524"/>
                </a:cubicBezTo>
                <a:cubicBezTo>
                  <a:pt x="1879" y="524"/>
                  <a:pt x="1877" y="523"/>
                  <a:pt x="1878" y="523"/>
                </a:cubicBezTo>
                <a:cubicBezTo>
                  <a:pt x="1878" y="522"/>
                  <a:pt x="1879" y="523"/>
                  <a:pt x="1880" y="522"/>
                </a:cubicBezTo>
                <a:cubicBezTo>
                  <a:pt x="1880" y="522"/>
                  <a:pt x="1880" y="522"/>
                  <a:pt x="1880" y="522"/>
                </a:cubicBezTo>
                <a:cubicBezTo>
                  <a:pt x="1880" y="521"/>
                  <a:pt x="1881" y="522"/>
                  <a:pt x="1881" y="521"/>
                </a:cubicBezTo>
                <a:cubicBezTo>
                  <a:pt x="1881" y="521"/>
                  <a:pt x="1881" y="520"/>
                  <a:pt x="1881" y="520"/>
                </a:cubicBezTo>
                <a:cubicBezTo>
                  <a:pt x="1880" y="519"/>
                  <a:pt x="1880" y="519"/>
                  <a:pt x="1880" y="518"/>
                </a:cubicBezTo>
                <a:cubicBezTo>
                  <a:pt x="1881" y="517"/>
                  <a:pt x="1881" y="517"/>
                  <a:pt x="1882" y="517"/>
                </a:cubicBezTo>
                <a:cubicBezTo>
                  <a:pt x="1882" y="517"/>
                  <a:pt x="1882" y="517"/>
                  <a:pt x="1882" y="517"/>
                </a:cubicBezTo>
                <a:cubicBezTo>
                  <a:pt x="1882" y="516"/>
                  <a:pt x="1883" y="516"/>
                  <a:pt x="1883" y="516"/>
                </a:cubicBezTo>
                <a:cubicBezTo>
                  <a:pt x="1883" y="517"/>
                  <a:pt x="1882" y="517"/>
                  <a:pt x="1882" y="517"/>
                </a:cubicBezTo>
                <a:cubicBezTo>
                  <a:pt x="1882" y="517"/>
                  <a:pt x="1882" y="518"/>
                  <a:pt x="1882" y="518"/>
                </a:cubicBezTo>
                <a:cubicBezTo>
                  <a:pt x="1882" y="518"/>
                  <a:pt x="1882" y="519"/>
                  <a:pt x="1881" y="519"/>
                </a:cubicBezTo>
                <a:cubicBezTo>
                  <a:pt x="1881" y="520"/>
                  <a:pt x="1881" y="520"/>
                  <a:pt x="1881" y="521"/>
                </a:cubicBezTo>
                <a:cubicBezTo>
                  <a:pt x="1882" y="522"/>
                  <a:pt x="1882" y="524"/>
                  <a:pt x="1882" y="526"/>
                </a:cubicBezTo>
                <a:cubicBezTo>
                  <a:pt x="1882" y="526"/>
                  <a:pt x="1882" y="526"/>
                  <a:pt x="1882" y="527"/>
                </a:cubicBezTo>
                <a:cubicBezTo>
                  <a:pt x="1882" y="527"/>
                  <a:pt x="1883" y="527"/>
                  <a:pt x="1883" y="527"/>
                </a:cubicBezTo>
                <a:cubicBezTo>
                  <a:pt x="1883" y="528"/>
                  <a:pt x="1883" y="529"/>
                  <a:pt x="1884" y="529"/>
                </a:cubicBezTo>
                <a:cubicBezTo>
                  <a:pt x="1885" y="529"/>
                  <a:pt x="1888" y="528"/>
                  <a:pt x="1888" y="530"/>
                </a:cubicBezTo>
                <a:cubicBezTo>
                  <a:pt x="1888" y="530"/>
                  <a:pt x="1887" y="531"/>
                  <a:pt x="1887" y="531"/>
                </a:cubicBezTo>
                <a:cubicBezTo>
                  <a:pt x="1887" y="531"/>
                  <a:pt x="1887" y="531"/>
                  <a:pt x="1887" y="532"/>
                </a:cubicBezTo>
                <a:cubicBezTo>
                  <a:pt x="1887" y="533"/>
                  <a:pt x="1887" y="533"/>
                  <a:pt x="1887" y="534"/>
                </a:cubicBezTo>
                <a:cubicBezTo>
                  <a:pt x="1887" y="535"/>
                  <a:pt x="1887" y="536"/>
                  <a:pt x="1887" y="537"/>
                </a:cubicBezTo>
                <a:cubicBezTo>
                  <a:pt x="1888" y="537"/>
                  <a:pt x="1888" y="538"/>
                  <a:pt x="1888" y="538"/>
                </a:cubicBezTo>
                <a:cubicBezTo>
                  <a:pt x="1888" y="539"/>
                  <a:pt x="1888" y="540"/>
                  <a:pt x="1888" y="540"/>
                </a:cubicBezTo>
                <a:cubicBezTo>
                  <a:pt x="1888" y="541"/>
                  <a:pt x="1888" y="542"/>
                  <a:pt x="1889" y="542"/>
                </a:cubicBezTo>
                <a:cubicBezTo>
                  <a:pt x="1889" y="543"/>
                  <a:pt x="1890" y="543"/>
                  <a:pt x="1890" y="543"/>
                </a:cubicBezTo>
                <a:cubicBezTo>
                  <a:pt x="1890" y="544"/>
                  <a:pt x="1890" y="544"/>
                  <a:pt x="1891" y="544"/>
                </a:cubicBezTo>
                <a:cubicBezTo>
                  <a:pt x="1892" y="544"/>
                  <a:pt x="1893" y="544"/>
                  <a:pt x="1892" y="543"/>
                </a:cubicBezTo>
                <a:cubicBezTo>
                  <a:pt x="1892" y="542"/>
                  <a:pt x="1892" y="542"/>
                  <a:pt x="1892" y="542"/>
                </a:cubicBezTo>
                <a:cubicBezTo>
                  <a:pt x="1892" y="541"/>
                  <a:pt x="1893" y="541"/>
                  <a:pt x="1893" y="542"/>
                </a:cubicBezTo>
                <a:cubicBezTo>
                  <a:pt x="1893" y="542"/>
                  <a:pt x="1893" y="543"/>
                  <a:pt x="1893" y="543"/>
                </a:cubicBezTo>
                <a:cubicBezTo>
                  <a:pt x="1893" y="543"/>
                  <a:pt x="1893" y="544"/>
                  <a:pt x="1893" y="544"/>
                </a:cubicBezTo>
                <a:cubicBezTo>
                  <a:pt x="1893" y="545"/>
                  <a:pt x="1892" y="545"/>
                  <a:pt x="1891" y="545"/>
                </a:cubicBezTo>
                <a:cubicBezTo>
                  <a:pt x="1891" y="546"/>
                  <a:pt x="1890" y="547"/>
                  <a:pt x="1891" y="547"/>
                </a:cubicBezTo>
                <a:cubicBezTo>
                  <a:pt x="1892" y="546"/>
                  <a:pt x="1892" y="546"/>
                  <a:pt x="1893" y="546"/>
                </a:cubicBezTo>
                <a:cubicBezTo>
                  <a:pt x="1893" y="546"/>
                  <a:pt x="1893" y="547"/>
                  <a:pt x="1894" y="547"/>
                </a:cubicBezTo>
                <a:cubicBezTo>
                  <a:pt x="1894" y="547"/>
                  <a:pt x="1894" y="546"/>
                  <a:pt x="1895" y="546"/>
                </a:cubicBezTo>
                <a:cubicBezTo>
                  <a:pt x="1895" y="546"/>
                  <a:pt x="1895" y="546"/>
                  <a:pt x="1895" y="545"/>
                </a:cubicBezTo>
                <a:cubicBezTo>
                  <a:pt x="1896" y="544"/>
                  <a:pt x="1894" y="544"/>
                  <a:pt x="1894" y="544"/>
                </a:cubicBezTo>
                <a:cubicBezTo>
                  <a:pt x="1894" y="543"/>
                  <a:pt x="1895" y="543"/>
                  <a:pt x="1895" y="544"/>
                </a:cubicBezTo>
                <a:cubicBezTo>
                  <a:pt x="1895" y="544"/>
                  <a:pt x="1896" y="544"/>
                  <a:pt x="1896" y="545"/>
                </a:cubicBezTo>
                <a:cubicBezTo>
                  <a:pt x="1896" y="546"/>
                  <a:pt x="1895" y="546"/>
                  <a:pt x="1895" y="547"/>
                </a:cubicBezTo>
                <a:cubicBezTo>
                  <a:pt x="1894" y="547"/>
                  <a:pt x="1894" y="548"/>
                  <a:pt x="1894" y="549"/>
                </a:cubicBezTo>
                <a:cubicBezTo>
                  <a:pt x="1894" y="549"/>
                  <a:pt x="1894" y="549"/>
                  <a:pt x="1894" y="550"/>
                </a:cubicBezTo>
                <a:cubicBezTo>
                  <a:pt x="1894" y="550"/>
                  <a:pt x="1894" y="550"/>
                  <a:pt x="1894" y="551"/>
                </a:cubicBezTo>
                <a:cubicBezTo>
                  <a:pt x="1894" y="551"/>
                  <a:pt x="1894" y="551"/>
                  <a:pt x="1894" y="552"/>
                </a:cubicBezTo>
                <a:cubicBezTo>
                  <a:pt x="1894" y="552"/>
                  <a:pt x="1894" y="552"/>
                  <a:pt x="1894" y="552"/>
                </a:cubicBezTo>
                <a:cubicBezTo>
                  <a:pt x="1895" y="553"/>
                  <a:pt x="1894" y="554"/>
                  <a:pt x="1895" y="555"/>
                </a:cubicBezTo>
                <a:cubicBezTo>
                  <a:pt x="1896" y="555"/>
                  <a:pt x="1896" y="556"/>
                  <a:pt x="1896" y="557"/>
                </a:cubicBezTo>
                <a:cubicBezTo>
                  <a:pt x="1896" y="558"/>
                  <a:pt x="1896" y="559"/>
                  <a:pt x="1896" y="560"/>
                </a:cubicBezTo>
                <a:cubicBezTo>
                  <a:pt x="1897" y="560"/>
                  <a:pt x="1897" y="560"/>
                  <a:pt x="1898" y="561"/>
                </a:cubicBezTo>
                <a:cubicBezTo>
                  <a:pt x="1898" y="562"/>
                  <a:pt x="1898" y="563"/>
                  <a:pt x="1899" y="563"/>
                </a:cubicBezTo>
                <a:cubicBezTo>
                  <a:pt x="1900" y="564"/>
                  <a:pt x="1900" y="566"/>
                  <a:pt x="1902" y="567"/>
                </a:cubicBezTo>
                <a:cubicBezTo>
                  <a:pt x="1903" y="567"/>
                  <a:pt x="1903" y="568"/>
                  <a:pt x="1903" y="568"/>
                </a:cubicBezTo>
                <a:cubicBezTo>
                  <a:pt x="1904" y="569"/>
                  <a:pt x="1904" y="570"/>
                  <a:pt x="1905" y="570"/>
                </a:cubicBezTo>
                <a:cubicBezTo>
                  <a:pt x="1905" y="570"/>
                  <a:pt x="1905" y="571"/>
                  <a:pt x="1906" y="571"/>
                </a:cubicBezTo>
                <a:cubicBezTo>
                  <a:pt x="1906" y="571"/>
                  <a:pt x="1906" y="571"/>
                  <a:pt x="1907" y="571"/>
                </a:cubicBezTo>
                <a:cubicBezTo>
                  <a:pt x="1907" y="572"/>
                  <a:pt x="1908" y="573"/>
                  <a:pt x="1907" y="573"/>
                </a:cubicBezTo>
                <a:cubicBezTo>
                  <a:pt x="1907" y="574"/>
                  <a:pt x="1906" y="574"/>
                  <a:pt x="1905" y="574"/>
                </a:cubicBezTo>
                <a:cubicBezTo>
                  <a:pt x="1905" y="574"/>
                  <a:pt x="1904" y="574"/>
                  <a:pt x="1904" y="574"/>
                </a:cubicBezTo>
                <a:cubicBezTo>
                  <a:pt x="1904" y="575"/>
                  <a:pt x="1905" y="575"/>
                  <a:pt x="1905" y="575"/>
                </a:cubicBezTo>
                <a:cubicBezTo>
                  <a:pt x="1905" y="575"/>
                  <a:pt x="1906" y="576"/>
                  <a:pt x="1905" y="577"/>
                </a:cubicBezTo>
                <a:cubicBezTo>
                  <a:pt x="1905" y="578"/>
                  <a:pt x="1904" y="577"/>
                  <a:pt x="1903" y="576"/>
                </a:cubicBezTo>
                <a:cubicBezTo>
                  <a:pt x="1903" y="576"/>
                  <a:pt x="1902" y="577"/>
                  <a:pt x="1903" y="577"/>
                </a:cubicBezTo>
                <a:cubicBezTo>
                  <a:pt x="1903" y="578"/>
                  <a:pt x="1904" y="578"/>
                  <a:pt x="1904" y="579"/>
                </a:cubicBezTo>
                <a:cubicBezTo>
                  <a:pt x="1904" y="580"/>
                  <a:pt x="1904" y="580"/>
                  <a:pt x="1905" y="581"/>
                </a:cubicBezTo>
                <a:cubicBezTo>
                  <a:pt x="1905" y="582"/>
                  <a:pt x="1906" y="582"/>
                  <a:pt x="1906" y="583"/>
                </a:cubicBezTo>
                <a:cubicBezTo>
                  <a:pt x="1906" y="583"/>
                  <a:pt x="1906" y="584"/>
                  <a:pt x="1907" y="585"/>
                </a:cubicBezTo>
                <a:cubicBezTo>
                  <a:pt x="1907" y="585"/>
                  <a:pt x="1907" y="585"/>
                  <a:pt x="1908" y="585"/>
                </a:cubicBezTo>
                <a:cubicBezTo>
                  <a:pt x="1908" y="586"/>
                  <a:pt x="1908" y="586"/>
                  <a:pt x="1908" y="586"/>
                </a:cubicBezTo>
                <a:cubicBezTo>
                  <a:pt x="1909" y="586"/>
                  <a:pt x="1909" y="586"/>
                  <a:pt x="1909" y="587"/>
                </a:cubicBezTo>
                <a:cubicBezTo>
                  <a:pt x="1909" y="587"/>
                  <a:pt x="1908" y="587"/>
                  <a:pt x="1908" y="587"/>
                </a:cubicBezTo>
                <a:cubicBezTo>
                  <a:pt x="1908" y="588"/>
                  <a:pt x="1908" y="590"/>
                  <a:pt x="1907" y="590"/>
                </a:cubicBezTo>
                <a:cubicBezTo>
                  <a:pt x="1907" y="591"/>
                  <a:pt x="1907" y="591"/>
                  <a:pt x="1906" y="591"/>
                </a:cubicBezTo>
                <a:cubicBezTo>
                  <a:pt x="1906" y="592"/>
                  <a:pt x="1907" y="592"/>
                  <a:pt x="1907" y="592"/>
                </a:cubicBezTo>
                <a:cubicBezTo>
                  <a:pt x="1907" y="591"/>
                  <a:pt x="1908" y="591"/>
                  <a:pt x="1908" y="591"/>
                </a:cubicBezTo>
                <a:cubicBezTo>
                  <a:pt x="1909" y="591"/>
                  <a:pt x="1910" y="591"/>
                  <a:pt x="1910" y="592"/>
                </a:cubicBezTo>
                <a:cubicBezTo>
                  <a:pt x="1911" y="592"/>
                  <a:pt x="1912" y="592"/>
                  <a:pt x="1913" y="592"/>
                </a:cubicBezTo>
                <a:cubicBezTo>
                  <a:pt x="1913" y="592"/>
                  <a:pt x="1914" y="593"/>
                  <a:pt x="1915" y="592"/>
                </a:cubicBezTo>
                <a:cubicBezTo>
                  <a:pt x="1916" y="592"/>
                  <a:pt x="1916" y="592"/>
                  <a:pt x="1917" y="592"/>
                </a:cubicBezTo>
                <a:cubicBezTo>
                  <a:pt x="1918" y="591"/>
                  <a:pt x="1919" y="591"/>
                  <a:pt x="1919" y="591"/>
                </a:cubicBezTo>
                <a:cubicBezTo>
                  <a:pt x="1920" y="592"/>
                  <a:pt x="1921" y="592"/>
                  <a:pt x="1922" y="592"/>
                </a:cubicBezTo>
                <a:cubicBezTo>
                  <a:pt x="1922" y="592"/>
                  <a:pt x="1923" y="591"/>
                  <a:pt x="1923" y="590"/>
                </a:cubicBezTo>
                <a:cubicBezTo>
                  <a:pt x="1923" y="590"/>
                  <a:pt x="1924" y="588"/>
                  <a:pt x="1924" y="588"/>
                </a:cubicBezTo>
                <a:cubicBezTo>
                  <a:pt x="1924" y="587"/>
                  <a:pt x="1923" y="587"/>
                  <a:pt x="1923" y="587"/>
                </a:cubicBezTo>
                <a:cubicBezTo>
                  <a:pt x="1923" y="586"/>
                  <a:pt x="1923" y="586"/>
                  <a:pt x="1923" y="585"/>
                </a:cubicBezTo>
                <a:cubicBezTo>
                  <a:pt x="1923" y="585"/>
                  <a:pt x="1923" y="584"/>
                  <a:pt x="1923" y="583"/>
                </a:cubicBezTo>
                <a:cubicBezTo>
                  <a:pt x="1923" y="583"/>
                  <a:pt x="1923" y="582"/>
                  <a:pt x="1924" y="582"/>
                </a:cubicBezTo>
                <a:cubicBezTo>
                  <a:pt x="1924" y="582"/>
                  <a:pt x="1924" y="582"/>
                  <a:pt x="1924" y="581"/>
                </a:cubicBezTo>
                <a:cubicBezTo>
                  <a:pt x="1925" y="581"/>
                  <a:pt x="1926" y="581"/>
                  <a:pt x="1927" y="580"/>
                </a:cubicBezTo>
                <a:cubicBezTo>
                  <a:pt x="1927" y="580"/>
                  <a:pt x="1928" y="580"/>
                  <a:pt x="1928" y="580"/>
                </a:cubicBezTo>
                <a:cubicBezTo>
                  <a:pt x="1929" y="579"/>
                  <a:pt x="1929" y="580"/>
                  <a:pt x="1930" y="580"/>
                </a:cubicBezTo>
                <a:cubicBezTo>
                  <a:pt x="1931" y="580"/>
                  <a:pt x="1932" y="579"/>
                  <a:pt x="1934" y="579"/>
                </a:cubicBezTo>
                <a:cubicBezTo>
                  <a:pt x="1935" y="579"/>
                  <a:pt x="1935" y="579"/>
                  <a:pt x="1935" y="579"/>
                </a:cubicBezTo>
                <a:cubicBezTo>
                  <a:pt x="1936" y="578"/>
                  <a:pt x="1936" y="578"/>
                  <a:pt x="1936" y="578"/>
                </a:cubicBezTo>
                <a:cubicBezTo>
                  <a:pt x="1937" y="578"/>
                  <a:pt x="1938" y="578"/>
                  <a:pt x="1939" y="578"/>
                </a:cubicBezTo>
                <a:cubicBezTo>
                  <a:pt x="1939" y="579"/>
                  <a:pt x="1940" y="579"/>
                  <a:pt x="1940" y="580"/>
                </a:cubicBezTo>
                <a:cubicBezTo>
                  <a:pt x="1941" y="580"/>
                  <a:pt x="1941" y="580"/>
                  <a:pt x="1941" y="580"/>
                </a:cubicBezTo>
                <a:cubicBezTo>
                  <a:pt x="1942" y="579"/>
                  <a:pt x="1942" y="579"/>
                  <a:pt x="1942" y="579"/>
                </a:cubicBezTo>
                <a:cubicBezTo>
                  <a:pt x="1942" y="578"/>
                  <a:pt x="1943" y="577"/>
                  <a:pt x="1943" y="577"/>
                </a:cubicBezTo>
                <a:cubicBezTo>
                  <a:pt x="1944" y="576"/>
                  <a:pt x="1944" y="574"/>
                  <a:pt x="1945" y="573"/>
                </a:cubicBezTo>
                <a:cubicBezTo>
                  <a:pt x="1946" y="573"/>
                  <a:pt x="1946" y="572"/>
                  <a:pt x="1946" y="571"/>
                </a:cubicBezTo>
                <a:cubicBezTo>
                  <a:pt x="1947" y="571"/>
                  <a:pt x="1947" y="570"/>
                  <a:pt x="1947" y="569"/>
                </a:cubicBezTo>
                <a:cubicBezTo>
                  <a:pt x="1948" y="569"/>
                  <a:pt x="1948" y="568"/>
                  <a:pt x="1948" y="567"/>
                </a:cubicBezTo>
                <a:cubicBezTo>
                  <a:pt x="1947" y="566"/>
                  <a:pt x="1947" y="566"/>
                  <a:pt x="1948" y="565"/>
                </a:cubicBezTo>
                <a:cubicBezTo>
                  <a:pt x="1948" y="564"/>
                  <a:pt x="1949" y="564"/>
                  <a:pt x="1949" y="563"/>
                </a:cubicBezTo>
                <a:cubicBezTo>
                  <a:pt x="1949" y="563"/>
                  <a:pt x="1949" y="563"/>
                  <a:pt x="1948" y="563"/>
                </a:cubicBezTo>
                <a:cubicBezTo>
                  <a:pt x="1948" y="562"/>
                  <a:pt x="1948" y="562"/>
                  <a:pt x="1948" y="561"/>
                </a:cubicBezTo>
                <a:cubicBezTo>
                  <a:pt x="1948" y="560"/>
                  <a:pt x="1948" y="560"/>
                  <a:pt x="1949" y="559"/>
                </a:cubicBezTo>
                <a:cubicBezTo>
                  <a:pt x="1950" y="559"/>
                  <a:pt x="1950" y="558"/>
                  <a:pt x="1950" y="557"/>
                </a:cubicBezTo>
                <a:cubicBezTo>
                  <a:pt x="1950" y="556"/>
                  <a:pt x="1949" y="556"/>
                  <a:pt x="1949" y="555"/>
                </a:cubicBezTo>
                <a:cubicBezTo>
                  <a:pt x="1949" y="555"/>
                  <a:pt x="1950" y="554"/>
                  <a:pt x="1950" y="554"/>
                </a:cubicBezTo>
                <a:cubicBezTo>
                  <a:pt x="1950" y="554"/>
                  <a:pt x="1950" y="554"/>
                  <a:pt x="1951" y="554"/>
                </a:cubicBezTo>
                <a:cubicBezTo>
                  <a:pt x="1951" y="553"/>
                  <a:pt x="1950" y="552"/>
                  <a:pt x="1950" y="551"/>
                </a:cubicBezTo>
                <a:cubicBezTo>
                  <a:pt x="1950" y="551"/>
                  <a:pt x="1949" y="551"/>
                  <a:pt x="1949" y="551"/>
                </a:cubicBezTo>
                <a:cubicBezTo>
                  <a:pt x="1949" y="550"/>
                  <a:pt x="1949" y="550"/>
                  <a:pt x="1950" y="550"/>
                </a:cubicBezTo>
                <a:cubicBezTo>
                  <a:pt x="1950" y="550"/>
                  <a:pt x="1950" y="550"/>
                  <a:pt x="1950" y="550"/>
                </a:cubicBezTo>
                <a:cubicBezTo>
                  <a:pt x="1950" y="551"/>
                  <a:pt x="1951" y="551"/>
                  <a:pt x="1952" y="550"/>
                </a:cubicBezTo>
                <a:cubicBezTo>
                  <a:pt x="1952" y="550"/>
                  <a:pt x="1949" y="549"/>
                  <a:pt x="1951" y="548"/>
                </a:cubicBezTo>
                <a:cubicBezTo>
                  <a:pt x="1951" y="547"/>
                  <a:pt x="1952" y="547"/>
                  <a:pt x="1952" y="547"/>
                </a:cubicBezTo>
                <a:cubicBezTo>
                  <a:pt x="1952" y="547"/>
                  <a:pt x="1952" y="546"/>
                  <a:pt x="1952" y="546"/>
                </a:cubicBezTo>
                <a:cubicBezTo>
                  <a:pt x="1952" y="545"/>
                  <a:pt x="1952" y="544"/>
                  <a:pt x="1951" y="544"/>
                </a:cubicBezTo>
                <a:cubicBezTo>
                  <a:pt x="1951" y="543"/>
                  <a:pt x="1951" y="542"/>
                  <a:pt x="1950" y="542"/>
                </a:cubicBezTo>
                <a:cubicBezTo>
                  <a:pt x="1950" y="542"/>
                  <a:pt x="1949" y="542"/>
                  <a:pt x="1949" y="541"/>
                </a:cubicBezTo>
                <a:cubicBezTo>
                  <a:pt x="1948" y="541"/>
                  <a:pt x="1949" y="541"/>
                  <a:pt x="1949" y="541"/>
                </a:cubicBezTo>
                <a:cubicBezTo>
                  <a:pt x="1950" y="541"/>
                  <a:pt x="1950" y="541"/>
                  <a:pt x="1950" y="541"/>
                </a:cubicBezTo>
                <a:cubicBezTo>
                  <a:pt x="1951" y="541"/>
                  <a:pt x="1951" y="542"/>
                  <a:pt x="1951" y="542"/>
                </a:cubicBezTo>
                <a:cubicBezTo>
                  <a:pt x="1952" y="542"/>
                  <a:pt x="1952" y="542"/>
                  <a:pt x="1952" y="542"/>
                </a:cubicBezTo>
                <a:cubicBezTo>
                  <a:pt x="1953" y="541"/>
                  <a:pt x="1953" y="541"/>
                  <a:pt x="1953" y="541"/>
                </a:cubicBezTo>
                <a:cubicBezTo>
                  <a:pt x="1954" y="540"/>
                  <a:pt x="1952" y="540"/>
                  <a:pt x="1952" y="540"/>
                </a:cubicBezTo>
                <a:cubicBezTo>
                  <a:pt x="1952" y="539"/>
                  <a:pt x="1952" y="539"/>
                  <a:pt x="1951" y="539"/>
                </a:cubicBezTo>
                <a:cubicBezTo>
                  <a:pt x="1951" y="539"/>
                  <a:pt x="1951" y="539"/>
                  <a:pt x="1950" y="539"/>
                </a:cubicBezTo>
                <a:cubicBezTo>
                  <a:pt x="1950" y="539"/>
                  <a:pt x="1949" y="539"/>
                  <a:pt x="1950" y="538"/>
                </a:cubicBezTo>
                <a:cubicBezTo>
                  <a:pt x="1950" y="538"/>
                  <a:pt x="1950" y="538"/>
                  <a:pt x="1951" y="538"/>
                </a:cubicBezTo>
                <a:cubicBezTo>
                  <a:pt x="1951" y="538"/>
                  <a:pt x="1952" y="538"/>
                  <a:pt x="1953" y="538"/>
                </a:cubicBezTo>
                <a:cubicBezTo>
                  <a:pt x="1953" y="538"/>
                  <a:pt x="1954" y="538"/>
                  <a:pt x="1954" y="538"/>
                </a:cubicBezTo>
                <a:cubicBezTo>
                  <a:pt x="1954" y="538"/>
                  <a:pt x="1954" y="538"/>
                  <a:pt x="1955" y="537"/>
                </a:cubicBezTo>
                <a:cubicBezTo>
                  <a:pt x="1955" y="537"/>
                  <a:pt x="1956" y="537"/>
                  <a:pt x="1956" y="537"/>
                </a:cubicBezTo>
                <a:cubicBezTo>
                  <a:pt x="1957" y="537"/>
                  <a:pt x="1958" y="537"/>
                  <a:pt x="1959" y="536"/>
                </a:cubicBezTo>
                <a:cubicBezTo>
                  <a:pt x="1959" y="536"/>
                  <a:pt x="1959" y="536"/>
                  <a:pt x="1960" y="536"/>
                </a:cubicBezTo>
                <a:cubicBezTo>
                  <a:pt x="1960" y="536"/>
                  <a:pt x="1960" y="535"/>
                  <a:pt x="1960" y="535"/>
                </a:cubicBezTo>
                <a:cubicBezTo>
                  <a:pt x="1960" y="534"/>
                  <a:pt x="1961" y="534"/>
                  <a:pt x="1961" y="534"/>
                </a:cubicBezTo>
                <a:cubicBezTo>
                  <a:pt x="1961" y="533"/>
                  <a:pt x="1961" y="533"/>
                  <a:pt x="1962" y="533"/>
                </a:cubicBezTo>
                <a:cubicBezTo>
                  <a:pt x="1962" y="533"/>
                  <a:pt x="1962" y="532"/>
                  <a:pt x="1962" y="532"/>
                </a:cubicBezTo>
                <a:cubicBezTo>
                  <a:pt x="1962" y="532"/>
                  <a:pt x="1962" y="531"/>
                  <a:pt x="1962" y="531"/>
                </a:cubicBezTo>
                <a:cubicBezTo>
                  <a:pt x="1963" y="531"/>
                  <a:pt x="1963" y="532"/>
                  <a:pt x="1963" y="532"/>
                </a:cubicBezTo>
                <a:cubicBezTo>
                  <a:pt x="1963" y="533"/>
                  <a:pt x="1963" y="533"/>
                  <a:pt x="1963" y="534"/>
                </a:cubicBezTo>
                <a:cubicBezTo>
                  <a:pt x="1963" y="534"/>
                  <a:pt x="1963" y="534"/>
                  <a:pt x="1963" y="534"/>
                </a:cubicBezTo>
                <a:cubicBezTo>
                  <a:pt x="1964" y="535"/>
                  <a:pt x="1963" y="535"/>
                  <a:pt x="1964" y="535"/>
                </a:cubicBezTo>
                <a:cubicBezTo>
                  <a:pt x="1965" y="535"/>
                  <a:pt x="1965" y="533"/>
                  <a:pt x="1965" y="533"/>
                </a:cubicBezTo>
                <a:cubicBezTo>
                  <a:pt x="1966" y="533"/>
                  <a:pt x="1966" y="533"/>
                  <a:pt x="1966" y="532"/>
                </a:cubicBezTo>
                <a:cubicBezTo>
                  <a:pt x="1967" y="532"/>
                  <a:pt x="1967" y="532"/>
                  <a:pt x="1968" y="531"/>
                </a:cubicBezTo>
                <a:cubicBezTo>
                  <a:pt x="1968" y="531"/>
                  <a:pt x="1968" y="531"/>
                  <a:pt x="1969" y="531"/>
                </a:cubicBezTo>
                <a:cubicBezTo>
                  <a:pt x="1969" y="530"/>
                  <a:pt x="1969" y="530"/>
                  <a:pt x="1970" y="530"/>
                </a:cubicBezTo>
                <a:cubicBezTo>
                  <a:pt x="1970" y="530"/>
                  <a:pt x="1971" y="530"/>
                  <a:pt x="1971" y="529"/>
                </a:cubicBezTo>
                <a:cubicBezTo>
                  <a:pt x="1971" y="529"/>
                  <a:pt x="1970" y="529"/>
                  <a:pt x="1970" y="528"/>
                </a:cubicBezTo>
                <a:cubicBezTo>
                  <a:pt x="1970" y="528"/>
                  <a:pt x="1970" y="528"/>
                  <a:pt x="1970" y="527"/>
                </a:cubicBezTo>
                <a:cubicBezTo>
                  <a:pt x="1970" y="527"/>
                  <a:pt x="1971" y="527"/>
                  <a:pt x="1971" y="528"/>
                </a:cubicBezTo>
                <a:cubicBezTo>
                  <a:pt x="1971" y="528"/>
                  <a:pt x="1972" y="528"/>
                  <a:pt x="1972" y="528"/>
                </a:cubicBezTo>
                <a:cubicBezTo>
                  <a:pt x="1973" y="528"/>
                  <a:pt x="1974" y="527"/>
                  <a:pt x="1973" y="527"/>
                </a:cubicBezTo>
                <a:cubicBezTo>
                  <a:pt x="1973" y="526"/>
                  <a:pt x="1973" y="526"/>
                  <a:pt x="1972" y="526"/>
                </a:cubicBezTo>
                <a:cubicBezTo>
                  <a:pt x="1972" y="526"/>
                  <a:pt x="1972" y="526"/>
                  <a:pt x="1972" y="526"/>
                </a:cubicBezTo>
                <a:cubicBezTo>
                  <a:pt x="1971" y="525"/>
                  <a:pt x="1971" y="525"/>
                  <a:pt x="1970" y="525"/>
                </a:cubicBezTo>
                <a:cubicBezTo>
                  <a:pt x="1970" y="525"/>
                  <a:pt x="1970" y="525"/>
                  <a:pt x="1970" y="526"/>
                </a:cubicBezTo>
                <a:cubicBezTo>
                  <a:pt x="1970" y="526"/>
                  <a:pt x="1969" y="526"/>
                  <a:pt x="1969" y="526"/>
                </a:cubicBezTo>
                <a:cubicBezTo>
                  <a:pt x="1968" y="525"/>
                  <a:pt x="1968" y="526"/>
                  <a:pt x="1967" y="526"/>
                </a:cubicBezTo>
                <a:cubicBezTo>
                  <a:pt x="1967" y="526"/>
                  <a:pt x="1968" y="525"/>
                  <a:pt x="1968" y="525"/>
                </a:cubicBezTo>
                <a:cubicBezTo>
                  <a:pt x="1969" y="525"/>
                  <a:pt x="1969" y="525"/>
                  <a:pt x="1969" y="524"/>
                </a:cubicBezTo>
                <a:cubicBezTo>
                  <a:pt x="1969" y="524"/>
                  <a:pt x="1970" y="523"/>
                  <a:pt x="1971" y="522"/>
                </a:cubicBezTo>
                <a:cubicBezTo>
                  <a:pt x="1972" y="522"/>
                  <a:pt x="1972" y="522"/>
                  <a:pt x="1973" y="521"/>
                </a:cubicBezTo>
                <a:cubicBezTo>
                  <a:pt x="1974" y="521"/>
                  <a:pt x="1974" y="520"/>
                  <a:pt x="1975" y="520"/>
                </a:cubicBezTo>
                <a:cubicBezTo>
                  <a:pt x="1975" y="520"/>
                  <a:pt x="1976" y="520"/>
                  <a:pt x="1976" y="520"/>
                </a:cubicBezTo>
                <a:cubicBezTo>
                  <a:pt x="1976" y="519"/>
                  <a:pt x="1977" y="520"/>
                  <a:pt x="1977" y="519"/>
                </a:cubicBezTo>
                <a:cubicBezTo>
                  <a:pt x="1977" y="519"/>
                  <a:pt x="1978" y="519"/>
                  <a:pt x="1978" y="519"/>
                </a:cubicBezTo>
                <a:cubicBezTo>
                  <a:pt x="1978" y="519"/>
                  <a:pt x="1977" y="518"/>
                  <a:pt x="1977" y="518"/>
                </a:cubicBezTo>
                <a:cubicBezTo>
                  <a:pt x="1977" y="517"/>
                  <a:pt x="1977" y="516"/>
                  <a:pt x="1976" y="516"/>
                </a:cubicBezTo>
                <a:cubicBezTo>
                  <a:pt x="1976" y="515"/>
                  <a:pt x="1976" y="515"/>
                  <a:pt x="1976" y="515"/>
                </a:cubicBezTo>
                <a:cubicBezTo>
                  <a:pt x="1976" y="514"/>
                  <a:pt x="1975" y="514"/>
                  <a:pt x="1975" y="514"/>
                </a:cubicBezTo>
                <a:cubicBezTo>
                  <a:pt x="1975" y="513"/>
                  <a:pt x="1974" y="513"/>
                  <a:pt x="1973" y="513"/>
                </a:cubicBezTo>
                <a:cubicBezTo>
                  <a:pt x="1972" y="513"/>
                  <a:pt x="1972" y="512"/>
                  <a:pt x="1972" y="511"/>
                </a:cubicBezTo>
                <a:cubicBezTo>
                  <a:pt x="1972" y="510"/>
                  <a:pt x="1972" y="510"/>
                  <a:pt x="1971" y="509"/>
                </a:cubicBezTo>
                <a:cubicBezTo>
                  <a:pt x="1970" y="508"/>
                  <a:pt x="1968" y="508"/>
                  <a:pt x="1967" y="506"/>
                </a:cubicBezTo>
                <a:cubicBezTo>
                  <a:pt x="1966" y="505"/>
                  <a:pt x="1965" y="503"/>
                  <a:pt x="1964" y="505"/>
                </a:cubicBezTo>
                <a:cubicBezTo>
                  <a:pt x="1963" y="506"/>
                  <a:pt x="1962" y="506"/>
                  <a:pt x="1962" y="506"/>
                </a:cubicBezTo>
                <a:cubicBezTo>
                  <a:pt x="1961" y="506"/>
                  <a:pt x="1960" y="505"/>
                  <a:pt x="1960" y="505"/>
                </a:cubicBezTo>
                <a:cubicBezTo>
                  <a:pt x="1959" y="504"/>
                  <a:pt x="1959" y="504"/>
                  <a:pt x="1958" y="504"/>
                </a:cubicBezTo>
                <a:cubicBezTo>
                  <a:pt x="1958" y="503"/>
                  <a:pt x="1956" y="503"/>
                  <a:pt x="1957" y="503"/>
                </a:cubicBezTo>
                <a:cubicBezTo>
                  <a:pt x="1958" y="503"/>
                  <a:pt x="1958" y="503"/>
                  <a:pt x="1958" y="502"/>
                </a:cubicBezTo>
                <a:cubicBezTo>
                  <a:pt x="1958" y="502"/>
                  <a:pt x="1957" y="501"/>
                  <a:pt x="1957" y="501"/>
                </a:cubicBezTo>
                <a:cubicBezTo>
                  <a:pt x="1957" y="501"/>
                  <a:pt x="1957" y="501"/>
                  <a:pt x="1956" y="500"/>
                </a:cubicBezTo>
                <a:cubicBezTo>
                  <a:pt x="1956" y="500"/>
                  <a:pt x="1956" y="499"/>
                  <a:pt x="1956" y="499"/>
                </a:cubicBezTo>
                <a:cubicBezTo>
                  <a:pt x="1956" y="499"/>
                  <a:pt x="1956" y="498"/>
                  <a:pt x="1955" y="498"/>
                </a:cubicBezTo>
                <a:cubicBezTo>
                  <a:pt x="1955" y="497"/>
                  <a:pt x="1955" y="495"/>
                  <a:pt x="1955" y="494"/>
                </a:cubicBezTo>
                <a:cubicBezTo>
                  <a:pt x="1955" y="494"/>
                  <a:pt x="1955" y="494"/>
                  <a:pt x="1955" y="493"/>
                </a:cubicBezTo>
                <a:cubicBezTo>
                  <a:pt x="1956" y="493"/>
                  <a:pt x="1956" y="493"/>
                  <a:pt x="1956" y="493"/>
                </a:cubicBezTo>
                <a:cubicBezTo>
                  <a:pt x="1957" y="493"/>
                  <a:pt x="1956" y="492"/>
                  <a:pt x="1956" y="492"/>
                </a:cubicBezTo>
                <a:cubicBezTo>
                  <a:pt x="1956" y="492"/>
                  <a:pt x="1956" y="492"/>
                  <a:pt x="1955" y="491"/>
                </a:cubicBezTo>
                <a:cubicBezTo>
                  <a:pt x="1955" y="491"/>
                  <a:pt x="1955" y="490"/>
                  <a:pt x="1955" y="490"/>
                </a:cubicBezTo>
                <a:cubicBezTo>
                  <a:pt x="1955" y="490"/>
                  <a:pt x="1955" y="489"/>
                  <a:pt x="1955" y="489"/>
                </a:cubicBezTo>
                <a:cubicBezTo>
                  <a:pt x="1955" y="488"/>
                  <a:pt x="1956" y="489"/>
                  <a:pt x="1956" y="488"/>
                </a:cubicBezTo>
                <a:cubicBezTo>
                  <a:pt x="1957" y="487"/>
                  <a:pt x="1955" y="487"/>
                  <a:pt x="1956" y="486"/>
                </a:cubicBezTo>
                <a:cubicBezTo>
                  <a:pt x="1956" y="485"/>
                  <a:pt x="1957" y="485"/>
                  <a:pt x="1957" y="485"/>
                </a:cubicBezTo>
                <a:cubicBezTo>
                  <a:pt x="1958" y="486"/>
                  <a:pt x="1958" y="486"/>
                  <a:pt x="1958" y="486"/>
                </a:cubicBezTo>
                <a:cubicBezTo>
                  <a:pt x="1959" y="486"/>
                  <a:pt x="1959" y="486"/>
                  <a:pt x="1959" y="487"/>
                </a:cubicBezTo>
                <a:cubicBezTo>
                  <a:pt x="1959" y="487"/>
                  <a:pt x="1960" y="487"/>
                  <a:pt x="1959" y="487"/>
                </a:cubicBezTo>
                <a:cubicBezTo>
                  <a:pt x="1959" y="486"/>
                  <a:pt x="1959" y="486"/>
                  <a:pt x="1959" y="486"/>
                </a:cubicBezTo>
                <a:cubicBezTo>
                  <a:pt x="1958" y="485"/>
                  <a:pt x="1958" y="485"/>
                  <a:pt x="1958" y="485"/>
                </a:cubicBezTo>
                <a:cubicBezTo>
                  <a:pt x="1958" y="484"/>
                  <a:pt x="1958" y="484"/>
                  <a:pt x="1958" y="484"/>
                </a:cubicBezTo>
                <a:cubicBezTo>
                  <a:pt x="1957" y="483"/>
                  <a:pt x="1958" y="482"/>
                  <a:pt x="1958" y="482"/>
                </a:cubicBezTo>
                <a:cubicBezTo>
                  <a:pt x="1958" y="481"/>
                  <a:pt x="1958" y="481"/>
                  <a:pt x="1959" y="481"/>
                </a:cubicBezTo>
                <a:cubicBezTo>
                  <a:pt x="1959" y="480"/>
                  <a:pt x="1959" y="480"/>
                  <a:pt x="1959" y="480"/>
                </a:cubicBezTo>
                <a:cubicBezTo>
                  <a:pt x="1959" y="479"/>
                  <a:pt x="1960" y="478"/>
                  <a:pt x="1960" y="477"/>
                </a:cubicBezTo>
                <a:cubicBezTo>
                  <a:pt x="1960" y="477"/>
                  <a:pt x="1960" y="476"/>
                  <a:pt x="1960" y="475"/>
                </a:cubicBezTo>
                <a:cubicBezTo>
                  <a:pt x="1959" y="475"/>
                  <a:pt x="1959" y="475"/>
                  <a:pt x="1959" y="474"/>
                </a:cubicBezTo>
                <a:cubicBezTo>
                  <a:pt x="1958" y="474"/>
                  <a:pt x="1958" y="474"/>
                  <a:pt x="1958" y="473"/>
                </a:cubicBezTo>
                <a:cubicBezTo>
                  <a:pt x="1958" y="473"/>
                  <a:pt x="1958" y="472"/>
                  <a:pt x="1959" y="472"/>
                </a:cubicBezTo>
                <a:cubicBezTo>
                  <a:pt x="1959" y="472"/>
                  <a:pt x="1959" y="472"/>
                  <a:pt x="1960" y="472"/>
                </a:cubicBezTo>
                <a:cubicBezTo>
                  <a:pt x="1960" y="473"/>
                  <a:pt x="1961" y="473"/>
                  <a:pt x="1962" y="473"/>
                </a:cubicBezTo>
                <a:cubicBezTo>
                  <a:pt x="1962" y="472"/>
                  <a:pt x="1963" y="472"/>
                  <a:pt x="1963" y="471"/>
                </a:cubicBezTo>
                <a:cubicBezTo>
                  <a:pt x="1964" y="471"/>
                  <a:pt x="1964" y="470"/>
                  <a:pt x="1964" y="470"/>
                </a:cubicBezTo>
                <a:cubicBezTo>
                  <a:pt x="1964" y="470"/>
                  <a:pt x="1964" y="469"/>
                  <a:pt x="1964" y="469"/>
                </a:cubicBezTo>
                <a:cubicBezTo>
                  <a:pt x="1964" y="468"/>
                  <a:pt x="1965" y="467"/>
                  <a:pt x="1965" y="467"/>
                </a:cubicBezTo>
                <a:cubicBezTo>
                  <a:pt x="1965" y="466"/>
                  <a:pt x="1965" y="466"/>
                  <a:pt x="1964" y="466"/>
                </a:cubicBezTo>
                <a:cubicBezTo>
                  <a:pt x="1964" y="465"/>
                  <a:pt x="1964" y="465"/>
                  <a:pt x="1964" y="465"/>
                </a:cubicBezTo>
                <a:cubicBezTo>
                  <a:pt x="1964" y="464"/>
                  <a:pt x="1963" y="464"/>
                  <a:pt x="1963" y="463"/>
                </a:cubicBezTo>
                <a:cubicBezTo>
                  <a:pt x="1963" y="463"/>
                  <a:pt x="1962" y="463"/>
                  <a:pt x="1962" y="462"/>
                </a:cubicBezTo>
                <a:cubicBezTo>
                  <a:pt x="1963" y="462"/>
                  <a:pt x="1963" y="463"/>
                  <a:pt x="1964" y="464"/>
                </a:cubicBezTo>
                <a:cubicBezTo>
                  <a:pt x="1964" y="464"/>
                  <a:pt x="1964" y="464"/>
                  <a:pt x="1964" y="464"/>
                </a:cubicBezTo>
                <a:cubicBezTo>
                  <a:pt x="1964" y="465"/>
                  <a:pt x="1964" y="465"/>
                  <a:pt x="1965" y="466"/>
                </a:cubicBezTo>
                <a:cubicBezTo>
                  <a:pt x="1965" y="466"/>
                  <a:pt x="1965" y="466"/>
                  <a:pt x="1966" y="466"/>
                </a:cubicBezTo>
                <a:cubicBezTo>
                  <a:pt x="1966" y="466"/>
                  <a:pt x="1966" y="466"/>
                  <a:pt x="1966" y="466"/>
                </a:cubicBezTo>
                <a:cubicBezTo>
                  <a:pt x="1967" y="467"/>
                  <a:pt x="1967" y="467"/>
                  <a:pt x="1967" y="466"/>
                </a:cubicBezTo>
                <a:cubicBezTo>
                  <a:pt x="1967" y="466"/>
                  <a:pt x="1967" y="466"/>
                  <a:pt x="1967" y="465"/>
                </a:cubicBezTo>
                <a:cubicBezTo>
                  <a:pt x="1968" y="465"/>
                  <a:pt x="1968" y="465"/>
                  <a:pt x="1968" y="464"/>
                </a:cubicBezTo>
                <a:cubicBezTo>
                  <a:pt x="1968" y="464"/>
                  <a:pt x="1968" y="464"/>
                  <a:pt x="1968" y="463"/>
                </a:cubicBezTo>
                <a:cubicBezTo>
                  <a:pt x="1969" y="462"/>
                  <a:pt x="1969" y="462"/>
                  <a:pt x="1970" y="462"/>
                </a:cubicBezTo>
                <a:cubicBezTo>
                  <a:pt x="1971" y="462"/>
                  <a:pt x="1972" y="461"/>
                  <a:pt x="1972" y="461"/>
                </a:cubicBezTo>
                <a:cubicBezTo>
                  <a:pt x="1973" y="460"/>
                  <a:pt x="1974" y="460"/>
                  <a:pt x="1975" y="460"/>
                </a:cubicBezTo>
                <a:cubicBezTo>
                  <a:pt x="1975" y="459"/>
                  <a:pt x="1975" y="459"/>
                  <a:pt x="1976" y="459"/>
                </a:cubicBezTo>
                <a:cubicBezTo>
                  <a:pt x="1976" y="459"/>
                  <a:pt x="1977" y="459"/>
                  <a:pt x="1977" y="459"/>
                </a:cubicBezTo>
                <a:cubicBezTo>
                  <a:pt x="1978" y="459"/>
                  <a:pt x="1978" y="459"/>
                  <a:pt x="1978" y="459"/>
                </a:cubicBezTo>
                <a:cubicBezTo>
                  <a:pt x="1978" y="458"/>
                  <a:pt x="1978" y="458"/>
                  <a:pt x="1978" y="458"/>
                </a:cubicBezTo>
                <a:cubicBezTo>
                  <a:pt x="1978" y="457"/>
                  <a:pt x="1979" y="457"/>
                  <a:pt x="1979" y="456"/>
                </a:cubicBezTo>
                <a:cubicBezTo>
                  <a:pt x="1979" y="456"/>
                  <a:pt x="1979" y="456"/>
                  <a:pt x="1980" y="455"/>
                </a:cubicBezTo>
                <a:cubicBezTo>
                  <a:pt x="1980" y="455"/>
                  <a:pt x="1980" y="455"/>
                  <a:pt x="1980" y="454"/>
                </a:cubicBezTo>
                <a:cubicBezTo>
                  <a:pt x="1981" y="454"/>
                  <a:pt x="1981" y="454"/>
                  <a:pt x="1982" y="455"/>
                </a:cubicBezTo>
                <a:cubicBezTo>
                  <a:pt x="1982" y="455"/>
                  <a:pt x="1982" y="455"/>
                  <a:pt x="1982" y="455"/>
                </a:cubicBezTo>
                <a:cubicBezTo>
                  <a:pt x="1982" y="455"/>
                  <a:pt x="1982" y="455"/>
                  <a:pt x="1982" y="455"/>
                </a:cubicBezTo>
                <a:cubicBezTo>
                  <a:pt x="1983" y="455"/>
                  <a:pt x="1983" y="455"/>
                  <a:pt x="1983" y="454"/>
                </a:cubicBezTo>
                <a:cubicBezTo>
                  <a:pt x="1982" y="454"/>
                  <a:pt x="1982" y="454"/>
                  <a:pt x="1982" y="453"/>
                </a:cubicBezTo>
                <a:cubicBezTo>
                  <a:pt x="1983" y="453"/>
                  <a:pt x="1983" y="454"/>
                  <a:pt x="1983" y="454"/>
                </a:cubicBezTo>
                <a:cubicBezTo>
                  <a:pt x="1983" y="454"/>
                  <a:pt x="1984" y="454"/>
                  <a:pt x="1984" y="454"/>
                </a:cubicBezTo>
                <a:cubicBezTo>
                  <a:pt x="1985" y="455"/>
                  <a:pt x="1985" y="455"/>
                  <a:pt x="1985" y="455"/>
                </a:cubicBezTo>
                <a:cubicBezTo>
                  <a:pt x="1986" y="454"/>
                  <a:pt x="1986" y="454"/>
                  <a:pt x="1987" y="453"/>
                </a:cubicBezTo>
                <a:cubicBezTo>
                  <a:pt x="1987" y="453"/>
                  <a:pt x="1988" y="453"/>
                  <a:pt x="1988" y="452"/>
                </a:cubicBezTo>
                <a:cubicBezTo>
                  <a:pt x="1988" y="452"/>
                  <a:pt x="1989" y="452"/>
                  <a:pt x="1989" y="451"/>
                </a:cubicBezTo>
                <a:cubicBezTo>
                  <a:pt x="1990" y="451"/>
                  <a:pt x="1990" y="451"/>
                  <a:pt x="1991" y="450"/>
                </a:cubicBezTo>
                <a:cubicBezTo>
                  <a:pt x="1991" y="450"/>
                  <a:pt x="1992" y="450"/>
                  <a:pt x="1992" y="450"/>
                </a:cubicBezTo>
                <a:cubicBezTo>
                  <a:pt x="1992" y="450"/>
                  <a:pt x="1992" y="450"/>
                  <a:pt x="1993" y="450"/>
                </a:cubicBezTo>
                <a:cubicBezTo>
                  <a:pt x="1993" y="450"/>
                  <a:pt x="1994" y="450"/>
                  <a:pt x="1994" y="449"/>
                </a:cubicBezTo>
                <a:cubicBezTo>
                  <a:pt x="1996" y="449"/>
                  <a:pt x="1997" y="447"/>
                  <a:pt x="1998" y="446"/>
                </a:cubicBezTo>
                <a:cubicBezTo>
                  <a:pt x="1998" y="445"/>
                  <a:pt x="1999" y="445"/>
                  <a:pt x="1999" y="444"/>
                </a:cubicBezTo>
                <a:cubicBezTo>
                  <a:pt x="2000" y="442"/>
                  <a:pt x="2001" y="441"/>
                  <a:pt x="2003" y="439"/>
                </a:cubicBezTo>
                <a:cubicBezTo>
                  <a:pt x="2004" y="439"/>
                  <a:pt x="2004" y="438"/>
                  <a:pt x="2005" y="438"/>
                </a:cubicBezTo>
                <a:cubicBezTo>
                  <a:pt x="2005" y="438"/>
                  <a:pt x="2005" y="437"/>
                  <a:pt x="2006" y="437"/>
                </a:cubicBezTo>
                <a:cubicBezTo>
                  <a:pt x="2006" y="437"/>
                  <a:pt x="2007" y="437"/>
                  <a:pt x="2007" y="437"/>
                </a:cubicBezTo>
                <a:cubicBezTo>
                  <a:pt x="2007" y="436"/>
                  <a:pt x="2005" y="437"/>
                  <a:pt x="2005" y="436"/>
                </a:cubicBezTo>
                <a:cubicBezTo>
                  <a:pt x="2005" y="435"/>
                  <a:pt x="2006" y="435"/>
                  <a:pt x="2006" y="435"/>
                </a:cubicBezTo>
                <a:cubicBezTo>
                  <a:pt x="2006" y="435"/>
                  <a:pt x="2005" y="434"/>
                  <a:pt x="2005" y="434"/>
                </a:cubicBezTo>
                <a:cubicBezTo>
                  <a:pt x="2005" y="434"/>
                  <a:pt x="2002" y="434"/>
                  <a:pt x="2003" y="433"/>
                </a:cubicBezTo>
                <a:cubicBezTo>
                  <a:pt x="2003" y="433"/>
                  <a:pt x="2003" y="432"/>
                  <a:pt x="2003" y="432"/>
                </a:cubicBezTo>
                <a:cubicBezTo>
                  <a:pt x="2003" y="432"/>
                  <a:pt x="2003" y="432"/>
                  <a:pt x="2003" y="431"/>
                </a:cubicBezTo>
                <a:cubicBezTo>
                  <a:pt x="2002" y="431"/>
                  <a:pt x="2003" y="431"/>
                  <a:pt x="2002" y="431"/>
                </a:cubicBezTo>
                <a:cubicBezTo>
                  <a:pt x="2002" y="430"/>
                  <a:pt x="2000" y="431"/>
                  <a:pt x="2000" y="430"/>
                </a:cubicBezTo>
                <a:cubicBezTo>
                  <a:pt x="2000" y="429"/>
                  <a:pt x="2001" y="429"/>
                  <a:pt x="2002" y="428"/>
                </a:cubicBezTo>
                <a:cubicBezTo>
                  <a:pt x="2003" y="427"/>
                  <a:pt x="2003" y="427"/>
                  <a:pt x="2004" y="426"/>
                </a:cubicBezTo>
                <a:cubicBezTo>
                  <a:pt x="2004" y="426"/>
                  <a:pt x="2005" y="426"/>
                  <a:pt x="2006" y="425"/>
                </a:cubicBezTo>
                <a:cubicBezTo>
                  <a:pt x="2006" y="425"/>
                  <a:pt x="2007" y="424"/>
                  <a:pt x="2007" y="423"/>
                </a:cubicBezTo>
                <a:cubicBezTo>
                  <a:pt x="2006" y="423"/>
                  <a:pt x="2006" y="422"/>
                  <a:pt x="2007" y="421"/>
                </a:cubicBezTo>
                <a:cubicBezTo>
                  <a:pt x="2007" y="421"/>
                  <a:pt x="2009" y="421"/>
                  <a:pt x="2007" y="420"/>
                </a:cubicBezTo>
                <a:cubicBezTo>
                  <a:pt x="2007" y="420"/>
                  <a:pt x="2007" y="420"/>
                  <a:pt x="2007" y="420"/>
                </a:cubicBezTo>
                <a:cubicBezTo>
                  <a:pt x="2006" y="420"/>
                  <a:pt x="2006" y="420"/>
                  <a:pt x="2005" y="420"/>
                </a:cubicBezTo>
                <a:cubicBezTo>
                  <a:pt x="2005" y="419"/>
                  <a:pt x="2007" y="419"/>
                  <a:pt x="2007" y="418"/>
                </a:cubicBezTo>
                <a:cubicBezTo>
                  <a:pt x="2008" y="418"/>
                  <a:pt x="2008" y="417"/>
                  <a:pt x="2009" y="417"/>
                </a:cubicBezTo>
                <a:cubicBezTo>
                  <a:pt x="2010" y="417"/>
                  <a:pt x="2010" y="416"/>
                  <a:pt x="2011" y="416"/>
                </a:cubicBezTo>
                <a:cubicBezTo>
                  <a:pt x="2011" y="415"/>
                  <a:pt x="2011" y="415"/>
                  <a:pt x="2012" y="415"/>
                </a:cubicBezTo>
                <a:cubicBezTo>
                  <a:pt x="2012" y="415"/>
                  <a:pt x="2012" y="415"/>
                  <a:pt x="2013" y="415"/>
                </a:cubicBezTo>
                <a:cubicBezTo>
                  <a:pt x="2013" y="416"/>
                  <a:pt x="2014" y="416"/>
                  <a:pt x="2015" y="416"/>
                </a:cubicBezTo>
                <a:cubicBezTo>
                  <a:pt x="2016" y="416"/>
                  <a:pt x="2016" y="415"/>
                  <a:pt x="2015" y="414"/>
                </a:cubicBezTo>
                <a:cubicBezTo>
                  <a:pt x="2015" y="414"/>
                  <a:pt x="2014" y="413"/>
                  <a:pt x="2014" y="413"/>
                </a:cubicBezTo>
                <a:cubicBezTo>
                  <a:pt x="2015" y="412"/>
                  <a:pt x="2015" y="413"/>
                  <a:pt x="2015" y="412"/>
                </a:cubicBezTo>
                <a:cubicBezTo>
                  <a:pt x="2015" y="412"/>
                  <a:pt x="2014" y="412"/>
                  <a:pt x="2015" y="411"/>
                </a:cubicBezTo>
                <a:cubicBezTo>
                  <a:pt x="2016" y="410"/>
                  <a:pt x="2016" y="411"/>
                  <a:pt x="2017" y="411"/>
                </a:cubicBezTo>
                <a:cubicBezTo>
                  <a:pt x="2017" y="412"/>
                  <a:pt x="2017" y="412"/>
                  <a:pt x="2018" y="412"/>
                </a:cubicBezTo>
                <a:cubicBezTo>
                  <a:pt x="2018" y="412"/>
                  <a:pt x="2019" y="412"/>
                  <a:pt x="2019" y="411"/>
                </a:cubicBezTo>
                <a:cubicBezTo>
                  <a:pt x="2019" y="411"/>
                  <a:pt x="2019" y="411"/>
                  <a:pt x="2019" y="411"/>
                </a:cubicBezTo>
                <a:cubicBezTo>
                  <a:pt x="2020" y="410"/>
                  <a:pt x="2020" y="411"/>
                  <a:pt x="2021" y="411"/>
                </a:cubicBezTo>
                <a:cubicBezTo>
                  <a:pt x="2021" y="411"/>
                  <a:pt x="2022" y="412"/>
                  <a:pt x="2022" y="412"/>
                </a:cubicBezTo>
                <a:cubicBezTo>
                  <a:pt x="2022" y="412"/>
                  <a:pt x="2022" y="413"/>
                  <a:pt x="2023" y="413"/>
                </a:cubicBezTo>
                <a:cubicBezTo>
                  <a:pt x="2023" y="413"/>
                  <a:pt x="2023" y="413"/>
                  <a:pt x="2024" y="413"/>
                </a:cubicBezTo>
                <a:cubicBezTo>
                  <a:pt x="2024" y="413"/>
                  <a:pt x="2024" y="412"/>
                  <a:pt x="2024" y="412"/>
                </a:cubicBezTo>
                <a:cubicBezTo>
                  <a:pt x="2024" y="412"/>
                  <a:pt x="2024" y="412"/>
                  <a:pt x="2024" y="412"/>
                </a:cubicBezTo>
                <a:cubicBezTo>
                  <a:pt x="2025" y="411"/>
                  <a:pt x="2024" y="411"/>
                  <a:pt x="2025" y="411"/>
                </a:cubicBezTo>
                <a:cubicBezTo>
                  <a:pt x="2025" y="411"/>
                  <a:pt x="2026" y="411"/>
                  <a:pt x="2026" y="411"/>
                </a:cubicBezTo>
                <a:cubicBezTo>
                  <a:pt x="2027" y="411"/>
                  <a:pt x="2028" y="411"/>
                  <a:pt x="2029" y="411"/>
                </a:cubicBezTo>
                <a:cubicBezTo>
                  <a:pt x="2030" y="411"/>
                  <a:pt x="2030" y="411"/>
                  <a:pt x="2031" y="411"/>
                </a:cubicBezTo>
                <a:cubicBezTo>
                  <a:pt x="2032" y="411"/>
                  <a:pt x="2033" y="411"/>
                  <a:pt x="2034" y="411"/>
                </a:cubicBezTo>
                <a:cubicBezTo>
                  <a:pt x="2034" y="411"/>
                  <a:pt x="2035" y="411"/>
                  <a:pt x="2036" y="411"/>
                </a:cubicBezTo>
                <a:cubicBezTo>
                  <a:pt x="2037" y="411"/>
                  <a:pt x="2037" y="412"/>
                  <a:pt x="2038" y="412"/>
                </a:cubicBezTo>
                <a:cubicBezTo>
                  <a:pt x="2039" y="412"/>
                  <a:pt x="2039" y="413"/>
                  <a:pt x="2040" y="413"/>
                </a:cubicBezTo>
                <a:cubicBezTo>
                  <a:pt x="2041" y="414"/>
                  <a:pt x="2042" y="414"/>
                  <a:pt x="2043" y="414"/>
                </a:cubicBezTo>
                <a:cubicBezTo>
                  <a:pt x="2043" y="414"/>
                  <a:pt x="2044" y="415"/>
                  <a:pt x="2045" y="415"/>
                </a:cubicBezTo>
                <a:cubicBezTo>
                  <a:pt x="2046" y="415"/>
                  <a:pt x="2047" y="416"/>
                  <a:pt x="2048" y="416"/>
                </a:cubicBezTo>
                <a:cubicBezTo>
                  <a:pt x="2048" y="417"/>
                  <a:pt x="2048" y="417"/>
                  <a:pt x="2048" y="418"/>
                </a:cubicBezTo>
                <a:cubicBezTo>
                  <a:pt x="2048" y="419"/>
                  <a:pt x="2049" y="419"/>
                  <a:pt x="2049" y="420"/>
                </a:cubicBezTo>
                <a:cubicBezTo>
                  <a:pt x="2049" y="420"/>
                  <a:pt x="2049" y="421"/>
                  <a:pt x="2048" y="422"/>
                </a:cubicBezTo>
                <a:cubicBezTo>
                  <a:pt x="2048" y="423"/>
                  <a:pt x="2047" y="424"/>
                  <a:pt x="2048" y="424"/>
                </a:cubicBezTo>
                <a:cubicBezTo>
                  <a:pt x="2049" y="425"/>
                  <a:pt x="2050" y="425"/>
                  <a:pt x="2050" y="426"/>
                </a:cubicBezTo>
                <a:cubicBezTo>
                  <a:pt x="2050" y="426"/>
                  <a:pt x="2050" y="427"/>
                  <a:pt x="2050" y="427"/>
                </a:cubicBezTo>
                <a:cubicBezTo>
                  <a:pt x="2050" y="427"/>
                  <a:pt x="2049" y="427"/>
                  <a:pt x="2049" y="427"/>
                </a:cubicBezTo>
                <a:cubicBezTo>
                  <a:pt x="2049" y="426"/>
                  <a:pt x="2048" y="426"/>
                  <a:pt x="2048" y="427"/>
                </a:cubicBezTo>
                <a:cubicBezTo>
                  <a:pt x="2048" y="427"/>
                  <a:pt x="2048" y="427"/>
                  <a:pt x="2049" y="428"/>
                </a:cubicBezTo>
                <a:cubicBezTo>
                  <a:pt x="2049" y="428"/>
                  <a:pt x="2049" y="428"/>
                  <a:pt x="2049" y="429"/>
                </a:cubicBezTo>
                <a:cubicBezTo>
                  <a:pt x="2049" y="429"/>
                  <a:pt x="2049" y="429"/>
                  <a:pt x="2049" y="429"/>
                </a:cubicBezTo>
                <a:cubicBezTo>
                  <a:pt x="2048" y="430"/>
                  <a:pt x="2048" y="430"/>
                  <a:pt x="2048" y="429"/>
                </a:cubicBezTo>
                <a:cubicBezTo>
                  <a:pt x="2047" y="429"/>
                  <a:pt x="2047" y="429"/>
                  <a:pt x="2046" y="428"/>
                </a:cubicBezTo>
                <a:cubicBezTo>
                  <a:pt x="2046" y="428"/>
                  <a:pt x="2046" y="428"/>
                  <a:pt x="2045" y="428"/>
                </a:cubicBezTo>
                <a:cubicBezTo>
                  <a:pt x="2044" y="428"/>
                  <a:pt x="2043" y="429"/>
                  <a:pt x="2042" y="429"/>
                </a:cubicBezTo>
                <a:cubicBezTo>
                  <a:pt x="2041" y="430"/>
                  <a:pt x="2040" y="430"/>
                  <a:pt x="2040" y="431"/>
                </a:cubicBezTo>
                <a:cubicBezTo>
                  <a:pt x="2039" y="432"/>
                  <a:pt x="2038" y="433"/>
                  <a:pt x="2038" y="434"/>
                </a:cubicBezTo>
                <a:cubicBezTo>
                  <a:pt x="2038" y="435"/>
                  <a:pt x="2037" y="435"/>
                  <a:pt x="2036" y="436"/>
                </a:cubicBezTo>
                <a:cubicBezTo>
                  <a:pt x="2036" y="437"/>
                  <a:pt x="2035" y="438"/>
                  <a:pt x="2034" y="438"/>
                </a:cubicBezTo>
                <a:cubicBezTo>
                  <a:pt x="2033" y="439"/>
                  <a:pt x="2032" y="440"/>
                  <a:pt x="2031" y="440"/>
                </a:cubicBezTo>
                <a:cubicBezTo>
                  <a:pt x="2031" y="441"/>
                  <a:pt x="2030" y="442"/>
                  <a:pt x="2030" y="443"/>
                </a:cubicBezTo>
                <a:cubicBezTo>
                  <a:pt x="2030" y="443"/>
                  <a:pt x="2029" y="444"/>
                  <a:pt x="2029" y="444"/>
                </a:cubicBezTo>
                <a:cubicBezTo>
                  <a:pt x="2028" y="444"/>
                  <a:pt x="2028" y="444"/>
                  <a:pt x="2028" y="443"/>
                </a:cubicBezTo>
                <a:cubicBezTo>
                  <a:pt x="2026" y="443"/>
                  <a:pt x="2027" y="444"/>
                  <a:pt x="2027" y="445"/>
                </a:cubicBezTo>
                <a:cubicBezTo>
                  <a:pt x="2027" y="446"/>
                  <a:pt x="2026" y="446"/>
                  <a:pt x="2025" y="446"/>
                </a:cubicBezTo>
                <a:cubicBezTo>
                  <a:pt x="2024" y="447"/>
                  <a:pt x="2024" y="448"/>
                  <a:pt x="2023" y="448"/>
                </a:cubicBezTo>
                <a:cubicBezTo>
                  <a:pt x="2023" y="449"/>
                  <a:pt x="2022" y="450"/>
                  <a:pt x="2021" y="450"/>
                </a:cubicBezTo>
                <a:cubicBezTo>
                  <a:pt x="2021" y="450"/>
                  <a:pt x="2020" y="451"/>
                  <a:pt x="2019" y="451"/>
                </a:cubicBezTo>
                <a:cubicBezTo>
                  <a:pt x="2018" y="451"/>
                  <a:pt x="2017" y="451"/>
                  <a:pt x="2016" y="452"/>
                </a:cubicBezTo>
                <a:cubicBezTo>
                  <a:pt x="2016" y="452"/>
                  <a:pt x="2015" y="453"/>
                  <a:pt x="2014" y="453"/>
                </a:cubicBezTo>
                <a:cubicBezTo>
                  <a:pt x="2013" y="454"/>
                  <a:pt x="2014" y="454"/>
                  <a:pt x="2014" y="455"/>
                </a:cubicBezTo>
                <a:cubicBezTo>
                  <a:pt x="2015" y="456"/>
                  <a:pt x="2015" y="457"/>
                  <a:pt x="2014" y="457"/>
                </a:cubicBezTo>
                <a:cubicBezTo>
                  <a:pt x="2014" y="458"/>
                  <a:pt x="2013" y="458"/>
                  <a:pt x="2012" y="458"/>
                </a:cubicBezTo>
                <a:cubicBezTo>
                  <a:pt x="2012" y="459"/>
                  <a:pt x="2011" y="460"/>
                  <a:pt x="2011" y="459"/>
                </a:cubicBezTo>
                <a:cubicBezTo>
                  <a:pt x="2011" y="459"/>
                  <a:pt x="2011" y="458"/>
                  <a:pt x="2011" y="458"/>
                </a:cubicBezTo>
                <a:cubicBezTo>
                  <a:pt x="2010" y="458"/>
                  <a:pt x="2010" y="458"/>
                  <a:pt x="2009" y="458"/>
                </a:cubicBezTo>
                <a:cubicBezTo>
                  <a:pt x="2008" y="458"/>
                  <a:pt x="2008" y="458"/>
                  <a:pt x="2007" y="459"/>
                </a:cubicBezTo>
                <a:cubicBezTo>
                  <a:pt x="2006" y="459"/>
                  <a:pt x="2006" y="459"/>
                  <a:pt x="2006" y="460"/>
                </a:cubicBezTo>
                <a:cubicBezTo>
                  <a:pt x="2006" y="460"/>
                  <a:pt x="2007" y="460"/>
                  <a:pt x="2007" y="460"/>
                </a:cubicBezTo>
                <a:cubicBezTo>
                  <a:pt x="2007" y="461"/>
                  <a:pt x="2007" y="461"/>
                  <a:pt x="2007" y="462"/>
                </a:cubicBezTo>
                <a:cubicBezTo>
                  <a:pt x="2007" y="462"/>
                  <a:pt x="2006" y="462"/>
                  <a:pt x="2006" y="462"/>
                </a:cubicBezTo>
                <a:cubicBezTo>
                  <a:pt x="2005" y="462"/>
                  <a:pt x="2004" y="463"/>
                  <a:pt x="2004" y="463"/>
                </a:cubicBezTo>
                <a:cubicBezTo>
                  <a:pt x="2002" y="464"/>
                  <a:pt x="2002" y="466"/>
                  <a:pt x="2001" y="468"/>
                </a:cubicBezTo>
                <a:cubicBezTo>
                  <a:pt x="2001" y="468"/>
                  <a:pt x="2001" y="469"/>
                  <a:pt x="2001" y="470"/>
                </a:cubicBezTo>
                <a:cubicBezTo>
                  <a:pt x="2001" y="471"/>
                  <a:pt x="2001" y="471"/>
                  <a:pt x="2001" y="471"/>
                </a:cubicBezTo>
                <a:cubicBezTo>
                  <a:pt x="2001" y="472"/>
                  <a:pt x="2001" y="472"/>
                  <a:pt x="2002" y="473"/>
                </a:cubicBezTo>
                <a:cubicBezTo>
                  <a:pt x="2002" y="473"/>
                  <a:pt x="2002" y="474"/>
                  <a:pt x="2003" y="474"/>
                </a:cubicBezTo>
                <a:cubicBezTo>
                  <a:pt x="2004" y="475"/>
                  <a:pt x="2004" y="475"/>
                  <a:pt x="2004" y="476"/>
                </a:cubicBezTo>
                <a:cubicBezTo>
                  <a:pt x="2004" y="477"/>
                  <a:pt x="2004" y="477"/>
                  <a:pt x="2004" y="477"/>
                </a:cubicBezTo>
                <a:cubicBezTo>
                  <a:pt x="2004" y="478"/>
                  <a:pt x="2004" y="479"/>
                  <a:pt x="2003" y="480"/>
                </a:cubicBezTo>
                <a:cubicBezTo>
                  <a:pt x="2003" y="481"/>
                  <a:pt x="2003" y="482"/>
                  <a:pt x="2004" y="483"/>
                </a:cubicBezTo>
                <a:cubicBezTo>
                  <a:pt x="2004" y="483"/>
                  <a:pt x="2005" y="484"/>
                  <a:pt x="2005" y="485"/>
                </a:cubicBezTo>
                <a:cubicBezTo>
                  <a:pt x="2005" y="485"/>
                  <a:pt x="2006" y="486"/>
                  <a:pt x="2007" y="486"/>
                </a:cubicBezTo>
                <a:cubicBezTo>
                  <a:pt x="2007" y="486"/>
                  <a:pt x="2007" y="487"/>
                  <a:pt x="2007" y="487"/>
                </a:cubicBezTo>
                <a:cubicBezTo>
                  <a:pt x="2007" y="488"/>
                  <a:pt x="2007" y="488"/>
                  <a:pt x="2006" y="488"/>
                </a:cubicBezTo>
                <a:cubicBezTo>
                  <a:pt x="2006" y="488"/>
                  <a:pt x="2005" y="488"/>
                  <a:pt x="2005" y="488"/>
                </a:cubicBezTo>
                <a:cubicBezTo>
                  <a:pt x="2004" y="488"/>
                  <a:pt x="2005" y="488"/>
                  <a:pt x="2005" y="489"/>
                </a:cubicBezTo>
                <a:cubicBezTo>
                  <a:pt x="2005" y="489"/>
                  <a:pt x="2005" y="490"/>
                  <a:pt x="2005" y="491"/>
                </a:cubicBezTo>
                <a:cubicBezTo>
                  <a:pt x="2005" y="491"/>
                  <a:pt x="2005" y="492"/>
                  <a:pt x="2006" y="492"/>
                </a:cubicBezTo>
                <a:cubicBezTo>
                  <a:pt x="2006" y="493"/>
                  <a:pt x="2006" y="493"/>
                  <a:pt x="2006" y="493"/>
                </a:cubicBezTo>
                <a:cubicBezTo>
                  <a:pt x="2006" y="494"/>
                  <a:pt x="2005" y="495"/>
                  <a:pt x="2005" y="495"/>
                </a:cubicBezTo>
                <a:cubicBezTo>
                  <a:pt x="2004" y="495"/>
                  <a:pt x="2003" y="496"/>
                  <a:pt x="2003" y="497"/>
                </a:cubicBezTo>
                <a:cubicBezTo>
                  <a:pt x="2003" y="498"/>
                  <a:pt x="2004" y="498"/>
                  <a:pt x="2004" y="499"/>
                </a:cubicBezTo>
                <a:cubicBezTo>
                  <a:pt x="2004" y="500"/>
                  <a:pt x="2005" y="501"/>
                  <a:pt x="2005" y="502"/>
                </a:cubicBezTo>
                <a:cubicBezTo>
                  <a:pt x="2004" y="503"/>
                  <a:pt x="2004" y="504"/>
                  <a:pt x="2005" y="505"/>
                </a:cubicBezTo>
                <a:cubicBezTo>
                  <a:pt x="2005" y="505"/>
                  <a:pt x="2005" y="505"/>
                  <a:pt x="2005" y="505"/>
                </a:cubicBezTo>
                <a:cubicBezTo>
                  <a:pt x="2006" y="506"/>
                  <a:pt x="2006" y="506"/>
                  <a:pt x="2006" y="506"/>
                </a:cubicBezTo>
                <a:cubicBezTo>
                  <a:pt x="2006" y="507"/>
                  <a:pt x="2007" y="506"/>
                  <a:pt x="2007" y="506"/>
                </a:cubicBezTo>
                <a:cubicBezTo>
                  <a:pt x="2007" y="505"/>
                  <a:pt x="2008" y="504"/>
                  <a:pt x="2009" y="505"/>
                </a:cubicBezTo>
                <a:cubicBezTo>
                  <a:pt x="2009" y="505"/>
                  <a:pt x="2010" y="506"/>
                  <a:pt x="2011" y="506"/>
                </a:cubicBezTo>
                <a:cubicBezTo>
                  <a:pt x="2011" y="507"/>
                  <a:pt x="2012" y="507"/>
                  <a:pt x="2013" y="507"/>
                </a:cubicBezTo>
                <a:cubicBezTo>
                  <a:pt x="2014" y="508"/>
                  <a:pt x="2014" y="508"/>
                  <a:pt x="2015" y="508"/>
                </a:cubicBezTo>
                <a:cubicBezTo>
                  <a:pt x="2015" y="508"/>
                  <a:pt x="2016" y="508"/>
                  <a:pt x="2016" y="508"/>
                </a:cubicBezTo>
                <a:cubicBezTo>
                  <a:pt x="2017" y="508"/>
                  <a:pt x="2017" y="509"/>
                  <a:pt x="2017" y="509"/>
                </a:cubicBezTo>
                <a:cubicBezTo>
                  <a:pt x="2017" y="509"/>
                  <a:pt x="2018" y="509"/>
                  <a:pt x="2018" y="510"/>
                </a:cubicBezTo>
                <a:cubicBezTo>
                  <a:pt x="2018" y="510"/>
                  <a:pt x="2017" y="510"/>
                  <a:pt x="2017" y="511"/>
                </a:cubicBezTo>
                <a:cubicBezTo>
                  <a:pt x="2017" y="511"/>
                  <a:pt x="2016" y="511"/>
                  <a:pt x="2016" y="512"/>
                </a:cubicBezTo>
                <a:cubicBezTo>
                  <a:pt x="2016" y="512"/>
                  <a:pt x="2016" y="513"/>
                  <a:pt x="2016" y="513"/>
                </a:cubicBezTo>
                <a:cubicBezTo>
                  <a:pt x="2016" y="514"/>
                  <a:pt x="2016" y="514"/>
                  <a:pt x="2015" y="514"/>
                </a:cubicBezTo>
                <a:cubicBezTo>
                  <a:pt x="2015" y="515"/>
                  <a:pt x="2017" y="515"/>
                  <a:pt x="2017" y="515"/>
                </a:cubicBezTo>
                <a:cubicBezTo>
                  <a:pt x="2018" y="515"/>
                  <a:pt x="2019" y="515"/>
                  <a:pt x="2020" y="515"/>
                </a:cubicBezTo>
                <a:cubicBezTo>
                  <a:pt x="2020" y="514"/>
                  <a:pt x="2020" y="513"/>
                  <a:pt x="2021" y="513"/>
                </a:cubicBezTo>
                <a:cubicBezTo>
                  <a:pt x="2021" y="513"/>
                  <a:pt x="2021" y="513"/>
                  <a:pt x="2022" y="513"/>
                </a:cubicBezTo>
                <a:cubicBezTo>
                  <a:pt x="2022" y="513"/>
                  <a:pt x="2022" y="513"/>
                  <a:pt x="2022" y="514"/>
                </a:cubicBezTo>
                <a:cubicBezTo>
                  <a:pt x="2023" y="514"/>
                  <a:pt x="2024" y="513"/>
                  <a:pt x="2024" y="514"/>
                </a:cubicBezTo>
                <a:cubicBezTo>
                  <a:pt x="2025" y="515"/>
                  <a:pt x="2024" y="516"/>
                  <a:pt x="2024" y="517"/>
                </a:cubicBezTo>
                <a:cubicBezTo>
                  <a:pt x="2024" y="518"/>
                  <a:pt x="2025" y="517"/>
                  <a:pt x="2026" y="516"/>
                </a:cubicBezTo>
                <a:cubicBezTo>
                  <a:pt x="2026" y="516"/>
                  <a:pt x="2026" y="516"/>
                  <a:pt x="2027" y="516"/>
                </a:cubicBezTo>
                <a:cubicBezTo>
                  <a:pt x="2027" y="515"/>
                  <a:pt x="2028" y="515"/>
                  <a:pt x="2028" y="515"/>
                </a:cubicBezTo>
                <a:cubicBezTo>
                  <a:pt x="2029" y="515"/>
                  <a:pt x="2030" y="516"/>
                  <a:pt x="2032" y="515"/>
                </a:cubicBezTo>
                <a:cubicBezTo>
                  <a:pt x="2032" y="515"/>
                  <a:pt x="2033" y="515"/>
                  <a:pt x="2034" y="515"/>
                </a:cubicBezTo>
                <a:cubicBezTo>
                  <a:pt x="2035" y="515"/>
                  <a:pt x="2036" y="515"/>
                  <a:pt x="2036" y="514"/>
                </a:cubicBezTo>
                <a:cubicBezTo>
                  <a:pt x="2037" y="514"/>
                  <a:pt x="2037" y="514"/>
                  <a:pt x="2037" y="514"/>
                </a:cubicBezTo>
                <a:cubicBezTo>
                  <a:pt x="2038" y="514"/>
                  <a:pt x="2038" y="514"/>
                  <a:pt x="2038" y="514"/>
                </a:cubicBezTo>
                <a:cubicBezTo>
                  <a:pt x="2038" y="514"/>
                  <a:pt x="2038" y="514"/>
                  <a:pt x="2038" y="515"/>
                </a:cubicBezTo>
                <a:cubicBezTo>
                  <a:pt x="2039" y="515"/>
                  <a:pt x="2039" y="515"/>
                  <a:pt x="2039" y="515"/>
                </a:cubicBezTo>
                <a:cubicBezTo>
                  <a:pt x="2040" y="516"/>
                  <a:pt x="2040" y="515"/>
                  <a:pt x="2040" y="515"/>
                </a:cubicBezTo>
                <a:cubicBezTo>
                  <a:pt x="2040" y="514"/>
                  <a:pt x="2040" y="514"/>
                  <a:pt x="2040" y="514"/>
                </a:cubicBezTo>
                <a:cubicBezTo>
                  <a:pt x="2040" y="513"/>
                  <a:pt x="2040" y="513"/>
                  <a:pt x="2040" y="513"/>
                </a:cubicBezTo>
                <a:cubicBezTo>
                  <a:pt x="2040" y="512"/>
                  <a:pt x="2041" y="512"/>
                  <a:pt x="2042" y="512"/>
                </a:cubicBezTo>
                <a:cubicBezTo>
                  <a:pt x="2043" y="512"/>
                  <a:pt x="2044" y="512"/>
                  <a:pt x="2045" y="512"/>
                </a:cubicBezTo>
                <a:cubicBezTo>
                  <a:pt x="2046" y="511"/>
                  <a:pt x="2046" y="512"/>
                  <a:pt x="2047" y="512"/>
                </a:cubicBezTo>
                <a:cubicBezTo>
                  <a:pt x="2048" y="511"/>
                  <a:pt x="2049" y="511"/>
                  <a:pt x="2050" y="511"/>
                </a:cubicBezTo>
                <a:cubicBezTo>
                  <a:pt x="2051" y="511"/>
                  <a:pt x="2051" y="511"/>
                  <a:pt x="2052" y="510"/>
                </a:cubicBezTo>
                <a:cubicBezTo>
                  <a:pt x="2052" y="509"/>
                  <a:pt x="2053" y="509"/>
                  <a:pt x="2053" y="509"/>
                </a:cubicBezTo>
                <a:cubicBezTo>
                  <a:pt x="2054" y="510"/>
                  <a:pt x="2054" y="510"/>
                  <a:pt x="2055" y="510"/>
                </a:cubicBezTo>
                <a:cubicBezTo>
                  <a:pt x="2055" y="510"/>
                  <a:pt x="2055" y="510"/>
                  <a:pt x="2055" y="510"/>
                </a:cubicBezTo>
                <a:cubicBezTo>
                  <a:pt x="2055" y="510"/>
                  <a:pt x="2055" y="511"/>
                  <a:pt x="2055" y="511"/>
                </a:cubicBezTo>
                <a:cubicBezTo>
                  <a:pt x="2056" y="511"/>
                  <a:pt x="2055" y="509"/>
                  <a:pt x="2056" y="509"/>
                </a:cubicBezTo>
                <a:cubicBezTo>
                  <a:pt x="2056" y="510"/>
                  <a:pt x="2058" y="510"/>
                  <a:pt x="2058" y="509"/>
                </a:cubicBezTo>
                <a:cubicBezTo>
                  <a:pt x="2057" y="508"/>
                  <a:pt x="2057" y="508"/>
                  <a:pt x="2057" y="508"/>
                </a:cubicBezTo>
                <a:cubicBezTo>
                  <a:pt x="2057" y="507"/>
                  <a:pt x="2058" y="507"/>
                  <a:pt x="2058" y="508"/>
                </a:cubicBezTo>
                <a:cubicBezTo>
                  <a:pt x="2058" y="508"/>
                  <a:pt x="2058" y="508"/>
                  <a:pt x="2059" y="508"/>
                </a:cubicBezTo>
                <a:cubicBezTo>
                  <a:pt x="2059" y="508"/>
                  <a:pt x="2060" y="508"/>
                  <a:pt x="2060" y="508"/>
                </a:cubicBezTo>
                <a:cubicBezTo>
                  <a:pt x="2061" y="508"/>
                  <a:pt x="2061" y="507"/>
                  <a:pt x="2062" y="507"/>
                </a:cubicBezTo>
                <a:cubicBezTo>
                  <a:pt x="2063" y="506"/>
                  <a:pt x="2064" y="506"/>
                  <a:pt x="2065" y="506"/>
                </a:cubicBezTo>
                <a:cubicBezTo>
                  <a:pt x="2066" y="506"/>
                  <a:pt x="2068" y="506"/>
                  <a:pt x="2069" y="506"/>
                </a:cubicBezTo>
                <a:cubicBezTo>
                  <a:pt x="2071" y="506"/>
                  <a:pt x="2072" y="506"/>
                  <a:pt x="2074" y="506"/>
                </a:cubicBezTo>
                <a:cubicBezTo>
                  <a:pt x="2075" y="506"/>
                  <a:pt x="2075" y="507"/>
                  <a:pt x="2076" y="506"/>
                </a:cubicBezTo>
                <a:cubicBezTo>
                  <a:pt x="2076" y="506"/>
                  <a:pt x="2077" y="506"/>
                  <a:pt x="2077" y="506"/>
                </a:cubicBezTo>
                <a:cubicBezTo>
                  <a:pt x="2078" y="505"/>
                  <a:pt x="2079" y="505"/>
                  <a:pt x="2080" y="505"/>
                </a:cubicBezTo>
                <a:cubicBezTo>
                  <a:pt x="2081" y="505"/>
                  <a:pt x="2082" y="505"/>
                  <a:pt x="2083" y="505"/>
                </a:cubicBezTo>
                <a:cubicBezTo>
                  <a:pt x="2084" y="504"/>
                  <a:pt x="2084" y="504"/>
                  <a:pt x="2085" y="503"/>
                </a:cubicBezTo>
                <a:cubicBezTo>
                  <a:pt x="2085" y="503"/>
                  <a:pt x="2086" y="503"/>
                  <a:pt x="2086" y="503"/>
                </a:cubicBezTo>
                <a:cubicBezTo>
                  <a:pt x="2086" y="503"/>
                  <a:pt x="2087" y="503"/>
                  <a:pt x="2087" y="502"/>
                </a:cubicBezTo>
                <a:cubicBezTo>
                  <a:pt x="2087" y="503"/>
                  <a:pt x="2087" y="504"/>
                  <a:pt x="2086" y="504"/>
                </a:cubicBezTo>
                <a:cubicBezTo>
                  <a:pt x="2086" y="504"/>
                  <a:pt x="2085" y="504"/>
                  <a:pt x="2086" y="505"/>
                </a:cubicBezTo>
                <a:cubicBezTo>
                  <a:pt x="2086" y="505"/>
                  <a:pt x="2086" y="505"/>
                  <a:pt x="2086" y="505"/>
                </a:cubicBezTo>
                <a:cubicBezTo>
                  <a:pt x="2086" y="505"/>
                  <a:pt x="2086" y="505"/>
                  <a:pt x="2086" y="506"/>
                </a:cubicBezTo>
                <a:cubicBezTo>
                  <a:pt x="2086" y="506"/>
                  <a:pt x="2086" y="506"/>
                  <a:pt x="2086" y="507"/>
                </a:cubicBezTo>
                <a:cubicBezTo>
                  <a:pt x="2086" y="507"/>
                  <a:pt x="2086" y="506"/>
                  <a:pt x="2086" y="506"/>
                </a:cubicBezTo>
                <a:cubicBezTo>
                  <a:pt x="2085" y="506"/>
                  <a:pt x="2085" y="506"/>
                  <a:pt x="2085" y="506"/>
                </a:cubicBezTo>
                <a:cubicBezTo>
                  <a:pt x="2084" y="505"/>
                  <a:pt x="2084" y="505"/>
                  <a:pt x="2084" y="505"/>
                </a:cubicBezTo>
                <a:cubicBezTo>
                  <a:pt x="2084" y="505"/>
                  <a:pt x="2084" y="505"/>
                  <a:pt x="2085" y="506"/>
                </a:cubicBezTo>
                <a:cubicBezTo>
                  <a:pt x="2085" y="506"/>
                  <a:pt x="2085" y="506"/>
                  <a:pt x="2085" y="507"/>
                </a:cubicBezTo>
                <a:cubicBezTo>
                  <a:pt x="2085" y="507"/>
                  <a:pt x="2086" y="507"/>
                  <a:pt x="2086" y="507"/>
                </a:cubicBezTo>
                <a:cubicBezTo>
                  <a:pt x="2086" y="508"/>
                  <a:pt x="2086" y="508"/>
                  <a:pt x="2087" y="508"/>
                </a:cubicBezTo>
                <a:cubicBezTo>
                  <a:pt x="2087" y="509"/>
                  <a:pt x="2088" y="509"/>
                  <a:pt x="2089" y="509"/>
                </a:cubicBezTo>
                <a:cubicBezTo>
                  <a:pt x="2089" y="510"/>
                  <a:pt x="2090" y="510"/>
                  <a:pt x="2091" y="510"/>
                </a:cubicBezTo>
                <a:cubicBezTo>
                  <a:pt x="2091" y="511"/>
                  <a:pt x="2092" y="511"/>
                  <a:pt x="2093" y="511"/>
                </a:cubicBezTo>
                <a:cubicBezTo>
                  <a:pt x="2094" y="512"/>
                  <a:pt x="2094" y="512"/>
                  <a:pt x="2095" y="512"/>
                </a:cubicBezTo>
                <a:cubicBezTo>
                  <a:pt x="2096" y="512"/>
                  <a:pt x="2097" y="513"/>
                  <a:pt x="2098" y="513"/>
                </a:cubicBezTo>
                <a:cubicBezTo>
                  <a:pt x="2098" y="513"/>
                  <a:pt x="2099" y="513"/>
                  <a:pt x="2099" y="513"/>
                </a:cubicBezTo>
                <a:cubicBezTo>
                  <a:pt x="2100" y="514"/>
                  <a:pt x="2101" y="514"/>
                  <a:pt x="2102" y="514"/>
                </a:cubicBezTo>
                <a:cubicBezTo>
                  <a:pt x="2102" y="515"/>
                  <a:pt x="2102" y="515"/>
                  <a:pt x="2103" y="515"/>
                </a:cubicBezTo>
                <a:cubicBezTo>
                  <a:pt x="2103" y="515"/>
                  <a:pt x="2103" y="515"/>
                  <a:pt x="2104" y="516"/>
                </a:cubicBezTo>
                <a:cubicBezTo>
                  <a:pt x="2104" y="516"/>
                  <a:pt x="2104" y="517"/>
                  <a:pt x="2103" y="517"/>
                </a:cubicBezTo>
                <a:cubicBezTo>
                  <a:pt x="2103" y="517"/>
                  <a:pt x="2103" y="517"/>
                  <a:pt x="2102" y="517"/>
                </a:cubicBezTo>
                <a:cubicBezTo>
                  <a:pt x="2102" y="517"/>
                  <a:pt x="2101" y="517"/>
                  <a:pt x="2101" y="516"/>
                </a:cubicBezTo>
                <a:cubicBezTo>
                  <a:pt x="2100" y="516"/>
                  <a:pt x="2100" y="516"/>
                  <a:pt x="2099" y="516"/>
                </a:cubicBezTo>
                <a:cubicBezTo>
                  <a:pt x="2099" y="516"/>
                  <a:pt x="2099" y="516"/>
                  <a:pt x="2098" y="516"/>
                </a:cubicBezTo>
                <a:cubicBezTo>
                  <a:pt x="2098" y="516"/>
                  <a:pt x="2098" y="516"/>
                  <a:pt x="2097" y="515"/>
                </a:cubicBezTo>
                <a:cubicBezTo>
                  <a:pt x="2097" y="515"/>
                  <a:pt x="2097" y="515"/>
                  <a:pt x="2096" y="515"/>
                </a:cubicBezTo>
                <a:cubicBezTo>
                  <a:pt x="2096" y="515"/>
                  <a:pt x="2096" y="515"/>
                  <a:pt x="2095" y="515"/>
                </a:cubicBezTo>
                <a:cubicBezTo>
                  <a:pt x="2093" y="514"/>
                  <a:pt x="2091" y="516"/>
                  <a:pt x="2090" y="517"/>
                </a:cubicBezTo>
                <a:cubicBezTo>
                  <a:pt x="2089" y="518"/>
                  <a:pt x="2088" y="518"/>
                  <a:pt x="2088" y="518"/>
                </a:cubicBezTo>
                <a:cubicBezTo>
                  <a:pt x="2087" y="518"/>
                  <a:pt x="2086" y="518"/>
                  <a:pt x="2085" y="517"/>
                </a:cubicBezTo>
                <a:cubicBezTo>
                  <a:pt x="2085" y="517"/>
                  <a:pt x="2084" y="518"/>
                  <a:pt x="2084" y="518"/>
                </a:cubicBezTo>
                <a:cubicBezTo>
                  <a:pt x="2083" y="518"/>
                  <a:pt x="2083" y="519"/>
                  <a:pt x="2082" y="519"/>
                </a:cubicBezTo>
                <a:cubicBezTo>
                  <a:pt x="2082" y="519"/>
                  <a:pt x="2081" y="519"/>
                  <a:pt x="2080" y="519"/>
                </a:cubicBezTo>
                <a:cubicBezTo>
                  <a:pt x="2080" y="519"/>
                  <a:pt x="2080" y="519"/>
                  <a:pt x="2080" y="520"/>
                </a:cubicBezTo>
                <a:cubicBezTo>
                  <a:pt x="2079" y="520"/>
                  <a:pt x="2079" y="521"/>
                  <a:pt x="2079" y="522"/>
                </a:cubicBezTo>
                <a:cubicBezTo>
                  <a:pt x="2080" y="522"/>
                  <a:pt x="2079" y="522"/>
                  <a:pt x="2079" y="523"/>
                </a:cubicBezTo>
                <a:cubicBezTo>
                  <a:pt x="2079" y="523"/>
                  <a:pt x="2079" y="524"/>
                  <a:pt x="2079" y="524"/>
                </a:cubicBezTo>
                <a:cubicBezTo>
                  <a:pt x="2079" y="524"/>
                  <a:pt x="2078" y="524"/>
                  <a:pt x="2078" y="524"/>
                </a:cubicBezTo>
                <a:cubicBezTo>
                  <a:pt x="2078" y="525"/>
                  <a:pt x="2077" y="525"/>
                  <a:pt x="2077" y="525"/>
                </a:cubicBezTo>
                <a:cubicBezTo>
                  <a:pt x="2076" y="525"/>
                  <a:pt x="2075" y="524"/>
                  <a:pt x="2075" y="524"/>
                </a:cubicBezTo>
                <a:cubicBezTo>
                  <a:pt x="2073" y="524"/>
                  <a:pt x="2071" y="524"/>
                  <a:pt x="2069" y="524"/>
                </a:cubicBezTo>
                <a:cubicBezTo>
                  <a:pt x="2068" y="524"/>
                  <a:pt x="2067" y="524"/>
                  <a:pt x="2067" y="524"/>
                </a:cubicBezTo>
                <a:cubicBezTo>
                  <a:pt x="2066" y="524"/>
                  <a:pt x="2065" y="523"/>
                  <a:pt x="2065" y="523"/>
                </a:cubicBezTo>
                <a:cubicBezTo>
                  <a:pt x="2064" y="523"/>
                  <a:pt x="2063" y="523"/>
                  <a:pt x="2062" y="523"/>
                </a:cubicBezTo>
                <a:cubicBezTo>
                  <a:pt x="2061" y="523"/>
                  <a:pt x="2060" y="523"/>
                  <a:pt x="2059" y="523"/>
                </a:cubicBezTo>
                <a:cubicBezTo>
                  <a:pt x="2059" y="522"/>
                  <a:pt x="2058" y="522"/>
                  <a:pt x="2057" y="522"/>
                </a:cubicBezTo>
                <a:cubicBezTo>
                  <a:pt x="2056" y="522"/>
                  <a:pt x="2055" y="522"/>
                  <a:pt x="2054" y="522"/>
                </a:cubicBezTo>
                <a:cubicBezTo>
                  <a:pt x="2054" y="522"/>
                  <a:pt x="2053" y="522"/>
                  <a:pt x="2052" y="522"/>
                </a:cubicBezTo>
                <a:cubicBezTo>
                  <a:pt x="2052" y="522"/>
                  <a:pt x="2051" y="521"/>
                  <a:pt x="2051" y="521"/>
                </a:cubicBezTo>
                <a:cubicBezTo>
                  <a:pt x="2050" y="520"/>
                  <a:pt x="2050" y="520"/>
                  <a:pt x="2050" y="521"/>
                </a:cubicBezTo>
                <a:cubicBezTo>
                  <a:pt x="2050" y="521"/>
                  <a:pt x="2050" y="521"/>
                  <a:pt x="2050" y="522"/>
                </a:cubicBezTo>
                <a:cubicBezTo>
                  <a:pt x="2051" y="522"/>
                  <a:pt x="2051" y="522"/>
                  <a:pt x="2051" y="522"/>
                </a:cubicBezTo>
                <a:cubicBezTo>
                  <a:pt x="2051" y="523"/>
                  <a:pt x="2050" y="523"/>
                  <a:pt x="2050" y="523"/>
                </a:cubicBezTo>
                <a:cubicBezTo>
                  <a:pt x="2049" y="523"/>
                  <a:pt x="2049" y="523"/>
                  <a:pt x="2049" y="523"/>
                </a:cubicBezTo>
                <a:cubicBezTo>
                  <a:pt x="2048" y="524"/>
                  <a:pt x="2048" y="523"/>
                  <a:pt x="2047" y="523"/>
                </a:cubicBezTo>
                <a:cubicBezTo>
                  <a:pt x="2046" y="523"/>
                  <a:pt x="2046" y="523"/>
                  <a:pt x="2045" y="523"/>
                </a:cubicBezTo>
                <a:cubicBezTo>
                  <a:pt x="2044" y="523"/>
                  <a:pt x="2043" y="523"/>
                  <a:pt x="2043" y="523"/>
                </a:cubicBezTo>
                <a:cubicBezTo>
                  <a:pt x="2042" y="524"/>
                  <a:pt x="2041" y="524"/>
                  <a:pt x="2040" y="524"/>
                </a:cubicBezTo>
                <a:cubicBezTo>
                  <a:pt x="2039" y="524"/>
                  <a:pt x="2038" y="525"/>
                  <a:pt x="2037" y="525"/>
                </a:cubicBezTo>
                <a:cubicBezTo>
                  <a:pt x="2037" y="525"/>
                  <a:pt x="2036" y="525"/>
                  <a:pt x="2035" y="526"/>
                </a:cubicBezTo>
                <a:cubicBezTo>
                  <a:pt x="2034" y="527"/>
                  <a:pt x="2034" y="527"/>
                  <a:pt x="2033" y="527"/>
                </a:cubicBezTo>
                <a:cubicBezTo>
                  <a:pt x="2032" y="528"/>
                  <a:pt x="2031" y="527"/>
                  <a:pt x="2031" y="528"/>
                </a:cubicBezTo>
                <a:cubicBezTo>
                  <a:pt x="2030" y="528"/>
                  <a:pt x="2029" y="528"/>
                  <a:pt x="2028" y="528"/>
                </a:cubicBezTo>
                <a:cubicBezTo>
                  <a:pt x="2028" y="529"/>
                  <a:pt x="2027" y="529"/>
                  <a:pt x="2027" y="529"/>
                </a:cubicBezTo>
                <a:cubicBezTo>
                  <a:pt x="2027" y="529"/>
                  <a:pt x="2027" y="530"/>
                  <a:pt x="2027" y="530"/>
                </a:cubicBezTo>
                <a:cubicBezTo>
                  <a:pt x="2027" y="530"/>
                  <a:pt x="2026" y="531"/>
                  <a:pt x="2027" y="531"/>
                </a:cubicBezTo>
                <a:cubicBezTo>
                  <a:pt x="2027" y="532"/>
                  <a:pt x="2027" y="532"/>
                  <a:pt x="2028" y="532"/>
                </a:cubicBezTo>
                <a:cubicBezTo>
                  <a:pt x="2028" y="532"/>
                  <a:pt x="2029" y="531"/>
                  <a:pt x="2029" y="532"/>
                </a:cubicBezTo>
                <a:cubicBezTo>
                  <a:pt x="2029" y="532"/>
                  <a:pt x="2028" y="533"/>
                  <a:pt x="2028" y="533"/>
                </a:cubicBezTo>
                <a:cubicBezTo>
                  <a:pt x="2028" y="533"/>
                  <a:pt x="2028" y="534"/>
                  <a:pt x="2028" y="534"/>
                </a:cubicBezTo>
                <a:cubicBezTo>
                  <a:pt x="2027" y="535"/>
                  <a:pt x="2027" y="535"/>
                  <a:pt x="2027" y="536"/>
                </a:cubicBezTo>
                <a:cubicBezTo>
                  <a:pt x="2028" y="536"/>
                  <a:pt x="2029" y="536"/>
                  <a:pt x="2029" y="536"/>
                </a:cubicBezTo>
                <a:cubicBezTo>
                  <a:pt x="2030" y="536"/>
                  <a:pt x="2031" y="535"/>
                  <a:pt x="2030" y="536"/>
                </a:cubicBezTo>
                <a:cubicBezTo>
                  <a:pt x="2030" y="536"/>
                  <a:pt x="2029" y="536"/>
                  <a:pt x="2029" y="536"/>
                </a:cubicBezTo>
                <a:cubicBezTo>
                  <a:pt x="2029" y="536"/>
                  <a:pt x="2028" y="536"/>
                  <a:pt x="2028" y="536"/>
                </a:cubicBezTo>
                <a:cubicBezTo>
                  <a:pt x="2028" y="537"/>
                  <a:pt x="2028" y="537"/>
                  <a:pt x="2028" y="537"/>
                </a:cubicBezTo>
                <a:cubicBezTo>
                  <a:pt x="2028" y="538"/>
                  <a:pt x="2028" y="538"/>
                  <a:pt x="2028" y="538"/>
                </a:cubicBezTo>
                <a:cubicBezTo>
                  <a:pt x="2027" y="539"/>
                  <a:pt x="2028" y="539"/>
                  <a:pt x="2028" y="539"/>
                </a:cubicBezTo>
                <a:cubicBezTo>
                  <a:pt x="2028" y="540"/>
                  <a:pt x="2029" y="540"/>
                  <a:pt x="2029" y="540"/>
                </a:cubicBezTo>
                <a:cubicBezTo>
                  <a:pt x="2030" y="541"/>
                  <a:pt x="2030" y="541"/>
                  <a:pt x="2030" y="541"/>
                </a:cubicBezTo>
                <a:cubicBezTo>
                  <a:pt x="2031" y="542"/>
                  <a:pt x="2031" y="542"/>
                  <a:pt x="2032" y="543"/>
                </a:cubicBezTo>
                <a:cubicBezTo>
                  <a:pt x="2032" y="543"/>
                  <a:pt x="2033" y="543"/>
                  <a:pt x="2034" y="543"/>
                </a:cubicBezTo>
                <a:cubicBezTo>
                  <a:pt x="2035" y="544"/>
                  <a:pt x="2035" y="544"/>
                  <a:pt x="2036" y="544"/>
                </a:cubicBezTo>
                <a:cubicBezTo>
                  <a:pt x="2037" y="544"/>
                  <a:pt x="2037" y="543"/>
                  <a:pt x="2038" y="543"/>
                </a:cubicBezTo>
                <a:cubicBezTo>
                  <a:pt x="2039" y="542"/>
                  <a:pt x="2040" y="543"/>
                  <a:pt x="2040" y="543"/>
                </a:cubicBezTo>
                <a:cubicBezTo>
                  <a:pt x="2039" y="544"/>
                  <a:pt x="2039" y="545"/>
                  <a:pt x="2039" y="546"/>
                </a:cubicBezTo>
                <a:cubicBezTo>
                  <a:pt x="2038" y="546"/>
                  <a:pt x="2038" y="547"/>
                  <a:pt x="2038" y="548"/>
                </a:cubicBezTo>
                <a:cubicBezTo>
                  <a:pt x="2038" y="549"/>
                  <a:pt x="2037" y="549"/>
                  <a:pt x="2037" y="550"/>
                </a:cubicBezTo>
                <a:cubicBezTo>
                  <a:pt x="2037" y="551"/>
                  <a:pt x="2036" y="554"/>
                  <a:pt x="2037" y="555"/>
                </a:cubicBezTo>
                <a:cubicBezTo>
                  <a:pt x="2038" y="555"/>
                  <a:pt x="2038" y="556"/>
                  <a:pt x="2038" y="557"/>
                </a:cubicBezTo>
                <a:cubicBezTo>
                  <a:pt x="2038" y="558"/>
                  <a:pt x="2038" y="559"/>
                  <a:pt x="2038" y="559"/>
                </a:cubicBezTo>
                <a:cubicBezTo>
                  <a:pt x="2038" y="560"/>
                  <a:pt x="2037" y="561"/>
                  <a:pt x="2037" y="562"/>
                </a:cubicBezTo>
                <a:cubicBezTo>
                  <a:pt x="2036" y="562"/>
                  <a:pt x="2035" y="563"/>
                  <a:pt x="2035" y="563"/>
                </a:cubicBezTo>
                <a:cubicBezTo>
                  <a:pt x="2034" y="563"/>
                  <a:pt x="2034" y="564"/>
                  <a:pt x="2034" y="564"/>
                </a:cubicBezTo>
                <a:cubicBezTo>
                  <a:pt x="2034" y="564"/>
                  <a:pt x="2033" y="564"/>
                  <a:pt x="2033" y="565"/>
                </a:cubicBezTo>
                <a:cubicBezTo>
                  <a:pt x="2032" y="565"/>
                  <a:pt x="2029" y="565"/>
                  <a:pt x="2028" y="564"/>
                </a:cubicBezTo>
                <a:cubicBezTo>
                  <a:pt x="2027" y="564"/>
                  <a:pt x="2027" y="564"/>
                  <a:pt x="2026" y="563"/>
                </a:cubicBezTo>
                <a:cubicBezTo>
                  <a:pt x="2026" y="563"/>
                  <a:pt x="2025" y="563"/>
                  <a:pt x="2025" y="562"/>
                </a:cubicBezTo>
                <a:cubicBezTo>
                  <a:pt x="2025" y="562"/>
                  <a:pt x="2025" y="562"/>
                  <a:pt x="2025" y="561"/>
                </a:cubicBezTo>
                <a:cubicBezTo>
                  <a:pt x="2024" y="560"/>
                  <a:pt x="2023" y="558"/>
                  <a:pt x="2021" y="558"/>
                </a:cubicBezTo>
                <a:cubicBezTo>
                  <a:pt x="2021" y="557"/>
                  <a:pt x="2020" y="557"/>
                  <a:pt x="2020" y="556"/>
                </a:cubicBezTo>
                <a:cubicBezTo>
                  <a:pt x="2020" y="555"/>
                  <a:pt x="2019" y="555"/>
                  <a:pt x="2018" y="554"/>
                </a:cubicBezTo>
                <a:cubicBezTo>
                  <a:pt x="2017" y="553"/>
                  <a:pt x="2015" y="553"/>
                  <a:pt x="2014" y="554"/>
                </a:cubicBezTo>
                <a:cubicBezTo>
                  <a:pt x="2012" y="554"/>
                  <a:pt x="2011" y="554"/>
                  <a:pt x="2010" y="555"/>
                </a:cubicBezTo>
                <a:cubicBezTo>
                  <a:pt x="2009" y="555"/>
                  <a:pt x="2008" y="555"/>
                  <a:pt x="2008" y="555"/>
                </a:cubicBezTo>
                <a:cubicBezTo>
                  <a:pt x="2007" y="556"/>
                  <a:pt x="2007" y="556"/>
                  <a:pt x="2006" y="557"/>
                </a:cubicBezTo>
                <a:cubicBezTo>
                  <a:pt x="2006" y="557"/>
                  <a:pt x="2006" y="558"/>
                  <a:pt x="2005" y="558"/>
                </a:cubicBezTo>
                <a:cubicBezTo>
                  <a:pt x="2005" y="559"/>
                  <a:pt x="2004" y="560"/>
                  <a:pt x="2004" y="561"/>
                </a:cubicBezTo>
                <a:cubicBezTo>
                  <a:pt x="2004" y="562"/>
                  <a:pt x="2004" y="562"/>
                  <a:pt x="2004" y="563"/>
                </a:cubicBezTo>
                <a:cubicBezTo>
                  <a:pt x="2004" y="564"/>
                  <a:pt x="2003" y="565"/>
                  <a:pt x="2003" y="565"/>
                </a:cubicBezTo>
                <a:cubicBezTo>
                  <a:pt x="2001" y="567"/>
                  <a:pt x="2000" y="568"/>
                  <a:pt x="2000" y="569"/>
                </a:cubicBezTo>
                <a:cubicBezTo>
                  <a:pt x="2000" y="570"/>
                  <a:pt x="2000" y="571"/>
                  <a:pt x="2000" y="572"/>
                </a:cubicBezTo>
                <a:cubicBezTo>
                  <a:pt x="2000" y="573"/>
                  <a:pt x="2000" y="573"/>
                  <a:pt x="1999" y="574"/>
                </a:cubicBezTo>
                <a:cubicBezTo>
                  <a:pt x="1999" y="575"/>
                  <a:pt x="1999" y="576"/>
                  <a:pt x="1999" y="577"/>
                </a:cubicBezTo>
                <a:cubicBezTo>
                  <a:pt x="1999" y="577"/>
                  <a:pt x="2000" y="578"/>
                  <a:pt x="2000" y="579"/>
                </a:cubicBezTo>
                <a:cubicBezTo>
                  <a:pt x="2000" y="580"/>
                  <a:pt x="2000" y="581"/>
                  <a:pt x="2000" y="582"/>
                </a:cubicBezTo>
                <a:cubicBezTo>
                  <a:pt x="2000" y="583"/>
                  <a:pt x="2000" y="584"/>
                  <a:pt x="2000" y="584"/>
                </a:cubicBezTo>
                <a:cubicBezTo>
                  <a:pt x="2000" y="586"/>
                  <a:pt x="2001" y="587"/>
                  <a:pt x="2000" y="589"/>
                </a:cubicBezTo>
                <a:cubicBezTo>
                  <a:pt x="2000" y="591"/>
                  <a:pt x="1999" y="592"/>
                  <a:pt x="1997" y="593"/>
                </a:cubicBezTo>
                <a:cubicBezTo>
                  <a:pt x="1996" y="594"/>
                  <a:pt x="1995" y="595"/>
                  <a:pt x="1994" y="596"/>
                </a:cubicBezTo>
                <a:cubicBezTo>
                  <a:pt x="1992" y="597"/>
                  <a:pt x="1991" y="597"/>
                  <a:pt x="1989" y="598"/>
                </a:cubicBezTo>
                <a:cubicBezTo>
                  <a:pt x="1989" y="598"/>
                  <a:pt x="1987" y="598"/>
                  <a:pt x="1987" y="599"/>
                </a:cubicBezTo>
                <a:cubicBezTo>
                  <a:pt x="1987" y="600"/>
                  <a:pt x="1987" y="601"/>
                  <a:pt x="1987" y="601"/>
                </a:cubicBezTo>
                <a:cubicBezTo>
                  <a:pt x="1986" y="602"/>
                  <a:pt x="1986" y="603"/>
                  <a:pt x="1985" y="603"/>
                </a:cubicBezTo>
                <a:cubicBezTo>
                  <a:pt x="1985" y="604"/>
                  <a:pt x="1984" y="605"/>
                  <a:pt x="1984" y="605"/>
                </a:cubicBezTo>
                <a:cubicBezTo>
                  <a:pt x="1983" y="606"/>
                  <a:pt x="1982" y="606"/>
                  <a:pt x="1982" y="606"/>
                </a:cubicBezTo>
                <a:cubicBezTo>
                  <a:pt x="1981" y="606"/>
                  <a:pt x="1980" y="606"/>
                  <a:pt x="1979" y="606"/>
                </a:cubicBezTo>
                <a:cubicBezTo>
                  <a:pt x="1979" y="606"/>
                  <a:pt x="1978" y="606"/>
                  <a:pt x="1978" y="606"/>
                </a:cubicBezTo>
                <a:cubicBezTo>
                  <a:pt x="1978" y="607"/>
                  <a:pt x="1977" y="607"/>
                  <a:pt x="1977" y="607"/>
                </a:cubicBezTo>
                <a:cubicBezTo>
                  <a:pt x="1976" y="607"/>
                  <a:pt x="1975" y="607"/>
                  <a:pt x="1974" y="607"/>
                </a:cubicBezTo>
                <a:cubicBezTo>
                  <a:pt x="1973" y="607"/>
                  <a:pt x="1972" y="606"/>
                  <a:pt x="1971" y="605"/>
                </a:cubicBezTo>
                <a:cubicBezTo>
                  <a:pt x="1971" y="604"/>
                  <a:pt x="1971" y="603"/>
                  <a:pt x="1970" y="603"/>
                </a:cubicBezTo>
                <a:cubicBezTo>
                  <a:pt x="1970" y="602"/>
                  <a:pt x="1970" y="601"/>
                  <a:pt x="1970" y="601"/>
                </a:cubicBezTo>
                <a:cubicBezTo>
                  <a:pt x="1971" y="601"/>
                  <a:pt x="1972" y="602"/>
                  <a:pt x="1973" y="602"/>
                </a:cubicBezTo>
                <a:cubicBezTo>
                  <a:pt x="1973" y="602"/>
                  <a:pt x="1974" y="603"/>
                  <a:pt x="1974" y="603"/>
                </a:cubicBezTo>
                <a:cubicBezTo>
                  <a:pt x="1975" y="603"/>
                  <a:pt x="1974" y="603"/>
                  <a:pt x="1974" y="602"/>
                </a:cubicBezTo>
                <a:cubicBezTo>
                  <a:pt x="1973" y="602"/>
                  <a:pt x="1972" y="601"/>
                  <a:pt x="1972" y="601"/>
                </a:cubicBezTo>
                <a:cubicBezTo>
                  <a:pt x="1971" y="600"/>
                  <a:pt x="1970" y="600"/>
                  <a:pt x="1970" y="600"/>
                </a:cubicBezTo>
                <a:cubicBezTo>
                  <a:pt x="1969" y="599"/>
                  <a:pt x="1968" y="600"/>
                  <a:pt x="1967" y="599"/>
                </a:cubicBezTo>
                <a:cubicBezTo>
                  <a:pt x="1967" y="599"/>
                  <a:pt x="1966" y="599"/>
                  <a:pt x="1966" y="599"/>
                </a:cubicBezTo>
                <a:cubicBezTo>
                  <a:pt x="1965" y="600"/>
                  <a:pt x="1964" y="600"/>
                  <a:pt x="1963" y="600"/>
                </a:cubicBezTo>
                <a:cubicBezTo>
                  <a:pt x="1962" y="600"/>
                  <a:pt x="1961" y="600"/>
                  <a:pt x="1960" y="600"/>
                </a:cubicBezTo>
                <a:cubicBezTo>
                  <a:pt x="1959" y="601"/>
                  <a:pt x="1959" y="601"/>
                  <a:pt x="1958" y="602"/>
                </a:cubicBezTo>
                <a:cubicBezTo>
                  <a:pt x="1957" y="602"/>
                  <a:pt x="1956" y="602"/>
                  <a:pt x="1955" y="602"/>
                </a:cubicBezTo>
                <a:cubicBezTo>
                  <a:pt x="1954" y="602"/>
                  <a:pt x="1954" y="603"/>
                  <a:pt x="1953" y="603"/>
                </a:cubicBezTo>
                <a:cubicBezTo>
                  <a:pt x="1952" y="603"/>
                  <a:pt x="1951" y="604"/>
                  <a:pt x="1950" y="604"/>
                </a:cubicBezTo>
                <a:cubicBezTo>
                  <a:pt x="1950" y="604"/>
                  <a:pt x="1949" y="604"/>
                  <a:pt x="1948" y="604"/>
                </a:cubicBezTo>
                <a:cubicBezTo>
                  <a:pt x="1947" y="605"/>
                  <a:pt x="1947" y="606"/>
                  <a:pt x="1946" y="606"/>
                </a:cubicBezTo>
                <a:cubicBezTo>
                  <a:pt x="1946" y="607"/>
                  <a:pt x="1945" y="608"/>
                  <a:pt x="1944" y="609"/>
                </a:cubicBezTo>
                <a:cubicBezTo>
                  <a:pt x="1944" y="609"/>
                  <a:pt x="1943" y="609"/>
                  <a:pt x="1942" y="609"/>
                </a:cubicBezTo>
                <a:cubicBezTo>
                  <a:pt x="1940" y="610"/>
                  <a:pt x="1938" y="610"/>
                  <a:pt x="1937" y="610"/>
                </a:cubicBezTo>
                <a:cubicBezTo>
                  <a:pt x="1933" y="611"/>
                  <a:pt x="1930" y="612"/>
                  <a:pt x="1927" y="613"/>
                </a:cubicBezTo>
                <a:cubicBezTo>
                  <a:pt x="1925" y="613"/>
                  <a:pt x="1924" y="614"/>
                  <a:pt x="1922" y="614"/>
                </a:cubicBezTo>
                <a:cubicBezTo>
                  <a:pt x="1921" y="614"/>
                  <a:pt x="1921" y="613"/>
                  <a:pt x="1920" y="613"/>
                </a:cubicBezTo>
                <a:cubicBezTo>
                  <a:pt x="1920" y="612"/>
                  <a:pt x="1920" y="612"/>
                  <a:pt x="1919" y="613"/>
                </a:cubicBezTo>
                <a:cubicBezTo>
                  <a:pt x="1919" y="613"/>
                  <a:pt x="1919" y="613"/>
                  <a:pt x="1919" y="613"/>
                </a:cubicBezTo>
                <a:cubicBezTo>
                  <a:pt x="1919" y="613"/>
                  <a:pt x="1919" y="613"/>
                  <a:pt x="1919" y="613"/>
                </a:cubicBezTo>
                <a:cubicBezTo>
                  <a:pt x="1918" y="614"/>
                  <a:pt x="1918" y="614"/>
                  <a:pt x="1918" y="614"/>
                </a:cubicBezTo>
                <a:cubicBezTo>
                  <a:pt x="1917" y="614"/>
                  <a:pt x="1917" y="614"/>
                  <a:pt x="1917" y="613"/>
                </a:cubicBezTo>
                <a:cubicBezTo>
                  <a:pt x="1917" y="613"/>
                  <a:pt x="1917" y="613"/>
                  <a:pt x="1917" y="612"/>
                </a:cubicBezTo>
                <a:cubicBezTo>
                  <a:pt x="1917" y="611"/>
                  <a:pt x="1917" y="610"/>
                  <a:pt x="1916" y="610"/>
                </a:cubicBezTo>
                <a:cubicBezTo>
                  <a:pt x="1915" y="610"/>
                  <a:pt x="1915" y="610"/>
                  <a:pt x="1914" y="610"/>
                </a:cubicBezTo>
                <a:cubicBezTo>
                  <a:pt x="1914" y="610"/>
                  <a:pt x="1913" y="610"/>
                  <a:pt x="1913" y="610"/>
                </a:cubicBezTo>
                <a:cubicBezTo>
                  <a:pt x="1913" y="610"/>
                  <a:pt x="1912" y="610"/>
                  <a:pt x="1912" y="610"/>
                </a:cubicBezTo>
                <a:cubicBezTo>
                  <a:pt x="1912" y="610"/>
                  <a:pt x="1912" y="610"/>
                  <a:pt x="1911" y="609"/>
                </a:cubicBezTo>
                <a:cubicBezTo>
                  <a:pt x="1911" y="609"/>
                  <a:pt x="1911" y="609"/>
                  <a:pt x="1911" y="609"/>
                </a:cubicBezTo>
                <a:cubicBezTo>
                  <a:pt x="1911" y="608"/>
                  <a:pt x="1912" y="610"/>
                  <a:pt x="1913" y="609"/>
                </a:cubicBezTo>
                <a:cubicBezTo>
                  <a:pt x="1913" y="609"/>
                  <a:pt x="1913" y="608"/>
                  <a:pt x="1913" y="608"/>
                </a:cubicBezTo>
                <a:cubicBezTo>
                  <a:pt x="1913" y="608"/>
                  <a:pt x="1914" y="608"/>
                  <a:pt x="1914" y="608"/>
                </a:cubicBezTo>
                <a:cubicBezTo>
                  <a:pt x="1914" y="608"/>
                  <a:pt x="1915" y="607"/>
                  <a:pt x="1915" y="607"/>
                </a:cubicBezTo>
                <a:cubicBezTo>
                  <a:pt x="1916" y="607"/>
                  <a:pt x="1916" y="607"/>
                  <a:pt x="1916" y="608"/>
                </a:cubicBezTo>
                <a:cubicBezTo>
                  <a:pt x="1916" y="608"/>
                  <a:pt x="1916" y="609"/>
                  <a:pt x="1917" y="608"/>
                </a:cubicBezTo>
                <a:cubicBezTo>
                  <a:pt x="1917" y="608"/>
                  <a:pt x="1916" y="608"/>
                  <a:pt x="1916" y="607"/>
                </a:cubicBezTo>
                <a:cubicBezTo>
                  <a:pt x="1916" y="607"/>
                  <a:pt x="1916" y="607"/>
                  <a:pt x="1916" y="607"/>
                </a:cubicBezTo>
                <a:cubicBezTo>
                  <a:pt x="1915" y="606"/>
                  <a:pt x="1915" y="606"/>
                  <a:pt x="1915" y="606"/>
                </a:cubicBezTo>
                <a:cubicBezTo>
                  <a:pt x="1915" y="605"/>
                  <a:pt x="1915" y="605"/>
                  <a:pt x="1915" y="605"/>
                </a:cubicBezTo>
                <a:cubicBezTo>
                  <a:pt x="1915" y="605"/>
                  <a:pt x="1916" y="605"/>
                  <a:pt x="1916" y="604"/>
                </a:cubicBezTo>
                <a:cubicBezTo>
                  <a:pt x="1916" y="603"/>
                  <a:pt x="1914" y="604"/>
                  <a:pt x="1914" y="604"/>
                </a:cubicBezTo>
                <a:cubicBezTo>
                  <a:pt x="1914" y="604"/>
                  <a:pt x="1913" y="604"/>
                  <a:pt x="1913" y="604"/>
                </a:cubicBezTo>
                <a:cubicBezTo>
                  <a:pt x="1913" y="604"/>
                  <a:pt x="1913" y="604"/>
                  <a:pt x="1913" y="604"/>
                </a:cubicBezTo>
                <a:cubicBezTo>
                  <a:pt x="1912" y="604"/>
                  <a:pt x="1912" y="604"/>
                  <a:pt x="1912" y="603"/>
                </a:cubicBezTo>
                <a:cubicBezTo>
                  <a:pt x="1912" y="603"/>
                  <a:pt x="1912" y="603"/>
                  <a:pt x="1913" y="602"/>
                </a:cubicBezTo>
                <a:cubicBezTo>
                  <a:pt x="1913" y="602"/>
                  <a:pt x="1913" y="603"/>
                  <a:pt x="1913" y="602"/>
                </a:cubicBezTo>
                <a:cubicBezTo>
                  <a:pt x="1914" y="602"/>
                  <a:pt x="1913" y="602"/>
                  <a:pt x="1913" y="602"/>
                </a:cubicBezTo>
                <a:cubicBezTo>
                  <a:pt x="1913" y="602"/>
                  <a:pt x="1912" y="602"/>
                  <a:pt x="1912" y="602"/>
                </a:cubicBezTo>
                <a:cubicBezTo>
                  <a:pt x="1912" y="602"/>
                  <a:pt x="1912" y="602"/>
                  <a:pt x="1911" y="602"/>
                </a:cubicBezTo>
                <a:cubicBezTo>
                  <a:pt x="1911" y="602"/>
                  <a:pt x="1911" y="603"/>
                  <a:pt x="1911" y="603"/>
                </a:cubicBezTo>
                <a:cubicBezTo>
                  <a:pt x="1911" y="603"/>
                  <a:pt x="1911" y="603"/>
                  <a:pt x="1911" y="603"/>
                </a:cubicBezTo>
                <a:cubicBezTo>
                  <a:pt x="1912" y="604"/>
                  <a:pt x="1912" y="604"/>
                  <a:pt x="1911" y="604"/>
                </a:cubicBezTo>
                <a:cubicBezTo>
                  <a:pt x="1911" y="604"/>
                  <a:pt x="1910" y="604"/>
                  <a:pt x="1910" y="604"/>
                </a:cubicBezTo>
                <a:cubicBezTo>
                  <a:pt x="1910" y="604"/>
                  <a:pt x="1910" y="605"/>
                  <a:pt x="1910" y="605"/>
                </a:cubicBezTo>
                <a:cubicBezTo>
                  <a:pt x="1910" y="605"/>
                  <a:pt x="1910" y="605"/>
                  <a:pt x="1910" y="606"/>
                </a:cubicBezTo>
                <a:cubicBezTo>
                  <a:pt x="1909" y="606"/>
                  <a:pt x="1909" y="606"/>
                  <a:pt x="1909" y="606"/>
                </a:cubicBezTo>
                <a:cubicBezTo>
                  <a:pt x="1909" y="606"/>
                  <a:pt x="1910" y="607"/>
                  <a:pt x="1910" y="607"/>
                </a:cubicBezTo>
                <a:cubicBezTo>
                  <a:pt x="1910" y="608"/>
                  <a:pt x="1909" y="607"/>
                  <a:pt x="1909" y="607"/>
                </a:cubicBezTo>
                <a:cubicBezTo>
                  <a:pt x="1909" y="606"/>
                  <a:pt x="1909" y="606"/>
                  <a:pt x="1908" y="606"/>
                </a:cubicBezTo>
                <a:cubicBezTo>
                  <a:pt x="1908" y="606"/>
                  <a:pt x="1908" y="606"/>
                  <a:pt x="1907" y="606"/>
                </a:cubicBezTo>
                <a:cubicBezTo>
                  <a:pt x="1907" y="607"/>
                  <a:pt x="1907" y="607"/>
                  <a:pt x="1906" y="607"/>
                </a:cubicBezTo>
                <a:cubicBezTo>
                  <a:pt x="1906" y="607"/>
                  <a:pt x="1906" y="607"/>
                  <a:pt x="1905" y="607"/>
                </a:cubicBezTo>
                <a:cubicBezTo>
                  <a:pt x="1905" y="607"/>
                  <a:pt x="1904" y="607"/>
                  <a:pt x="1904" y="607"/>
                </a:cubicBezTo>
                <a:cubicBezTo>
                  <a:pt x="1903" y="607"/>
                  <a:pt x="1903" y="607"/>
                  <a:pt x="1902" y="607"/>
                </a:cubicBezTo>
                <a:cubicBezTo>
                  <a:pt x="1902" y="607"/>
                  <a:pt x="1902" y="607"/>
                  <a:pt x="1903" y="607"/>
                </a:cubicBezTo>
                <a:cubicBezTo>
                  <a:pt x="1903" y="607"/>
                  <a:pt x="1903" y="607"/>
                  <a:pt x="1904" y="607"/>
                </a:cubicBezTo>
                <a:cubicBezTo>
                  <a:pt x="1904" y="606"/>
                  <a:pt x="1904" y="606"/>
                  <a:pt x="1905" y="606"/>
                </a:cubicBezTo>
                <a:cubicBezTo>
                  <a:pt x="1905" y="606"/>
                  <a:pt x="1906" y="606"/>
                  <a:pt x="1906" y="606"/>
                </a:cubicBezTo>
                <a:cubicBezTo>
                  <a:pt x="1907" y="606"/>
                  <a:pt x="1906" y="606"/>
                  <a:pt x="1906" y="606"/>
                </a:cubicBezTo>
                <a:cubicBezTo>
                  <a:pt x="1906" y="606"/>
                  <a:pt x="1905" y="606"/>
                  <a:pt x="1905" y="606"/>
                </a:cubicBezTo>
                <a:cubicBezTo>
                  <a:pt x="1904" y="606"/>
                  <a:pt x="1903" y="605"/>
                  <a:pt x="1903" y="605"/>
                </a:cubicBezTo>
                <a:cubicBezTo>
                  <a:pt x="1902" y="606"/>
                  <a:pt x="1902" y="606"/>
                  <a:pt x="1902" y="606"/>
                </a:cubicBezTo>
                <a:cubicBezTo>
                  <a:pt x="1902" y="606"/>
                  <a:pt x="1901" y="606"/>
                  <a:pt x="1901" y="607"/>
                </a:cubicBezTo>
                <a:cubicBezTo>
                  <a:pt x="1900" y="607"/>
                  <a:pt x="1900" y="608"/>
                  <a:pt x="1900" y="609"/>
                </a:cubicBezTo>
                <a:cubicBezTo>
                  <a:pt x="1900" y="609"/>
                  <a:pt x="1899" y="610"/>
                  <a:pt x="1899" y="610"/>
                </a:cubicBezTo>
                <a:cubicBezTo>
                  <a:pt x="1899" y="610"/>
                  <a:pt x="1898" y="611"/>
                  <a:pt x="1898" y="611"/>
                </a:cubicBezTo>
                <a:cubicBezTo>
                  <a:pt x="1898" y="611"/>
                  <a:pt x="1897" y="611"/>
                  <a:pt x="1897" y="611"/>
                </a:cubicBezTo>
                <a:cubicBezTo>
                  <a:pt x="1897" y="611"/>
                  <a:pt x="1897" y="611"/>
                  <a:pt x="1897" y="611"/>
                </a:cubicBezTo>
                <a:cubicBezTo>
                  <a:pt x="1896" y="610"/>
                  <a:pt x="1895" y="610"/>
                  <a:pt x="1895" y="611"/>
                </a:cubicBezTo>
                <a:cubicBezTo>
                  <a:pt x="1894" y="611"/>
                  <a:pt x="1894" y="611"/>
                  <a:pt x="1894" y="611"/>
                </a:cubicBezTo>
                <a:cubicBezTo>
                  <a:pt x="1893" y="612"/>
                  <a:pt x="1892" y="612"/>
                  <a:pt x="1891" y="612"/>
                </a:cubicBezTo>
                <a:cubicBezTo>
                  <a:pt x="1891" y="613"/>
                  <a:pt x="1890" y="613"/>
                  <a:pt x="1889" y="614"/>
                </a:cubicBezTo>
                <a:cubicBezTo>
                  <a:pt x="1889" y="614"/>
                  <a:pt x="1888" y="614"/>
                  <a:pt x="1887" y="614"/>
                </a:cubicBezTo>
                <a:cubicBezTo>
                  <a:pt x="1886" y="614"/>
                  <a:pt x="1884" y="614"/>
                  <a:pt x="1884" y="613"/>
                </a:cubicBezTo>
                <a:cubicBezTo>
                  <a:pt x="1883" y="613"/>
                  <a:pt x="1884" y="612"/>
                  <a:pt x="1885" y="611"/>
                </a:cubicBezTo>
                <a:cubicBezTo>
                  <a:pt x="1885" y="611"/>
                  <a:pt x="1885" y="610"/>
                  <a:pt x="1885" y="609"/>
                </a:cubicBezTo>
                <a:cubicBezTo>
                  <a:pt x="1886" y="609"/>
                  <a:pt x="1886" y="609"/>
                  <a:pt x="1886" y="608"/>
                </a:cubicBezTo>
                <a:cubicBezTo>
                  <a:pt x="1886" y="608"/>
                  <a:pt x="1886" y="608"/>
                  <a:pt x="1887" y="608"/>
                </a:cubicBezTo>
                <a:cubicBezTo>
                  <a:pt x="1887" y="607"/>
                  <a:pt x="1885" y="607"/>
                  <a:pt x="1885" y="607"/>
                </a:cubicBezTo>
                <a:cubicBezTo>
                  <a:pt x="1884" y="607"/>
                  <a:pt x="1884" y="607"/>
                  <a:pt x="1884" y="607"/>
                </a:cubicBezTo>
                <a:cubicBezTo>
                  <a:pt x="1883" y="608"/>
                  <a:pt x="1882" y="608"/>
                  <a:pt x="1881" y="608"/>
                </a:cubicBezTo>
                <a:cubicBezTo>
                  <a:pt x="1881" y="608"/>
                  <a:pt x="1881" y="608"/>
                  <a:pt x="1880" y="607"/>
                </a:cubicBezTo>
                <a:cubicBezTo>
                  <a:pt x="1880" y="607"/>
                  <a:pt x="1880" y="607"/>
                  <a:pt x="1879" y="607"/>
                </a:cubicBezTo>
                <a:cubicBezTo>
                  <a:pt x="1879" y="607"/>
                  <a:pt x="1878" y="606"/>
                  <a:pt x="1877" y="606"/>
                </a:cubicBezTo>
                <a:cubicBezTo>
                  <a:pt x="1877" y="606"/>
                  <a:pt x="1877" y="607"/>
                  <a:pt x="1876" y="606"/>
                </a:cubicBezTo>
                <a:cubicBezTo>
                  <a:pt x="1876" y="606"/>
                  <a:pt x="1876" y="606"/>
                  <a:pt x="1876" y="606"/>
                </a:cubicBezTo>
                <a:cubicBezTo>
                  <a:pt x="1875" y="605"/>
                  <a:pt x="1874" y="606"/>
                  <a:pt x="1874" y="605"/>
                </a:cubicBezTo>
                <a:cubicBezTo>
                  <a:pt x="1873" y="605"/>
                  <a:pt x="1874" y="604"/>
                  <a:pt x="1874" y="603"/>
                </a:cubicBezTo>
                <a:cubicBezTo>
                  <a:pt x="1874" y="603"/>
                  <a:pt x="1873" y="602"/>
                  <a:pt x="1874" y="602"/>
                </a:cubicBezTo>
                <a:cubicBezTo>
                  <a:pt x="1874" y="601"/>
                  <a:pt x="1874" y="601"/>
                  <a:pt x="1874" y="600"/>
                </a:cubicBezTo>
                <a:cubicBezTo>
                  <a:pt x="1873" y="600"/>
                  <a:pt x="1873" y="600"/>
                  <a:pt x="1873" y="601"/>
                </a:cubicBezTo>
                <a:cubicBezTo>
                  <a:pt x="1872" y="601"/>
                  <a:pt x="1872" y="601"/>
                  <a:pt x="1872" y="600"/>
                </a:cubicBezTo>
                <a:cubicBezTo>
                  <a:pt x="1871" y="600"/>
                  <a:pt x="1870" y="600"/>
                  <a:pt x="1869" y="600"/>
                </a:cubicBezTo>
                <a:cubicBezTo>
                  <a:pt x="1868" y="600"/>
                  <a:pt x="1869" y="600"/>
                  <a:pt x="1869" y="600"/>
                </a:cubicBezTo>
                <a:cubicBezTo>
                  <a:pt x="1869" y="599"/>
                  <a:pt x="1869" y="599"/>
                  <a:pt x="1869" y="599"/>
                </a:cubicBezTo>
                <a:cubicBezTo>
                  <a:pt x="1869" y="599"/>
                  <a:pt x="1870" y="598"/>
                  <a:pt x="1870" y="598"/>
                </a:cubicBezTo>
                <a:cubicBezTo>
                  <a:pt x="1871" y="599"/>
                  <a:pt x="1872" y="598"/>
                  <a:pt x="1871" y="598"/>
                </a:cubicBezTo>
                <a:cubicBezTo>
                  <a:pt x="1871" y="597"/>
                  <a:pt x="1870" y="597"/>
                  <a:pt x="1870" y="597"/>
                </a:cubicBezTo>
                <a:cubicBezTo>
                  <a:pt x="1870" y="597"/>
                  <a:pt x="1870" y="596"/>
                  <a:pt x="1871" y="596"/>
                </a:cubicBezTo>
                <a:cubicBezTo>
                  <a:pt x="1871" y="597"/>
                  <a:pt x="1871" y="597"/>
                  <a:pt x="1871" y="597"/>
                </a:cubicBezTo>
                <a:cubicBezTo>
                  <a:pt x="1872" y="598"/>
                  <a:pt x="1872" y="598"/>
                  <a:pt x="1872" y="598"/>
                </a:cubicBezTo>
                <a:cubicBezTo>
                  <a:pt x="1872" y="599"/>
                  <a:pt x="1873" y="600"/>
                  <a:pt x="1874" y="599"/>
                </a:cubicBezTo>
                <a:cubicBezTo>
                  <a:pt x="1874" y="599"/>
                  <a:pt x="1874" y="599"/>
                  <a:pt x="1874" y="599"/>
                </a:cubicBezTo>
                <a:cubicBezTo>
                  <a:pt x="1874" y="599"/>
                  <a:pt x="1874" y="598"/>
                  <a:pt x="1874" y="598"/>
                </a:cubicBezTo>
                <a:cubicBezTo>
                  <a:pt x="1874" y="598"/>
                  <a:pt x="1875" y="598"/>
                  <a:pt x="1874" y="597"/>
                </a:cubicBezTo>
                <a:cubicBezTo>
                  <a:pt x="1874" y="597"/>
                  <a:pt x="1873" y="597"/>
                  <a:pt x="1873" y="597"/>
                </a:cubicBezTo>
                <a:cubicBezTo>
                  <a:pt x="1873" y="597"/>
                  <a:pt x="1873" y="596"/>
                  <a:pt x="1873" y="596"/>
                </a:cubicBezTo>
                <a:cubicBezTo>
                  <a:pt x="1872" y="596"/>
                  <a:pt x="1872" y="596"/>
                  <a:pt x="1871" y="596"/>
                </a:cubicBezTo>
                <a:cubicBezTo>
                  <a:pt x="1871" y="596"/>
                  <a:pt x="1871" y="596"/>
                  <a:pt x="1870" y="596"/>
                </a:cubicBezTo>
                <a:cubicBezTo>
                  <a:pt x="1870" y="596"/>
                  <a:pt x="1870" y="596"/>
                  <a:pt x="1870" y="596"/>
                </a:cubicBezTo>
                <a:cubicBezTo>
                  <a:pt x="1869" y="597"/>
                  <a:pt x="1869" y="597"/>
                  <a:pt x="1869" y="596"/>
                </a:cubicBezTo>
                <a:cubicBezTo>
                  <a:pt x="1868" y="596"/>
                  <a:pt x="1868" y="596"/>
                  <a:pt x="1868" y="596"/>
                </a:cubicBezTo>
                <a:cubicBezTo>
                  <a:pt x="1868" y="595"/>
                  <a:pt x="1868" y="595"/>
                  <a:pt x="1868" y="595"/>
                </a:cubicBezTo>
                <a:cubicBezTo>
                  <a:pt x="1869" y="595"/>
                  <a:pt x="1869" y="594"/>
                  <a:pt x="1869" y="594"/>
                </a:cubicBezTo>
                <a:cubicBezTo>
                  <a:pt x="1869" y="594"/>
                  <a:pt x="1870" y="595"/>
                  <a:pt x="1870" y="594"/>
                </a:cubicBezTo>
                <a:cubicBezTo>
                  <a:pt x="1871" y="594"/>
                  <a:pt x="1870" y="593"/>
                  <a:pt x="1870" y="593"/>
                </a:cubicBezTo>
                <a:cubicBezTo>
                  <a:pt x="1870" y="592"/>
                  <a:pt x="1870" y="592"/>
                  <a:pt x="1870" y="592"/>
                </a:cubicBezTo>
                <a:cubicBezTo>
                  <a:pt x="1869" y="591"/>
                  <a:pt x="1869" y="590"/>
                  <a:pt x="1869" y="590"/>
                </a:cubicBezTo>
                <a:cubicBezTo>
                  <a:pt x="1869" y="589"/>
                  <a:pt x="1869" y="589"/>
                  <a:pt x="1869" y="589"/>
                </a:cubicBezTo>
                <a:cubicBezTo>
                  <a:pt x="1869" y="588"/>
                  <a:pt x="1870" y="588"/>
                  <a:pt x="1870" y="588"/>
                </a:cubicBezTo>
                <a:cubicBezTo>
                  <a:pt x="1870" y="588"/>
                  <a:pt x="1871" y="588"/>
                  <a:pt x="1871" y="587"/>
                </a:cubicBezTo>
                <a:cubicBezTo>
                  <a:pt x="1871" y="587"/>
                  <a:pt x="1871" y="587"/>
                  <a:pt x="1870" y="586"/>
                </a:cubicBezTo>
                <a:cubicBezTo>
                  <a:pt x="1870" y="586"/>
                  <a:pt x="1869" y="586"/>
                  <a:pt x="1870" y="586"/>
                </a:cubicBezTo>
                <a:cubicBezTo>
                  <a:pt x="1871" y="586"/>
                  <a:pt x="1871" y="586"/>
                  <a:pt x="1871" y="586"/>
                </a:cubicBezTo>
                <a:cubicBezTo>
                  <a:pt x="1872" y="586"/>
                  <a:pt x="1872" y="586"/>
                  <a:pt x="1873" y="586"/>
                </a:cubicBezTo>
                <a:cubicBezTo>
                  <a:pt x="1874" y="586"/>
                  <a:pt x="1874" y="586"/>
                  <a:pt x="1874" y="585"/>
                </a:cubicBezTo>
                <a:cubicBezTo>
                  <a:pt x="1874" y="584"/>
                  <a:pt x="1873" y="582"/>
                  <a:pt x="1875" y="583"/>
                </a:cubicBezTo>
                <a:cubicBezTo>
                  <a:pt x="1875" y="584"/>
                  <a:pt x="1876" y="585"/>
                  <a:pt x="1876" y="583"/>
                </a:cubicBezTo>
                <a:cubicBezTo>
                  <a:pt x="1877" y="583"/>
                  <a:pt x="1876" y="583"/>
                  <a:pt x="1877" y="582"/>
                </a:cubicBezTo>
                <a:cubicBezTo>
                  <a:pt x="1877" y="582"/>
                  <a:pt x="1877" y="581"/>
                  <a:pt x="1877" y="581"/>
                </a:cubicBezTo>
                <a:cubicBezTo>
                  <a:pt x="1877" y="580"/>
                  <a:pt x="1877" y="579"/>
                  <a:pt x="1877" y="579"/>
                </a:cubicBezTo>
                <a:cubicBezTo>
                  <a:pt x="1877" y="578"/>
                  <a:pt x="1878" y="578"/>
                  <a:pt x="1878" y="578"/>
                </a:cubicBezTo>
                <a:cubicBezTo>
                  <a:pt x="1878" y="577"/>
                  <a:pt x="1878" y="577"/>
                  <a:pt x="1878" y="577"/>
                </a:cubicBezTo>
                <a:cubicBezTo>
                  <a:pt x="1879" y="577"/>
                  <a:pt x="1879" y="577"/>
                  <a:pt x="1879" y="577"/>
                </a:cubicBezTo>
                <a:cubicBezTo>
                  <a:pt x="1879" y="578"/>
                  <a:pt x="1878" y="577"/>
                  <a:pt x="1878" y="578"/>
                </a:cubicBezTo>
                <a:cubicBezTo>
                  <a:pt x="1878" y="578"/>
                  <a:pt x="1879" y="578"/>
                  <a:pt x="1879" y="579"/>
                </a:cubicBezTo>
                <a:cubicBezTo>
                  <a:pt x="1879" y="579"/>
                  <a:pt x="1879" y="579"/>
                  <a:pt x="1880" y="579"/>
                </a:cubicBezTo>
                <a:cubicBezTo>
                  <a:pt x="1880" y="580"/>
                  <a:pt x="1881" y="579"/>
                  <a:pt x="1881" y="578"/>
                </a:cubicBezTo>
                <a:cubicBezTo>
                  <a:pt x="1882" y="578"/>
                  <a:pt x="1883" y="577"/>
                  <a:pt x="1883" y="577"/>
                </a:cubicBezTo>
                <a:cubicBezTo>
                  <a:pt x="1883" y="576"/>
                  <a:pt x="1883" y="576"/>
                  <a:pt x="1884" y="576"/>
                </a:cubicBezTo>
                <a:cubicBezTo>
                  <a:pt x="1884" y="575"/>
                  <a:pt x="1884" y="575"/>
                  <a:pt x="1884" y="575"/>
                </a:cubicBezTo>
                <a:cubicBezTo>
                  <a:pt x="1885" y="574"/>
                  <a:pt x="1884" y="574"/>
                  <a:pt x="1883" y="573"/>
                </a:cubicBezTo>
                <a:cubicBezTo>
                  <a:pt x="1883" y="573"/>
                  <a:pt x="1882" y="573"/>
                  <a:pt x="1882" y="573"/>
                </a:cubicBezTo>
                <a:cubicBezTo>
                  <a:pt x="1881" y="573"/>
                  <a:pt x="1880" y="573"/>
                  <a:pt x="1879" y="572"/>
                </a:cubicBezTo>
                <a:cubicBezTo>
                  <a:pt x="1879" y="572"/>
                  <a:pt x="1879" y="572"/>
                  <a:pt x="1878" y="572"/>
                </a:cubicBezTo>
                <a:cubicBezTo>
                  <a:pt x="1878" y="572"/>
                  <a:pt x="1878" y="572"/>
                  <a:pt x="1877" y="572"/>
                </a:cubicBezTo>
                <a:cubicBezTo>
                  <a:pt x="1877" y="571"/>
                  <a:pt x="1878" y="571"/>
                  <a:pt x="1877" y="570"/>
                </a:cubicBezTo>
                <a:cubicBezTo>
                  <a:pt x="1877" y="570"/>
                  <a:pt x="1877" y="570"/>
                  <a:pt x="1876" y="570"/>
                </a:cubicBezTo>
                <a:cubicBezTo>
                  <a:pt x="1876" y="569"/>
                  <a:pt x="1877" y="569"/>
                  <a:pt x="1877" y="569"/>
                </a:cubicBezTo>
                <a:cubicBezTo>
                  <a:pt x="1878" y="569"/>
                  <a:pt x="1878" y="568"/>
                  <a:pt x="1878" y="567"/>
                </a:cubicBezTo>
                <a:cubicBezTo>
                  <a:pt x="1878" y="566"/>
                  <a:pt x="1878" y="565"/>
                  <a:pt x="1877" y="565"/>
                </a:cubicBezTo>
                <a:cubicBezTo>
                  <a:pt x="1877" y="565"/>
                  <a:pt x="1876" y="565"/>
                  <a:pt x="1876" y="565"/>
                </a:cubicBezTo>
                <a:cubicBezTo>
                  <a:pt x="1875" y="564"/>
                  <a:pt x="1874" y="564"/>
                  <a:pt x="1873" y="564"/>
                </a:cubicBezTo>
                <a:cubicBezTo>
                  <a:pt x="1872" y="564"/>
                  <a:pt x="1872" y="564"/>
                  <a:pt x="1872" y="564"/>
                </a:cubicBezTo>
                <a:cubicBezTo>
                  <a:pt x="1871" y="565"/>
                  <a:pt x="1871" y="565"/>
                  <a:pt x="1870" y="565"/>
                </a:cubicBezTo>
                <a:cubicBezTo>
                  <a:pt x="1870" y="565"/>
                  <a:pt x="1869" y="565"/>
                  <a:pt x="1869" y="564"/>
                </a:cubicBezTo>
                <a:cubicBezTo>
                  <a:pt x="1868" y="563"/>
                  <a:pt x="1870" y="564"/>
                  <a:pt x="1870" y="564"/>
                </a:cubicBezTo>
                <a:cubicBezTo>
                  <a:pt x="1871" y="564"/>
                  <a:pt x="1872" y="564"/>
                  <a:pt x="1873" y="564"/>
                </a:cubicBezTo>
                <a:cubicBezTo>
                  <a:pt x="1873" y="564"/>
                  <a:pt x="1874" y="564"/>
                  <a:pt x="1875" y="564"/>
                </a:cubicBezTo>
                <a:cubicBezTo>
                  <a:pt x="1876" y="564"/>
                  <a:pt x="1877" y="564"/>
                  <a:pt x="1878" y="564"/>
                </a:cubicBezTo>
                <a:cubicBezTo>
                  <a:pt x="1878" y="564"/>
                  <a:pt x="1879" y="563"/>
                  <a:pt x="1879" y="562"/>
                </a:cubicBezTo>
                <a:cubicBezTo>
                  <a:pt x="1879" y="561"/>
                  <a:pt x="1880" y="560"/>
                  <a:pt x="1880" y="560"/>
                </a:cubicBezTo>
                <a:cubicBezTo>
                  <a:pt x="1880" y="559"/>
                  <a:pt x="1880" y="558"/>
                  <a:pt x="1879" y="557"/>
                </a:cubicBezTo>
                <a:cubicBezTo>
                  <a:pt x="1879" y="556"/>
                  <a:pt x="1878" y="556"/>
                  <a:pt x="1879" y="555"/>
                </a:cubicBezTo>
                <a:cubicBezTo>
                  <a:pt x="1880" y="555"/>
                  <a:pt x="1880" y="555"/>
                  <a:pt x="1880" y="554"/>
                </a:cubicBezTo>
                <a:cubicBezTo>
                  <a:pt x="1880" y="554"/>
                  <a:pt x="1880" y="554"/>
                  <a:pt x="1881" y="554"/>
                </a:cubicBezTo>
                <a:cubicBezTo>
                  <a:pt x="1881" y="553"/>
                  <a:pt x="1881" y="553"/>
                  <a:pt x="1881" y="553"/>
                </a:cubicBezTo>
                <a:cubicBezTo>
                  <a:pt x="1881" y="552"/>
                  <a:pt x="1880" y="553"/>
                  <a:pt x="1880" y="553"/>
                </a:cubicBezTo>
                <a:cubicBezTo>
                  <a:pt x="1880" y="553"/>
                  <a:pt x="1879" y="554"/>
                  <a:pt x="1878" y="554"/>
                </a:cubicBezTo>
                <a:cubicBezTo>
                  <a:pt x="1877" y="555"/>
                  <a:pt x="1877" y="555"/>
                  <a:pt x="1876" y="555"/>
                </a:cubicBezTo>
                <a:cubicBezTo>
                  <a:pt x="1875" y="555"/>
                  <a:pt x="1874" y="556"/>
                  <a:pt x="1874" y="556"/>
                </a:cubicBezTo>
                <a:cubicBezTo>
                  <a:pt x="1873" y="556"/>
                  <a:pt x="1873" y="556"/>
                  <a:pt x="1872" y="557"/>
                </a:cubicBezTo>
                <a:cubicBezTo>
                  <a:pt x="1871" y="557"/>
                  <a:pt x="1871" y="558"/>
                  <a:pt x="1870" y="558"/>
                </a:cubicBezTo>
                <a:cubicBezTo>
                  <a:pt x="1870" y="559"/>
                  <a:pt x="1870" y="560"/>
                  <a:pt x="1869" y="561"/>
                </a:cubicBezTo>
                <a:cubicBezTo>
                  <a:pt x="1869" y="561"/>
                  <a:pt x="1868" y="562"/>
                  <a:pt x="1868" y="562"/>
                </a:cubicBezTo>
                <a:cubicBezTo>
                  <a:pt x="1867" y="562"/>
                  <a:pt x="1866" y="562"/>
                  <a:pt x="1866" y="563"/>
                </a:cubicBezTo>
                <a:cubicBezTo>
                  <a:pt x="1865" y="563"/>
                  <a:pt x="1865" y="563"/>
                  <a:pt x="1865" y="563"/>
                </a:cubicBezTo>
                <a:cubicBezTo>
                  <a:pt x="1864" y="563"/>
                  <a:pt x="1863" y="563"/>
                  <a:pt x="1862" y="563"/>
                </a:cubicBezTo>
                <a:cubicBezTo>
                  <a:pt x="1861" y="563"/>
                  <a:pt x="1859" y="562"/>
                  <a:pt x="1858" y="563"/>
                </a:cubicBezTo>
                <a:cubicBezTo>
                  <a:pt x="1857" y="564"/>
                  <a:pt x="1856" y="565"/>
                  <a:pt x="1855" y="566"/>
                </a:cubicBezTo>
                <a:cubicBezTo>
                  <a:pt x="1855" y="567"/>
                  <a:pt x="1854" y="568"/>
                  <a:pt x="1854" y="569"/>
                </a:cubicBezTo>
                <a:cubicBezTo>
                  <a:pt x="1854" y="570"/>
                  <a:pt x="1854" y="570"/>
                  <a:pt x="1855" y="570"/>
                </a:cubicBezTo>
                <a:cubicBezTo>
                  <a:pt x="1855" y="570"/>
                  <a:pt x="1855" y="571"/>
                  <a:pt x="1856" y="571"/>
                </a:cubicBezTo>
                <a:cubicBezTo>
                  <a:pt x="1856" y="571"/>
                  <a:pt x="1856" y="571"/>
                  <a:pt x="1857" y="571"/>
                </a:cubicBezTo>
                <a:cubicBezTo>
                  <a:pt x="1857" y="571"/>
                  <a:pt x="1858" y="572"/>
                  <a:pt x="1858" y="572"/>
                </a:cubicBezTo>
                <a:cubicBezTo>
                  <a:pt x="1858" y="571"/>
                  <a:pt x="1857" y="571"/>
                  <a:pt x="1857" y="571"/>
                </a:cubicBezTo>
                <a:cubicBezTo>
                  <a:pt x="1856" y="571"/>
                  <a:pt x="1856" y="570"/>
                  <a:pt x="1856" y="569"/>
                </a:cubicBezTo>
                <a:cubicBezTo>
                  <a:pt x="1857" y="569"/>
                  <a:pt x="1857" y="569"/>
                  <a:pt x="1858" y="569"/>
                </a:cubicBezTo>
                <a:cubicBezTo>
                  <a:pt x="1858" y="569"/>
                  <a:pt x="1858" y="570"/>
                  <a:pt x="1858" y="570"/>
                </a:cubicBezTo>
                <a:cubicBezTo>
                  <a:pt x="1858" y="570"/>
                  <a:pt x="1859" y="570"/>
                  <a:pt x="1859" y="570"/>
                </a:cubicBezTo>
                <a:cubicBezTo>
                  <a:pt x="1859" y="570"/>
                  <a:pt x="1860" y="570"/>
                  <a:pt x="1860" y="570"/>
                </a:cubicBezTo>
                <a:cubicBezTo>
                  <a:pt x="1861" y="570"/>
                  <a:pt x="1861" y="569"/>
                  <a:pt x="1861" y="569"/>
                </a:cubicBezTo>
                <a:cubicBezTo>
                  <a:pt x="1861" y="569"/>
                  <a:pt x="1861" y="568"/>
                  <a:pt x="1861" y="568"/>
                </a:cubicBezTo>
                <a:cubicBezTo>
                  <a:pt x="1861" y="567"/>
                  <a:pt x="1861" y="567"/>
                  <a:pt x="1861" y="567"/>
                </a:cubicBezTo>
                <a:cubicBezTo>
                  <a:pt x="1861" y="566"/>
                  <a:pt x="1861" y="566"/>
                  <a:pt x="1862" y="566"/>
                </a:cubicBezTo>
                <a:cubicBezTo>
                  <a:pt x="1862" y="566"/>
                  <a:pt x="1862" y="566"/>
                  <a:pt x="1862" y="565"/>
                </a:cubicBezTo>
                <a:cubicBezTo>
                  <a:pt x="1863" y="565"/>
                  <a:pt x="1863" y="565"/>
                  <a:pt x="1863" y="564"/>
                </a:cubicBezTo>
                <a:cubicBezTo>
                  <a:pt x="1864" y="564"/>
                  <a:pt x="1864" y="565"/>
                  <a:pt x="1864" y="565"/>
                </a:cubicBezTo>
                <a:cubicBezTo>
                  <a:pt x="1865" y="565"/>
                  <a:pt x="1865" y="565"/>
                  <a:pt x="1866" y="564"/>
                </a:cubicBezTo>
                <a:cubicBezTo>
                  <a:pt x="1866" y="564"/>
                  <a:pt x="1867" y="564"/>
                  <a:pt x="1867" y="565"/>
                </a:cubicBezTo>
                <a:cubicBezTo>
                  <a:pt x="1867" y="565"/>
                  <a:pt x="1867" y="565"/>
                  <a:pt x="1867" y="566"/>
                </a:cubicBezTo>
                <a:cubicBezTo>
                  <a:pt x="1866" y="566"/>
                  <a:pt x="1866" y="566"/>
                  <a:pt x="1866" y="566"/>
                </a:cubicBezTo>
                <a:cubicBezTo>
                  <a:pt x="1865" y="567"/>
                  <a:pt x="1865" y="567"/>
                  <a:pt x="1865" y="567"/>
                </a:cubicBezTo>
                <a:cubicBezTo>
                  <a:pt x="1865" y="568"/>
                  <a:pt x="1865" y="568"/>
                  <a:pt x="1864" y="568"/>
                </a:cubicBezTo>
                <a:cubicBezTo>
                  <a:pt x="1864" y="569"/>
                  <a:pt x="1864" y="569"/>
                  <a:pt x="1865" y="569"/>
                </a:cubicBezTo>
                <a:cubicBezTo>
                  <a:pt x="1865" y="570"/>
                  <a:pt x="1864" y="570"/>
                  <a:pt x="1865" y="570"/>
                </a:cubicBezTo>
                <a:cubicBezTo>
                  <a:pt x="1865" y="570"/>
                  <a:pt x="1866" y="570"/>
                  <a:pt x="1866" y="571"/>
                </a:cubicBezTo>
                <a:cubicBezTo>
                  <a:pt x="1866" y="571"/>
                  <a:pt x="1867" y="572"/>
                  <a:pt x="1866" y="572"/>
                </a:cubicBezTo>
                <a:cubicBezTo>
                  <a:pt x="1866" y="572"/>
                  <a:pt x="1866" y="572"/>
                  <a:pt x="1866" y="572"/>
                </a:cubicBezTo>
                <a:cubicBezTo>
                  <a:pt x="1865" y="571"/>
                  <a:pt x="1865" y="572"/>
                  <a:pt x="1865" y="572"/>
                </a:cubicBezTo>
                <a:cubicBezTo>
                  <a:pt x="1864" y="572"/>
                  <a:pt x="1864" y="571"/>
                  <a:pt x="1864" y="571"/>
                </a:cubicBezTo>
                <a:cubicBezTo>
                  <a:pt x="1863" y="571"/>
                  <a:pt x="1864" y="571"/>
                  <a:pt x="1864" y="570"/>
                </a:cubicBezTo>
                <a:cubicBezTo>
                  <a:pt x="1864" y="570"/>
                  <a:pt x="1864" y="570"/>
                  <a:pt x="1864" y="569"/>
                </a:cubicBezTo>
                <a:cubicBezTo>
                  <a:pt x="1864" y="569"/>
                  <a:pt x="1864" y="569"/>
                  <a:pt x="1863" y="569"/>
                </a:cubicBezTo>
                <a:cubicBezTo>
                  <a:pt x="1863" y="569"/>
                  <a:pt x="1863" y="569"/>
                  <a:pt x="1863" y="569"/>
                </a:cubicBezTo>
                <a:cubicBezTo>
                  <a:pt x="1863" y="568"/>
                  <a:pt x="1862" y="568"/>
                  <a:pt x="1862" y="568"/>
                </a:cubicBezTo>
                <a:cubicBezTo>
                  <a:pt x="1861" y="568"/>
                  <a:pt x="1862" y="569"/>
                  <a:pt x="1861" y="569"/>
                </a:cubicBezTo>
                <a:cubicBezTo>
                  <a:pt x="1861" y="570"/>
                  <a:pt x="1860" y="570"/>
                  <a:pt x="1860" y="570"/>
                </a:cubicBezTo>
                <a:cubicBezTo>
                  <a:pt x="1859" y="570"/>
                  <a:pt x="1859" y="570"/>
                  <a:pt x="1859" y="571"/>
                </a:cubicBezTo>
                <a:cubicBezTo>
                  <a:pt x="1859" y="571"/>
                  <a:pt x="1859" y="571"/>
                  <a:pt x="1859" y="571"/>
                </a:cubicBezTo>
                <a:cubicBezTo>
                  <a:pt x="1859" y="572"/>
                  <a:pt x="1859" y="572"/>
                  <a:pt x="1859" y="572"/>
                </a:cubicBezTo>
                <a:cubicBezTo>
                  <a:pt x="1859" y="572"/>
                  <a:pt x="1860" y="572"/>
                  <a:pt x="1860" y="573"/>
                </a:cubicBezTo>
                <a:cubicBezTo>
                  <a:pt x="1860" y="573"/>
                  <a:pt x="1859" y="573"/>
                  <a:pt x="1859" y="573"/>
                </a:cubicBezTo>
                <a:cubicBezTo>
                  <a:pt x="1858" y="573"/>
                  <a:pt x="1858" y="573"/>
                  <a:pt x="1857" y="573"/>
                </a:cubicBezTo>
                <a:cubicBezTo>
                  <a:pt x="1857" y="573"/>
                  <a:pt x="1857" y="572"/>
                  <a:pt x="1856" y="572"/>
                </a:cubicBezTo>
                <a:cubicBezTo>
                  <a:pt x="1856" y="572"/>
                  <a:pt x="1855" y="572"/>
                  <a:pt x="1855" y="571"/>
                </a:cubicBezTo>
                <a:cubicBezTo>
                  <a:pt x="1855" y="571"/>
                  <a:pt x="1854" y="571"/>
                  <a:pt x="1854" y="571"/>
                </a:cubicBezTo>
                <a:cubicBezTo>
                  <a:pt x="1854" y="570"/>
                  <a:pt x="1854" y="570"/>
                  <a:pt x="1854" y="570"/>
                </a:cubicBezTo>
                <a:cubicBezTo>
                  <a:pt x="1853" y="570"/>
                  <a:pt x="1853" y="571"/>
                  <a:pt x="1853" y="571"/>
                </a:cubicBezTo>
                <a:cubicBezTo>
                  <a:pt x="1853" y="571"/>
                  <a:pt x="1853" y="571"/>
                  <a:pt x="1853" y="572"/>
                </a:cubicBezTo>
                <a:cubicBezTo>
                  <a:pt x="1852" y="572"/>
                  <a:pt x="1852" y="572"/>
                  <a:pt x="1852" y="573"/>
                </a:cubicBezTo>
                <a:cubicBezTo>
                  <a:pt x="1852" y="573"/>
                  <a:pt x="1852" y="573"/>
                  <a:pt x="1852" y="574"/>
                </a:cubicBezTo>
                <a:cubicBezTo>
                  <a:pt x="1852" y="575"/>
                  <a:pt x="1852" y="575"/>
                  <a:pt x="1853" y="576"/>
                </a:cubicBezTo>
                <a:cubicBezTo>
                  <a:pt x="1853" y="577"/>
                  <a:pt x="1853" y="577"/>
                  <a:pt x="1853" y="578"/>
                </a:cubicBezTo>
                <a:cubicBezTo>
                  <a:pt x="1853" y="578"/>
                  <a:pt x="1852" y="578"/>
                  <a:pt x="1852" y="579"/>
                </a:cubicBezTo>
                <a:cubicBezTo>
                  <a:pt x="1852" y="579"/>
                  <a:pt x="1852" y="581"/>
                  <a:pt x="1853" y="581"/>
                </a:cubicBezTo>
                <a:cubicBezTo>
                  <a:pt x="1853" y="581"/>
                  <a:pt x="1853" y="579"/>
                  <a:pt x="1854" y="580"/>
                </a:cubicBezTo>
                <a:cubicBezTo>
                  <a:pt x="1854" y="580"/>
                  <a:pt x="1854" y="580"/>
                  <a:pt x="1855" y="581"/>
                </a:cubicBezTo>
                <a:cubicBezTo>
                  <a:pt x="1855" y="581"/>
                  <a:pt x="1855" y="581"/>
                  <a:pt x="1855" y="582"/>
                </a:cubicBezTo>
                <a:cubicBezTo>
                  <a:pt x="1855" y="582"/>
                  <a:pt x="1854" y="582"/>
                  <a:pt x="1854" y="582"/>
                </a:cubicBezTo>
                <a:cubicBezTo>
                  <a:pt x="1854" y="582"/>
                  <a:pt x="1854" y="582"/>
                  <a:pt x="1853" y="582"/>
                </a:cubicBezTo>
                <a:cubicBezTo>
                  <a:pt x="1852" y="581"/>
                  <a:pt x="1853" y="583"/>
                  <a:pt x="1853" y="583"/>
                </a:cubicBezTo>
                <a:cubicBezTo>
                  <a:pt x="1853" y="584"/>
                  <a:pt x="1853" y="585"/>
                  <a:pt x="1853" y="586"/>
                </a:cubicBezTo>
                <a:cubicBezTo>
                  <a:pt x="1853" y="586"/>
                  <a:pt x="1853" y="587"/>
                  <a:pt x="1853" y="587"/>
                </a:cubicBezTo>
                <a:cubicBezTo>
                  <a:pt x="1853" y="587"/>
                  <a:pt x="1852" y="588"/>
                  <a:pt x="1852" y="588"/>
                </a:cubicBezTo>
                <a:cubicBezTo>
                  <a:pt x="1852" y="588"/>
                  <a:pt x="1853" y="589"/>
                  <a:pt x="1853" y="589"/>
                </a:cubicBezTo>
                <a:cubicBezTo>
                  <a:pt x="1853" y="589"/>
                  <a:pt x="1853" y="590"/>
                  <a:pt x="1854" y="590"/>
                </a:cubicBezTo>
                <a:cubicBezTo>
                  <a:pt x="1854" y="590"/>
                  <a:pt x="1855" y="590"/>
                  <a:pt x="1854" y="589"/>
                </a:cubicBezTo>
                <a:cubicBezTo>
                  <a:pt x="1854" y="589"/>
                  <a:pt x="1854" y="589"/>
                  <a:pt x="1854" y="588"/>
                </a:cubicBezTo>
                <a:cubicBezTo>
                  <a:pt x="1854" y="588"/>
                  <a:pt x="1855" y="588"/>
                  <a:pt x="1855" y="588"/>
                </a:cubicBezTo>
                <a:cubicBezTo>
                  <a:pt x="1855" y="588"/>
                  <a:pt x="1855" y="588"/>
                  <a:pt x="1856" y="589"/>
                </a:cubicBezTo>
                <a:cubicBezTo>
                  <a:pt x="1856" y="589"/>
                  <a:pt x="1857" y="589"/>
                  <a:pt x="1857" y="589"/>
                </a:cubicBezTo>
                <a:cubicBezTo>
                  <a:pt x="1858" y="590"/>
                  <a:pt x="1857" y="591"/>
                  <a:pt x="1858" y="591"/>
                </a:cubicBezTo>
                <a:cubicBezTo>
                  <a:pt x="1858" y="592"/>
                  <a:pt x="1859" y="592"/>
                  <a:pt x="1859" y="592"/>
                </a:cubicBezTo>
                <a:cubicBezTo>
                  <a:pt x="1859" y="593"/>
                  <a:pt x="1859" y="593"/>
                  <a:pt x="1859" y="593"/>
                </a:cubicBezTo>
                <a:cubicBezTo>
                  <a:pt x="1859" y="594"/>
                  <a:pt x="1858" y="594"/>
                  <a:pt x="1858" y="594"/>
                </a:cubicBezTo>
                <a:cubicBezTo>
                  <a:pt x="1858" y="594"/>
                  <a:pt x="1858" y="594"/>
                  <a:pt x="1858" y="594"/>
                </a:cubicBezTo>
                <a:cubicBezTo>
                  <a:pt x="1857" y="595"/>
                  <a:pt x="1857" y="594"/>
                  <a:pt x="1856" y="594"/>
                </a:cubicBezTo>
                <a:cubicBezTo>
                  <a:pt x="1856" y="594"/>
                  <a:pt x="1856" y="595"/>
                  <a:pt x="1856" y="595"/>
                </a:cubicBezTo>
                <a:cubicBezTo>
                  <a:pt x="1856" y="595"/>
                  <a:pt x="1856" y="595"/>
                  <a:pt x="1857" y="595"/>
                </a:cubicBezTo>
                <a:cubicBezTo>
                  <a:pt x="1857" y="596"/>
                  <a:pt x="1857" y="595"/>
                  <a:pt x="1857" y="595"/>
                </a:cubicBezTo>
                <a:cubicBezTo>
                  <a:pt x="1857" y="595"/>
                  <a:pt x="1858" y="596"/>
                  <a:pt x="1858" y="596"/>
                </a:cubicBezTo>
                <a:cubicBezTo>
                  <a:pt x="1859" y="595"/>
                  <a:pt x="1858" y="597"/>
                  <a:pt x="1858" y="597"/>
                </a:cubicBezTo>
                <a:cubicBezTo>
                  <a:pt x="1858" y="598"/>
                  <a:pt x="1858" y="598"/>
                  <a:pt x="1858" y="598"/>
                </a:cubicBezTo>
                <a:cubicBezTo>
                  <a:pt x="1858" y="599"/>
                  <a:pt x="1858" y="599"/>
                  <a:pt x="1857" y="599"/>
                </a:cubicBezTo>
                <a:cubicBezTo>
                  <a:pt x="1857" y="599"/>
                  <a:pt x="1856" y="599"/>
                  <a:pt x="1856" y="599"/>
                </a:cubicBezTo>
                <a:cubicBezTo>
                  <a:pt x="1854" y="599"/>
                  <a:pt x="1856" y="597"/>
                  <a:pt x="1856" y="596"/>
                </a:cubicBezTo>
                <a:cubicBezTo>
                  <a:pt x="1856" y="596"/>
                  <a:pt x="1856" y="596"/>
                  <a:pt x="1856" y="596"/>
                </a:cubicBezTo>
                <a:cubicBezTo>
                  <a:pt x="1855" y="596"/>
                  <a:pt x="1855" y="596"/>
                  <a:pt x="1855" y="597"/>
                </a:cubicBezTo>
                <a:cubicBezTo>
                  <a:pt x="1855" y="597"/>
                  <a:pt x="1854" y="598"/>
                  <a:pt x="1854" y="599"/>
                </a:cubicBezTo>
                <a:cubicBezTo>
                  <a:pt x="1854" y="599"/>
                  <a:pt x="1854" y="600"/>
                  <a:pt x="1854" y="601"/>
                </a:cubicBezTo>
                <a:cubicBezTo>
                  <a:pt x="1855" y="602"/>
                  <a:pt x="1855" y="600"/>
                  <a:pt x="1855" y="600"/>
                </a:cubicBezTo>
                <a:cubicBezTo>
                  <a:pt x="1855" y="599"/>
                  <a:pt x="1856" y="599"/>
                  <a:pt x="1857" y="599"/>
                </a:cubicBezTo>
                <a:cubicBezTo>
                  <a:pt x="1858" y="599"/>
                  <a:pt x="1859" y="599"/>
                  <a:pt x="1859" y="600"/>
                </a:cubicBezTo>
                <a:cubicBezTo>
                  <a:pt x="1859" y="600"/>
                  <a:pt x="1859" y="601"/>
                  <a:pt x="1859" y="601"/>
                </a:cubicBezTo>
                <a:cubicBezTo>
                  <a:pt x="1860" y="601"/>
                  <a:pt x="1860" y="601"/>
                  <a:pt x="1860" y="602"/>
                </a:cubicBezTo>
                <a:cubicBezTo>
                  <a:pt x="1861" y="602"/>
                  <a:pt x="1861" y="602"/>
                  <a:pt x="1861" y="603"/>
                </a:cubicBezTo>
                <a:cubicBezTo>
                  <a:pt x="1861" y="603"/>
                  <a:pt x="1861" y="603"/>
                  <a:pt x="1861" y="604"/>
                </a:cubicBezTo>
                <a:cubicBezTo>
                  <a:pt x="1862" y="604"/>
                  <a:pt x="1862" y="605"/>
                  <a:pt x="1862" y="606"/>
                </a:cubicBezTo>
                <a:cubicBezTo>
                  <a:pt x="1861" y="606"/>
                  <a:pt x="1860" y="606"/>
                  <a:pt x="1860" y="606"/>
                </a:cubicBezTo>
                <a:cubicBezTo>
                  <a:pt x="1859" y="606"/>
                  <a:pt x="1859" y="606"/>
                  <a:pt x="1859" y="607"/>
                </a:cubicBezTo>
                <a:cubicBezTo>
                  <a:pt x="1858" y="607"/>
                  <a:pt x="1858" y="608"/>
                  <a:pt x="1858" y="608"/>
                </a:cubicBezTo>
                <a:cubicBezTo>
                  <a:pt x="1859" y="608"/>
                  <a:pt x="1860" y="608"/>
                  <a:pt x="1860" y="608"/>
                </a:cubicBezTo>
                <a:cubicBezTo>
                  <a:pt x="1861" y="608"/>
                  <a:pt x="1860" y="609"/>
                  <a:pt x="1860" y="610"/>
                </a:cubicBezTo>
                <a:cubicBezTo>
                  <a:pt x="1860" y="610"/>
                  <a:pt x="1861" y="611"/>
                  <a:pt x="1861" y="611"/>
                </a:cubicBezTo>
                <a:cubicBezTo>
                  <a:pt x="1861" y="612"/>
                  <a:pt x="1861" y="612"/>
                  <a:pt x="1861" y="612"/>
                </a:cubicBezTo>
                <a:cubicBezTo>
                  <a:pt x="1861" y="613"/>
                  <a:pt x="1862" y="613"/>
                  <a:pt x="1862" y="613"/>
                </a:cubicBezTo>
                <a:cubicBezTo>
                  <a:pt x="1863" y="614"/>
                  <a:pt x="1862" y="614"/>
                  <a:pt x="1863" y="614"/>
                </a:cubicBezTo>
                <a:cubicBezTo>
                  <a:pt x="1863" y="614"/>
                  <a:pt x="1864" y="614"/>
                  <a:pt x="1864" y="614"/>
                </a:cubicBezTo>
                <a:cubicBezTo>
                  <a:pt x="1864" y="615"/>
                  <a:pt x="1864" y="615"/>
                  <a:pt x="1864" y="615"/>
                </a:cubicBezTo>
                <a:cubicBezTo>
                  <a:pt x="1863" y="615"/>
                  <a:pt x="1863" y="615"/>
                  <a:pt x="1862" y="615"/>
                </a:cubicBezTo>
                <a:cubicBezTo>
                  <a:pt x="1862" y="615"/>
                  <a:pt x="1862" y="615"/>
                  <a:pt x="1861" y="615"/>
                </a:cubicBezTo>
                <a:cubicBezTo>
                  <a:pt x="1861" y="615"/>
                  <a:pt x="1860" y="615"/>
                  <a:pt x="1859" y="615"/>
                </a:cubicBezTo>
                <a:cubicBezTo>
                  <a:pt x="1859" y="615"/>
                  <a:pt x="1858" y="615"/>
                  <a:pt x="1858" y="615"/>
                </a:cubicBezTo>
                <a:cubicBezTo>
                  <a:pt x="1857" y="615"/>
                  <a:pt x="1857" y="616"/>
                  <a:pt x="1857" y="616"/>
                </a:cubicBezTo>
                <a:cubicBezTo>
                  <a:pt x="1857" y="617"/>
                  <a:pt x="1856" y="617"/>
                  <a:pt x="1857" y="618"/>
                </a:cubicBezTo>
                <a:cubicBezTo>
                  <a:pt x="1857" y="619"/>
                  <a:pt x="1857" y="619"/>
                  <a:pt x="1857" y="619"/>
                </a:cubicBezTo>
                <a:cubicBezTo>
                  <a:pt x="1857" y="619"/>
                  <a:pt x="1857" y="620"/>
                  <a:pt x="1857" y="620"/>
                </a:cubicBezTo>
                <a:cubicBezTo>
                  <a:pt x="1856" y="620"/>
                  <a:pt x="1856" y="619"/>
                  <a:pt x="1855" y="619"/>
                </a:cubicBezTo>
                <a:cubicBezTo>
                  <a:pt x="1855" y="619"/>
                  <a:pt x="1853" y="619"/>
                  <a:pt x="1853" y="620"/>
                </a:cubicBezTo>
                <a:cubicBezTo>
                  <a:pt x="1854" y="620"/>
                  <a:pt x="1855" y="620"/>
                  <a:pt x="1854" y="621"/>
                </a:cubicBezTo>
                <a:cubicBezTo>
                  <a:pt x="1854" y="621"/>
                  <a:pt x="1852" y="622"/>
                  <a:pt x="1852" y="621"/>
                </a:cubicBezTo>
                <a:cubicBezTo>
                  <a:pt x="1853" y="620"/>
                  <a:pt x="1853" y="620"/>
                  <a:pt x="1853" y="620"/>
                </a:cubicBezTo>
                <a:cubicBezTo>
                  <a:pt x="1853" y="619"/>
                  <a:pt x="1852" y="619"/>
                  <a:pt x="1852" y="619"/>
                </a:cubicBezTo>
                <a:cubicBezTo>
                  <a:pt x="1851" y="618"/>
                  <a:pt x="1850" y="618"/>
                  <a:pt x="1849" y="618"/>
                </a:cubicBezTo>
                <a:cubicBezTo>
                  <a:pt x="1848" y="617"/>
                  <a:pt x="1847" y="618"/>
                  <a:pt x="1845" y="618"/>
                </a:cubicBezTo>
                <a:cubicBezTo>
                  <a:pt x="1845" y="618"/>
                  <a:pt x="1844" y="618"/>
                  <a:pt x="1843" y="618"/>
                </a:cubicBezTo>
                <a:cubicBezTo>
                  <a:pt x="1843" y="618"/>
                  <a:pt x="1843" y="618"/>
                  <a:pt x="1843" y="618"/>
                </a:cubicBezTo>
                <a:cubicBezTo>
                  <a:pt x="1843" y="618"/>
                  <a:pt x="1842" y="618"/>
                  <a:pt x="1842" y="618"/>
                </a:cubicBezTo>
                <a:cubicBezTo>
                  <a:pt x="1842" y="618"/>
                  <a:pt x="1842" y="618"/>
                  <a:pt x="1842" y="619"/>
                </a:cubicBezTo>
                <a:cubicBezTo>
                  <a:pt x="1841" y="619"/>
                  <a:pt x="1841" y="619"/>
                  <a:pt x="1841" y="620"/>
                </a:cubicBezTo>
                <a:cubicBezTo>
                  <a:pt x="1840" y="620"/>
                  <a:pt x="1840" y="620"/>
                  <a:pt x="1840" y="621"/>
                </a:cubicBezTo>
                <a:cubicBezTo>
                  <a:pt x="1840" y="621"/>
                  <a:pt x="1840" y="621"/>
                  <a:pt x="1840" y="622"/>
                </a:cubicBezTo>
                <a:cubicBezTo>
                  <a:pt x="1840" y="622"/>
                  <a:pt x="1840" y="622"/>
                  <a:pt x="1840" y="622"/>
                </a:cubicBezTo>
                <a:cubicBezTo>
                  <a:pt x="1841" y="623"/>
                  <a:pt x="1841" y="623"/>
                  <a:pt x="1841" y="623"/>
                </a:cubicBezTo>
                <a:cubicBezTo>
                  <a:pt x="1841" y="623"/>
                  <a:pt x="1842" y="623"/>
                  <a:pt x="1842" y="623"/>
                </a:cubicBezTo>
                <a:cubicBezTo>
                  <a:pt x="1843" y="624"/>
                  <a:pt x="1841" y="625"/>
                  <a:pt x="1841" y="624"/>
                </a:cubicBezTo>
                <a:cubicBezTo>
                  <a:pt x="1841" y="624"/>
                  <a:pt x="1841" y="624"/>
                  <a:pt x="1841" y="624"/>
                </a:cubicBezTo>
                <a:cubicBezTo>
                  <a:pt x="1841" y="624"/>
                  <a:pt x="1841" y="624"/>
                  <a:pt x="1840" y="624"/>
                </a:cubicBezTo>
                <a:cubicBezTo>
                  <a:pt x="1840" y="624"/>
                  <a:pt x="1840" y="623"/>
                  <a:pt x="1840" y="623"/>
                </a:cubicBezTo>
                <a:cubicBezTo>
                  <a:pt x="1839" y="623"/>
                  <a:pt x="1839" y="623"/>
                  <a:pt x="1839" y="623"/>
                </a:cubicBezTo>
                <a:cubicBezTo>
                  <a:pt x="1838" y="622"/>
                  <a:pt x="1838" y="622"/>
                  <a:pt x="1838" y="622"/>
                </a:cubicBezTo>
                <a:cubicBezTo>
                  <a:pt x="1837" y="622"/>
                  <a:pt x="1837" y="622"/>
                  <a:pt x="1836" y="622"/>
                </a:cubicBezTo>
                <a:cubicBezTo>
                  <a:pt x="1836" y="622"/>
                  <a:pt x="1836" y="622"/>
                  <a:pt x="1835" y="622"/>
                </a:cubicBezTo>
                <a:cubicBezTo>
                  <a:pt x="1835" y="622"/>
                  <a:pt x="1834" y="622"/>
                  <a:pt x="1834" y="622"/>
                </a:cubicBezTo>
                <a:cubicBezTo>
                  <a:pt x="1833" y="622"/>
                  <a:pt x="1832" y="622"/>
                  <a:pt x="1831" y="622"/>
                </a:cubicBezTo>
                <a:cubicBezTo>
                  <a:pt x="1831" y="622"/>
                  <a:pt x="1830" y="622"/>
                  <a:pt x="1829" y="622"/>
                </a:cubicBezTo>
                <a:cubicBezTo>
                  <a:pt x="1828" y="622"/>
                  <a:pt x="1827" y="622"/>
                  <a:pt x="1826" y="622"/>
                </a:cubicBezTo>
                <a:cubicBezTo>
                  <a:pt x="1826" y="623"/>
                  <a:pt x="1825" y="623"/>
                  <a:pt x="1824" y="623"/>
                </a:cubicBezTo>
                <a:cubicBezTo>
                  <a:pt x="1823" y="624"/>
                  <a:pt x="1823" y="624"/>
                  <a:pt x="1822" y="625"/>
                </a:cubicBezTo>
                <a:cubicBezTo>
                  <a:pt x="1822" y="625"/>
                  <a:pt x="1821" y="626"/>
                  <a:pt x="1821" y="626"/>
                </a:cubicBezTo>
                <a:cubicBezTo>
                  <a:pt x="1820" y="627"/>
                  <a:pt x="1820" y="627"/>
                  <a:pt x="1820" y="628"/>
                </a:cubicBezTo>
                <a:cubicBezTo>
                  <a:pt x="1819" y="628"/>
                  <a:pt x="1818" y="629"/>
                  <a:pt x="1818" y="629"/>
                </a:cubicBezTo>
                <a:cubicBezTo>
                  <a:pt x="1817" y="629"/>
                  <a:pt x="1817" y="630"/>
                  <a:pt x="1816" y="630"/>
                </a:cubicBezTo>
                <a:cubicBezTo>
                  <a:pt x="1816" y="630"/>
                  <a:pt x="1815" y="629"/>
                  <a:pt x="1815" y="630"/>
                </a:cubicBezTo>
                <a:cubicBezTo>
                  <a:pt x="1814" y="630"/>
                  <a:pt x="1814" y="630"/>
                  <a:pt x="1814" y="630"/>
                </a:cubicBezTo>
                <a:cubicBezTo>
                  <a:pt x="1813" y="631"/>
                  <a:pt x="1813" y="631"/>
                  <a:pt x="1813" y="632"/>
                </a:cubicBezTo>
                <a:cubicBezTo>
                  <a:pt x="1813" y="632"/>
                  <a:pt x="1813" y="633"/>
                  <a:pt x="1813" y="634"/>
                </a:cubicBezTo>
                <a:cubicBezTo>
                  <a:pt x="1813" y="634"/>
                  <a:pt x="1812" y="634"/>
                  <a:pt x="1812" y="635"/>
                </a:cubicBezTo>
                <a:cubicBezTo>
                  <a:pt x="1812" y="635"/>
                  <a:pt x="1812" y="636"/>
                  <a:pt x="1812" y="636"/>
                </a:cubicBezTo>
                <a:cubicBezTo>
                  <a:pt x="1812" y="637"/>
                  <a:pt x="1811" y="638"/>
                  <a:pt x="1810" y="639"/>
                </a:cubicBezTo>
                <a:cubicBezTo>
                  <a:pt x="1810" y="640"/>
                  <a:pt x="1809" y="641"/>
                  <a:pt x="1809" y="641"/>
                </a:cubicBezTo>
                <a:cubicBezTo>
                  <a:pt x="1809" y="642"/>
                  <a:pt x="1808" y="642"/>
                  <a:pt x="1808" y="643"/>
                </a:cubicBezTo>
                <a:cubicBezTo>
                  <a:pt x="1807" y="644"/>
                  <a:pt x="1805" y="645"/>
                  <a:pt x="1806" y="646"/>
                </a:cubicBezTo>
                <a:cubicBezTo>
                  <a:pt x="1807" y="646"/>
                  <a:pt x="1807" y="647"/>
                  <a:pt x="1807" y="647"/>
                </a:cubicBezTo>
                <a:cubicBezTo>
                  <a:pt x="1808" y="647"/>
                  <a:pt x="1808" y="647"/>
                  <a:pt x="1808" y="647"/>
                </a:cubicBezTo>
                <a:cubicBezTo>
                  <a:pt x="1808" y="647"/>
                  <a:pt x="1809" y="647"/>
                  <a:pt x="1809" y="648"/>
                </a:cubicBezTo>
                <a:cubicBezTo>
                  <a:pt x="1809" y="648"/>
                  <a:pt x="1810" y="648"/>
                  <a:pt x="1810" y="648"/>
                </a:cubicBezTo>
                <a:cubicBezTo>
                  <a:pt x="1811" y="648"/>
                  <a:pt x="1809" y="649"/>
                  <a:pt x="1809" y="649"/>
                </a:cubicBezTo>
                <a:cubicBezTo>
                  <a:pt x="1808" y="649"/>
                  <a:pt x="1808" y="649"/>
                  <a:pt x="1808" y="649"/>
                </a:cubicBezTo>
                <a:cubicBezTo>
                  <a:pt x="1808" y="649"/>
                  <a:pt x="1808" y="649"/>
                  <a:pt x="1808" y="649"/>
                </a:cubicBezTo>
                <a:cubicBezTo>
                  <a:pt x="1807" y="649"/>
                  <a:pt x="1807" y="650"/>
                  <a:pt x="1807" y="650"/>
                </a:cubicBezTo>
                <a:cubicBezTo>
                  <a:pt x="1806" y="649"/>
                  <a:pt x="1806" y="649"/>
                  <a:pt x="1806" y="649"/>
                </a:cubicBezTo>
                <a:cubicBezTo>
                  <a:pt x="1806" y="648"/>
                  <a:pt x="1806" y="648"/>
                  <a:pt x="1805" y="648"/>
                </a:cubicBezTo>
                <a:cubicBezTo>
                  <a:pt x="1804" y="648"/>
                  <a:pt x="1804" y="647"/>
                  <a:pt x="1803" y="648"/>
                </a:cubicBezTo>
                <a:cubicBezTo>
                  <a:pt x="1802" y="648"/>
                  <a:pt x="1802" y="648"/>
                  <a:pt x="1803" y="649"/>
                </a:cubicBezTo>
                <a:cubicBezTo>
                  <a:pt x="1803" y="649"/>
                  <a:pt x="1804" y="648"/>
                  <a:pt x="1804" y="649"/>
                </a:cubicBezTo>
                <a:cubicBezTo>
                  <a:pt x="1804" y="649"/>
                  <a:pt x="1804" y="649"/>
                  <a:pt x="1805" y="649"/>
                </a:cubicBezTo>
                <a:cubicBezTo>
                  <a:pt x="1805" y="649"/>
                  <a:pt x="1805" y="649"/>
                  <a:pt x="1805" y="649"/>
                </a:cubicBezTo>
                <a:cubicBezTo>
                  <a:pt x="1805" y="650"/>
                  <a:pt x="1806" y="650"/>
                  <a:pt x="1806" y="650"/>
                </a:cubicBezTo>
                <a:cubicBezTo>
                  <a:pt x="1806" y="650"/>
                  <a:pt x="1806" y="650"/>
                  <a:pt x="1807" y="650"/>
                </a:cubicBezTo>
                <a:cubicBezTo>
                  <a:pt x="1807" y="650"/>
                  <a:pt x="1807" y="650"/>
                  <a:pt x="1808" y="651"/>
                </a:cubicBezTo>
                <a:cubicBezTo>
                  <a:pt x="1808" y="651"/>
                  <a:pt x="1808" y="651"/>
                  <a:pt x="1808" y="652"/>
                </a:cubicBezTo>
                <a:cubicBezTo>
                  <a:pt x="1808" y="652"/>
                  <a:pt x="1807" y="652"/>
                  <a:pt x="1807" y="652"/>
                </a:cubicBezTo>
                <a:cubicBezTo>
                  <a:pt x="1806" y="651"/>
                  <a:pt x="1806" y="651"/>
                  <a:pt x="1805" y="651"/>
                </a:cubicBezTo>
                <a:cubicBezTo>
                  <a:pt x="1805" y="651"/>
                  <a:pt x="1805" y="651"/>
                  <a:pt x="1805" y="651"/>
                </a:cubicBezTo>
                <a:cubicBezTo>
                  <a:pt x="1804" y="650"/>
                  <a:pt x="1804" y="650"/>
                  <a:pt x="1804" y="650"/>
                </a:cubicBezTo>
                <a:cubicBezTo>
                  <a:pt x="1803" y="650"/>
                  <a:pt x="1802" y="650"/>
                  <a:pt x="1801" y="650"/>
                </a:cubicBezTo>
                <a:cubicBezTo>
                  <a:pt x="1800" y="650"/>
                  <a:pt x="1799" y="650"/>
                  <a:pt x="1799" y="651"/>
                </a:cubicBezTo>
                <a:cubicBezTo>
                  <a:pt x="1799" y="651"/>
                  <a:pt x="1800" y="651"/>
                  <a:pt x="1800" y="651"/>
                </a:cubicBezTo>
                <a:cubicBezTo>
                  <a:pt x="1800" y="651"/>
                  <a:pt x="1800" y="652"/>
                  <a:pt x="1800" y="652"/>
                </a:cubicBezTo>
                <a:cubicBezTo>
                  <a:pt x="1800" y="652"/>
                  <a:pt x="1801" y="652"/>
                  <a:pt x="1801" y="652"/>
                </a:cubicBezTo>
                <a:cubicBezTo>
                  <a:pt x="1802" y="652"/>
                  <a:pt x="1803" y="652"/>
                  <a:pt x="1803" y="652"/>
                </a:cubicBezTo>
                <a:cubicBezTo>
                  <a:pt x="1804" y="652"/>
                  <a:pt x="1804" y="652"/>
                  <a:pt x="1805" y="652"/>
                </a:cubicBezTo>
                <a:cubicBezTo>
                  <a:pt x="1805" y="652"/>
                  <a:pt x="1805" y="652"/>
                  <a:pt x="1806" y="652"/>
                </a:cubicBezTo>
                <a:cubicBezTo>
                  <a:pt x="1806" y="652"/>
                  <a:pt x="1806" y="652"/>
                  <a:pt x="1806" y="653"/>
                </a:cubicBezTo>
                <a:cubicBezTo>
                  <a:pt x="1807" y="653"/>
                  <a:pt x="1808" y="653"/>
                  <a:pt x="1808" y="654"/>
                </a:cubicBezTo>
                <a:cubicBezTo>
                  <a:pt x="1808" y="653"/>
                  <a:pt x="1807" y="653"/>
                  <a:pt x="1806" y="653"/>
                </a:cubicBezTo>
                <a:cubicBezTo>
                  <a:pt x="1805" y="653"/>
                  <a:pt x="1805" y="653"/>
                  <a:pt x="1804" y="653"/>
                </a:cubicBezTo>
                <a:cubicBezTo>
                  <a:pt x="1803" y="653"/>
                  <a:pt x="1802" y="653"/>
                  <a:pt x="1802" y="653"/>
                </a:cubicBezTo>
                <a:cubicBezTo>
                  <a:pt x="1801" y="653"/>
                  <a:pt x="1801" y="653"/>
                  <a:pt x="1800" y="653"/>
                </a:cubicBezTo>
                <a:cubicBezTo>
                  <a:pt x="1800" y="653"/>
                  <a:pt x="1800" y="653"/>
                  <a:pt x="1799" y="653"/>
                </a:cubicBezTo>
                <a:cubicBezTo>
                  <a:pt x="1799" y="653"/>
                  <a:pt x="1799" y="653"/>
                  <a:pt x="1799" y="653"/>
                </a:cubicBezTo>
                <a:cubicBezTo>
                  <a:pt x="1799" y="653"/>
                  <a:pt x="1798" y="653"/>
                  <a:pt x="1798" y="653"/>
                </a:cubicBezTo>
                <a:cubicBezTo>
                  <a:pt x="1798" y="653"/>
                  <a:pt x="1797" y="653"/>
                  <a:pt x="1797" y="653"/>
                </a:cubicBezTo>
                <a:cubicBezTo>
                  <a:pt x="1797" y="653"/>
                  <a:pt x="1797" y="654"/>
                  <a:pt x="1796" y="654"/>
                </a:cubicBezTo>
                <a:cubicBezTo>
                  <a:pt x="1796" y="654"/>
                  <a:pt x="1795" y="654"/>
                  <a:pt x="1795" y="654"/>
                </a:cubicBezTo>
                <a:cubicBezTo>
                  <a:pt x="1794" y="655"/>
                  <a:pt x="1793" y="655"/>
                  <a:pt x="1793" y="656"/>
                </a:cubicBezTo>
                <a:cubicBezTo>
                  <a:pt x="1792" y="656"/>
                  <a:pt x="1791" y="656"/>
                  <a:pt x="1790" y="657"/>
                </a:cubicBezTo>
                <a:cubicBezTo>
                  <a:pt x="1790" y="657"/>
                  <a:pt x="1789" y="657"/>
                  <a:pt x="1788" y="657"/>
                </a:cubicBezTo>
                <a:cubicBezTo>
                  <a:pt x="1787" y="658"/>
                  <a:pt x="1787" y="658"/>
                  <a:pt x="1786" y="658"/>
                </a:cubicBezTo>
                <a:cubicBezTo>
                  <a:pt x="1785" y="658"/>
                  <a:pt x="1785" y="659"/>
                  <a:pt x="1784" y="659"/>
                </a:cubicBezTo>
                <a:cubicBezTo>
                  <a:pt x="1784" y="659"/>
                  <a:pt x="1783" y="659"/>
                  <a:pt x="1782" y="659"/>
                </a:cubicBezTo>
                <a:cubicBezTo>
                  <a:pt x="1782" y="659"/>
                  <a:pt x="1781" y="660"/>
                  <a:pt x="1780" y="660"/>
                </a:cubicBezTo>
                <a:cubicBezTo>
                  <a:pt x="1780" y="660"/>
                  <a:pt x="1779" y="660"/>
                  <a:pt x="1778" y="661"/>
                </a:cubicBezTo>
                <a:cubicBezTo>
                  <a:pt x="1778" y="661"/>
                  <a:pt x="1778" y="662"/>
                  <a:pt x="1778" y="663"/>
                </a:cubicBezTo>
                <a:cubicBezTo>
                  <a:pt x="1778" y="664"/>
                  <a:pt x="1777" y="665"/>
                  <a:pt x="1778" y="665"/>
                </a:cubicBezTo>
                <a:cubicBezTo>
                  <a:pt x="1778" y="666"/>
                  <a:pt x="1778" y="666"/>
                  <a:pt x="1778" y="666"/>
                </a:cubicBezTo>
                <a:cubicBezTo>
                  <a:pt x="1778" y="667"/>
                  <a:pt x="1778" y="667"/>
                  <a:pt x="1778" y="668"/>
                </a:cubicBezTo>
                <a:cubicBezTo>
                  <a:pt x="1778" y="668"/>
                  <a:pt x="1778" y="668"/>
                  <a:pt x="1778" y="669"/>
                </a:cubicBezTo>
                <a:cubicBezTo>
                  <a:pt x="1778" y="669"/>
                  <a:pt x="1778" y="669"/>
                  <a:pt x="1778" y="670"/>
                </a:cubicBezTo>
                <a:cubicBezTo>
                  <a:pt x="1779" y="671"/>
                  <a:pt x="1778" y="671"/>
                  <a:pt x="1778" y="672"/>
                </a:cubicBezTo>
                <a:cubicBezTo>
                  <a:pt x="1777" y="672"/>
                  <a:pt x="1777" y="672"/>
                  <a:pt x="1776" y="672"/>
                </a:cubicBezTo>
                <a:cubicBezTo>
                  <a:pt x="1776" y="672"/>
                  <a:pt x="1775" y="673"/>
                  <a:pt x="1775" y="673"/>
                </a:cubicBezTo>
                <a:cubicBezTo>
                  <a:pt x="1774" y="674"/>
                  <a:pt x="1773" y="674"/>
                  <a:pt x="1772" y="675"/>
                </a:cubicBezTo>
                <a:cubicBezTo>
                  <a:pt x="1772" y="675"/>
                  <a:pt x="1771" y="675"/>
                  <a:pt x="1771" y="675"/>
                </a:cubicBezTo>
                <a:cubicBezTo>
                  <a:pt x="1770" y="675"/>
                  <a:pt x="1769" y="675"/>
                  <a:pt x="1769" y="676"/>
                </a:cubicBezTo>
                <a:cubicBezTo>
                  <a:pt x="1768" y="676"/>
                  <a:pt x="1767" y="676"/>
                  <a:pt x="1766" y="676"/>
                </a:cubicBezTo>
                <a:cubicBezTo>
                  <a:pt x="1766" y="676"/>
                  <a:pt x="1765" y="677"/>
                  <a:pt x="1764" y="677"/>
                </a:cubicBezTo>
                <a:cubicBezTo>
                  <a:pt x="1763" y="677"/>
                  <a:pt x="1763" y="678"/>
                  <a:pt x="1762" y="678"/>
                </a:cubicBezTo>
                <a:cubicBezTo>
                  <a:pt x="1761" y="679"/>
                  <a:pt x="1761" y="680"/>
                  <a:pt x="1761" y="680"/>
                </a:cubicBezTo>
                <a:cubicBezTo>
                  <a:pt x="1760" y="683"/>
                  <a:pt x="1764" y="681"/>
                  <a:pt x="1764" y="682"/>
                </a:cubicBezTo>
                <a:cubicBezTo>
                  <a:pt x="1764" y="682"/>
                  <a:pt x="1763" y="682"/>
                  <a:pt x="1763" y="682"/>
                </a:cubicBezTo>
                <a:cubicBezTo>
                  <a:pt x="1763" y="682"/>
                  <a:pt x="1762" y="682"/>
                  <a:pt x="1762" y="683"/>
                </a:cubicBezTo>
                <a:cubicBezTo>
                  <a:pt x="1760" y="684"/>
                  <a:pt x="1758" y="685"/>
                  <a:pt x="1755" y="684"/>
                </a:cubicBezTo>
                <a:cubicBezTo>
                  <a:pt x="1754" y="684"/>
                  <a:pt x="1754" y="684"/>
                  <a:pt x="1753" y="684"/>
                </a:cubicBezTo>
                <a:cubicBezTo>
                  <a:pt x="1752" y="684"/>
                  <a:pt x="1751" y="684"/>
                  <a:pt x="1750" y="684"/>
                </a:cubicBezTo>
                <a:cubicBezTo>
                  <a:pt x="1749" y="684"/>
                  <a:pt x="1749" y="684"/>
                  <a:pt x="1748" y="683"/>
                </a:cubicBezTo>
                <a:cubicBezTo>
                  <a:pt x="1747" y="683"/>
                  <a:pt x="1747" y="683"/>
                  <a:pt x="1747" y="683"/>
                </a:cubicBezTo>
                <a:cubicBezTo>
                  <a:pt x="1747" y="683"/>
                  <a:pt x="1747" y="682"/>
                  <a:pt x="1746" y="682"/>
                </a:cubicBezTo>
                <a:cubicBezTo>
                  <a:pt x="1746" y="681"/>
                  <a:pt x="1745" y="681"/>
                  <a:pt x="1745" y="680"/>
                </a:cubicBezTo>
                <a:cubicBezTo>
                  <a:pt x="1745" y="680"/>
                  <a:pt x="1745" y="680"/>
                  <a:pt x="1745" y="679"/>
                </a:cubicBezTo>
                <a:cubicBezTo>
                  <a:pt x="1745" y="679"/>
                  <a:pt x="1746" y="679"/>
                  <a:pt x="1746" y="679"/>
                </a:cubicBezTo>
                <a:cubicBezTo>
                  <a:pt x="1745" y="678"/>
                  <a:pt x="1745" y="678"/>
                  <a:pt x="1744" y="678"/>
                </a:cubicBezTo>
                <a:cubicBezTo>
                  <a:pt x="1744" y="678"/>
                  <a:pt x="1744" y="678"/>
                  <a:pt x="1743" y="678"/>
                </a:cubicBezTo>
                <a:cubicBezTo>
                  <a:pt x="1743" y="678"/>
                  <a:pt x="1742" y="679"/>
                  <a:pt x="1742" y="679"/>
                </a:cubicBezTo>
                <a:cubicBezTo>
                  <a:pt x="1741" y="679"/>
                  <a:pt x="1741" y="679"/>
                  <a:pt x="1741" y="679"/>
                </a:cubicBezTo>
                <a:cubicBezTo>
                  <a:pt x="1740" y="678"/>
                  <a:pt x="1740" y="679"/>
                  <a:pt x="1740" y="679"/>
                </a:cubicBezTo>
                <a:cubicBezTo>
                  <a:pt x="1739" y="678"/>
                  <a:pt x="1738" y="678"/>
                  <a:pt x="1737" y="678"/>
                </a:cubicBezTo>
                <a:cubicBezTo>
                  <a:pt x="1737" y="678"/>
                  <a:pt x="1738" y="679"/>
                  <a:pt x="1738" y="679"/>
                </a:cubicBezTo>
                <a:cubicBezTo>
                  <a:pt x="1738" y="679"/>
                  <a:pt x="1739" y="679"/>
                  <a:pt x="1739" y="680"/>
                </a:cubicBezTo>
                <a:cubicBezTo>
                  <a:pt x="1739" y="680"/>
                  <a:pt x="1739" y="680"/>
                  <a:pt x="1739" y="681"/>
                </a:cubicBezTo>
                <a:cubicBezTo>
                  <a:pt x="1739" y="681"/>
                  <a:pt x="1739" y="681"/>
                  <a:pt x="1740" y="682"/>
                </a:cubicBezTo>
                <a:cubicBezTo>
                  <a:pt x="1740" y="682"/>
                  <a:pt x="1740" y="682"/>
                  <a:pt x="1740" y="683"/>
                </a:cubicBezTo>
                <a:cubicBezTo>
                  <a:pt x="1740" y="683"/>
                  <a:pt x="1740" y="683"/>
                  <a:pt x="1741" y="684"/>
                </a:cubicBezTo>
                <a:cubicBezTo>
                  <a:pt x="1741" y="684"/>
                  <a:pt x="1741" y="685"/>
                  <a:pt x="1742" y="686"/>
                </a:cubicBezTo>
                <a:cubicBezTo>
                  <a:pt x="1742" y="686"/>
                  <a:pt x="1742" y="687"/>
                  <a:pt x="1743" y="688"/>
                </a:cubicBezTo>
                <a:cubicBezTo>
                  <a:pt x="1743" y="689"/>
                  <a:pt x="1743" y="689"/>
                  <a:pt x="1743" y="690"/>
                </a:cubicBezTo>
                <a:cubicBezTo>
                  <a:pt x="1743" y="691"/>
                  <a:pt x="1742" y="691"/>
                  <a:pt x="1743" y="692"/>
                </a:cubicBezTo>
                <a:cubicBezTo>
                  <a:pt x="1743" y="692"/>
                  <a:pt x="1743" y="692"/>
                  <a:pt x="1743" y="692"/>
                </a:cubicBezTo>
                <a:cubicBezTo>
                  <a:pt x="1744" y="693"/>
                  <a:pt x="1744" y="694"/>
                  <a:pt x="1743" y="694"/>
                </a:cubicBezTo>
                <a:cubicBezTo>
                  <a:pt x="1743" y="694"/>
                  <a:pt x="1742" y="693"/>
                  <a:pt x="1742" y="693"/>
                </a:cubicBezTo>
                <a:cubicBezTo>
                  <a:pt x="1741" y="694"/>
                  <a:pt x="1741" y="694"/>
                  <a:pt x="1741" y="693"/>
                </a:cubicBezTo>
                <a:cubicBezTo>
                  <a:pt x="1740" y="693"/>
                  <a:pt x="1738" y="692"/>
                  <a:pt x="1738" y="693"/>
                </a:cubicBezTo>
                <a:cubicBezTo>
                  <a:pt x="1738" y="693"/>
                  <a:pt x="1738" y="694"/>
                  <a:pt x="1737" y="694"/>
                </a:cubicBezTo>
                <a:cubicBezTo>
                  <a:pt x="1737" y="695"/>
                  <a:pt x="1736" y="694"/>
                  <a:pt x="1735" y="694"/>
                </a:cubicBezTo>
                <a:cubicBezTo>
                  <a:pt x="1735" y="694"/>
                  <a:pt x="1734" y="694"/>
                  <a:pt x="1734" y="694"/>
                </a:cubicBezTo>
                <a:cubicBezTo>
                  <a:pt x="1734" y="695"/>
                  <a:pt x="1733" y="694"/>
                  <a:pt x="1733" y="695"/>
                </a:cubicBezTo>
                <a:cubicBezTo>
                  <a:pt x="1732" y="695"/>
                  <a:pt x="1732" y="695"/>
                  <a:pt x="1732" y="695"/>
                </a:cubicBezTo>
                <a:cubicBezTo>
                  <a:pt x="1732" y="695"/>
                  <a:pt x="1731" y="695"/>
                  <a:pt x="1731" y="695"/>
                </a:cubicBezTo>
                <a:cubicBezTo>
                  <a:pt x="1730" y="695"/>
                  <a:pt x="1729" y="696"/>
                  <a:pt x="1729" y="695"/>
                </a:cubicBezTo>
                <a:cubicBezTo>
                  <a:pt x="1728" y="694"/>
                  <a:pt x="1728" y="694"/>
                  <a:pt x="1727" y="693"/>
                </a:cubicBezTo>
                <a:cubicBezTo>
                  <a:pt x="1727" y="693"/>
                  <a:pt x="1726" y="692"/>
                  <a:pt x="1726" y="692"/>
                </a:cubicBezTo>
                <a:cubicBezTo>
                  <a:pt x="1725" y="691"/>
                  <a:pt x="1725" y="690"/>
                  <a:pt x="1724" y="691"/>
                </a:cubicBezTo>
                <a:cubicBezTo>
                  <a:pt x="1723" y="691"/>
                  <a:pt x="1723" y="691"/>
                  <a:pt x="1722" y="692"/>
                </a:cubicBezTo>
                <a:cubicBezTo>
                  <a:pt x="1722" y="692"/>
                  <a:pt x="1721" y="692"/>
                  <a:pt x="1721" y="692"/>
                </a:cubicBezTo>
                <a:cubicBezTo>
                  <a:pt x="1721" y="692"/>
                  <a:pt x="1720" y="692"/>
                  <a:pt x="1720" y="692"/>
                </a:cubicBezTo>
                <a:cubicBezTo>
                  <a:pt x="1720" y="693"/>
                  <a:pt x="1719" y="693"/>
                  <a:pt x="1719" y="693"/>
                </a:cubicBezTo>
                <a:cubicBezTo>
                  <a:pt x="1718" y="693"/>
                  <a:pt x="1718" y="693"/>
                  <a:pt x="1718" y="693"/>
                </a:cubicBezTo>
                <a:cubicBezTo>
                  <a:pt x="1717" y="694"/>
                  <a:pt x="1716" y="694"/>
                  <a:pt x="1715" y="694"/>
                </a:cubicBezTo>
                <a:cubicBezTo>
                  <a:pt x="1714" y="694"/>
                  <a:pt x="1712" y="694"/>
                  <a:pt x="1711" y="695"/>
                </a:cubicBezTo>
                <a:cubicBezTo>
                  <a:pt x="1710" y="695"/>
                  <a:pt x="1709" y="695"/>
                  <a:pt x="1708" y="695"/>
                </a:cubicBezTo>
                <a:cubicBezTo>
                  <a:pt x="1707" y="695"/>
                  <a:pt x="1707" y="696"/>
                  <a:pt x="1706" y="696"/>
                </a:cubicBezTo>
                <a:cubicBezTo>
                  <a:pt x="1705" y="696"/>
                  <a:pt x="1706" y="697"/>
                  <a:pt x="1706" y="697"/>
                </a:cubicBezTo>
                <a:cubicBezTo>
                  <a:pt x="1706" y="698"/>
                  <a:pt x="1705" y="698"/>
                  <a:pt x="1706" y="698"/>
                </a:cubicBezTo>
                <a:cubicBezTo>
                  <a:pt x="1706" y="699"/>
                  <a:pt x="1707" y="698"/>
                  <a:pt x="1707" y="698"/>
                </a:cubicBezTo>
                <a:cubicBezTo>
                  <a:pt x="1707" y="698"/>
                  <a:pt x="1708" y="699"/>
                  <a:pt x="1708" y="698"/>
                </a:cubicBezTo>
                <a:cubicBezTo>
                  <a:pt x="1709" y="698"/>
                  <a:pt x="1709" y="698"/>
                  <a:pt x="1709" y="698"/>
                </a:cubicBezTo>
                <a:cubicBezTo>
                  <a:pt x="1709" y="698"/>
                  <a:pt x="1710" y="698"/>
                  <a:pt x="1710" y="698"/>
                </a:cubicBezTo>
                <a:cubicBezTo>
                  <a:pt x="1710" y="698"/>
                  <a:pt x="1710" y="699"/>
                  <a:pt x="1710" y="699"/>
                </a:cubicBezTo>
                <a:cubicBezTo>
                  <a:pt x="1710" y="699"/>
                  <a:pt x="1709" y="699"/>
                  <a:pt x="1709" y="699"/>
                </a:cubicBezTo>
                <a:cubicBezTo>
                  <a:pt x="1709" y="699"/>
                  <a:pt x="1709" y="699"/>
                  <a:pt x="1708" y="699"/>
                </a:cubicBezTo>
                <a:cubicBezTo>
                  <a:pt x="1708" y="699"/>
                  <a:pt x="1707" y="699"/>
                  <a:pt x="1707" y="699"/>
                </a:cubicBezTo>
                <a:cubicBezTo>
                  <a:pt x="1707" y="700"/>
                  <a:pt x="1708" y="700"/>
                  <a:pt x="1708" y="700"/>
                </a:cubicBezTo>
                <a:cubicBezTo>
                  <a:pt x="1708" y="700"/>
                  <a:pt x="1708" y="700"/>
                  <a:pt x="1708" y="701"/>
                </a:cubicBezTo>
                <a:cubicBezTo>
                  <a:pt x="1708" y="701"/>
                  <a:pt x="1708" y="701"/>
                  <a:pt x="1708" y="701"/>
                </a:cubicBezTo>
                <a:cubicBezTo>
                  <a:pt x="1709" y="700"/>
                  <a:pt x="1709" y="699"/>
                  <a:pt x="1710" y="700"/>
                </a:cubicBezTo>
                <a:cubicBezTo>
                  <a:pt x="1710" y="701"/>
                  <a:pt x="1710" y="702"/>
                  <a:pt x="1709" y="702"/>
                </a:cubicBezTo>
                <a:cubicBezTo>
                  <a:pt x="1709" y="702"/>
                  <a:pt x="1709" y="702"/>
                  <a:pt x="1708" y="702"/>
                </a:cubicBezTo>
                <a:cubicBezTo>
                  <a:pt x="1708" y="702"/>
                  <a:pt x="1708" y="702"/>
                  <a:pt x="1707" y="702"/>
                </a:cubicBezTo>
                <a:cubicBezTo>
                  <a:pt x="1707" y="702"/>
                  <a:pt x="1706" y="702"/>
                  <a:pt x="1706" y="702"/>
                </a:cubicBezTo>
                <a:cubicBezTo>
                  <a:pt x="1705" y="703"/>
                  <a:pt x="1706" y="703"/>
                  <a:pt x="1707" y="703"/>
                </a:cubicBezTo>
                <a:cubicBezTo>
                  <a:pt x="1707" y="703"/>
                  <a:pt x="1707" y="704"/>
                  <a:pt x="1708" y="704"/>
                </a:cubicBezTo>
                <a:cubicBezTo>
                  <a:pt x="1709" y="705"/>
                  <a:pt x="1709" y="705"/>
                  <a:pt x="1710" y="706"/>
                </a:cubicBezTo>
                <a:cubicBezTo>
                  <a:pt x="1710" y="706"/>
                  <a:pt x="1710" y="706"/>
                  <a:pt x="1711" y="706"/>
                </a:cubicBezTo>
                <a:cubicBezTo>
                  <a:pt x="1711" y="706"/>
                  <a:pt x="1711" y="706"/>
                  <a:pt x="1712" y="705"/>
                </a:cubicBezTo>
                <a:cubicBezTo>
                  <a:pt x="1712" y="705"/>
                  <a:pt x="1713" y="705"/>
                  <a:pt x="1714" y="705"/>
                </a:cubicBezTo>
                <a:cubicBezTo>
                  <a:pt x="1714" y="705"/>
                  <a:pt x="1715" y="705"/>
                  <a:pt x="1716" y="705"/>
                </a:cubicBezTo>
                <a:cubicBezTo>
                  <a:pt x="1716" y="705"/>
                  <a:pt x="1717" y="705"/>
                  <a:pt x="1717" y="705"/>
                </a:cubicBezTo>
                <a:cubicBezTo>
                  <a:pt x="1717" y="706"/>
                  <a:pt x="1718" y="706"/>
                  <a:pt x="1718" y="706"/>
                </a:cubicBezTo>
                <a:cubicBezTo>
                  <a:pt x="1719" y="706"/>
                  <a:pt x="1719" y="707"/>
                  <a:pt x="1720" y="707"/>
                </a:cubicBezTo>
                <a:cubicBezTo>
                  <a:pt x="1721" y="708"/>
                  <a:pt x="1722" y="708"/>
                  <a:pt x="1722" y="708"/>
                </a:cubicBezTo>
                <a:cubicBezTo>
                  <a:pt x="1723" y="709"/>
                  <a:pt x="1723" y="709"/>
                  <a:pt x="1724" y="710"/>
                </a:cubicBezTo>
                <a:cubicBezTo>
                  <a:pt x="1724" y="711"/>
                  <a:pt x="1725" y="710"/>
                  <a:pt x="1725" y="709"/>
                </a:cubicBezTo>
                <a:cubicBezTo>
                  <a:pt x="1725" y="709"/>
                  <a:pt x="1726" y="709"/>
                  <a:pt x="1726" y="709"/>
                </a:cubicBezTo>
                <a:cubicBezTo>
                  <a:pt x="1727" y="709"/>
                  <a:pt x="1727" y="709"/>
                  <a:pt x="1727" y="709"/>
                </a:cubicBezTo>
                <a:cubicBezTo>
                  <a:pt x="1728" y="709"/>
                  <a:pt x="1728" y="710"/>
                  <a:pt x="1729" y="710"/>
                </a:cubicBezTo>
                <a:cubicBezTo>
                  <a:pt x="1730" y="710"/>
                  <a:pt x="1730" y="710"/>
                  <a:pt x="1731" y="711"/>
                </a:cubicBezTo>
                <a:cubicBezTo>
                  <a:pt x="1732" y="711"/>
                  <a:pt x="1731" y="712"/>
                  <a:pt x="1731" y="713"/>
                </a:cubicBezTo>
                <a:cubicBezTo>
                  <a:pt x="1731" y="713"/>
                  <a:pt x="1732" y="713"/>
                  <a:pt x="1732" y="713"/>
                </a:cubicBezTo>
                <a:cubicBezTo>
                  <a:pt x="1733" y="714"/>
                  <a:pt x="1734" y="714"/>
                  <a:pt x="1735" y="714"/>
                </a:cubicBezTo>
                <a:cubicBezTo>
                  <a:pt x="1736" y="715"/>
                  <a:pt x="1734" y="715"/>
                  <a:pt x="1734" y="716"/>
                </a:cubicBezTo>
                <a:cubicBezTo>
                  <a:pt x="1735" y="716"/>
                  <a:pt x="1735" y="716"/>
                  <a:pt x="1735" y="716"/>
                </a:cubicBezTo>
                <a:cubicBezTo>
                  <a:pt x="1735" y="716"/>
                  <a:pt x="1735" y="716"/>
                  <a:pt x="1735" y="716"/>
                </a:cubicBezTo>
                <a:cubicBezTo>
                  <a:pt x="1736" y="717"/>
                  <a:pt x="1736" y="717"/>
                  <a:pt x="1736" y="717"/>
                </a:cubicBezTo>
                <a:cubicBezTo>
                  <a:pt x="1737" y="717"/>
                  <a:pt x="1737" y="717"/>
                  <a:pt x="1737" y="718"/>
                </a:cubicBezTo>
                <a:cubicBezTo>
                  <a:pt x="1737" y="718"/>
                  <a:pt x="1737" y="718"/>
                  <a:pt x="1736" y="718"/>
                </a:cubicBezTo>
                <a:cubicBezTo>
                  <a:pt x="1736" y="718"/>
                  <a:pt x="1736" y="718"/>
                  <a:pt x="1736" y="719"/>
                </a:cubicBezTo>
                <a:cubicBezTo>
                  <a:pt x="1736" y="719"/>
                  <a:pt x="1735" y="719"/>
                  <a:pt x="1736" y="720"/>
                </a:cubicBezTo>
                <a:cubicBezTo>
                  <a:pt x="1736" y="720"/>
                  <a:pt x="1736" y="720"/>
                  <a:pt x="1736" y="721"/>
                </a:cubicBezTo>
                <a:cubicBezTo>
                  <a:pt x="1736" y="721"/>
                  <a:pt x="1736" y="722"/>
                  <a:pt x="1737" y="722"/>
                </a:cubicBezTo>
                <a:cubicBezTo>
                  <a:pt x="1738" y="722"/>
                  <a:pt x="1738" y="722"/>
                  <a:pt x="1739" y="723"/>
                </a:cubicBezTo>
                <a:cubicBezTo>
                  <a:pt x="1739" y="724"/>
                  <a:pt x="1739" y="725"/>
                  <a:pt x="1739" y="725"/>
                </a:cubicBezTo>
                <a:cubicBezTo>
                  <a:pt x="1740" y="725"/>
                  <a:pt x="1740" y="725"/>
                  <a:pt x="1741" y="726"/>
                </a:cubicBezTo>
                <a:cubicBezTo>
                  <a:pt x="1741" y="726"/>
                  <a:pt x="1742" y="726"/>
                  <a:pt x="1742" y="726"/>
                </a:cubicBezTo>
                <a:cubicBezTo>
                  <a:pt x="1742" y="726"/>
                  <a:pt x="1743" y="726"/>
                  <a:pt x="1743" y="726"/>
                </a:cubicBezTo>
                <a:cubicBezTo>
                  <a:pt x="1744" y="727"/>
                  <a:pt x="1744" y="727"/>
                  <a:pt x="1744" y="727"/>
                </a:cubicBezTo>
                <a:cubicBezTo>
                  <a:pt x="1745" y="727"/>
                  <a:pt x="1746" y="727"/>
                  <a:pt x="1746" y="727"/>
                </a:cubicBezTo>
                <a:cubicBezTo>
                  <a:pt x="1747" y="728"/>
                  <a:pt x="1747" y="728"/>
                  <a:pt x="1747" y="728"/>
                </a:cubicBezTo>
                <a:cubicBezTo>
                  <a:pt x="1746" y="729"/>
                  <a:pt x="1746" y="729"/>
                  <a:pt x="1746" y="730"/>
                </a:cubicBezTo>
                <a:cubicBezTo>
                  <a:pt x="1746" y="730"/>
                  <a:pt x="1746" y="730"/>
                  <a:pt x="1746" y="731"/>
                </a:cubicBezTo>
                <a:cubicBezTo>
                  <a:pt x="1746" y="731"/>
                  <a:pt x="1747" y="731"/>
                  <a:pt x="1747" y="732"/>
                </a:cubicBezTo>
                <a:cubicBezTo>
                  <a:pt x="1747" y="732"/>
                  <a:pt x="1747" y="734"/>
                  <a:pt x="1747" y="735"/>
                </a:cubicBezTo>
                <a:cubicBezTo>
                  <a:pt x="1746" y="734"/>
                  <a:pt x="1747" y="733"/>
                  <a:pt x="1746" y="733"/>
                </a:cubicBezTo>
                <a:cubicBezTo>
                  <a:pt x="1746" y="732"/>
                  <a:pt x="1746" y="732"/>
                  <a:pt x="1745" y="732"/>
                </a:cubicBezTo>
                <a:cubicBezTo>
                  <a:pt x="1745" y="732"/>
                  <a:pt x="1745" y="732"/>
                  <a:pt x="1745" y="732"/>
                </a:cubicBezTo>
                <a:cubicBezTo>
                  <a:pt x="1744" y="731"/>
                  <a:pt x="1744" y="731"/>
                  <a:pt x="1744" y="732"/>
                </a:cubicBezTo>
                <a:cubicBezTo>
                  <a:pt x="1744" y="732"/>
                  <a:pt x="1744" y="732"/>
                  <a:pt x="1745" y="732"/>
                </a:cubicBezTo>
                <a:cubicBezTo>
                  <a:pt x="1745" y="733"/>
                  <a:pt x="1745" y="734"/>
                  <a:pt x="1745" y="734"/>
                </a:cubicBezTo>
                <a:cubicBezTo>
                  <a:pt x="1746" y="735"/>
                  <a:pt x="1746" y="736"/>
                  <a:pt x="1746" y="736"/>
                </a:cubicBezTo>
                <a:cubicBezTo>
                  <a:pt x="1746" y="737"/>
                  <a:pt x="1746" y="737"/>
                  <a:pt x="1747" y="738"/>
                </a:cubicBezTo>
                <a:cubicBezTo>
                  <a:pt x="1748" y="738"/>
                  <a:pt x="1747" y="739"/>
                  <a:pt x="1747" y="740"/>
                </a:cubicBezTo>
                <a:cubicBezTo>
                  <a:pt x="1746" y="741"/>
                  <a:pt x="1746" y="741"/>
                  <a:pt x="1747" y="742"/>
                </a:cubicBezTo>
                <a:cubicBezTo>
                  <a:pt x="1747" y="743"/>
                  <a:pt x="1747" y="744"/>
                  <a:pt x="1747" y="745"/>
                </a:cubicBezTo>
                <a:cubicBezTo>
                  <a:pt x="1747" y="746"/>
                  <a:pt x="1747" y="747"/>
                  <a:pt x="1747" y="747"/>
                </a:cubicBezTo>
                <a:cubicBezTo>
                  <a:pt x="1747" y="748"/>
                  <a:pt x="1746" y="749"/>
                  <a:pt x="1747" y="749"/>
                </a:cubicBezTo>
                <a:cubicBezTo>
                  <a:pt x="1748" y="750"/>
                  <a:pt x="1747" y="750"/>
                  <a:pt x="1748" y="750"/>
                </a:cubicBezTo>
                <a:cubicBezTo>
                  <a:pt x="1748" y="751"/>
                  <a:pt x="1748" y="751"/>
                  <a:pt x="1748" y="751"/>
                </a:cubicBezTo>
                <a:cubicBezTo>
                  <a:pt x="1748" y="752"/>
                  <a:pt x="1747" y="752"/>
                  <a:pt x="1747" y="752"/>
                </a:cubicBezTo>
                <a:cubicBezTo>
                  <a:pt x="1745" y="753"/>
                  <a:pt x="1745" y="755"/>
                  <a:pt x="1745" y="757"/>
                </a:cubicBezTo>
                <a:cubicBezTo>
                  <a:pt x="1745" y="757"/>
                  <a:pt x="1744" y="758"/>
                  <a:pt x="1744" y="759"/>
                </a:cubicBezTo>
                <a:cubicBezTo>
                  <a:pt x="1744" y="759"/>
                  <a:pt x="1744" y="760"/>
                  <a:pt x="1744" y="760"/>
                </a:cubicBezTo>
                <a:cubicBezTo>
                  <a:pt x="1744" y="761"/>
                  <a:pt x="1744" y="761"/>
                  <a:pt x="1744" y="761"/>
                </a:cubicBezTo>
                <a:cubicBezTo>
                  <a:pt x="1743" y="762"/>
                  <a:pt x="1744" y="762"/>
                  <a:pt x="1744" y="762"/>
                </a:cubicBezTo>
                <a:cubicBezTo>
                  <a:pt x="1744" y="763"/>
                  <a:pt x="1744" y="764"/>
                  <a:pt x="1743" y="765"/>
                </a:cubicBezTo>
                <a:cubicBezTo>
                  <a:pt x="1743" y="766"/>
                  <a:pt x="1742" y="766"/>
                  <a:pt x="1742" y="767"/>
                </a:cubicBezTo>
                <a:cubicBezTo>
                  <a:pt x="1741" y="768"/>
                  <a:pt x="1741" y="768"/>
                  <a:pt x="1740" y="769"/>
                </a:cubicBezTo>
                <a:cubicBezTo>
                  <a:pt x="1739" y="770"/>
                  <a:pt x="1737" y="769"/>
                  <a:pt x="1735" y="769"/>
                </a:cubicBezTo>
                <a:cubicBezTo>
                  <a:pt x="1734" y="770"/>
                  <a:pt x="1733" y="770"/>
                  <a:pt x="1732" y="770"/>
                </a:cubicBezTo>
                <a:cubicBezTo>
                  <a:pt x="1732" y="770"/>
                  <a:pt x="1731" y="769"/>
                  <a:pt x="1730" y="769"/>
                </a:cubicBezTo>
                <a:cubicBezTo>
                  <a:pt x="1729" y="769"/>
                  <a:pt x="1729" y="768"/>
                  <a:pt x="1728" y="768"/>
                </a:cubicBezTo>
                <a:cubicBezTo>
                  <a:pt x="1727" y="768"/>
                  <a:pt x="1726" y="768"/>
                  <a:pt x="1726" y="768"/>
                </a:cubicBezTo>
                <a:cubicBezTo>
                  <a:pt x="1725" y="769"/>
                  <a:pt x="1724" y="769"/>
                  <a:pt x="1723" y="769"/>
                </a:cubicBezTo>
                <a:cubicBezTo>
                  <a:pt x="1723" y="769"/>
                  <a:pt x="1723" y="769"/>
                  <a:pt x="1722" y="768"/>
                </a:cubicBezTo>
                <a:cubicBezTo>
                  <a:pt x="1722" y="768"/>
                  <a:pt x="1722" y="768"/>
                  <a:pt x="1721" y="768"/>
                </a:cubicBezTo>
                <a:cubicBezTo>
                  <a:pt x="1721" y="768"/>
                  <a:pt x="1720" y="767"/>
                  <a:pt x="1719" y="767"/>
                </a:cubicBezTo>
                <a:cubicBezTo>
                  <a:pt x="1718" y="767"/>
                  <a:pt x="1716" y="767"/>
                  <a:pt x="1714" y="767"/>
                </a:cubicBezTo>
                <a:cubicBezTo>
                  <a:pt x="1714" y="768"/>
                  <a:pt x="1713" y="768"/>
                  <a:pt x="1712" y="768"/>
                </a:cubicBezTo>
                <a:cubicBezTo>
                  <a:pt x="1711" y="768"/>
                  <a:pt x="1710" y="769"/>
                  <a:pt x="1709" y="769"/>
                </a:cubicBezTo>
                <a:cubicBezTo>
                  <a:pt x="1708" y="769"/>
                  <a:pt x="1706" y="768"/>
                  <a:pt x="1704" y="768"/>
                </a:cubicBezTo>
                <a:cubicBezTo>
                  <a:pt x="1703" y="768"/>
                  <a:pt x="1702" y="767"/>
                  <a:pt x="1701" y="767"/>
                </a:cubicBezTo>
                <a:cubicBezTo>
                  <a:pt x="1700" y="767"/>
                  <a:pt x="1699" y="767"/>
                  <a:pt x="1698" y="767"/>
                </a:cubicBezTo>
                <a:cubicBezTo>
                  <a:pt x="1698" y="767"/>
                  <a:pt x="1697" y="766"/>
                  <a:pt x="1696" y="766"/>
                </a:cubicBezTo>
                <a:cubicBezTo>
                  <a:pt x="1696" y="766"/>
                  <a:pt x="1695" y="766"/>
                  <a:pt x="1695" y="766"/>
                </a:cubicBezTo>
                <a:cubicBezTo>
                  <a:pt x="1695" y="766"/>
                  <a:pt x="1694" y="766"/>
                  <a:pt x="1694" y="766"/>
                </a:cubicBezTo>
                <a:cubicBezTo>
                  <a:pt x="1693" y="765"/>
                  <a:pt x="1692" y="765"/>
                  <a:pt x="1692" y="765"/>
                </a:cubicBezTo>
                <a:cubicBezTo>
                  <a:pt x="1691" y="765"/>
                  <a:pt x="1690" y="765"/>
                  <a:pt x="1689" y="765"/>
                </a:cubicBezTo>
                <a:cubicBezTo>
                  <a:pt x="1688" y="765"/>
                  <a:pt x="1687" y="766"/>
                  <a:pt x="1687" y="766"/>
                </a:cubicBezTo>
                <a:cubicBezTo>
                  <a:pt x="1686" y="767"/>
                  <a:pt x="1685" y="766"/>
                  <a:pt x="1684" y="766"/>
                </a:cubicBezTo>
                <a:cubicBezTo>
                  <a:pt x="1683" y="767"/>
                  <a:pt x="1683" y="767"/>
                  <a:pt x="1682" y="767"/>
                </a:cubicBezTo>
                <a:cubicBezTo>
                  <a:pt x="1681" y="767"/>
                  <a:pt x="1680" y="768"/>
                  <a:pt x="1679" y="767"/>
                </a:cubicBezTo>
                <a:cubicBezTo>
                  <a:pt x="1679" y="767"/>
                  <a:pt x="1679" y="767"/>
                  <a:pt x="1678" y="767"/>
                </a:cubicBezTo>
                <a:cubicBezTo>
                  <a:pt x="1678" y="767"/>
                  <a:pt x="1678" y="766"/>
                  <a:pt x="1678" y="766"/>
                </a:cubicBezTo>
                <a:cubicBezTo>
                  <a:pt x="1677" y="766"/>
                  <a:pt x="1676" y="766"/>
                  <a:pt x="1676" y="765"/>
                </a:cubicBezTo>
                <a:cubicBezTo>
                  <a:pt x="1675" y="765"/>
                  <a:pt x="1675" y="764"/>
                  <a:pt x="1674" y="764"/>
                </a:cubicBezTo>
                <a:cubicBezTo>
                  <a:pt x="1673" y="764"/>
                  <a:pt x="1673" y="764"/>
                  <a:pt x="1672" y="764"/>
                </a:cubicBezTo>
                <a:cubicBezTo>
                  <a:pt x="1672" y="764"/>
                  <a:pt x="1670" y="765"/>
                  <a:pt x="1670" y="765"/>
                </a:cubicBezTo>
                <a:cubicBezTo>
                  <a:pt x="1670" y="765"/>
                  <a:pt x="1671" y="762"/>
                  <a:pt x="1669" y="764"/>
                </a:cubicBezTo>
                <a:cubicBezTo>
                  <a:pt x="1669" y="764"/>
                  <a:pt x="1669" y="764"/>
                  <a:pt x="1668" y="764"/>
                </a:cubicBezTo>
                <a:cubicBezTo>
                  <a:pt x="1668" y="764"/>
                  <a:pt x="1668" y="764"/>
                  <a:pt x="1668" y="765"/>
                </a:cubicBezTo>
                <a:cubicBezTo>
                  <a:pt x="1667" y="765"/>
                  <a:pt x="1667" y="765"/>
                  <a:pt x="1666" y="766"/>
                </a:cubicBezTo>
                <a:cubicBezTo>
                  <a:pt x="1666" y="766"/>
                  <a:pt x="1665" y="766"/>
                  <a:pt x="1665" y="767"/>
                </a:cubicBezTo>
                <a:cubicBezTo>
                  <a:pt x="1665" y="767"/>
                  <a:pt x="1666" y="767"/>
                  <a:pt x="1666" y="767"/>
                </a:cubicBezTo>
                <a:cubicBezTo>
                  <a:pt x="1666" y="768"/>
                  <a:pt x="1666" y="767"/>
                  <a:pt x="1666" y="768"/>
                </a:cubicBezTo>
                <a:cubicBezTo>
                  <a:pt x="1666" y="769"/>
                  <a:pt x="1666" y="769"/>
                  <a:pt x="1666" y="769"/>
                </a:cubicBezTo>
                <a:cubicBezTo>
                  <a:pt x="1665" y="768"/>
                  <a:pt x="1664" y="768"/>
                  <a:pt x="1663" y="769"/>
                </a:cubicBezTo>
                <a:cubicBezTo>
                  <a:pt x="1663" y="769"/>
                  <a:pt x="1663" y="769"/>
                  <a:pt x="1662" y="769"/>
                </a:cubicBezTo>
                <a:cubicBezTo>
                  <a:pt x="1662" y="769"/>
                  <a:pt x="1662" y="770"/>
                  <a:pt x="1661" y="770"/>
                </a:cubicBezTo>
                <a:cubicBezTo>
                  <a:pt x="1660" y="770"/>
                  <a:pt x="1658" y="769"/>
                  <a:pt x="1657" y="770"/>
                </a:cubicBezTo>
                <a:cubicBezTo>
                  <a:pt x="1657" y="771"/>
                  <a:pt x="1657" y="771"/>
                  <a:pt x="1657" y="771"/>
                </a:cubicBezTo>
                <a:cubicBezTo>
                  <a:pt x="1656" y="772"/>
                  <a:pt x="1655" y="772"/>
                  <a:pt x="1655" y="772"/>
                </a:cubicBezTo>
                <a:cubicBezTo>
                  <a:pt x="1655" y="773"/>
                  <a:pt x="1655" y="773"/>
                  <a:pt x="1654" y="773"/>
                </a:cubicBezTo>
                <a:cubicBezTo>
                  <a:pt x="1654" y="774"/>
                  <a:pt x="1654" y="774"/>
                  <a:pt x="1654" y="774"/>
                </a:cubicBezTo>
                <a:cubicBezTo>
                  <a:pt x="1654" y="775"/>
                  <a:pt x="1654" y="776"/>
                  <a:pt x="1655" y="776"/>
                </a:cubicBezTo>
                <a:cubicBezTo>
                  <a:pt x="1655" y="777"/>
                  <a:pt x="1656" y="777"/>
                  <a:pt x="1656" y="777"/>
                </a:cubicBezTo>
                <a:cubicBezTo>
                  <a:pt x="1656" y="778"/>
                  <a:pt x="1657" y="779"/>
                  <a:pt x="1657" y="779"/>
                </a:cubicBezTo>
                <a:cubicBezTo>
                  <a:pt x="1657" y="780"/>
                  <a:pt x="1656" y="780"/>
                  <a:pt x="1657" y="780"/>
                </a:cubicBezTo>
                <a:cubicBezTo>
                  <a:pt x="1658" y="780"/>
                  <a:pt x="1658" y="780"/>
                  <a:pt x="1659" y="779"/>
                </a:cubicBezTo>
                <a:cubicBezTo>
                  <a:pt x="1659" y="779"/>
                  <a:pt x="1659" y="779"/>
                  <a:pt x="1660" y="779"/>
                </a:cubicBezTo>
                <a:cubicBezTo>
                  <a:pt x="1660" y="780"/>
                  <a:pt x="1659" y="780"/>
                  <a:pt x="1659" y="780"/>
                </a:cubicBezTo>
                <a:cubicBezTo>
                  <a:pt x="1659" y="780"/>
                  <a:pt x="1659" y="781"/>
                  <a:pt x="1659" y="781"/>
                </a:cubicBezTo>
                <a:cubicBezTo>
                  <a:pt x="1658" y="781"/>
                  <a:pt x="1658" y="781"/>
                  <a:pt x="1658" y="782"/>
                </a:cubicBezTo>
                <a:cubicBezTo>
                  <a:pt x="1658" y="782"/>
                  <a:pt x="1658" y="782"/>
                  <a:pt x="1658" y="782"/>
                </a:cubicBezTo>
                <a:cubicBezTo>
                  <a:pt x="1658" y="782"/>
                  <a:pt x="1658" y="782"/>
                  <a:pt x="1658" y="782"/>
                </a:cubicBezTo>
                <a:cubicBezTo>
                  <a:pt x="1659" y="783"/>
                  <a:pt x="1659" y="782"/>
                  <a:pt x="1660" y="783"/>
                </a:cubicBezTo>
                <a:cubicBezTo>
                  <a:pt x="1661" y="783"/>
                  <a:pt x="1659" y="783"/>
                  <a:pt x="1659" y="784"/>
                </a:cubicBezTo>
                <a:cubicBezTo>
                  <a:pt x="1658" y="784"/>
                  <a:pt x="1659" y="784"/>
                  <a:pt x="1659" y="784"/>
                </a:cubicBezTo>
                <a:cubicBezTo>
                  <a:pt x="1660" y="785"/>
                  <a:pt x="1660" y="785"/>
                  <a:pt x="1659" y="785"/>
                </a:cubicBezTo>
                <a:cubicBezTo>
                  <a:pt x="1659" y="786"/>
                  <a:pt x="1659" y="786"/>
                  <a:pt x="1659" y="786"/>
                </a:cubicBezTo>
                <a:cubicBezTo>
                  <a:pt x="1659" y="787"/>
                  <a:pt x="1658" y="787"/>
                  <a:pt x="1658" y="787"/>
                </a:cubicBezTo>
                <a:cubicBezTo>
                  <a:pt x="1658" y="788"/>
                  <a:pt x="1658" y="788"/>
                  <a:pt x="1658" y="789"/>
                </a:cubicBezTo>
                <a:cubicBezTo>
                  <a:pt x="1659" y="790"/>
                  <a:pt x="1659" y="789"/>
                  <a:pt x="1660" y="789"/>
                </a:cubicBezTo>
                <a:cubicBezTo>
                  <a:pt x="1660" y="789"/>
                  <a:pt x="1660" y="789"/>
                  <a:pt x="1660" y="789"/>
                </a:cubicBezTo>
                <a:cubicBezTo>
                  <a:pt x="1659" y="789"/>
                  <a:pt x="1659" y="789"/>
                  <a:pt x="1659" y="790"/>
                </a:cubicBezTo>
                <a:cubicBezTo>
                  <a:pt x="1659" y="790"/>
                  <a:pt x="1659" y="790"/>
                  <a:pt x="1659" y="791"/>
                </a:cubicBezTo>
                <a:cubicBezTo>
                  <a:pt x="1659" y="791"/>
                  <a:pt x="1659" y="792"/>
                  <a:pt x="1659" y="792"/>
                </a:cubicBezTo>
                <a:cubicBezTo>
                  <a:pt x="1659" y="792"/>
                  <a:pt x="1659" y="793"/>
                  <a:pt x="1659" y="793"/>
                </a:cubicBezTo>
                <a:cubicBezTo>
                  <a:pt x="1659" y="794"/>
                  <a:pt x="1659" y="794"/>
                  <a:pt x="1659" y="794"/>
                </a:cubicBezTo>
                <a:cubicBezTo>
                  <a:pt x="1659" y="795"/>
                  <a:pt x="1660" y="795"/>
                  <a:pt x="1660" y="795"/>
                </a:cubicBezTo>
                <a:cubicBezTo>
                  <a:pt x="1660" y="796"/>
                  <a:pt x="1660" y="797"/>
                  <a:pt x="1660" y="797"/>
                </a:cubicBezTo>
                <a:cubicBezTo>
                  <a:pt x="1660" y="798"/>
                  <a:pt x="1660" y="799"/>
                  <a:pt x="1661" y="799"/>
                </a:cubicBezTo>
                <a:cubicBezTo>
                  <a:pt x="1661" y="799"/>
                  <a:pt x="1661" y="800"/>
                  <a:pt x="1661" y="800"/>
                </a:cubicBezTo>
                <a:cubicBezTo>
                  <a:pt x="1662" y="800"/>
                  <a:pt x="1661" y="801"/>
                  <a:pt x="1661" y="801"/>
                </a:cubicBezTo>
                <a:cubicBezTo>
                  <a:pt x="1661" y="802"/>
                  <a:pt x="1661" y="803"/>
                  <a:pt x="1661" y="803"/>
                </a:cubicBezTo>
                <a:cubicBezTo>
                  <a:pt x="1660" y="804"/>
                  <a:pt x="1660" y="805"/>
                  <a:pt x="1660" y="805"/>
                </a:cubicBezTo>
                <a:cubicBezTo>
                  <a:pt x="1660" y="805"/>
                  <a:pt x="1661" y="805"/>
                  <a:pt x="1661" y="805"/>
                </a:cubicBezTo>
                <a:cubicBezTo>
                  <a:pt x="1661" y="805"/>
                  <a:pt x="1661" y="805"/>
                  <a:pt x="1661" y="806"/>
                </a:cubicBezTo>
                <a:cubicBezTo>
                  <a:pt x="1661" y="806"/>
                  <a:pt x="1661" y="806"/>
                  <a:pt x="1660" y="806"/>
                </a:cubicBezTo>
                <a:cubicBezTo>
                  <a:pt x="1660" y="806"/>
                  <a:pt x="1660" y="807"/>
                  <a:pt x="1660" y="807"/>
                </a:cubicBezTo>
                <a:cubicBezTo>
                  <a:pt x="1659" y="808"/>
                  <a:pt x="1659" y="808"/>
                  <a:pt x="1659" y="809"/>
                </a:cubicBezTo>
                <a:cubicBezTo>
                  <a:pt x="1659" y="810"/>
                  <a:pt x="1659" y="812"/>
                  <a:pt x="1658" y="813"/>
                </a:cubicBezTo>
                <a:cubicBezTo>
                  <a:pt x="1658" y="814"/>
                  <a:pt x="1658" y="815"/>
                  <a:pt x="1658" y="816"/>
                </a:cubicBezTo>
                <a:cubicBezTo>
                  <a:pt x="1658" y="817"/>
                  <a:pt x="1657" y="817"/>
                  <a:pt x="1657" y="818"/>
                </a:cubicBezTo>
                <a:cubicBezTo>
                  <a:pt x="1656" y="819"/>
                  <a:pt x="1656" y="820"/>
                  <a:pt x="1656" y="821"/>
                </a:cubicBezTo>
                <a:cubicBezTo>
                  <a:pt x="1656" y="821"/>
                  <a:pt x="1656" y="822"/>
                  <a:pt x="1655" y="823"/>
                </a:cubicBezTo>
                <a:cubicBezTo>
                  <a:pt x="1654" y="824"/>
                  <a:pt x="1654" y="824"/>
                  <a:pt x="1653" y="825"/>
                </a:cubicBezTo>
                <a:cubicBezTo>
                  <a:pt x="1653" y="825"/>
                  <a:pt x="1653" y="826"/>
                  <a:pt x="1653" y="827"/>
                </a:cubicBezTo>
                <a:cubicBezTo>
                  <a:pt x="1653" y="828"/>
                  <a:pt x="1652" y="829"/>
                  <a:pt x="1652" y="829"/>
                </a:cubicBezTo>
                <a:cubicBezTo>
                  <a:pt x="1652" y="830"/>
                  <a:pt x="1652" y="831"/>
                  <a:pt x="1652" y="832"/>
                </a:cubicBezTo>
                <a:cubicBezTo>
                  <a:pt x="1652" y="832"/>
                  <a:pt x="1653" y="832"/>
                  <a:pt x="1653" y="832"/>
                </a:cubicBezTo>
                <a:cubicBezTo>
                  <a:pt x="1654" y="832"/>
                  <a:pt x="1654" y="833"/>
                  <a:pt x="1654" y="833"/>
                </a:cubicBezTo>
                <a:cubicBezTo>
                  <a:pt x="1654" y="833"/>
                  <a:pt x="1654" y="834"/>
                  <a:pt x="1655" y="833"/>
                </a:cubicBezTo>
                <a:cubicBezTo>
                  <a:pt x="1655" y="833"/>
                  <a:pt x="1655" y="833"/>
                  <a:pt x="1655" y="832"/>
                </a:cubicBezTo>
                <a:cubicBezTo>
                  <a:pt x="1655" y="832"/>
                  <a:pt x="1655" y="832"/>
                  <a:pt x="1656" y="832"/>
                </a:cubicBezTo>
                <a:cubicBezTo>
                  <a:pt x="1656" y="831"/>
                  <a:pt x="1656" y="831"/>
                  <a:pt x="1656" y="831"/>
                </a:cubicBezTo>
                <a:cubicBezTo>
                  <a:pt x="1657" y="830"/>
                  <a:pt x="1657" y="829"/>
                  <a:pt x="1658" y="830"/>
                </a:cubicBezTo>
                <a:cubicBezTo>
                  <a:pt x="1658" y="831"/>
                  <a:pt x="1658" y="831"/>
                  <a:pt x="1658" y="832"/>
                </a:cubicBezTo>
                <a:cubicBezTo>
                  <a:pt x="1657" y="832"/>
                  <a:pt x="1657" y="832"/>
                  <a:pt x="1657" y="832"/>
                </a:cubicBezTo>
                <a:cubicBezTo>
                  <a:pt x="1657" y="833"/>
                  <a:pt x="1656" y="833"/>
                  <a:pt x="1655" y="834"/>
                </a:cubicBezTo>
                <a:cubicBezTo>
                  <a:pt x="1654" y="834"/>
                  <a:pt x="1655" y="835"/>
                  <a:pt x="1655" y="835"/>
                </a:cubicBezTo>
                <a:cubicBezTo>
                  <a:pt x="1655" y="836"/>
                  <a:pt x="1655" y="836"/>
                  <a:pt x="1655" y="836"/>
                </a:cubicBezTo>
                <a:cubicBezTo>
                  <a:pt x="1655" y="837"/>
                  <a:pt x="1656" y="836"/>
                  <a:pt x="1656" y="836"/>
                </a:cubicBezTo>
                <a:cubicBezTo>
                  <a:pt x="1656" y="836"/>
                  <a:pt x="1657" y="835"/>
                  <a:pt x="1657" y="835"/>
                </a:cubicBezTo>
                <a:cubicBezTo>
                  <a:pt x="1658" y="835"/>
                  <a:pt x="1658" y="835"/>
                  <a:pt x="1658" y="835"/>
                </a:cubicBezTo>
                <a:cubicBezTo>
                  <a:pt x="1659" y="835"/>
                  <a:pt x="1659" y="834"/>
                  <a:pt x="1660" y="835"/>
                </a:cubicBezTo>
                <a:cubicBezTo>
                  <a:pt x="1660" y="835"/>
                  <a:pt x="1661" y="835"/>
                  <a:pt x="1661" y="836"/>
                </a:cubicBezTo>
                <a:cubicBezTo>
                  <a:pt x="1661" y="837"/>
                  <a:pt x="1660" y="836"/>
                  <a:pt x="1659" y="836"/>
                </a:cubicBezTo>
                <a:cubicBezTo>
                  <a:pt x="1659" y="836"/>
                  <a:pt x="1658" y="836"/>
                  <a:pt x="1658" y="836"/>
                </a:cubicBezTo>
                <a:cubicBezTo>
                  <a:pt x="1658" y="836"/>
                  <a:pt x="1659" y="836"/>
                  <a:pt x="1659" y="837"/>
                </a:cubicBezTo>
                <a:cubicBezTo>
                  <a:pt x="1659" y="837"/>
                  <a:pt x="1659" y="837"/>
                  <a:pt x="1659" y="838"/>
                </a:cubicBezTo>
                <a:cubicBezTo>
                  <a:pt x="1659" y="838"/>
                  <a:pt x="1659" y="839"/>
                  <a:pt x="1659" y="839"/>
                </a:cubicBezTo>
                <a:cubicBezTo>
                  <a:pt x="1660" y="839"/>
                  <a:pt x="1660" y="840"/>
                  <a:pt x="1660" y="840"/>
                </a:cubicBezTo>
                <a:cubicBezTo>
                  <a:pt x="1660" y="841"/>
                  <a:pt x="1659" y="841"/>
                  <a:pt x="1659" y="841"/>
                </a:cubicBezTo>
                <a:cubicBezTo>
                  <a:pt x="1659" y="842"/>
                  <a:pt x="1659" y="843"/>
                  <a:pt x="1660" y="845"/>
                </a:cubicBezTo>
                <a:cubicBezTo>
                  <a:pt x="1660" y="846"/>
                  <a:pt x="1660" y="846"/>
                  <a:pt x="1660" y="847"/>
                </a:cubicBezTo>
                <a:cubicBezTo>
                  <a:pt x="1660" y="848"/>
                  <a:pt x="1659" y="849"/>
                  <a:pt x="1659" y="850"/>
                </a:cubicBezTo>
                <a:cubicBezTo>
                  <a:pt x="1659" y="851"/>
                  <a:pt x="1659" y="852"/>
                  <a:pt x="1658" y="853"/>
                </a:cubicBezTo>
                <a:cubicBezTo>
                  <a:pt x="1658" y="853"/>
                  <a:pt x="1657" y="854"/>
                  <a:pt x="1658" y="854"/>
                </a:cubicBezTo>
                <a:cubicBezTo>
                  <a:pt x="1658" y="855"/>
                  <a:pt x="1659" y="854"/>
                  <a:pt x="1659" y="854"/>
                </a:cubicBezTo>
                <a:cubicBezTo>
                  <a:pt x="1660" y="854"/>
                  <a:pt x="1661" y="853"/>
                  <a:pt x="1661" y="853"/>
                </a:cubicBezTo>
                <a:cubicBezTo>
                  <a:pt x="1662" y="853"/>
                  <a:pt x="1663" y="853"/>
                  <a:pt x="1664" y="853"/>
                </a:cubicBezTo>
                <a:cubicBezTo>
                  <a:pt x="1665" y="854"/>
                  <a:pt x="1665" y="854"/>
                  <a:pt x="1666" y="854"/>
                </a:cubicBezTo>
                <a:cubicBezTo>
                  <a:pt x="1666" y="854"/>
                  <a:pt x="1667" y="854"/>
                  <a:pt x="1667" y="854"/>
                </a:cubicBezTo>
                <a:cubicBezTo>
                  <a:pt x="1668" y="854"/>
                  <a:pt x="1668" y="854"/>
                  <a:pt x="1668" y="854"/>
                </a:cubicBezTo>
                <a:cubicBezTo>
                  <a:pt x="1669" y="855"/>
                  <a:pt x="1669" y="854"/>
                  <a:pt x="1670" y="855"/>
                </a:cubicBezTo>
                <a:cubicBezTo>
                  <a:pt x="1671" y="855"/>
                  <a:pt x="1671" y="855"/>
                  <a:pt x="1671" y="854"/>
                </a:cubicBezTo>
                <a:cubicBezTo>
                  <a:pt x="1672" y="854"/>
                  <a:pt x="1672" y="854"/>
                  <a:pt x="1672" y="854"/>
                </a:cubicBezTo>
                <a:cubicBezTo>
                  <a:pt x="1673" y="853"/>
                  <a:pt x="1674" y="853"/>
                  <a:pt x="1674" y="853"/>
                </a:cubicBezTo>
                <a:cubicBezTo>
                  <a:pt x="1675" y="852"/>
                  <a:pt x="1675" y="852"/>
                  <a:pt x="1676" y="852"/>
                </a:cubicBezTo>
                <a:cubicBezTo>
                  <a:pt x="1676" y="852"/>
                  <a:pt x="1677" y="852"/>
                  <a:pt x="1677" y="852"/>
                </a:cubicBezTo>
                <a:cubicBezTo>
                  <a:pt x="1677" y="852"/>
                  <a:pt x="1678" y="852"/>
                  <a:pt x="1678" y="852"/>
                </a:cubicBezTo>
                <a:cubicBezTo>
                  <a:pt x="1679" y="852"/>
                  <a:pt x="1679" y="852"/>
                  <a:pt x="1679" y="852"/>
                </a:cubicBezTo>
                <a:cubicBezTo>
                  <a:pt x="1680" y="852"/>
                  <a:pt x="1680" y="852"/>
                  <a:pt x="1681" y="852"/>
                </a:cubicBezTo>
                <a:cubicBezTo>
                  <a:pt x="1681" y="852"/>
                  <a:pt x="1681" y="853"/>
                  <a:pt x="1682" y="853"/>
                </a:cubicBezTo>
                <a:cubicBezTo>
                  <a:pt x="1682" y="854"/>
                  <a:pt x="1683" y="854"/>
                  <a:pt x="1683" y="854"/>
                </a:cubicBezTo>
                <a:cubicBezTo>
                  <a:pt x="1684" y="855"/>
                  <a:pt x="1684" y="855"/>
                  <a:pt x="1684" y="855"/>
                </a:cubicBezTo>
                <a:cubicBezTo>
                  <a:pt x="1684" y="856"/>
                  <a:pt x="1685" y="856"/>
                  <a:pt x="1685" y="856"/>
                </a:cubicBezTo>
                <a:cubicBezTo>
                  <a:pt x="1685" y="856"/>
                  <a:pt x="1685" y="857"/>
                  <a:pt x="1686" y="857"/>
                </a:cubicBezTo>
                <a:cubicBezTo>
                  <a:pt x="1686" y="857"/>
                  <a:pt x="1687" y="857"/>
                  <a:pt x="1687" y="857"/>
                </a:cubicBezTo>
                <a:cubicBezTo>
                  <a:pt x="1687" y="858"/>
                  <a:pt x="1687" y="858"/>
                  <a:pt x="1686" y="858"/>
                </a:cubicBezTo>
                <a:cubicBezTo>
                  <a:pt x="1686" y="859"/>
                  <a:pt x="1686" y="859"/>
                  <a:pt x="1687" y="859"/>
                </a:cubicBezTo>
                <a:cubicBezTo>
                  <a:pt x="1687" y="859"/>
                  <a:pt x="1687" y="860"/>
                  <a:pt x="1687" y="860"/>
                </a:cubicBezTo>
                <a:cubicBezTo>
                  <a:pt x="1687" y="861"/>
                  <a:pt x="1687" y="861"/>
                  <a:pt x="1688" y="861"/>
                </a:cubicBezTo>
                <a:cubicBezTo>
                  <a:pt x="1688" y="861"/>
                  <a:pt x="1688" y="861"/>
                  <a:pt x="1689" y="862"/>
                </a:cubicBezTo>
                <a:cubicBezTo>
                  <a:pt x="1689" y="862"/>
                  <a:pt x="1689" y="862"/>
                  <a:pt x="1689" y="863"/>
                </a:cubicBezTo>
                <a:cubicBezTo>
                  <a:pt x="1690" y="863"/>
                  <a:pt x="1690" y="863"/>
                  <a:pt x="1690" y="864"/>
                </a:cubicBezTo>
                <a:cubicBezTo>
                  <a:pt x="1690" y="865"/>
                  <a:pt x="1691" y="865"/>
                  <a:pt x="1692" y="865"/>
                </a:cubicBezTo>
                <a:cubicBezTo>
                  <a:pt x="1692" y="866"/>
                  <a:pt x="1692" y="867"/>
                  <a:pt x="1693" y="867"/>
                </a:cubicBezTo>
                <a:cubicBezTo>
                  <a:pt x="1693" y="867"/>
                  <a:pt x="1694" y="867"/>
                  <a:pt x="1694" y="867"/>
                </a:cubicBezTo>
                <a:cubicBezTo>
                  <a:pt x="1695" y="867"/>
                  <a:pt x="1695" y="868"/>
                  <a:pt x="1695" y="868"/>
                </a:cubicBezTo>
                <a:cubicBezTo>
                  <a:pt x="1696" y="868"/>
                  <a:pt x="1697" y="868"/>
                  <a:pt x="1697" y="867"/>
                </a:cubicBezTo>
                <a:cubicBezTo>
                  <a:pt x="1698" y="867"/>
                  <a:pt x="1698" y="867"/>
                  <a:pt x="1698" y="867"/>
                </a:cubicBezTo>
                <a:cubicBezTo>
                  <a:pt x="1699" y="867"/>
                  <a:pt x="1699" y="867"/>
                  <a:pt x="1699" y="866"/>
                </a:cubicBezTo>
                <a:cubicBezTo>
                  <a:pt x="1700" y="866"/>
                  <a:pt x="1700" y="865"/>
                  <a:pt x="1700" y="864"/>
                </a:cubicBezTo>
                <a:cubicBezTo>
                  <a:pt x="1701" y="864"/>
                  <a:pt x="1701" y="863"/>
                  <a:pt x="1702" y="863"/>
                </a:cubicBezTo>
                <a:cubicBezTo>
                  <a:pt x="1703" y="863"/>
                  <a:pt x="1703" y="862"/>
                  <a:pt x="1704" y="862"/>
                </a:cubicBezTo>
                <a:cubicBezTo>
                  <a:pt x="1705" y="862"/>
                  <a:pt x="1706" y="861"/>
                  <a:pt x="1706" y="861"/>
                </a:cubicBezTo>
                <a:cubicBezTo>
                  <a:pt x="1707" y="861"/>
                  <a:pt x="1707" y="860"/>
                  <a:pt x="1707" y="860"/>
                </a:cubicBezTo>
                <a:cubicBezTo>
                  <a:pt x="1708" y="860"/>
                  <a:pt x="1708" y="860"/>
                  <a:pt x="1708" y="860"/>
                </a:cubicBezTo>
                <a:cubicBezTo>
                  <a:pt x="1709" y="859"/>
                  <a:pt x="1709" y="859"/>
                  <a:pt x="1710" y="858"/>
                </a:cubicBezTo>
                <a:cubicBezTo>
                  <a:pt x="1712" y="858"/>
                  <a:pt x="1713" y="858"/>
                  <a:pt x="1715" y="858"/>
                </a:cubicBezTo>
                <a:cubicBezTo>
                  <a:pt x="1716" y="858"/>
                  <a:pt x="1718" y="858"/>
                  <a:pt x="1720" y="858"/>
                </a:cubicBezTo>
                <a:cubicBezTo>
                  <a:pt x="1721" y="858"/>
                  <a:pt x="1722" y="858"/>
                  <a:pt x="1723" y="858"/>
                </a:cubicBezTo>
                <a:cubicBezTo>
                  <a:pt x="1724" y="858"/>
                  <a:pt x="1725" y="858"/>
                  <a:pt x="1725" y="858"/>
                </a:cubicBezTo>
                <a:cubicBezTo>
                  <a:pt x="1726" y="858"/>
                  <a:pt x="1727" y="859"/>
                  <a:pt x="1727" y="859"/>
                </a:cubicBezTo>
                <a:cubicBezTo>
                  <a:pt x="1728" y="859"/>
                  <a:pt x="1729" y="859"/>
                  <a:pt x="1730" y="859"/>
                </a:cubicBezTo>
                <a:cubicBezTo>
                  <a:pt x="1731" y="858"/>
                  <a:pt x="1731" y="858"/>
                  <a:pt x="1732" y="858"/>
                </a:cubicBezTo>
                <a:cubicBezTo>
                  <a:pt x="1733" y="857"/>
                  <a:pt x="1733" y="858"/>
                  <a:pt x="1734" y="858"/>
                </a:cubicBezTo>
                <a:cubicBezTo>
                  <a:pt x="1735" y="858"/>
                  <a:pt x="1736" y="858"/>
                  <a:pt x="1736" y="858"/>
                </a:cubicBezTo>
                <a:cubicBezTo>
                  <a:pt x="1737" y="857"/>
                  <a:pt x="1737" y="856"/>
                  <a:pt x="1737" y="856"/>
                </a:cubicBezTo>
                <a:cubicBezTo>
                  <a:pt x="1738" y="855"/>
                  <a:pt x="1739" y="854"/>
                  <a:pt x="1739" y="854"/>
                </a:cubicBezTo>
                <a:cubicBezTo>
                  <a:pt x="1740" y="853"/>
                  <a:pt x="1740" y="852"/>
                  <a:pt x="1740" y="851"/>
                </a:cubicBezTo>
                <a:cubicBezTo>
                  <a:pt x="1741" y="851"/>
                  <a:pt x="1741" y="850"/>
                  <a:pt x="1742" y="850"/>
                </a:cubicBezTo>
                <a:cubicBezTo>
                  <a:pt x="1743" y="849"/>
                  <a:pt x="1743" y="849"/>
                  <a:pt x="1744" y="849"/>
                </a:cubicBezTo>
                <a:cubicBezTo>
                  <a:pt x="1745" y="849"/>
                  <a:pt x="1746" y="849"/>
                  <a:pt x="1746" y="848"/>
                </a:cubicBezTo>
                <a:cubicBezTo>
                  <a:pt x="1747" y="848"/>
                  <a:pt x="1748" y="847"/>
                  <a:pt x="1748" y="847"/>
                </a:cubicBezTo>
                <a:cubicBezTo>
                  <a:pt x="1749" y="848"/>
                  <a:pt x="1749" y="848"/>
                  <a:pt x="1749" y="848"/>
                </a:cubicBezTo>
                <a:cubicBezTo>
                  <a:pt x="1750" y="848"/>
                  <a:pt x="1750" y="848"/>
                  <a:pt x="1750" y="848"/>
                </a:cubicBezTo>
                <a:cubicBezTo>
                  <a:pt x="1751" y="848"/>
                  <a:pt x="1751" y="847"/>
                  <a:pt x="1751" y="847"/>
                </a:cubicBezTo>
                <a:cubicBezTo>
                  <a:pt x="1751" y="847"/>
                  <a:pt x="1752" y="847"/>
                  <a:pt x="1752" y="847"/>
                </a:cubicBezTo>
                <a:cubicBezTo>
                  <a:pt x="1752" y="847"/>
                  <a:pt x="1751" y="846"/>
                  <a:pt x="1751" y="846"/>
                </a:cubicBezTo>
                <a:cubicBezTo>
                  <a:pt x="1750" y="845"/>
                  <a:pt x="1751" y="843"/>
                  <a:pt x="1752" y="842"/>
                </a:cubicBezTo>
                <a:cubicBezTo>
                  <a:pt x="1752" y="842"/>
                  <a:pt x="1752" y="841"/>
                  <a:pt x="1753" y="841"/>
                </a:cubicBezTo>
                <a:cubicBezTo>
                  <a:pt x="1753" y="840"/>
                  <a:pt x="1753" y="839"/>
                  <a:pt x="1753" y="838"/>
                </a:cubicBezTo>
                <a:cubicBezTo>
                  <a:pt x="1754" y="838"/>
                  <a:pt x="1755" y="837"/>
                  <a:pt x="1755" y="837"/>
                </a:cubicBezTo>
                <a:cubicBezTo>
                  <a:pt x="1756" y="836"/>
                  <a:pt x="1757" y="835"/>
                  <a:pt x="1758" y="835"/>
                </a:cubicBezTo>
                <a:cubicBezTo>
                  <a:pt x="1758" y="835"/>
                  <a:pt x="1759" y="834"/>
                  <a:pt x="1760" y="834"/>
                </a:cubicBezTo>
                <a:cubicBezTo>
                  <a:pt x="1760" y="833"/>
                  <a:pt x="1761" y="833"/>
                  <a:pt x="1762" y="832"/>
                </a:cubicBezTo>
                <a:cubicBezTo>
                  <a:pt x="1763" y="832"/>
                  <a:pt x="1763" y="832"/>
                  <a:pt x="1762" y="831"/>
                </a:cubicBezTo>
                <a:cubicBezTo>
                  <a:pt x="1761" y="831"/>
                  <a:pt x="1761" y="830"/>
                  <a:pt x="1760" y="830"/>
                </a:cubicBezTo>
                <a:cubicBezTo>
                  <a:pt x="1759" y="829"/>
                  <a:pt x="1758" y="828"/>
                  <a:pt x="1757" y="827"/>
                </a:cubicBezTo>
                <a:cubicBezTo>
                  <a:pt x="1757" y="827"/>
                  <a:pt x="1757" y="826"/>
                  <a:pt x="1757" y="826"/>
                </a:cubicBezTo>
                <a:cubicBezTo>
                  <a:pt x="1757" y="825"/>
                  <a:pt x="1757" y="824"/>
                  <a:pt x="1756" y="823"/>
                </a:cubicBezTo>
                <a:cubicBezTo>
                  <a:pt x="1756" y="822"/>
                  <a:pt x="1756" y="822"/>
                  <a:pt x="1756" y="821"/>
                </a:cubicBezTo>
                <a:cubicBezTo>
                  <a:pt x="1757" y="820"/>
                  <a:pt x="1758" y="819"/>
                  <a:pt x="1758" y="818"/>
                </a:cubicBezTo>
                <a:cubicBezTo>
                  <a:pt x="1759" y="817"/>
                  <a:pt x="1761" y="815"/>
                  <a:pt x="1762" y="814"/>
                </a:cubicBezTo>
                <a:cubicBezTo>
                  <a:pt x="1762" y="813"/>
                  <a:pt x="1763" y="812"/>
                  <a:pt x="1763" y="811"/>
                </a:cubicBezTo>
                <a:cubicBezTo>
                  <a:pt x="1764" y="811"/>
                  <a:pt x="1764" y="810"/>
                  <a:pt x="1765" y="810"/>
                </a:cubicBezTo>
                <a:cubicBezTo>
                  <a:pt x="1766" y="809"/>
                  <a:pt x="1767" y="807"/>
                  <a:pt x="1767" y="806"/>
                </a:cubicBezTo>
                <a:cubicBezTo>
                  <a:pt x="1768" y="805"/>
                  <a:pt x="1768" y="805"/>
                  <a:pt x="1768" y="804"/>
                </a:cubicBezTo>
                <a:cubicBezTo>
                  <a:pt x="1769" y="803"/>
                  <a:pt x="1769" y="803"/>
                  <a:pt x="1770" y="802"/>
                </a:cubicBezTo>
                <a:cubicBezTo>
                  <a:pt x="1770" y="802"/>
                  <a:pt x="1771" y="802"/>
                  <a:pt x="1771" y="801"/>
                </a:cubicBezTo>
                <a:cubicBezTo>
                  <a:pt x="1772" y="801"/>
                  <a:pt x="1773" y="800"/>
                  <a:pt x="1774" y="800"/>
                </a:cubicBezTo>
                <a:cubicBezTo>
                  <a:pt x="1775" y="800"/>
                  <a:pt x="1776" y="800"/>
                  <a:pt x="1776" y="800"/>
                </a:cubicBezTo>
                <a:cubicBezTo>
                  <a:pt x="1777" y="799"/>
                  <a:pt x="1778" y="799"/>
                  <a:pt x="1779" y="799"/>
                </a:cubicBezTo>
                <a:cubicBezTo>
                  <a:pt x="1780" y="799"/>
                  <a:pt x="1781" y="798"/>
                  <a:pt x="1782" y="798"/>
                </a:cubicBezTo>
                <a:cubicBezTo>
                  <a:pt x="1783" y="797"/>
                  <a:pt x="1784" y="796"/>
                  <a:pt x="1785" y="796"/>
                </a:cubicBezTo>
                <a:cubicBezTo>
                  <a:pt x="1786" y="795"/>
                  <a:pt x="1787" y="795"/>
                  <a:pt x="1788" y="795"/>
                </a:cubicBezTo>
                <a:cubicBezTo>
                  <a:pt x="1789" y="794"/>
                  <a:pt x="1789" y="793"/>
                  <a:pt x="1790" y="793"/>
                </a:cubicBezTo>
                <a:cubicBezTo>
                  <a:pt x="1791" y="793"/>
                  <a:pt x="1792" y="793"/>
                  <a:pt x="1793" y="792"/>
                </a:cubicBezTo>
                <a:cubicBezTo>
                  <a:pt x="1794" y="792"/>
                  <a:pt x="1795" y="791"/>
                  <a:pt x="1795" y="791"/>
                </a:cubicBezTo>
                <a:cubicBezTo>
                  <a:pt x="1796" y="790"/>
                  <a:pt x="1796" y="789"/>
                  <a:pt x="1796" y="788"/>
                </a:cubicBezTo>
                <a:cubicBezTo>
                  <a:pt x="1796" y="788"/>
                  <a:pt x="1796" y="787"/>
                  <a:pt x="1795" y="786"/>
                </a:cubicBezTo>
                <a:cubicBezTo>
                  <a:pt x="1795" y="785"/>
                  <a:pt x="1796" y="785"/>
                  <a:pt x="1796" y="785"/>
                </a:cubicBezTo>
                <a:cubicBezTo>
                  <a:pt x="1797" y="784"/>
                  <a:pt x="1797" y="784"/>
                  <a:pt x="1797" y="784"/>
                </a:cubicBezTo>
                <a:cubicBezTo>
                  <a:pt x="1797" y="784"/>
                  <a:pt x="1798" y="784"/>
                  <a:pt x="1798" y="783"/>
                </a:cubicBezTo>
                <a:cubicBezTo>
                  <a:pt x="1798" y="783"/>
                  <a:pt x="1797" y="783"/>
                  <a:pt x="1797" y="783"/>
                </a:cubicBezTo>
                <a:cubicBezTo>
                  <a:pt x="1797" y="783"/>
                  <a:pt x="1796" y="782"/>
                  <a:pt x="1796" y="782"/>
                </a:cubicBezTo>
                <a:cubicBezTo>
                  <a:pt x="1796" y="782"/>
                  <a:pt x="1796" y="781"/>
                  <a:pt x="1796" y="781"/>
                </a:cubicBezTo>
                <a:cubicBezTo>
                  <a:pt x="1796" y="781"/>
                  <a:pt x="1796" y="780"/>
                  <a:pt x="1796" y="780"/>
                </a:cubicBezTo>
                <a:cubicBezTo>
                  <a:pt x="1795" y="779"/>
                  <a:pt x="1796" y="779"/>
                  <a:pt x="1795" y="778"/>
                </a:cubicBezTo>
                <a:cubicBezTo>
                  <a:pt x="1795" y="778"/>
                  <a:pt x="1795" y="777"/>
                  <a:pt x="1795" y="777"/>
                </a:cubicBezTo>
                <a:cubicBezTo>
                  <a:pt x="1794" y="777"/>
                  <a:pt x="1794" y="776"/>
                  <a:pt x="1794" y="776"/>
                </a:cubicBezTo>
                <a:cubicBezTo>
                  <a:pt x="1794" y="775"/>
                  <a:pt x="1795" y="774"/>
                  <a:pt x="1796" y="774"/>
                </a:cubicBezTo>
                <a:cubicBezTo>
                  <a:pt x="1796" y="774"/>
                  <a:pt x="1796" y="773"/>
                  <a:pt x="1796" y="773"/>
                </a:cubicBezTo>
                <a:cubicBezTo>
                  <a:pt x="1796" y="772"/>
                  <a:pt x="1797" y="771"/>
                  <a:pt x="1798" y="771"/>
                </a:cubicBezTo>
                <a:cubicBezTo>
                  <a:pt x="1798" y="771"/>
                  <a:pt x="1799" y="771"/>
                  <a:pt x="1799" y="770"/>
                </a:cubicBezTo>
                <a:cubicBezTo>
                  <a:pt x="1799" y="770"/>
                  <a:pt x="1799" y="770"/>
                  <a:pt x="1800" y="770"/>
                </a:cubicBezTo>
                <a:cubicBezTo>
                  <a:pt x="1801" y="769"/>
                  <a:pt x="1802" y="769"/>
                  <a:pt x="1802" y="769"/>
                </a:cubicBezTo>
                <a:cubicBezTo>
                  <a:pt x="1804" y="768"/>
                  <a:pt x="1805" y="766"/>
                  <a:pt x="1807" y="767"/>
                </a:cubicBezTo>
                <a:cubicBezTo>
                  <a:pt x="1808" y="767"/>
                  <a:pt x="1808" y="768"/>
                  <a:pt x="1809" y="768"/>
                </a:cubicBezTo>
                <a:cubicBezTo>
                  <a:pt x="1810" y="768"/>
                  <a:pt x="1811" y="768"/>
                  <a:pt x="1813" y="768"/>
                </a:cubicBezTo>
                <a:cubicBezTo>
                  <a:pt x="1813" y="768"/>
                  <a:pt x="1814" y="768"/>
                  <a:pt x="1815" y="768"/>
                </a:cubicBezTo>
                <a:cubicBezTo>
                  <a:pt x="1815" y="768"/>
                  <a:pt x="1816" y="768"/>
                  <a:pt x="1816" y="768"/>
                </a:cubicBezTo>
                <a:cubicBezTo>
                  <a:pt x="1816" y="769"/>
                  <a:pt x="1817" y="769"/>
                  <a:pt x="1817" y="769"/>
                </a:cubicBezTo>
                <a:cubicBezTo>
                  <a:pt x="1818" y="769"/>
                  <a:pt x="1819" y="769"/>
                  <a:pt x="1819" y="769"/>
                </a:cubicBezTo>
                <a:cubicBezTo>
                  <a:pt x="1820" y="769"/>
                  <a:pt x="1821" y="769"/>
                  <a:pt x="1820" y="770"/>
                </a:cubicBezTo>
                <a:cubicBezTo>
                  <a:pt x="1820" y="771"/>
                  <a:pt x="1820" y="771"/>
                  <a:pt x="1821" y="771"/>
                </a:cubicBezTo>
                <a:cubicBezTo>
                  <a:pt x="1821" y="771"/>
                  <a:pt x="1822" y="772"/>
                  <a:pt x="1822" y="772"/>
                </a:cubicBezTo>
                <a:cubicBezTo>
                  <a:pt x="1823" y="772"/>
                  <a:pt x="1823" y="772"/>
                  <a:pt x="1823" y="772"/>
                </a:cubicBezTo>
                <a:cubicBezTo>
                  <a:pt x="1824" y="771"/>
                  <a:pt x="1825" y="772"/>
                  <a:pt x="1825" y="772"/>
                </a:cubicBezTo>
                <a:cubicBezTo>
                  <a:pt x="1826" y="773"/>
                  <a:pt x="1827" y="773"/>
                  <a:pt x="1827" y="773"/>
                </a:cubicBezTo>
                <a:cubicBezTo>
                  <a:pt x="1828" y="773"/>
                  <a:pt x="1828" y="773"/>
                  <a:pt x="1828" y="773"/>
                </a:cubicBezTo>
                <a:cubicBezTo>
                  <a:pt x="1829" y="773"/>
                  <a:pt x="1829" y="773"/>
                  <a:pt x="1830" y="773"/>
                </a:cubicBezTo>
                <a:cubicBezTo>
                  <a:pt x="1830" y="773"/>
                  <a:pt x="1831" y="774"/>
                  <a:pt x="1832" y="773"/>
                </a:cubicBezTo>
                <a:cubicBezTo>
                  <a:pt x="1833" y="773"/>
                  <a:pt x="1833" y="772"/>
                  <a:pt x="1834" y="772"/>
                </a:cubicBezTo>
                <a:cubicBezTo>
                  <a:pt x="1834" y="771"/>
                  <a:pt x="1835" y="771"/>
                  <a:pt x="1836" y="771"/>
                </a:cubicBezTo>
                <a:cubicBezTo>
                  <a:pt x="1836" y="770"/>
                  <a:pt x="1837" y="769"/>
                  <a:pt x="1837" y="769"/>
                </a:cubicBezTo>
                <a:cubicBezTo>
                  <a:pt x="1838" y="768"/>
                  <a:pt x="1838" y="768"/>
                  <a:pt x="1839" y="767"/>
                </a:cubicBezTo>
                <a:cubicBezTo>
                  <a:pt x="1839" y="767"/>
                  <a:pt x="1839" y="767"/>
                  <a:pt x="1840" y="767"/>
                </a:cubicBezTo>
                <a:cubicBezTo>
                  <a:pt x="1841" y="767"/>
                  <a:pt x="1841" y="767"/>
                  <a:pt x="1842" y="766"/>
                </a:cubicBezTo>
                <a:cubicBezTo>
                  <a:pt x="1842" y="766"/>
                  <a:pt x="1842" y="765"/>
                  <a:pt x="1843" y="765"/>
                </a:cubicBezTo>
                <a:cubicBezTo>
                  <a:pt x="1843" y="765"/>
                  <a:pt x="1843" y="765"/>
                  <a:pt x="1844" y="765"/>
                </a:cubicBezTo>
                <a:cubicBezTo>
                  <a:pt x="1844" y="764"/>
                  <a:pt x="1844" y="764"/>
                  <a:pt x="1844" y="764"/>
                </a:cubicBezTo>
                <a:cubicBezTo>
                  <a:pt x="1845" y="764"/>
                  <a:pt x="1845" y="764"/>
                  <a:pt x="1845" y="764"/>
                </a:cubicBezTo>
                <a:cubicBezTo>
                  <a:pt x="1846" y="764"/>
                  <a:pt x="1846" y="763"/>
                  <a:pt x="1846" y="763"/>
                </a:cubicBezTo>
                <a:cubicBezTo>
                  <a:pt x="1847" y="763"/>
                  <a:pt x="1847" y="763"/>
                  <a:pt x="1847" y="763"/>
                </a:cubicBezTo>
                <a:cubicBezTo>
                  <a:pt x="1848" y="763"/>
                  <a:pt x="1849" y="762"/>
                  <a:pt x="1850" y="762"/>
                </a:cubicBezTo>
                <a:cubicBezTo>
                  <a:pt x="1850" y="762"/>
                  <a:pt x="1851" y="762"/>
                  <a:pt x="1851" y="762"/>
                </a:cubicBezTo>
                <a:cubicBezTo>
                  <a:pt x="1851" y="762"/>
                  <a:pt x="1852" y="762"/>
                  <a:pt x="1852" y="762"/>
                </a:cubicBezTo>
                <a:cubicBezTo>
                  <a:pt x="1852" y="761"/>
                  <a:pt x="1853" y="761"/>
                  <a:pt x="1854" y="760"/>
                </a:cubicBezTo>
                <a:cubicBezTo>
                  <a:pt x="1854" y="760"/>
                  <a:pt x="1854" y="760"/>
                  <a:pt x="1854" y="759"/>
                </a:cubicBezTo>
                <a:cubicBezTo>
                  <a:pt x="1855" y="759"/>
                  <a:pt x="1855" y="758"/>
                  <a:pt x="1856" y="758"/>
                </a:cubicBezTo>
                <a:cubicBezTo>
                  <a:pt x="1856" y="757"/>
                  <a:pt x="1856" y="757"/>
                  <a:pt x="1857" y="757"/>
                </a:cubicBezTo>
                <a:cubicBezTo>
                  <a:pt x="1857" y="756"/>
                  <a:pt x="1857" y="756"/>
                  <a:pt x="1858" y="756"/>
                </a:cubicBezTo>
                <a:cubicBezTo>
                  <a:pt x="1858" y="756"/>
                  <a:pt x="1858" y="755"/>
                  <a:pt x="1858" y="755"/>
                </a:cubicBezTo>
                <a:cubicBezTo>
                  <a:pt x="1859" y="755"/>
                  <a:pt x="1860" y="755"/>
                  <a:pt x="1861" y="755"/>
                </a:cubicBezTo>
                <a:cubicBezTo>
                  <a:pt x="1862" y="755"/>
                  <a:pt x="1862" y="756"/>
                  <a:pt x="1863" y="756"/>
                </a:cubicBezTo>
                <a:cubicBezTo>
                  <a:pt x="1864" y="756"/>
                  <a:pt x="1865" y="756"/>
                  <a:pt x="1866" y="756"/>
                </a:cubicBezTo>
                <a:cubicBezTo>
                  <a:pt x="1866" y="756"/>
                  <a:pt x="1866" y="757"/>
                  <a:pt x="1867" y="757"/>
                </a:cubicBezTo>
                <a:cubicBezTo>
                  <a:pt x="1867" y="757"/>
                  <a:pt x="1867" y="757"/>
                  <a:pt x="1868" y="757"/>
                </a:cubicBezTo>
                <a:cubicBezTo>
                  <a:pt x="1869" y="757"/>
                  <a:pt x="1869" y="758"/>
                  <a:pt x="1870" y="758"/>
                </a:cubicBezTo>
                <a:cubicBezTo>
                  <a:pt x="1871" y="758"/>
                  <a:pt x="1871" y="759"/>
                  <a:pt x="1872" y="759"/>
                </a:cubicBezTo>
                <a:cubicBezTo>
                  <a:pt x="1872" y="759"/>
                  <a:pt x="1873" y="759"/>
                  <a:pt x="1873" y="759"/>
                </a:cubicBezTo>
                <a:cubicBezTo>
                  <a:pt x="1873" y="759"/>
                  <a:pt x="1873" y="760"/>
                  <a:pt x="1874" y="760"/>
                </a:cubicBezTo>
                <a:cubicBezTo>
                  <a:pt x="1874" y="760"/>
                  <a:pt x="1875" y="760"/>
                  <a:pt x="1875" y="761"/>
                </a:cubicBezTo>
                <a:cubicBezTo>
                  <a:pt x="1875" y="761"/>
                  <a:pt x="1875" y="761"/>
                  <a:pt x="1876" y="761"/>
                </a:cubicBezTo>
                <a:cubicBezTo>
                  <a:pt x="1876" y="761"/>
                  <a:pt x="1876" y="761"/>
                  <a:pt x="1876" y="762"/>
                </a:cubicBezTo>
                <a:cubicBezTo>
                  <a:pt x="1876" y="762"/>
                  <a:pt x="1876" y="762"/>
                  <a:pt x="1877" y="763"/>
                </a:cubicBezTo>
                <a:cubicBezTo>
                  <a:pt x="1877" y="763"/>
                  <a:pt x="1877" y="764"/>
                  <a:pt x="1877" y="765"/>
                </a:cubicBezTo>
                <a:cubicBezTo>
                  <a:pt x="1877" y="765"/>
                  <a:pt x="1877" y="766"/>
                  <a:pt x="1877" y="766"/>
                </a:cubicBezTo>
                <a:cubicBezTo>
                  <a:pt x="1877" y="766"/>
                  <a:pt x="1877" y="767"/>
                  <a:pt x="1877" y="767"/>
                </a:cubicBezTo>
                <a:cubicBezTo>
                  <a:pt x="1878" y="767"/>
                  <a:pt x="1878" y="768"/>
                  <a:pt x="1878" y="768"/>
                </a:cubicBezTo>
                <a:cubicBezTo>
                  <a:pt x="1878" y="768"/>
                  <a:pt x="1878" y="769"/>
                  <a:pt x="1878" y="769"/>
                </a:cubicBezTo>
                <a:cubicBezTo>
                  <a:pt x="1878" y="770"/>
                  <a:pt x="1878" y="770"/>
                  <a:pt x="1879" y="770"/>
                </a:cubicBezTo>
                <a:cubicBezTo>
                  <a:pt x="1879" y="770"/>
                  <a:pt x="1879" y="771"/>
                  <a:pt x="1879" y="771"/>
                </a:cubicBezTo>
                <a:cubicBezTo>
                  <a:pt x="1879" y="771"/>
                  <a:pt x="1879" y="772"/>
                  <a:pt x="1879" y="772"/>
                </a:cubicBezTo>
                <a:cubicBezTo>
                  <a:pt x="1879" y="772"/>
                  <a:pt x="1879" y="773"/>
                  <a:pt x="1880" y="773"/>
                </a:cubicBezTo>
                <a:cubicBezTo>
                  <a:pt x="1880" y="773"/>
                  <a:pt x="1880" y="774"/>
                  <a:pt x="1880" y="774"/>
                </a:cubicBezTo>
                <a:cubicBezTo>
                  <a:pt x="1880" y="774"/>
                  <a:pt x="1879" y="774"/>
                  <a:pt x="1879" y="774"/>
                </a:cubicBezTo>
                <a:cubicBezTo>
                  <a:pt x="1879" y="775"/>
                  <a:pt x="1880" y="775"/>
                  <a:pt x="1880" y="775"/>
                </a:cubicBezTo>
                <a:cubicBezTo>
                  <a:pt x="1880" y="775"/>
                  <a:pt x="1880" y="775"/>
                  <a:pt x="1880" y="775"/>
                </a:cubicBezTo>
                <a:cubicBezTo>
                  <a:pt x="1881" y="776"/>
                  <a:pt x="1881" y="775"/>
                  <a:pt x="1882" y="775"/>
                </a:cubicBezTo>
                <a:cubicBezTo>
                  <a:pt x="1882" y="775"/>
                  <a:pt x="1882" y="775"/>
                  <a:pt x="1883" y="776"/>
                </a:cubicBezTo>
                <a:cubicBezTo>
                  <a:pt x="1883" y="776"/>
                  <a:pt x="1884" y="777"/>
                  <a:pt x="1884" y="778"/>
                </a:cubicBezTo>
                <a:cubicBezTo>
                  <a:pt x="1885" y="779"/>
                  <a:pt x="1885" y="779"/>
                  <a:pt x="1885" y="779"/>
                </a:cubicBezTo>
                <a:cubicBezTo>
                  <a:pt x="1885" y="779"/>
                  <a:pt x="1885" y="780"/>
                  <a:pt x="1886" y="780"/>
                </a:cubicBezTo>
                <a:cubicBezTo>
                  <a:pt x="1886" y="780"/>
                  <a:pt x="1886" y="780"/>
                  <a:pt x="1886" y="781"/>
                </a:cubicBezTo>
                <a:cubicBezTo>
                  <a:pt x="1887" y="781"/>
                  <a:pt x="1887" y="781"/>
                  <a:pt x="1887" y="782"/>
                </a:cubicBezTo>
                <a:cubicBezTo>
                  <a:pt x="1887" y="782"/>
                  <a:pt x="1886" y="782"/>
                  <a:pt x="1887" y="783"/>
                </a:cubicBezTo>
                <a:cubicBezTo>
                  <a:pt x="1887" y="783"/>
                  <a:pt x="1887" y="783"/>
                  <a:pt x="1888" y="783"/>
                </a:cubicBezTo>
                <a:cubicBezTo>
                  <a:pt x="1888" y="782"/>
                  <a:pt x="1889" y="783"/>
                  <a:pt x="1889" y="783"/>
                </a:cubicBezTo>
                <a:cubicBezTo>
                  <a:pt x="1890" y="783"/>
                  <a:pt x="1890" y="783"/>
                  <a:pt x="1891" y="783"/>
                </a:cubicBezTo>
                <a:cubicBezTo>
                  <a:pt x="1891" y="784"/>
                  <a:pt x="1892" y="784"/>
                  <a:pt x="1892" y="784"/>
                </a:cubicBezTo>
                <a:cubicBezTo>
                  <a:pt x="1893" y="785"/>
                  <a:pt x="1893" y="785"/>
                  <a:pt x="1893" y="785"/>
                </a:cubicBezTo>
                <a:cubicBezTo>
                  <a:pt x="1894" y="786"/>
                  <a:pt x="1894" y="786"/>
                  <a:pt x="1894" y="786"/>
                </a:cubicBezTo>
                <a:cubicBezTo>
                  <a:pt x="1895" y="787"/>
                  <a:pt x="1895" y="787"/>
                  <a:pt x="1896" y="788"/>
                </a:cubicBezTo>
                <a:cubicBezTo>
                  <a:pt x="1897" y="788"/>
                  <a:pt x="1897" y="789"/>
                  <a:pt x="1898" y="789"/>
                </a:cubicBezTo>
                <a:cubicBezTo>
                  <a:pt x="1898" y="790"/>
                  <a:pt x="1899" y="790"/>
                  <a:pt x="1899" y="791"/>
                </a:cubicBezTo>
                <a:cubicBezTo>
                  <a:pt x="1900" y="791"/>
                  <a:pt x="1900" y="791"/>
                  <a:pt x="1900" y="792"/>
                </a:cubicBezTo>
                <a:cubicBezTo>
                  <a:pt x="1901" y="792"/>
                  <a:pt x="1901" y="792"/>
                  <a:pt x="1901" y="792"/>
                </a:cubicBezTo>
                <a:cubicBezTo>
                  <a:pt x="1902" y="793"/>
                  <a:pt x="1902" y="793"/>
                  <a:pt x="1903" y="793"/>
                </a:cubicBezTo>
                <a:cubicBezTo>
                  <a:pt x="1903" y="794"/>
                  <a:pt x="1904" y="795"/>
                  <a:pt x="1904" y="795"/>
                </a:cubicBezTo>
                <a:cubicBezTo>
                  <a:pt x="1905" y="795"/>
                  <a:pt x="1905" y="796"/>
                  <a:pt x="1906" y="796"/>
                </a:cubicBezTo>
                <a:cubicBezTo>
                  <a:pt x="1906" y="797"/>
                  <a:pt x="1907" y="797"/>
                  <a:pt x="1908" y="797"/>
                </a:cubicBezTo>
                <a:cubicBezTo>
                  <a:pt x="1908" y="798"/>
                  <a:pt x="1908" y="799"/>
                  <a:pt x="1909" y="799"/>
                </a:cubicBezTo>
                <a:cubicBezTo>
                  <a:pt x="1910" y="799"/>
                  <a:pt x="1911" y="799"/>
                  <a:pt x="1912" y="799"/>
                </a:cubicBezTo>
                <a:cubicBezTo>
                  <a:pt x="1912" y="799"/>
                  <a:pt x="1913" y="799"/>
                  <a:pt x="1913" y="799"/>
                </a:cubicBezTo>
                <a:cubicBezTo>
                  <a:pt x="1913" y="799"/>
                  <a:pt x="1914" y="798"/>
                  <a:pt x="1914" y="798"/>
                </a:cubicBezTo>
                <a:cubicBezTo>
                  <a:pt x="1915" y="798"/>
                  <a:pt x="1916" y="798"/>
                  <a:pt x="1916" y="798"/>
                </a:cubicBezTo>
                <a:cubicBezTo>
                  <a:pt x="1916" y="799"/>
                  <a:pt x="1916" y="799"/>
                  <a:pt x="1917" y="799"/>
                </a:cubicBezTo>
                <a:cubicBezTo>
                  <a:pt x="1917" y="800"/>
                  <a:pt x="1917" y="800"/>
                  <a:pt x="1918" y="800"/>
                </a:cubicBezTo>
                <a:cubicBezTo>
                  <a:pt x="1918" y="800"/>
                  <a:pt x="1918" y="800"/>
                  <a:pt x="1918" y="801"/>
                </a:cubicBezTo>
                <a:cubicBezTo>
                  <a:pt x="1918" y="801"/>
                  <a:pt x="1919" y="801"/>
                  <a:pt x="1919" y="802"/>
                </a:cubicBezTo>
                <a:cubicBezTo>
                  <a:pt x="1920" y="802"/>
                  <a:pt x="1920" y="803"/>
                  <a:pt x="1921" y="803"/>
                </a:cubicBezTo>
                <a:cubicBezTo>
                  <a:pt x="1921" y="803"/>
                  <a:pt x="1922" y="803"/>
                  <a:pt x="1922" y="804"/>
                </a:cubicBezTo>
                <a:cubicBezTo>
                  <a:pt x="1923" y="804"/>
                  <a:pt x="1924" y="804"/>
                  <a:pt x="1924" y="805"/>
                </a:cubicBezTo>
                <a:cubicBezTo>
                  <a:pt x="1925" y="806"/>
                  <a:pt x="1924" y="806"/>
                  <a:pt x="1924" y="806"/>
                </a:cubicBezTo>
                <a:cubicBezTo>
                  <a:pt x="1923" y="807"/>
                  <a:pt x="1923" y="807"/>
                  <a:pt x="1923" y="807"/>
                </a:cubicBezTo>
                <a:cubicBezTo>
                  <a:pt x="1923" y="807"/>
                  <a:pt x="1923" y="807"/>
                  <a:pt x="1923" y="807"/>
                </a:cubicBezTo>
                <a:cubicBezTo>
                  <a:pt x="1923" y="808"/>
                  <a:pt x="1924" y="807"/>
                  <a:pt x="1925" y="807"/>
                </a:cubicBezTo>
                <a:cubicBezTo>
                  <a:pt x="1925" y="807"/>
                  <a:pt x="1926" y="807"/>
                  <a:pt x="1926" y="807"/>
                </a:cubicBezTo>
                <a:cubicBezTo>
                  <a:pt x="1926" y="807"/>
                  <a:pt x="1927" y="807"/>
                  <a:pt x="1927" y="807"/>
                </a:cubicBezTo>
                <a:cubicBezTo>
                  <a:pt x="1928" y="807"/>
                  <a:pt x="1928" y="807"/>
                  <a:pt x="1928" y="806"/>
                </a:cubicBezTo>
                <a:cubicBezTo>
                  <a:pt x="1929" y="806"/>
                  <a:pt x="1929" y="806"/>
                  <a:pt x="1929" y="807"/>
                </a:cubicBezTo>
                <a:cubicBezTo>
                  <a:pt x="1929" y="807"/>
                  <a:pt x="1929" y="807"/>
                  <a:pt x="1930" y="807"/>
                </a:cubicBezTo>
                <a:cubicBezTo>
                  <a:pt x="1930" y="808"/>
                  <a:pt x="1930" y="808"/>
                  <a:pt x="1930" y="808"/>
                </a:cubicBezTo>
                <a:cubicBezTo>
                  <a:pt x="1930" y="809"/>
                  <a:pt x="1930" y="809"/>
                  <a:pt x="1930" y="810"/>
                </a:cubicBezTo>
                <a:cubicBezTo>
                  <a:pt x="1930" y="810"/>
                  <a:pt x="1931" y="810"/>
                  <a:pt x="1931" y="811"/>
                </a:cubicBezTo>
                <a:cubicBezTo>
                  <a:pt x="1930" y="811"/>
                  <a:pt x="1930" y="811"/>
                  <a:pt x="1930" y="812"/>
                </a:cubicBezTo>
                <a:cubicBezTo>
                  <a:pt x="1930" y="812"/>
                  <a:pt x="1931" y="812"/>
                  <a:pt x="1931" y="813"/>
                </a:cubicBezTo>
                <a:cubicBezTo>
                  <a:pt x="1932" y="813"/>
                  <a:pt x="1932" y="813"/>
                  <a:pt x="1932" y="813"/>
                </a:cubicBezTo>
                <a:cubicBezTo>
                  <a:pt x="1932" y="814"/>
                  <a:pt x="1933" y="814"/>
                  <a:pt x="1933" y="814"/>
                </a:cubicBezTo>
                <a:cubicBezTo>
                  <a:pt x="1933" y="814"/>
                  <a:pt x="1934" y="815"/>
                  <a:pt x="1934" y="815"/>
                </a:cubicBezTo>
                <a:cubicBezTo>
                  <a:pt x="1934" y="815"/>
                  <a:pt x="1935" y="815"/>
                  <a:pt x="1935" y="815"/>
                </a:cubicBezTo>
                <a:cubicBezTo>
                  <a:pt x="1936" y="815"/>
                  <a:pt x="1936" y="815"/>
                  <a:pt x="1936" y="815"/>
                </a:cubicBezTo>
                <a:cubicBezTo>
                  <a:pt x="1937" y="815"/>
                  <a:pt x="1938" y="814"/>
                  <a:pt x="1939" y="815"/>
                </a:cubicBezTo>
                <a:cubicBezTo>
                  <a:pt x="1939" y="815"/>
                  <a:pt x="1939" y="816"/>
                  <a:pt x="1939" y="817"/>
                </a:cubicBezTo>
                <a:cubicBezTo>
                  <a:pt x="1940" y="818"/>
                  <a:pt x="1940" y="818"/>
                  <a:pt x="1941" y="819"/>
                </a:cubicBezTo>
                <a:cubicBezTo>
                  <a:pt x="1941" y="820"/>
                  <a:pt x="1941" y="821"/>
                  <a:pt x="1941" y="821"/>
                </a:cubicBezTo>
                <a:cubicBezTo>
                  <a:pt x="1941" y="822"/>
                  <a:pt x="1942" y="823"/>
                  <a:pt x="1942" y="823"/>
                </a:cubicBezTo>
                <a:cubicBezTo>
                  <a:pt x="1942" y="824"/>
                  <a:pt x="1942" y="825"/>
                  <a:pt x="1942" y="826"/>
                </a:cubicBezTo>
                <a:cubicBezTo>
                  <a:pt x="1943" y="827"/>
                  <a:pt x="1943" y="827"/>
                  <a:pt x="1943" y="828"/>
                </a:cubicBezTo>
                <a:cubicBezTo>
                  <a:pt x="1944" y="829"/>
                  <a:pt x="1945" y="829"/>
                  <a:pt x="1945" y="830"/>
                </a:cubicBezTo>
                <a:cubicBezTo>
                  <a:pt x="1945" y="830"/>
                  <a:pt x="1945" y="831"/>
                  <a:pt x="1945" y="831"/>
                </a:cubicBezTo>
                <a:cubicBezTo>
                  <a:pt x="1944" y="831"/>
                  <a:pt x="1944" y="831"/>
                  <a:pt x="1944" y="831"/>
                </a:cubicBezTo>
                <a:cubicBezTo>
                  <a:pt x="1943" y="832"/>
                  <a:pt x="1943" y="832"/>
                  <a:pt x="1943" y="832"/>
                </a:cubicBezTo>
                <a:cubicBezTo>
                  <a:pt x="1942" y="832"/>
                  <a:pt x="1942" y="832"/>
                  <a:pt x="1941" y="832"/>
                </a:cubicBezTo>
                <a:cubicBezTo>
                  <a:pt x="1941" y="833"/>
                  <a:pt x="1941" y="833"/>
                  <a:pt x="1941" y="834"/>
                </a:cubicBezTo>
                <a:cubicBezTo>
                  <a:pt x="1942" y="834"/>
                  <a:pt x="1941" y="835"/>
                  <a:pt x="1941" y="836"/>
                </a:cubicBezTo>
                <a:cubicBezTo>
                  <a:pt x="1940" y="836"/>
                  <a:pt x="1940" y="836"/>
                  <a:pt x="1940" y="836"/>
                </a:cubicBezTo>
                <a:cubicBezTo>
                  <a:pt x="1940" y="837"/>
                  <a:pt x="1940" y="837"/>
                  <a:pt x="1939" y="837"/>
                </a:cubicBezTo>
                <a:cubicBezTo>
                  <a:pt x="1939" y="839"/>
                  <a:pt x="1938" y="840"/>
                  <a:pt x="1938" y="841"/>
                </a:cubicBezTo>
                <a:cubicBezTo>
                  <a:pt x="1938" y="842"/>
                  <a:pt x="1938" y="842"/>
                  <a:pt x="1939" y="843"/>
                </a:cubicBezTo>
                <a:cubicBezTo>
                  <a:pt x="1939" y="843"/>
                  <a:pt x="1939" y="843"/>
                  <a:pt x="1940" y="843"/>
                </a:cubicBezTo>
                <a:cubicBezTo>
                  <a:pt x="1940" y="843"/>
                  <a:pt x="1940" y="843"/>
                  <a:pt x="1941" y="843"/>
                </a:cubicBezTo>
                <a:cubicBezTo>
                  <a:pt x="1941" y="843"/>
                  <a:pt x="1942" y="843"/>
                  <a:pt x="1942" y="843"/>
                </a:cubicBezTo>
                <a:cubicBezTo>
                  <a:pt x="1943" y="843"/>
                  <a:pt x="1944" y="843"/>
                  <a:pt x="1944" y="842"/>
                </a:cubicBezTo>
                <a:cubicBezTo>
                  <a:pt x="1945" y="841"/>
                  <a:pt x="1945" y="840"/>
                  <a:pt x="1946" y="840"/>
                </a:cubicBezTo>
                <a:cubicBezTo>
                  <a:pt x="1946" y="839"/>
                  <a:pt x="1947" y="839"/>
                  <a:pt x="1947" y="838"/>
                </a:cubicBezTo>
                <a:cubicBezTo>
                  <a:pt x="1948" y="838"/>
                  <a:pt x="1948" y="837"/>
                  <a:pt x="1948" y="836"/>
                </a:cubicBezTo>
                <a:cubicBezTo>
                  <a:pt x="1949" y="836"/>
                  <a:pt x="1949" y="835"/>
                  <a:pt x="1949" y="834"/>
                </a:cubicBezTo>
                <a:cubicBezTo>
                  <a:pt x="1949" y="834"/>
                  <a:pt x="1949" y="834"/>
                  <a:pt x="1948" y="833"/>
                </a:cubicBezTo>
                <a:cubicBezTo>
                  <a:pt x="1948" y="833"/>
                  <a:pt x="1949" y="833"/>
                  <a:pt x="1949" y="832"/>
                </a:cubicBezTo>
                <a:cubicBezTo>
                  <a:pt x="1949" y="832"/>
                  <a:pt x="1950" y="831"/>
                  <a:pt x="1950" y="831"/>
                </a:cubicBezTo>
                <a:cubicBezTo>
                  <a:pt x="1951" y="830"/>
                  <a:pt x="1951" y="830"/>
                  <a:pt x="1952" y="829"/>
                </a:cubicBezTo>
                <a:cubicBezTo>
                  <a:pt x="1952" y="829"/>
                  <a:pt x="1953" y="829"/>
                  <a:pt x="1953" y="829"/>
                </a:cubicBezTo>
                <a:cubicBezTo>
                  <a:pt x="1954" y="829"/>
                  <a:pt x="1954" y="830"/>
                  <a:pt x="1954" y="830"/>
                </a:cubicBezTo>
                <a:cubicBezTo>
                  <a:pt x="1955" y="830"/>
                  <a:pt x="1956" y="830"/>
                  <a:pt x="1956" y="829"/>
                </a:cubicBezTo>
                <a:cubicBezTo>
                  <a:pt x="1956" y="828"/>
                  <a:pt x="1956" y="826"/>
                  <a:pt x="1956" y="825"/>
                </a:cubicBezTo>
                <a:cubicBezTo>
                  <a:pt x="1955" y="824"/>
                  <a:pt x="1955" y="823"/>
                  <a:pt x="1954" y="822"/>
                </a:cubicBezTo>
                <a:cubicBezTo>
                  <a:pt x="1953" y="821"/>
                  <a:pt x="1952" y="820"/>
                  <a:pt x="1951" y="820"/>
                </a:cubicBezTo>
                <a:cubicBezTo>
                  <a:pt x="1950" y="820"/>
                  <a:pt x="1950" y="820"/>
                  <a:pt x="1950" y="820"/>
                </a:cubicBezTo>
                <a:cubicBezTo>
                  <a:pt x="1950" y="820"/>
                  <a:pt x="1949" y="820"/>
                  <a:pt x="1949" y="819"/>
                </a:cubicBezTo>
                <a:cubicBezTo>
                  <a:pt x="1948" y="819"/>
                  <a:pt x="1949" y="817"/>
                  <a:pt x="1949" y="816"/>
                </a:cubicBezTo>
                <a:cubicBezTo>
                  <a:pt x="1950" y="815"/>
                  <a:pt x="1950" y="814"/>
                  <a:pt x="1950" y="814"/>
                </a:cubicBezTo>
                <a:cubicBezTo>
                  <a:pt x="1950" y="813"/>
                  <a:pt x="1951" y="812"/>
                  <a:pt x="1951" y="811"/>
                </a:cubicBezTo>
                <a:cubicBezTo>
                  <a:pt x="1952" y="811"/>
                  <a:pt x="1952" y="810"/>
                  <a:pt x="1953" y="810"/>
                </a:cubicBezTo>
                <a:cubicBezTo>
                  <a:pt x="1953" y="809"/>
                  <a:pt x="1954" y="809"/>
                  <a:pt x="1954" y="808"/>
                </a:cubicBezTo>
                <a:cubicBezTo>
                  <a:pt x="1955" y="808"/>
                  <a:pt x="1956" y="808"/>
                  <a:pt x="1956" y="808"/>
                </a:cubicBezTo>
                <a:cubicBezTo>
                  <a:pt x="1957" y="809"/>
                  <a:pt x="1955" y="810"/>
                  <a:pt x="1957" y="810"/>
                </a:cubicBezTo>
                <a:cubicBezTo>
                  <a:pt x="1957" y="810"/>
                  <a:pt x="1957" y="810"/>
                  <a:pt x="1958" y="810"/>
                </a:cubicBezTo>
                <a:cubicBezTo>
                  <a:pt x="1958" y="810"/>
                  <a:pt x="1959" y="810"/>
                  <a:pt x="1959" y="810"/>
                </a:cubicBezTo>
                <a:cubicBezTo>
                  <a:pt x="1960" y="810"/>
                  <a:pt x="1961" y="810"/>
                  <a:pt x="1961" y="811"/>
                </a:cubicBezTo>
                <a:cubicBezTo>
                  <a:pt x="1962" y="811"/>
                  <a:pt x="1962" y="812"/>
                  <a:pt x="1963" y="812"/>
                </a:cubicBezTo>
                <a:cubicBezTo>
                  <a:pt x="1964" y="813"/>
                  <a:pt x="1964" y="815"/>
                  <a:pt x="1966" y="816"/>
                </a:cubicBezTo>
                <a:cubicBezTo>
                  <a:pt x="1966" y="816"/>
                  <a:pt x="1967" y="816"/>
                  <a:pt x="1968" y="817"/>
                </a:cubicBezTo>
                <a:cubicBezTo>
                  <a:pt x="1968" y="817"/>
                  <a:pt x="1969" y="818"/>
                  <a:pt x="1969" y="818"/>
                </a:cubicBezTo>
                <a:cubicBezTo>
                  <a:pt x="1970" y="818"/>
                  <a:pt x="1970" y="817"/>
                  <a:pt x="1970" y="816"/>
                </a:cubicBezTo>
                <a:cubicBezTo>
                  <a:pt x="1970" y="815"/>
                  <a:pt x="1971" y="815"/>
                  <a:pt x="1971" y="814"/>
                </a:cubicBezTo>
                <a:cubicBezTo>
                  <a:pt x="1971" y="813"/>
                  <a:pt x="1971" y="813"/>
                  <a:pt x="1971" y="812"/>
                </a:cubicBezTo>
                <a:cubicBezTo>
                  <a:pt x="1970" y="812"/>
                  <a:pt x="1970" y="812"/>
                  <a:pt x="1970" y="811"/>
                </a:cubicBezTo>
                <a:cubicBezTo>
                  <a:pt x="1969" y="810"/>
                  <a:pt x="1969" y="810"/>
                  <a:pt x="1968" y="810"/>
                </a:cubicBezTo>
                <a:cubicBezTo>
                  <a:pt x="1968" y="809"/>
                  <a:pt x="1967" y="809"/>
                  <a:pt x="1967" y="809"/>
                </a:cubicBezTo>
                <a:cubicBezTo>
                  <a:pt x="1966" y="808"/>
                  <a:pt x="1966" y="808"/>
                  <a:pt x="1966" y="807"/>
                </a:cubicBezTo>
                <a:cubicBezTo>
                  <a:pt x="1965" y="806"/>
                  <a:pt x="1964" y="806"/>
                  <a:pt x="1963" y="806"/>
                </a:cubicBezTo>
                <a:cubicBezTo>
                  <a:pt x="1963" y="806"/>
                  <a:pt x="1962" y="805"/>
                  <a:pt x="1961" y="804"/>
                </a:cubicBezTo>
                <a:cubicBezTo>
                  <a:pt x="1960" y="804"/>
                  <a:pt x="1959" y="804"/>
                  <a:pt x="1959" y="803"/>
                </a:cubicBezTo>
                <a:cubicBezTo>
                  <a:pt x="1958" y="803"/>
                  <a:pt x="1957" y="802"/>
                  <a:pt x="1956" y="802"/>
                </a:cubicBezTo>
                <a:cubicBezTo>
                  <a:pt x="1956" y="802"/>
                  <a:pt x="1955" y="802"/>
                  <a:pt x="1954" y="801"/>
                </a:cubicBezTo>
                <a:cubicBezTo>
                  <a:pt x="1954" y="801"/>
                  <a:pt x="1953" y="800"/>
                  <a:pt x="1953" y="800"/>
                </a:cubicBezTo>
                <a:cubicBezTo>
                  <a:pt x="1952" y="800"/>
                  <a:pt x="1951" y="800"/>
                  <a:pt x="1951" y="800"/>
                </a:cubicBezTo>
                <a:cubicBezTo>
                  <a:pt x="1950" y="799"/>
                  <a:pt x="1949" y="799"/>
                  <a:pt x="1948" y="798"/>
                </a:cubicBezTo>
                <a:cubicBezTo>
                  <a:pt x="1947" y="798"/>
                  <a:pt x="1946" y="797"/>
                  <a:pt x="1945" y="796"/>
                </a:cubicBezTo>
                <a:cubicBezTo>
                  <a:pt x="1944" y="796"/>
                  <a:pt x="1944" y="796"/>
                  <a:pt x="1944" y="795"/>
                </a:cubicBezTo>
                <a:cubicBezTo>
                  <a:pt x="1943" y="795"/>
                  <a:pt x="1942" y="794"/>
                  <a:pt x="1942" y="793"/>
                </a:cubicBezTo>
                <a:cubicBezTo>
                  <a:pt x="1942" y="792"/>
                  <a:pt x="1943" y="793"/>
                  <a:pt x="1943" y="792"/>
                </a:cubicBezTo>
                <a:cubicBezTo>
                  <a:pt x="1944" y="792"/>
                  <a:pt x="1944" y="792"/>
                  <a:pt x="1944" y="792"/>
                </a:cubicBezTo>
                <a:cubicBezTo>
                  <a:pt x="1944" y="791"/>
                  <a:pt x="1944" y="791"/>
                  <a:pt x="1944" y="791"/>
                </a:cubicBezTo>
                <a:cubicBezTo>
                  <a:pt x="1945" y="789"/>
                  <a:pt x="1944" y="788"/>
                  <a:pt x="1942" y="788"/>
                </a:cubicBezTo>
                <a:cubicBezTo>
                  <a:pt x="1941" y="788"/>
                  <a:pt x="1940" y="788"/>
                  <a:pt x="1939" y="788"/>
                </a:cubicBezTo>
                <a:cubicBezTo>
                  <a:pt x="1939" y="788"/>
                  <a:pt x="1938" y="788"/>
                  <a:pt x="1937" y="788"/>
                </a:cubicBezTo>
                <a:cubicBezTo>
                  <a:pt x="1936" y="788"/>
                  <a:pt x="1936" y="789"/>
                  <a:pt x="1935" y="789"/>
                </a:cubicBezTo>
                <a:cubicBezTo>
                  <a:pt x="1934" y="789"/>
                  <a:pt x="1934" y="789"/>
                  <a:pt x="1934" y="789"/>
                </a:cubicBezTo>
                <a:cubicBezTo>
                  <a:pt x="1933" y="789"/>
                  <a:pt x="1932" y="789"/>
                  <a:pt x="1931" y="788"/>
                </a:cubicBezTo>
                <a:cubicBezTo>
                  <a:pt x="1930" y="788"/>
                  <a:pt x="1930" y="787"/>
                  <a:pt x="1929" y="787"/>
                </a:cubicBezTo>
                <a:cubicBezTo>
                  <a:pt x="1929" y="787"/>
                  <a:pt x="1928" y="787"/>
                  <a:pt x="1928" y="787"/>
                </a:cubicBezTo>
                <a:cubicBezTo>
                  <a:pt x="1928" y="787"/>
                  <a:pt x="1928" y="786"/>
                  <a:pt x="1927" y="786"/>
                </a:cubicBezTo>
                <a:cubicBezTo>
                  <a:pt x="1927" y="785"/>
                  <a:pt x="1926" y="785"/>
                  <a:pt x="1926" y="785"/>
                </a:cubicBezTo>
                <a:cubicBezTo>
                  <a:pt x="1925" y="784"/>
                  <a:pt x="1925" y="783"/>
                  <a:pt x="1924" y="783"/>
                </a:cubicBezTo>
                <a:cubicBezTo>
                  <a:pt x="1924" y="783"/>
                  <a:pt x="1924" y="783"/>
                  <a:pt x="1923" y="782"/>
                </a:cubicBezTo>
                <a:cubicBezTo>
                  <a:pt x="1923" y="782"/>
                  <a:pt x="1923" y="782"/>
                  <a:pt x="1923" y="782"/>
                </a:cubicBezTo>
                <a:cubicBezTo>
                  <a:pt x="1922" y="781"/>
                  <a:pt x="1922" y="781"/>
                  <a:pt x="1922" y="781"/>
                </a:cubicBezTo>
                <a:cubicBezTo>
                  <a:pt x="1921" y="780"/>
                  <a:pt x="1921" y="780"/>
                  <a:pt x="1921" y="779"/>
                </a:cubicBezTo>
                <a:cubicBezTo>
                  <a:pt x="1921" y="779"/>
                  <a:pt x="1920" y="778"/>
                  <a:pt x="1920" y="778"/>
                </a:cubicBezTo>
                <a:cubicBezTo>
                  <a:pt x="1919" y="777"/>
                  <a:pt x="1919" y="777"/>
                  <a:pt x="1919" y="776"/>
                </a:cubicBezTo>
                <a:cubicBezTo>
                  <a:pt x="1919" y="775"/>
                  <a:pt x="1919" y="775"/>
                  <a:pt x="1918" y="775"/>
                </a:cubicBezTo>
                <a:cubicBezTo>
                  <a:pt x="1918" y="774"/>
                  <a:pt x="1918" y="774"/>
                  <a:pt x="1918" y="774"/>
                </a:cubicBezTo>
                <a:cubicBezTo>
                  <a:pt x="1917" y="773"/>
                  <a:pt x="1917" y="772"/>
                  <a:pt x="1917" y="771"/>
                </a:cubicBezTo>
                <a:cubicBezTo>
                  <a:pt x="1918" y="770"/>
                  <a:pt x="1917" y="770"/>
                  <a:pt x="1916" y="769"/>
                </a:cubicBezTo>
                <a:cubicBezTo>
                  <a:pt x="1916" y="769"/>
                  <a:pt x="1916" y="768"/>
                  <a:pt x="1915" y="767"/>
                </a:cubicBezTo>
                <a:cubicBezTo>
                  <a:pt x="1915" y="767"/>
                  <a:pt x="1914" y="767"/>
                  <a:pt x="1913" y="766"/>
                </a:cubicBezTo>
                <a:cubicBezTo>
                  <a:pt x="1913" y="766"/>
                  <a:pt x="1912" y="765"/>
                  <a:pt x="1912" y="765"/>
                </a:cubicBezTo>
                <a:cubicBezTo>
                  <a:pt x="1911" y="764"/>
                  <a:pt x="1910" y="764"/>
                  <a:pt x="1910" y="764"/>
                </a:cubicBezTo>
                <a:cubicBezTo>
                  <a:pt x="1909" y="763"/>
                  <a:pt x="1909" y="763"/>
                  <a:pt x="1908" y="762"/>
                </a:cubicBezTo>
                <a:cubicBezTo>
                  <a:pt x="1907" y="762"/>
                  <a:pt x="1907" y="762"/>
                  <a:pt x="1907" y="761"/>
                </a:cubicBezTo>
                <a:cubicBezTo>
                  <a:pt x="1906" y="761"/>
                  <a:pt x="1906" y="761"/>
                  <a:pt x="1906" y="760"/>
                </a:cubicBezTo>
                <a:cubicBezTo>
                  <a:pt x="1905" y="760"/>
                  <a:pt x="1905" y="760"/>
                  <a:pt x="1905" y="760"/>
                </a:cubicBezTo>
                <a:cubicBezTo>
                  <a:pt x="1904" y="759"/>
                  <a:pt x="1903" y="759"/>
                  <a:pt x="1902" y="758"/>
                </a:cubicBezTo>
                <a:cubicBezTo>
                  <a:pt x="1902" y="758"/>
                  <a:pt x="1902" y="757"/>
                  <a:pt x="1901" y="757"/>
                </a:cubicBezTo>
                <a:cubicBezTo>
                  <a:pt x="1901" y="756"/>
                  <a:pt x="1900" y="755"/>
                  <a:pt x="1900" y="755"/>
                </a:cubicBezTo>
                <a:cubicBezTo>
                  <a:pt x="1900" y="754"/>
                  <a:pt x="1900" y="753"/>
                  <a:pt x="1900" y="752"/>
                </a:cubicBezTo>
                <a:cubicBezTo>
                  <a:pt x="1900" y="751"/>
                  <a:pt x="1900" y="751"/>
                  <a:pt x="1900" y="750"/>
                </a:cubicBezTo>
                <a:cubicBezTo>
                  <a:pt x="1900" y="749"/>
                  <a:pt x="1900" y="748"/>
                  <a:pt x="1901" y="749"/>
                </a:cubicBezTo>
                <a:cubicBezTo>
                  <a:pt x="1901" y="749"/>
                  <a:pt x="1902" y="750"/>
                  <a:pt x="1902" y="749"/>
                </a:cubicBezTo>
                <a:cubicBezTo>
                  <a:pt x="1902" y="748"/>
                  <a:pt x="1902" y="748"/>
                  <a:pt x="1902" y="748"/>
                </a:cubicBezTo>
                <a:cubicBezTo>
                  <a:pt x="1903" y="747"/>
                  <a:pt x="1902" y="746"/>
                  <a:pt x="1901" y="745"/>
                </a:cubicBezTo>
                <a:cubicBezTo>
                  <a:pt x="1901" y="745"/>
                  <a:pt x="1901" y="745"/>
                  <a:pt x="1900" y="744"/>
                </a:cubicBezTo>
                <a:cubicBezTo>
                  <a:pt x="1900" y="744"/>
                  <a:pt x="1900" y="744"/>
                  <a:pt x="1900" y="743"/>
                </a:cubicBezTo>
                <a:cubicBezTo>
                  <a:pt x="1899" y="743"/>
                  <a:pt x="1898" y="743"/>
                  <a:pt x="1899" y="742"/>
                </a:cubicBezTo>
                <a:cubicBezTo>
                  <a:pt x="1899" y="741"/>
                  <a:pt x="1899" y="741"/>
                  <a:pt x="1899" y="741"/>
                </a:cubicBezTo>
                <a:cubicBezTo>
                  <a:pt x="1900" y="741"/>
                  <a:pt x="1900" y="740"/>
                  <a:pt x="1900" y="740"/>
                </a:cubicBezTo>
                <a:cubicBezTo>
                  <a:pt x="1900" y="739"/>
                  <a:pt x="1901" y="739"/>
                  <a:pt x="1902" y="739"/>
                </a:cubicBezTo>
                <a:cubicBezTo>
                  <a:pt x="1902" y="739"/>
                  <a:pt x="1901" y="740"/>
                  <a:pt x="1902" y="740"/>
                </a:cubicBezTo>
                <a:cubicBezTo>
                  <a:pt x="1902" y="740"/>
                  <a:pt x="1902" y="740"/>
                  <a:pt x="1903" y="740"/>
                </a:cubicBezTo>
                <a:cubicBezTo>
                  <a:pt x="1903" y="740"/>
                  <a:pt x="1903" y="740"/>
                  <a:pt x="1904" y="739"/>
                </a:cubicBezTo>
                <a:cubicBezTo>
                  <a:pt x="1905" y="739"/>
                  <a:pt x="1905" y="738"/>
                  <a:pt x="1906" y="738"/>
                </a:cubicBezTo>
                <a:cubicBezTo>
                  <a:pt x="1907" y="738"/>
                  <a:pt x="1908" y="738"/>
                  <a:pt x="1908" y="738"/>
                </a:cubicBezTo>
                <a:cubicBezTo>
                  <a:pt x="1909" y="737"/>
                  <a:pt x="1909" y="737"/>
                  <a:pt x="1909" y="737"/>
                </a:cubicBezTo>
                <a:cubicBezTo>
                  <a:pt x="1909" y="737"/>
                  <a:pt x="1909" y="736"/>
                  <a:pt x="1910" y="736"/>
                </a:cubicBezTo>
                <a:cubicBezTo>
                  <a:pt x="1910" y="736"/>
                  <a:pt x="1910" y="735"/>
                  <a:pt x="1911" y="735"/>
                </a:cubicBezTo>
                <a:cubicBezTo>
                  <a:pt x="1911" y="735"/>
                  <a:pt x="1911" y="736"/>
                  <a:pt x="1912" y="736"/>
                </a:cubicBezTo>
                <a:cubicBezTo>
                  <a:pt x="1913" y="736"/>
                  <a:pt x="1913" y="735"/>
                  <a:pt x="1914" y="736"/>
                </a:cubicBezTo>
                <a:cubicBezTo>
                  <a:pt x="1915" y="736"/>
                  <a:pt x="1915" y="736"/>
                  <a:pt x="1915" y="737"/>
                </a:cubicBezTo>
                <a:cubicBezTo>
                  <a:pt x="1916" y="737"/>
                  <a:pt x="1916" y="737"/>
                  <a:pt x="1916" y="738"/>
                </a:cubicBezTo>
                <a:cubicBezTo>
                  <a:pt x="1915" y="738"/>
                  <a:pt x="1915" y="738"/>
                  <a:pt x="1915" y="738"/>
                </a:cubicBezTo>
                <a:cubicBezTo>
                  <a:pt x="1915" y="739"/>
                  <a:pt x="1915" y="739"/>
                  <a:pt x="1915" y="739"/>
                </a:cubicBezTo>
                <a:cubicBezTo>
                  <a:pt x="1915" y="739"/>
                  <a:pt x="1915" y="739"/>
                  <a:pt x="1915" y="739"/>
                </a:cubicBezTo>
                <a:cubicBezTo>
                  <a:pt x="1914" y="739"/>
                  <a:pt x="1915" y="739"/>
                  <a:pt x="1914" y="739"/>
                </a:cubicBezTo>
                <a:cubicBezTo>
                  <a:pt x="1914" y="739"/>
                  <a:pt x="1915" y="740"/>
                  <a:pt x="1915" y="740"/>
                </a:cubicBezTo>
                <a:cubicBezTo>
                  <a:pt x="1914" y="740"/>
                  <a:pt x="1914" y="740"/>
                  <a:pt x="1914" y="740"/>
                </a:cubicBezTo>
                <a:cubicBezTo>
                  <a:pt x="1914" y="740"/>
                  <a:pt x="1914" y="740"/>
                  <a:pt x="1914" y="741"/>
                </a:cubicBezTo>
                <a:cubicBezTo>
                  <a:pt x="1914" y="741"/>
                  <a:pt x="1914" y="742"/>
                  <a:pt x="1914" y="742"/>
                </a:cubicBezTo>
                <a:cubicBezTo>
                  <a:pt x="1914" y="743"/>
                  <a:pt x="1914" y="742"/>
                  <a:pt x="1915" y="743"/>
                </a:cubicBezTo>
                <a:cubicBezTo>
                  <a:pt x="1915" y="744"/>
                  <a:pt x="1915" y="745"/>
                  <a:pt x="1915" y="745"/>
                </a:cubicBezTo>
                <a:cubicBezTo>
                  <a:pt x="1915" y="746"/>
                  <a:pt x="1916" y="746"/>
                  <a:pt x="1916" y="746"/>
                </a:cubicBezTo>
                <a:cubicBezTo>
                  <a:pt x="1916" y="746"/>
                  <a:pt x="1916" y="747"/>
                  <a:pt x="1916" y="747"/>
                </a:cubicBezTo>
                <a:cubicBezTo>
                  <a:pt x="1917" y="747"/>
                  <a:pt x="1917" y="747"/>
                  <a:pt x="1917" y="747"/>
                </a:cubicBezTo>
                <a:cubicBezTo>
                  <a:pt x="1917" y="748"/>
                  <a:pt x="1917" y="748"/>
                  <a:pt x="1918" y="749"/>
                </a:cubicBezTo>
                <a:cubicBezTo>
                  <a:pt x="1918" y="750"/>
                  <a:pt x="1919" y="749"/>
                  <a:pt x="1919" y="748"/>
                </a:cubicBezTo>
                <a:cubicBezTo>
                  <a:pt x="1919" y="748"/>
                  <a:pt x="1919" y="747"/>
                  <a:pt x="1920" y="746"/>
                </a:cubicBezTo>
                <a:cubicBezTo>
                  <a:pt x="1920" y="746"/>
                  <a:pt x="1920" y="746"/>
                  <a:pt x="1921" y="746"/>
                </a:cubicBezTo>
                <a:cubicBezTo>
                  <a:pt x="1921" y="746"/>
                  <a:pt x="1921" y="746"/>
                  <a:pt x="1922" y="746"/>
                </a:cubicBezTo>
                <a:cubicBezTo>
                  <a:pt x="1922" y="745"/>
                  <a:pt x="1922" y="745"/>
                  <a:pt x="1922" y="744"/>
                </a:cubicBezTo>
                <a:cubicBezTo>
                  <a:pt x="1922" y="744"/>
                  <a:pt x="1922" y="744"/>
                  <a:pt x="1922" y="744"/>
                </a:cubicBezTo>
                <a:cubicBezTo>
                  <a:pt x="1923" y="743"/>
                  <a:pt x="1922" y="742"/>
                  <a:pt x="1923" y="742"/>
                </a:cubicBezTo>
                <a:cubicBezTo>
                  <a:pt x="1924" y="742"/>
                  <a:pt x="1924" y="742"/>
                  <a:pt x="1924" y="742"/>
                </a:cubicBezTo>
                <a:cubicBezTo>
                  <a:pt x="1925" y="742"/>
                  <a:pt x="1925" y="743"/>
                  <a:pt x="1925" y="743"/>
                </a:cubicBezTo>
                <a:cubicBezTo>
                  <a:pt x="1925" y="743"/>
                  <a:pt x="1926" y="743"/>
                  <a:pt x="1926" y="744"/>
                </a:cubicBezTo>
                <a:cubicBezTo>
                  <a:pt x="1927" y="744"/>
                  <a:pt x="1927" y="744"/>
                  <a:pt x="1927" y="744"/>
                </a:cubicBezTo>
                <a:cubicBezTo>
                  <a:pt x="1928" y="744"/>
                  <a:pt x="1928" y="744"/>
                  <a:pt x="1928" y="745"/>
                </a:cubicBezTo>
                <a:cubicBezTo>
                  <a:pt x="1929" y="745"/>
                  <a:pt x="1929" y="746"/>
                  <a:pt x="1930" y="746"/>
                </a:cubicBezTo>
                <a:cubicBezTo>
                  <a:pt x="1930" y="747"/>
                  <a:pt x="1929" y="748"/>
                  <a:pt x="1930" y="749"/>
                </a:cubicBezTo>
                <a:cubicBezTo>
                  <a:pt x="1930" y="749"/>
                  <a:pt x="1930" y="749"/>
                  <a:pt x="1930" y="750"/>
                </a:cubicBezTo>
                <a:cubicBezTo>
                  <a:pt x="1930" y="750"/>
                  <a:pt x="1930" y="751"/>
                  <a:pt x="1931" y="751"/>
                </a:cubicBezTo>
                <a:cubicBezTo>
                  <a:pt x="1931" y="752"/>
                  <a:pt x="1931" y="752"/>
                  <a:pt x="1932" y="753"/>
                </a:cubicBezTo>
                <a:cubicBezTo>
                  <a:pt x="1932" y="754"/>
                  <a:pt x="1932" y="754"/>
                  <a:pt x="1933" y="754"/>
                </a:cubicBezTo>
                <a:cubicBezTo>
                  <a:pt x="1934" y="755"/>
                  <a:pt x="1934" y="755"/>
                  <a:pt x="1935" y="756"/>
                </a:cubicBezTo>
                <a:cubicBezTo>
                  <a:pt x="1935" y="756"/>
                  <a:pt x="1936" y="756"/>
                  <a:pt x="1936" y="756"/>
                </a:cubicBezTo>
                <a:cubicBezTo>
                  <a:pt x="1936" y="757"/>
                  <a:pt x="1935" y="756"/>
                  <a:pt x="1935" y="756"/>
                </a:cubicBezTo>
                <a:cubicBezTo>
                  <a:pt x="1935" y="756"/>
                  <a:pt x="1934" y="756"/>
                  <a:pt x="1934" y="756"/>
                </a:cubicBezTo>
                <a:cubicBezTo>
                  <a:pt x="1934" y="756"/>
                  <a:pt x="1934" y="756"/>
                  <a:pt x="1933" y="756"/>
                </a:cubicBezTo>
                <a:cubicBezTo>
                  <a:pt x="1933" y="756"/>
                  <a:pt x="1933" y="756"/>
                  <a:pt x="1933" y="756"/>
                </a:cubicBezTo>
                <a:cubicBezTo>
                  <a:pt x="1933" y="756"/>
                  <a:pt x="1933" y="756"/>
                  <a:pt x="1932" y="756"/>
                </a:cubicBezTo>
                <a:cubicBezTo>
                  <a:pt x="1932" y="757"/>
                  <a:pt x="1933" y="757"/>
                  <a:pt x="1933" y="757"/>
                </a:cubicBezTo>
                <a:cubicBezTo>
                  <a:pt x="1934" y="758"/>
                  <a:pt x="1934" y="759"/>
                  <a:pt x="1934" y="759"/>
                </a:cubicBezTo>
                <a:cubicBezTo>
                  <a:pt x="1934" y="760"/>
                  <a:pt x="1935" y="760"/>
                  <a:pt x="1935" y="760"/>
                </a:cubicBezTo>
                <a:cubicBezTo>
                  <a:pt x="1935" y="761"/>
                  <a:pt x="1936" y="761"/>
                  <a:pt x="1936" y="761"/>
                </a:cubicBezTo>
                <a:cubicBezTo>
                  <a:pt x="1936" y="762"/>
                  <a:pt x="1937" y="761"/>
                  <a:pt x="1937" y="762"/>
                </a:cubicBezTo>
                <a:cubicBezTo>
                  <a:pt x="1937" y="762"/>
                  <a:pt x="1938" y="762"/>
                  <a:pt x="1938" y="763"/>
                </a:cubicBezTo>
                <a:cubicBezTo>
                  <a:pt x="1938" y="763"/>
                  <a:pt x="1939" y="763"/>
                  <a:pt x="1939" y="763"/>
                </a:cubicBezTo>
                <a:cubicBezTo>
                  <a:pt x="1939" y="763"/>
                  <a:pt x="1940" y="763"/>
                  <a:pt x="1940" y="763"/>
                </a:cubicBezTo>
                <a:cubicBezTo>
                  <a:pt x="1940" y="764"/>
                  <a:pt x="1941" y="764"/>
                  <a:pt x="1941" y="764"/>
                </a:cubicBezTo>
                <a:cubicBezTo>
                  <a:pt x="1941" y="764"/>
                  <a:pt x="1941" y="765"/>
                  <a:pt x="1941" y="765"/>
                </a:cubicBezTo>
                <a:cubicBezTo>
                  <a:pt x="1941" y="765"/>
                  <a:pt x="1942" y="765"/>
                  <a:pt x="1942" y="765"/>
                </a:cubicBezTo>
                <a:cubicBezTo>
                  <a:pt x="1942" y="765"/>
                  <a:pt x="1942" y="766"/>
                  <a:pt x="1943" y="767"/>
                </a:cubicBezTo>
                <a:cubicBezTo>
                  <a:pt x="1944" y="767"/>
                  <a:pt x="1945" y="767"/>
                  <a:pt x="1945" y="767"/>
                </a:cubicBezTo>
                <a:cubicBezTo>
                  <a:pt x="1946" y="767"/>
                  <a:pt x="1947" y="767"/>
                  <a:pt x="1948" y="767"/>
                </a:cubicBezTo>
                <a:cubicBezTo>
                  <a:pt x="1948" y="767"/>
                  <a:pt x="1948" y="767"/>
                  <a:pt x="1949" y="767"/>
                </a:cubicBezTo>
                <a:cubicBezTo>
                  <a:pt x="1949" y="768"/>
                  <a:pt x="1949" y="767"/>
                  <a:pt x="1950" y="768"/>
                </a:cubicBezTo>
                <a:cubicBezTo>
                  <a:pt x="1950" y="768"/>
                  <a:pt x="1950" y="768"/>
                  <a:pt x="1950" y="768"/>
                </a:cubicBezTo>
                <a:cubicBezTo>
                  <a:pt x="1951" y="769"/>
                  <a:pt x="1951" y="768"/>
                  <a:pt x="1951" y="769"/>
                </a:cubicBezTo>
                <a:cubicBezTo>
                  <a:pt x="1952" y="769"/>
                  <a:pt x="1951" y="770"/>
                  <a:pt x="1952" y="770"/>
                </a:cubicBezTo>
                <a:cubicBezTo>
                  <a:pt x="1952" y="770"/>
                  <a:pt x="1953" y="770"/>
                  <a:pt x="1953" y="770"/>
                </a:cubicBezTo>
                <a:cubicBezTo>
                  <a:pt x="1953" y="770"/>
                  <a:pt x="1954" y="770"/>
                  <a:pt x="1954" y="771"/>
                </a:cubicBezTo>
                <a:cubicBezTo>
                  <a:pt x="1954" y="771"/>
                  <a:pt x="1955" y="771"/>
                  <a:pt x="1955" y="771"/>
                </a:cubicBezTo>
                <a:cubicBezTo>
                  <a:pt x="1955" y="771"/>
                  <a:pt x="1955" y="772"/>
                  <a:pt x="1956" y="772"/>
                </a:cubicBezTo>
                <a:cubicBezTo>
                  <a:pt x="1956" y="772"/>
                  <a:pt x="1956" y="772"/>
                  <a:pt x="1957" y="772"/>
                </a:cubicBezTo>
                <a:cubicBezTo>
                  <a:pt x="1957" y="772"/>
                  <a:pt x="1957" y="773"/>
                  <a:pt x="1958" y="773"/>
                </a:cubicBezTo>
                <a:cubicBezTo>
                  <a:pt x="1958" y="773"/>
                  <a:pt x="1958" y="773"/>
                  <a:pt x="1959" y="773"/>
                </a:cubicBezTo>
                <a:cubicBezTo>
                  <a:pt x="1959" y="774"/>
                  <a:pt x="1959" y="774"/>
                  <a:pt x="1960" y="775"/>
                </a:cubicBezTo>
                <a:cubicBezTo>
                  <a:pt x="1960" y="775"/>
                  <a:pt x="1960" y="775"/>
                  <a:pt x="1961" y="775"/>
                </a:cubicBezTo>
                <a:cubicBezTo>
                  <a:pt x="1961" y="776"/>
                  <a:pt x="1962" y="776"/>
                  <a:pt x="1962" y="777"/>
                </a:cubicBezTo>
                <a:cubicBezTo>
                  <a:pt x="1962" y="777"/>
                  <a:pt x="1962" y="777"/>
                  <a:pt x="1962" y="777"/>
                </a:cubicBezTo>
                <a:cubicBezTo>
                  <a:pt x="1963" y="778"/>
                  <a:pt x="1963" y="778"/>
                  <a:pt x="1963" y="778"/>
                </a:cubicBezTo>
                <a:cubicBezTo>
                  <a:pt x="1964" y="778"/>
                  <a:pt x="1964" y="779"/>
                  <a:pt x="1964" y="779"/>
                </a:cubicBezTo>
                <a:cubicBezTo>
                  <a:pt x="1964" y="779"/>
                  <a:pt x="1965" y="779"/>
                  <a:pt x="1965" y="779"/>
                </a:cubicBezTo>
                <a:cubicBezTo>
                  <a:pt x="1966" y="779"/>
                  <a:pt x="1966" y="779"/>
                  <a:pt x="1967" y="780"/>
                </a:cubicBezTo>
                <a:cubicBezTo>
                  <a:pt x="1967" y="780"/>
                  <a:pt x="1968" y="780"/>
                  <a:pt x="1968" y="780"/>
                </a:cubicBezTo>
                <a:cubicBezTo>
                  <a:pt x="1969" y="781"/>
                  <a:pt x="1970" y="781"/>
                  <a:pt x="1971" y="782"/>
                </a:cubicBezTo>
                <a:cubicBezTo>
                  <a:pt x="1971" y="782"/>
                  <a:pt x="1971" y="783"/>
                  <a:pt x="1972" y="783"/>
                </a:cubicBezTo>
                <a:cubicBezTo>
                  <a:pt x="1972" y="782"/>
                  <a:pt x="1971" y="782"/>
                  <a:pt x="1972" y="782"/>
                </a:cubicBezTo>
                <a:cubicBezTo>
                  <a:pt x="1972" y="782"/>
                  <a:pt x="1972" y="782"/>
                  <a:pt x="1973" y="782"/>
                </a:cubicBezTo>
                <a:cubicBezTo>
                  <a:pt x="1973" y="781"/>
                  <a:pt x="1973" y="781"/>
                  <a:pt x="1973" y="781"/>
                </a:cubicBezTo>
                <a:cubicBezTo>
                  <a:pt x="1974" y="781"/>
                  <a:pt x="1974" y="781"/>
                  <a:pt x="1974" y="782"/>
                </a:cubicBezTo>
                <a:cubicBezTo>
                  <a:pt x="1973" y="782"/>
                  <a:pt x="1973" y="782"/>
                  <a:pt x="1972" y="782"/>
                </a:cubicBezTo>
                <a:cubicBezTo>
                  <a:pt x="1972" y="782"/>
                  <a:pt x="1972" y="783"/>
                  <a:pt x="1973" y="783"/>
                </a:cubicBezTo>
                <a:cubicBezTo>
                  <a:pt x="1973" y="784"/>
                  <a:pt x="1973" y="784"/>
                  <a:pt x="1974" y="784"/>
                </a:cubicBezTo>
                <a:cubicBezTo>
                  <a:pt x="1974" y="785"/>
                  <a:pt x="1975" y="785"/>
                  <a:pt x="1975" y="785"/>
                </a:cubicBezTo>
                <a:cubicBezTo>
                  <a:pt x="1975" y="786"/>
                  <a:pt x="1976" y="786"/>
                  <a:pt x="1976" y="787"/>
                </a:cubicBezTo>
                <a:cubicBezTo>
                  <a:pt x="1977" y="787"/>
                  <a:pt x="1977" y="787"/>
                  <a:pt x="1977" y="787"/>
                </a:cubicBezTo>
                <a:cubicBezTo>
                  <a:pt x="1978" y="788"/>
                  <a:pt x="1978" y="788"/>
                  <a:pt x="1978" y="789"/>
                </a:cubicBezTo>
                <a:cubicBezTo>
                  <a:pt x="1979" y="789"/>
                  <a:pt x="1979" y="789"/>
                  <a:pt x="1979" y="789"/>
                </a:cubicBezTo>
                <a:cubicBezTo>
                  <a:pt x="1980" y="789"/>
                  <a:pt x="1980" y="790"/>
                  <a:pt x="1981" y="790"/>
                </a:cubicBezTo>
                <a:cubicBezTo>
                  <a:pt x="1981" y="790"/>
                  <a:pt x="1981" y="790"/>
                  <a:pt x="1982" y="790"/>
                </a:cubicBezTo>
                <a:cubicBezTo>
                  <a:pt x="1982" y="790"/>
                  <a:pt x="1982" y="790"/>
                  <a:pt x="1982" y="791"/>
                </a:cubicBezTo>
                <a:cubicBezTo>
                  <a:pt x="1982" y="791"/>
                  <a:pt x="1983" y="791"/>
                  <a:pt x="1983" y="792"/>
                </a:cubicBezTo>
                <a:cubicBezTo>
                  <a:pt x="1983" y="792"/>
                  <a:pt x="1983" y="793"/>
                  <a:pt x="1983" y="794"/>
                </a:cubicBezTo>
                <a:cubicBezTo>
                  <a:pt x="1982" y="794"/>
                  <a:pt x="1982" y="794"/>
                  <a:pt x="1982" y="794"/>
                </a:cubicBezTo>
                <a:cubicBezTo>
                  <a:pt x="1981" y="794"/>
                  <a:pt x="1981" y="795"/>
                  <a:pt x="1981" y="795"/>
                </a:cubicBezTo>
                <a:cubicBezTo>
                  <a:pt x="1981" y="796"/>
                  <a:pt x="1981" y="796"/>
                  <a:pt x="1981" y="797"/>
                </a:cubicBezTo>
                <a:cubicBezTo>
                  <a:pt x="1981" y="797"/>
                  <a:pt x="1982" y="797"/>
                  <a:pt x="1982" y="797"/>
                </a:cubicBezTo>
                <a:cubicBezTo>
                  <a:pt x="1982" y="797"/>
                  <a:pt x="1982" y="798"/>
                  <a:pt x="1982" y="798"/>
                </a:cubicBezTo>
                <a:cubicBezTo>
                  <a:pt x="1982" y="799"/>
                  <a:pt x="1982" y="800"/>
                  <a:pt x="1982" y="801"/>
                </a:cubicBezTo>
                <a:cubicBezTo>
                  <a:pt x="1981" y="802"/>
                  <a:pt x="1982" y="803"/>
                  <a:pt x="1981" y="803"/>
                </a:cubicBezTo>
                <a:cubicBezTo>
                  <a:pt x="1981" y="804"/>
                  <a:pt x="1981" y="804"/>
                  <a:pt x="1981" y="804"/>
                </a:cubicBezTo>
                <a:cubicBezTo>
                  <a:pt x="1980" y="805"/>
                  <a:pt x="1981" y="805"/>
                  <a:pt x="1980" y="805"/>
                </a:cubicBezTo>
                <a:cubicBezTo>
                  <a:pt x="1980" y="806"/>
                  <a:pt x="1980" y="806"/>
                  <a:pt x="1980" y="806"/>
                </a:cubicBezTo>
                <a:cubicBezTo>
                  <a:pt x="1980" y="807"/>
                  <a:pt x="1980" y="807"/>
                  <a:pt x="1980" y="807"/>
                </a:cubicBezTo>
                <a:cubicBezTo>
                  <a:pt x="1981" y="807"/>
                  <a:pt x="1980" y="808"/>
                  <a:pt x="1980" y="808"/>
                </a:cubicBezTo>
                <a:cubicBezTo>
                  <a:pt x="1981" y="809"/>
                  <a:pt x="1981" y="809"/>
                  <a:pt x="1981" y="809"/>
                </a:cubicBezTo>
                <a:cubicBezTo>
                  <a:pt x="1981" y="810"/>
                  <a:pt x="1981" y="810"/>
                  <a:pt x="1981" y="810"/>
                </a:cubicBezTo>
                <a:cubicBezTo>
                  <a:pt x="1980" y="810"/>
                  <a:pt x="1981" y="809"/>
                  <a:pt x="1980" y="809"/>
                </a:cubicBezTo>
                <a:cubicBezTo>
                  <a:pt x="1980" y="809"/>
                  <a:pt x="1980" y="810"/>
                  <a:pt x="1980" y="810"/>
                </a:cubicBezTo>
                <a:cubicBezTo>
                  <a:pt x="1980" y="810"/>
                  <a:pt x="1981" y="811"/>
                  <a:pt x="1981" y="811"/>
                </a:cubicBezTo>
                <a:cubicBezTo>
                  <a:pt x="1981" y="811"/>
                  <a:pt x="1982" y="812"/>
                  <a:pt x="1982" y="812"/>
                </a:cubicBezTo>
                <a:cubicBezTo>
                  <a:pt x="1982" y="812"/>
                  <a:pt x="1983" y="812"/>
                  <a:pt x="1983" y="813"/>
                </a:cubicBezTo>
                <a:cubicBezTo>
                  <a:pt x="1983" y="813"/>
                  <a:pt x="1984" y="813"/>
                  <a:pt x="1984" y="813"/>
                </a:cubicBezTo>
                <a:cubicBezTo>
                  <a:pt x="1984" y="814"/>
                  <a:pt x="1985" y="814"/>
                  <a:pt x="1985" y="814"/>
                </a:cubicBezTo>
                <a:cubicBezTo>
                  <a:pt x="1985" y="814"/>
                  <a:pt x="1985" y="814"/>
                  <a:pt x="1986" y="815"/>
                </a:cubicBezTo>
                <a:cubicBezTo>
                  <a:pt x="1986" y="815"/>
                  <a:pt x="1987" y="815"/>
                  <a:pt x="1987" y="815"/>
                </a:cubicBezTo>
                <a:cubicBezTo>
                  <a:pt x="1987" y="816"/>
                  <a:pt x="1987" y="816"/>
                  <a:pt x="1987" y="816"/>
                </a:cubicBezTo>
                <a:cubicBezTo>
                  <a:pt x="1987" y="817"/>
                  <a:pt x="1987" y="817"/>
                  <a:pt x="1987" y="817"/>
                </a:cubicBezTo>
                <a:cubicBezTo>
                  <a:pt x="1987" y="818"/>
                  <a:pt x="1987" y="818"/>
                  <a:pt x="1988" y="818"/>
                </a:cubicBezTo>
                <a:cubicBezTo>
                  <a:pt x="1988" y="819"/>
                  <a:pt x="1988" y="819"/>
                  <a:pt x="1988" y="819"/>
                </a:cubicBezTo>
                <a:cubicBezTo>
                  <a:pt x="1988" y="820"/>
                  <a:pt x="1989" y="820"/>
                  <a:pt x="1989" y="820"/>
                </a:cubicBezTo>
                <a:cubicBezTo>
                  <a:pt x="1989" y="820"/>
                  <a:pt x="1989" y="821"/>
                  <a:pt x="1989" y="821"/>
                </a:cubicBezTo>
                <a:cubicBezTo>
                  <a:pt x="1989" y="821"/>
                  <a:pt x="1989" y="821"/>
                  <a:pt x="1990" y="822"/>
                </a:cubicBezTo>
                <a:cubicBezTo>
                  <a:pt x="1990" y="822"/>
                  <a:pt x="1990" y="823"/>
                  <a:pt x="1991" y="823"/>
                </a:cubicBezTo>
                <a:cubicBezTo>
                  <a:pt x="1991" y="824"/>
                  <a:pt x="1991" y="823"/>
                  <a:pt x="1991" y="824"/>
                </a:cubicBezTo>
                <a:cubicBezTo>
                  <a:pt x="1991" y="825"/>
                  <a:pt x="1992" y="825"/>
                  <a:pt x="1993" y="825"/>
                </a:cubicBezTo>
                <a:cubicBezTo>
                  <a:pt x="1993" y="825"/>
                  <a:pt x="1993" y="826"/>
                  <a:pt x="1994" y="826"/>
                </a:cubicBezTo>
                <a:cubicBezTo>
                  <a:pt x="1994" y="826"/>
                  <a:pt x="1994" y="826"/>
                  <a:pt x="1995" y="826"/>
                </a:cubicBezTo>
                <a:cubicBezTo>
                  <a:pt x="1995" y="827"/>
                  <a:pt x="1995" y="827"/>
                  <a:pt x="1995" y="827"/>
                </a:cubicBezTo>
                <a:cubicBezTo>
                  <a:pt x="1996" y="828"/>
                  <a:pt x="1996" y="828"/>
                  <a:pt x="1996" y="828"/>
                </a:cubicBezTo>
                <a:cubicBezTo>
                  <a:pt x="1996" y="829"/>
                  <a:pt x="1996" y="829"/>
                  <a:pt x="1997" y="828"/>
                </a:cubicBezTo>
                <a:cubicBezTo>
                  <a:pt x="1997" y="828"/>
                  <a:pt x="1997" y="828"/>
                  <a:pt x="1997" y="827"/>
                </a:cubicBezTo>
                <a:cubicBezTo>
                  <a:pt x="1997" y="827"/>
                  <a:pt x="1997" y="827"/>
                  <a:pt x="1998" y="827"/>
                </a:cubicBezTo>
                <a:cubicBezTo>
                  <a:pt x="1998" y="827"/>
                  <a:pt x="1998" y="827"/>
                  <a:pt x="1998" y="827"/>
                </a:cubicBezTo>
                <a:cubicBezTo>
                  <a:pt x="1999" y="828"/>
                  <a:pt x="2000" y="827"/>
                  <a:pt x="2000" y="828"/>
                </a:cubicBezTo>
                <a:cubicBezTo>
                  <a:pt x="2000" y="828"/>
                  <a:pt x="2001" y="829"/>
                  <a:pt x="2001" y="829"/>
                </a:cubicBezTo>
                <a:cubicBezTo>
                  <a:pt x="2001" y="829"/>
                  <a:pt x="2000" y="830"/>
                  <a:pt x="2000" y="830"/>
                </a:cubicBezTo>
                <a:cubicBezTo>
                  <a:pt x="2000" y="830"/>
                  <a:pt x="2000" y="830"/>
                  <a:pt x="2000" y="829"/>
                </a:cubicBezTo>
                <a:cubicBezTo>
                  <a:pt x="1999" y="829"/>
                  <a:pt x="1999" y="829"/>
                  <a:pt x="1998" y="829"/>
                </a:cubicBezTo>
                <a:cubicBezTo>
                  <a:pt x="1998" y="829"/>
                  <a:pt x="1998" y="829"/>
                  <a:pt x="1997" y="829"/>
                </a:cubicBezTo>
                <a:cubicBezTo>
                  <a:pt x="1997" y="829"/>
                  <a:pt x="1997" y="829"/>
                  <a:pt x="1996" y="830"/>
                </a:cubicBezTo>
                <a:cubicBezTo>
                  <a:pt x="1996" y="830"/>
                  <a:pt x="1997" y="830"/>
                  <a:pt x="1996" y="831"/>
                </a:cubicBezTo>
                <a:cubicBezTo>
                  <a:pt x="1996" y="831"/>
                  <a:pt x="1995" y="831"/>
                  <a:pt x="1995" y="831"/>
                </a:cubicBezTo>
                <a:cubicBezTo>
                  <a:pt x="1995" y="831"/>
                  <a:pt x="1995" y="831"/>
                  <a:pt x="1995" y="832"/>
                </a:cubicBezTo>
                <a:cubicBezTo>
                  <a:pt x="1994" y="832"/>
                  <a:pt x="1994" y="832"/>
                  <a:pt x="1994" y="833"/>
                </a:cubicBezTo>
                <a:cubicBezTo>
                  <a:pt x="1994" y="833"/>
                  <a:pt x="1994" y="833"/>
                  <a:pt x="1994" y="833"/>
                </a:cubicBezTo>
                <a:cubicBezTo>
                  <a:pt x="1994" y="833"/>
                  <a:pt x="1994" y="834"/>
                  <a:pt x="1994" y="834"/>
                </a:cubicBezTo>
                <a:cubicBezTo>
                  <a:pt x="1994" y="834"/>
                  <a:pt x="1994" y="834"/>
                  <a:pt x="1995" y="834"/>
                </a:cubicBezTo>
                <a:cubicBezTo>
                  <a:pt x="1995" y="834"/>
                  <a:pt x="1995" y="834"/>
                  <a:pt x="1995" y="833"/>
                </a:cubicBezTo>
                <a:cubicBezTo>
                  <a:pt x="1996" y="833"/>
                  <a:pt x="1996" y="833"/>
                  <a:pt x="1996" y="833"/>
                </a:cubicBezTo>
                <a:cubicBezTo>
                  <a:pt x="1996" y="832"/>
                  <a:pt x="1996" y="832"/>
                  <a:pt x="1996" y="832"/>
                </a:cubicBezTo>
                <a:cubicBezTo>
                  <a:pt x="1996" y="832"/>
                  <a:pt x="1996" y="831"/>
                  <a:pt x="1996" y="831"/>
                </a:cubicBezTo>
                <a:cubicBezTo>
                  <a:pt x="1997" y="831"/>
                  <a:pt x="1997" y="832"/>
                  <a:pt x="1997" y="832"/>
                </a:cubicBezTo>
                <a:cubicBezTo>
                  <a:pt x="1997" y="832"/>
                  <a:pt x="1998" y="832"/>
                  <a:pt x="1998" y="833"/>
                </a:cubicBezTo>
                <a:cubicBezTo>
                  <a:pt x="1998" y="833"/>
                  <a:pt x="1998" y="833"/>
                  <a:pt x="1999" y="834"/>
                </a:cubicBezTo>
                <a:cubicBezTo>
                  <a:pt x="1999" y="834"/>
                  <a:pt x="1999" y="834"/>
                  <a:pt x="1999" y="834"/>
                </a:cubicBezTo>
                <a:cubicBezTo>
                  <a:pt x="2000" y="835"/>
                  <a:pt x="2000" y="835"/>
                  <a:pt x="2000" y="836"/>
                </a:cubicBezTo>
                <a:cubicBezTo>
                  <a:pt x="2000" y="836"/>
                  <a:pt x="2000" y="837"/>
                  <a:pt x="2000" y="837"/>
                </a:cubicBezTo>
                <a:cubicBezTo>
                  <a:pt x="2001" y="837"/>
                  <a:pt x="2001" y="837"/>
                  <a:pt x="2001" y="837"/>
                </a:cubicBezTo>
                <a:cubicBezTo>
                  <a:pt x="2002" y="836"/>
                  <a:pt x="2002" y="836"/>
                  <a:pt x="2002" y="836"/>
                </a:cubicBezTo>
                <a:cubicBezTo>
                  <a:pt x="2003" y="837"/>
                  <a:pt x="2003" y="836"/>
                  <a:pt x="2003" y="836"/>
                </a:cubicBezTo>
                <a:cubicBezTo>
                  <a:pt x="2003" y="836"/>
                  <a:pt x="2003" y="835"/>
                  <a:pt x="2004" y="836"/>
                </a:cubicBezTo>
                <a:cubicBezTo>
                  <a:pt x="2004" y="836"/>
                  <a:pt x="2004" y="836"/>
                  <a:pt x="2004" y="837"/>
                </a:cubicBezTo>
                <a:cubicBezTo>
                  <a:pt x="2004" y="837"/>
                  <a:pt x="2005" y="837"/>
                  <a:pt x="2005" y="838"/>
                </a:cubicBezTo>
                <a:cubicBezTo>
                  <a:pt x="2005" y="838"/>
                  <a:pt x="2005" y="838"/>
                  <a:pt x="2006" y="838"/>
                </a:cubicBezTo>
                <a:cubicBezTo>
                  <a:pt x="2007" y="837"/>
                  <a:pt x="2008" y="838"/>
                  <a:pt x="2009" y="837"/>
                </a:cubicBezTo>
                <a:cubicBezTo>
                  <a:pt x="2009" y="836"/>
                  <a:pt x="2010" y="837"/>
                  <a:pt x="2011" y="837"/>
                </a:cubicBezTo>
                <a:cubicBezTo>
                  <a:pt x="2012" y="837"/>
                  <a:pt x="2012" y="837"/>
                  <a:pt x="2013" y="837"/>
                </a:cubicBezTo>
                <a:cubicBezTo>
                  <a:pt x="2014" y="837"/>
                  <a:pt x="2015" y="837"/>
                  <a:pt x="2015" y="837"/>
                </a:cubicBezTo>
                <a:cubicBezTo>
                  <a:pt x="2016" y="837"/>
                  <a:pt x="2016" y="836"/>
                  <a:pt x="2017" y="837"/>
                </a:cubicBezTo>
                <a:cubicBezTo>
                  <a:pt x="2017" y="837"/>
                  <a:pt x="2017" y="837"/>
                  <a:pt x="2017" y="837"/>
                </a:cubicBezTo>
                <a:cubicBezTo>
                  <a:pt x="2018" y="837"/>
                  <a:pt x="2018" y="837"/>
                  <a:pt x="2018" y="837"/>
                </a:cubicBezTo>
                <a:cubicBezTo>
                  <a:pt x="2019" y="837"/>
                  <a:pt x="2019" y="837"/>
                  <a:pt x="2019" y="837"/>
                </a:cubicBezTo>
                <a:cubicBezTo>
                  <a:pt x="2019" y="837"/>
                  <a:pt x="2019" y="837"/>
                  <a:pt x="2020" y="838"/>
                </a:cubicBezTo>
                <a:cubicBezTo>
                  <a:pt x="2020" y="838"/>
                  <a:pt x="2020" y="838"/>
                  <a:pt x="2020" y="838"/>
                </a:cubicBezTo>
                <a:cubicBezTo>
                  <a:pt x="2021" y="838"/>
                  <a:pt x="2021" y="838"/>
                  <a:pt x="2021" y="839"/>
                </a:cubicBezTo>
                <a:cubicBezTo>
                  <a:pt x="2021" y="839"/>
                  <a:pt x="2022" y="839"/>
                  <a:pt x="2022" y="839"/>
                </a:cubicBezTo>
                <a:cubicBezTo>
                  <a:pt x="2023" y="839"/>
                  <a:pt x="2023" y="839"/>
                  <a:pt x="2023" y="839"/>
                </a:cubicBezTo>
                <a:cubicBezTo>
                  <a:pt x="2024" y="839"/>
                  <a:pt x="2024" y="839"/>
                  <a:pt x="2024" y="840"/>
                </a:cubicBezTo>
                <a:cubicBezTo>
                  <a:pt x="2024" y="840"/>
                  <a:pt x="2024" y="840"/>
                  <a:pt x="2023" y="841"/>
                </a:cubicBezTo>
                <a:cubicBezTo>
                  <a:pt x="2023" y="841"/>
                  <a:pt x="2023" y="841"/>
                  <a:pt x="2022" y="842"/>
                </a:cubicBezTo>
                <a:cubicBezTo>
                  <a:pt x="2022" y="842"/>
                  <a:pt x="2022" y="842"/>
                  <a:pt x="2021" y="842"/>
                </a:cubicBezTo>
                <a:cubicBezTo>
                  <a:pt x="2020" y="842"/>
                  <a:pt x="2019" y="842"/>
                  <a:pt x="2019" y="842"/>
                </a:cubicBezTo>
                <a:cubicBezTo>
                  <a:pt x="2019" y="841"/>
                  <a:pt x="2018" y="841"/>
                  <a:pt x="2018" y="841"/>
                </a:cubicBezTo>
                <a:cubicBezTo>
                  <a:pt x="2018" y="841"/>
                  <a:pt x="2017" y="841"/>
                  <a:pt x="2017" y="840"/>
                </a:cubicBezTo>
                <a:cubicBezTo>
                  <a:pt x="2017" y="840"/>
                  <a:pt x="2016" y="840"/>
                  <a:pt x="2016" y="840"/>
                </a:cubicBezTo>
                <a:cubicBezTo>
                  <a:pt x="2015" y="840"/>
                  <a:pt x="2015" y="839"/>
                  <a:pt x="2015" y="839"/>
                </a:cubicBezTo>
                <a:cubicBezTo>
                  <a:pt x="2014" y="839"/>
                  <a:pt x="2014" y="839"/>
                  <a:pt x="2014" y="839"/>
                </a:cubicBezTo>
                <a:cubicBezTo>
                  <a:pt x="2013" y="839"/>
                  <a:pt x="2013" y="838"/>
                  <a:pt x="2012" y="838"/>
                </a:cubicBezTo>
                <a:cubicBezTo>
                  <a:pt x="2012" y="838"/>
                  <a:pt x="2012" y="838"/>
                  <a:pt x="2011" y="838"/>
                </a:cubicBezTo>
                <a:cubicBezTo>
                  <a:pt x="2010" y="838"/>
                  <a:pt x="2010" y="837"/>
                  <a:pt x="2009" y="837"/>
                </a:cubicBezTo>
                <a:cubicBezTo>
                  <a:pt x="2008" y="838"/>
                  <a:pt x="2008" y="838"/>
                  <a:pt x="2007" y="838"/>
                </a:cubicBezTo>
                <a:cubicBezTo>
                  <a:pt x="2007" y="838"/>
                  <a:pt x="2007" y="838"/>
                  <a:pt x="2006" y="838"/>
                </a:cubicBezTo>
                <a:cubicBezTo>
                  <a:pt x="2005" y="838"/>
                  <a:pt x="2005" y="839"/>
                  <a:pt x="2005" y="839"/>
                </a:cubicBezTo>
                <a:cubicBezTo>
                  <a:pt x="2004" y="839"/>
                  <a:pt x="2004" y="839"/>
                  <a:pt x="2004" y="840"/>
                </a:cubicBezTo>
                <a:cubicBezTo>
                  <a:pt x="2003" y="840"/>
                  <a:pt x="2003" y="840"/>
                  <a:pt x="2003" y="841"/>
                </a:cubicBezTo>
                <a:cubicBezTo>
                  <a:pt x="2002" y="841"/>
                  <a:pt x="2002" y="842"/>
                  <a:pt x="2002" y="842"/>
                </a:cubicBezTo>
                <a:cubicBezTo>
                  <a:pt x="2001" y="843"/>
                  <a:pt x="2000" y="843"/>
                  <a:pt x="2001" y="844"/>
                </a:cubicBezTo>
                <a:cubicBezTo>
                  <a:pt x="2001" y="844"/>
                  <a:pt x="2001" y="844"/>
                  <a:pt x="2001" y="844"/>
                </a:cubicBezTo>
                <a:cubicBezTo>
                  <a:pt x="2002" y="845"/>
                  <a:pt x="2002" y="845"/>
                  <a:pt x="2002" y="845"/>
                </a:cubicBezTo>
                <a:cubicBezTo>
                  <a:pt x="2003" y="846"/>
                  <a:pt x="2004" y="846"/>
                  <a:pt x="2004" y="847"/>
                </a:cubicBezTo>
                <a:cubicBezTo>
                  <a:pt x="2004" y="847"/>
                  <a:pt x="2004" y="848"/>
                  <a:pt x="2005" y="848"/>
                </a:cubicBezTo>
                <a:cubicBezTo>
                  <a:pt x="2005" y="848"/>
                  <a:pt x="2005" y="848"/>
                  <a:pt x="2006" y="848"/>
                </a:cubicBezTo>
                <a:cubicBezTo>
                  <a:pt x="2006" y="849"/>
                  <a:pt x="2007" y="850"/>
                  <a:pt x="2007" y="850"/>
                </a:cubicBezTo>
                <a:cubicBezTo>
                  <a:pt x="2007" y="852"/>
                  <a:pt x="2005" y="853"/>
                  <a:pt x="2006" y="855"/>
                </a:cubicBezTo>
                <a:cubicBezTo>
                  <a:pt x="2006" y="855"/>
                  <a:pt x="2007" y="855"/>
                  <a:pt x="2007" y="856"/>
                </a:cubicBezTo>
                <a:cubicBezTo>
                  <a:pt x="2007" y="856"/>
                  <a:pt x="2007" y="857"/>
                  <a:pt x="2008" y="858"/>
                </a:cubicBezTo>
                <a:cubicBezTo>
                  <a:pt x="2008" y="858"/>
                  <a:pt x="2008" y="857"/>
                  <a:pt x="2008" y="857"/>
                </a:cubicBezTo>
                <a:cubicBezTo>
                  <a:pt x="2009" y="856"/>
                  <a:pt x="2010" y="857"/>
                  <a:pt x="2010" y="856"/>
                </a:cubicBezTo>
                <a:cubicBezTo>
                  <a:pt x="2010" y="855"/>
                  <a:pt x="2010" y="854"/>
                  <a:pt x="2012" y="855"/>
                </a:cubicBezTo>
                <a:cubicBezTo>
                  <a:pt x="2012" y="855"/>
                  <a:pt x="2013" y="855"/>
                  <a:pt x="2013" y="856"/>
                </a:cubicBezTo>
                <a:cubicBezTo>
                  <a:pt x="2014" y="857"/>
                  <a:pt x="2014" y="857"/>
                  <a:pt x="2014" y="858"/>
                </a:cubicBezTo>
                <a:cubicBezTo>
                  <a:pt x="2015" y="859"/>
                  <a:pt x="2015" y="859"/>
                  <a:pt x="2015" y="860"/>
                </a:cubicBezTo>
                <a:cubicBezTo>
                  <a:pt x="2015" y="861"/>
                  <a:pt x="2016" y="861"/>
                  <a:pt x="2016" y="862"/>
                </a:cubicBezTo>
                <a:cubicBezTo>
                  <a:pt x="2016" y="862"/>
                  <a:pt x="2016" y="863"/>
                  <a:pt x="2016" y="863"/>
                </a:cubicBezTo>
                <a:cubicBezTo>
                  <a:pt x="2017" y="863"/>
                  <a:pt x="2017" y="862"/>
                  <a:pt x="2017" y="862"/>
                </a:cubicBezTo>
                <a:cubicBezTo>
                  <a:pt x="2017" y="861"/>
                  <a:pt x="2016" y="860"/>
                  <a:pt x="2016" y="860"/>
                </a:cubicBezTo>
                <a:cubicBezTo>
                  <a:pt x="2016" y="860"/>
                  <a:pt x="2017" y="860"/>
                  <a:pt x="2017" y="859"/>
                </a:cubicBezTo>
                <a:cubicBezTo>
                  <a:pt x="2017" y="859"/>
                  <a:pt x="2017" y="858"/>
                  <a:pt x="2017" y="858"/>
                </a:cubicBezTo>
                <a:cubicBezTo>
                  <a:pt x="2017" y="857"/>
                  <a:pt x="2018" y="858"/>
                  <a:pt x="2019" y="858"/>
                </a:cubicBezTo>
                <a:cubicBezTo>
                  <a:pt x="2020" y="859"/>
                  <a:pt x="2020" y="858"/>
                  <a:pt x="2021" y="859"/>
                </a:cubicBezTo>
                <a:cubicBezTo>
                  <a:pt x="2021" y="859"/>
                  <a:pt x="2021" y="860"/>
                  <a:pt x="2022" y="860"/>
                </a:cubicBezTo>
                <a:cubicBezTo>
                  <a:pt x="2022" y="860"/>
                  <a:pt x="2022" y="860"/>
                  <a:pt x="2022" y="860"/>
                </a:cubicBezTo>
                <a:cubicBezTo>
                  <a:pt x="2023" y="861"/>
                  <a:pt x="2023" y="861"/>
                  <a:pt x="2024" y="862"/>
                </a:cubicBezTo>
                <a:cubicBezTo>
                  <a:pt x="2024" y="862"/>
                  <a:pt x="2024" y="863"/>
                  <a:pt x="2025" y="862"/>
                </a:cubicBezTo>
                <a:cubicBezTo>
                  <a:pt x="2025" y="862"/>
                  <a:pt x="2024" y="861"/>
                  <a:pt x="2024" y="861"/>
                </a:cubicBezTo>
                <a:cubicBezTo>
                  <a:pt x="2024" y="860"/>
                  <a:pt x="2023" y="860"/>
                  <a:pt x="2023" y="859"/>
                </a:cubicBezTo>
                <a:cubicBezTo>
                  <a:pt x="2023" y="858"/>
                  <a:pt x="2023" y="857"/>
                  <a:pt x="2023" y="857"/>
                </a:cubicBezTo>
                <a:cubicBezTo>
                  <a:pt x="2022" y="856"/>
                  <a:pt x="2022" y="855"/>
                  <a:pt x="2022" y="855"/>
                </a:cubicBezTo>
                <a:cubicBezTo>
                  <a:pt x="2022" y="854"/>
                  <a:pt x="2022" y="853"/>
                  <a:pt x="2021" y="852"/>
                </a:cubicBezTo>
                <a:cubicBezTo>
                  <a:pt x="2021" y="852"/>
                  <a:pt x="2021" y="852"/>
                  <a:pt x="2020" y="851"/>
                </a:cubicBezTo>
                <a:cubicBezTo>
                  <a:pt x="2020" y="851"/>
                  <a:pt x="2020" y="851"/>
                  <a:pt x="2020" y="850"/>
                </a:cubicBezTo>
                <a:cubicBezTo>
                  <a:pt x="2020" y="850"/>
                  <a:pt x="2019" y="849"/>
                  <a:pt x="2020" y="848"/>
                </a:cubicBezTo>
                <a:cubicBezTo>
                  <a:pt x="2021" y="848"/>
                  <a:pt x="2021" y="849"/>
                  <a:pt x="2021" y="849"/>
                </a:cubicBezTo>
                <a:cubicBezTo>
                  <a:pt x="2021" y="850"/>
                  <a:pt x="2021" y="850"/>
                  <a:pt x="2022" y="850"/>
                </a:cubicBezTo>
                <a:cubicBezTo>
                  <a:pt x="2023" y="850"/>
                  <a:pt x="2023" y="850"/>
                  <a:pt x="2024" y="851"/>
                </a:cubicBezTo>
                <a:cubicBezTo>
                  <a:pt x="2024" y="851"/>
                  <a:pt x="2024" y="852"/>
                  <a:pt x="2025" y="851"/>
                </a:cubicBezTo>
                <a:cubicBezTo>
                  <a:pt x="2025" y="851"/>
                  <a:pt x="2025" y="850"/>
                  <a:pt x="2025" y="850"/>
                </a:cubicBezTo>
                <a:cubicBezTo>
                  <a:pt x="2026" y="849"/>
                  <a:pt x="2028" y="850"/>
                  <a:pt x="2027" y="848"/>
                </a:cubicBezTo>
                <a:cubicBezTo>
                  <a:pt x="2027" y="848"/>
                  <a:pt x="2027" y="848"/>
                  <a:pt x="2027" y="847"/>
                </a:cubicBezTo>
                <a:cubicBezTo>
                  <a:pt x="2027" y="847"/>
                  <a:pt x="2027" y="847"/>
                  <a:pt x="2027" y="846"/>
                </a:cubicBezTo>
                <a:cubicBezTo>
                  <a:pt x="2026" y="846"/>
                  <a:pt x="2026" y="847"/>
                  <a:pt x="2025" y="847"/>
                </a:cubicBezTo>
                <a:cubicBezTo>
                  <a:pt x="2024" y="847"/>
                  <a:pt x="2024" y="846"/>
                  <a:pt x="2024" y="846"/>
                </a:cubicBezTo>
                <a:cubicBezTo>
                  <a:pt x="2024" y="845"/>
                  <a:pt x="2024" y="845"/>
                  <a:pt x="2024" y="845"/>
                </a:cubicBezTo>
                <a:cubicBezTo>
                  <a:pt x="2023" y="845"/>
                  <a:pt x="2023" y="844"/>
                  <a:pt x="2023" y="844"/>
                </a:cubicBezTo>
                <a:cubicBezTo>
                  <a:pt x="2023" y="844"/>
                  <a:pt x="2022" y="843"/>
                  <a:pt x="2023" y="843"/>
                </a:cubicBezTo>
                <a:cubicBezTo>
                  <a:pt x="2023" y="843"/>
                  <a:pt x="2023" y="843"/>
                  <a:pt x="2024" y="842"/>
                </a:cubicBezTo>
                <a:cubicBezTo>
                  <a:pt x="2024" y="842"/>
                  <a:pt x="2025" y="842"/>
                  <a:pt x="2025" y="842"/>
                </a:cubicBezTo>
                <a:cubicBezTo>
                  <a:pt x="2025" y="842"/>
                  <a:pt x="2026" y="842"/>
                  <a:pt x="2026" y="842"/>
                </a:cubicBezTo>
                <a:cubicBezTo>
                  <a:pt x="2026" y="842"/>
                  <a:pt x="2027" y="842"/>
                  <a:pt x="2027" y="842"/>
                </a:cubicBezTo>
                <a:cubicBezTo>
                  <a:pt x="2027" y="842"/>
                  <a:pt x="2027" y="843"/>
                  <a:pt x="2027" y="843"/>
                </a:cubicBezTo>
                <a:cubicBezTo>
                  <a:pt x="2028" y="843"/>
                  <a:pt x="2028" y="841"/>
                  <a:pt x="2028" y="841"/>
                </a:cubicBezTo>
                <a:cubicBezTo>
                  <a:pt x="2029" y="841"/>
                  <a:pt x="2029" y="842"/>
                  <a:pt x="2029" y="843"/>
                </a:cubicBezTo>
                <a:cubicBezTo>
                  <a:pt x="2029" y="843"/>
                  <a:pt x="2030" y="843"/>
                  <a:pt x="2030" y="843"/>
                </a:cubicBezTo>
                <a:cubicBezTo>
                  <a:pt x="2031" y="843"/>
                  <a:pt x="2030" y="844"/>
                  <a:pt x="2031" y="844"/>
                </a:cubicBezTo>
                <a:cubicBezTo>
                  <a:pt x="2031" y="845"/>
                  <a:pt x="2032" y="844"/>
                  <a:pt x="2032" y="845"/>
                </a:cubicBezTo>
                <a:cubicBezTo>
                  <a:pt x="2032" y="845"/>
                  <a:pt x="2032" y="846"/>
                  <a:pt x="2033" y="846"/>
                </a:cubicBezTo>
                <a:cubicBezTo>
                  <a:pt x="2033" y="846"/>
                  <a:pt x="2033" y="846"/>
                  <a:pt x="2034" y="846"/>
                </a:cubicBezTo>
                <a:cubicBezTo>
                  <a:pt x="2034" y="846"/>
                  <a:pt x="2034" y="846"/>
                  <a:pt x="2035" y="846"/>
                </a:cubicBezTo>
                <a:cubicBezTo>
                  <a:pt x="2035" y="845"/>
                  <a:pt x="2035" y="845"/>
                  <a:pt x="2035" y="844"/>
                </a:cubicBezTo>
                <a:cubicBezTo>
                  <a:pt x="2035" y="844"/>
                  <a:pt x="2035" y="844"/>
                  <a:pt x="2034" y="844"/>
                </a:cubicBezTo>
                <a:cubicBezTo>
                  <a:pt x="2034" y="843"/>
                  <a:pt x="2034" y="843"/>
                  <a:pt x="2034" y="842"/>
                </a:cubicBezTo>
                <a:cubicBezTo>
                  <a:pt x="2034" y="842"/>
                  <a:pt x="2033" y="841"/>
                  <a:pt x="2034" y="840"/>
                </a:cubicBezTo>
                <a:cubicBezTo>
                  <a:pt x="2034" y="840"/>
                  <a:pt x="2034" y="840"/>
                  <a:pt x="2034" y="839"/>
                </a:cubicBezTo>
                <a:cubicBezTo>
                  <a:pt x="2034" y="839"/>
                  <a:pt x="2034" y="839"/>
                  <a:pt x="2033" y="839"/>
                </a:cubicBezTo>
                <a:cubicBezTo>
                  <a:pt x="2033" y="838"/>
                  <a:pt x="2032" y="838"/>
                  <a:pt x="2032" y="837"/>
                </a:cubicBezTo>
                <a:cubicBezTo>
                  <a:pt x="2031" y="837"/>
                  <a:pt x="2030" y="837"/>
                  <a:pt x="2030" y="836"/>
                </a:cubicBezTo>
                <a:cubicBezTo>
                  <a:pt x="2030" y="836"/>
                  <a:pt x="2032" y="836"/>
                  <a:pt x="2032" y="836"/>
                </a:cubicBezTo>
                <a:cubicBezTo>
                  <a:pt x="2033" y="836"/>
                  <a:pt x="2033" y="836"/>
                  <a:pt x="2033" y="837"/>
                </a:cubicBezTo>
                <a:cubicBezTo>
                  <a:pt x="2034" y="837"/>
                  <a:pt x="2034" y="837"/>
                  <a:pt x="2034" y="837"/>
                </a:cubicBezTo>
                <a:cubicBezTo>
                  <a:pt x="2034" y="838"/>
                  <a:pt x="2035" y="838"/>
                  <a:pt x="2035" y="839"/>
                </a:cubicBezTo>
                <a:cubicBezTo>
                  <a:pt x="2035" y="839"/>
                  <a:pt x="2035" y="840"/>
                  <a:pt x="2035" y="840"/>
                </a:cubicBezTo>
                <a:cubicBezTo>
                  <a:pt x="2036" y="840"/>
                  <a:pt x="2036" y="840"/>
                  <a:pt x="2036" y="840"/>
                </a:cubicBezTo>
                <a:cubicBezTo>
                  <a:pt x="2036" y="841"/>
                  <a:pt x="2037" y="841"/>
                  <a:pt x="2037" y="841"/>
                </a:cubicBezTo>
                <a:cubicBezTo>
                  <a:pt x="2037" y="841"/>
                  <a:pt x="2037" y="841"/>
                  <a:pt x="2038" y="842"/>
                </a:cubicBezTo>
                <a:cubicBezTo>
                  <a:pt x="2038" y="842"/>
                  <a:pt x="2040" y="843"/>
                  <a:pt x="2040" y="842"/>
                </a:cubicBezTo>
                <a:cubicBezTo>
                  <a:pt x="2040" y="841"/>
                  <a:pt x="2040" y="840"/>
                  <a:pt x="2040" y="840"/>
                </a:cubicBezTo>
                <a:cubicBezTo>
                  <a:pt x="2039" y="839"/>
                  <a:pt x="2039" y="840"/>
                  <a:pt x="2038" y="840"/>
                </a:cubicBezTo>
                <a:cubicBezTo>
                  <a:pt x="2038" y="840"/>
                  <a:pt x="2038" y="839"/>
                  <a:pt x="2037" y="839"/>
                </a:cubicBezTo>
                <a:cubicBezTo>
                  <a:pt x="2037" y="839"/>
                  <a:pt x="2037" y="838"/>
                  <a:pt x="2036" y="837"/>
                </a:cubicBezTo>
                <a:cubicBezTo>
                  <a:pt x="2036" y="837"/>
                  <a:pt x="2036" y="836"/>
                  <a:pt x="2036" y="835"/>
                </a:cubicBezTo>
                <a:cubicBezTo>
                  <a:pt x="2036" y="835"/>
                  <a:pt x="2036" y="835"/>
                  <a:pt x="2036" y="835"/>
                </a:cubicBezTo>
                <a:cubicBezTo>
                  <a:pt x="2035" y="834"/>
                  <a:pt x="2035" y="834"/>
                  <a:pt x="2035" y="834"/>
                </a:cubicBezTo>
                <a:cubicBezTo>
                  <a:pt x="2035" y="834"/>
                  <a:pt x="2035" y="833"/>
                  <a:pt x="2034" y="833"/>
                </a:cubicBezTo>
                <a:cubicBezTo>
                  <a:pt x="2034" y="832"/>
                  <a:pt x="2033" y="833"/>
                  <a:pt x="2032" y="833"/>
                </a:cubicBezTo>
                <a:cubicBezTo>
                  <a:pt x="2032" y="833"/>
                  <a:pt x="2031" y="832"/>
                  <a:pt x="2031" y="832"/>
                </a:cubicBezTo>
                <a:cubicBezTo>
                  <a:pt x="2031" y="832"/>
                  <a:pt x="2030" y="832"/>
                  <a:pt x="2030" y="831"/>
                </a:cubicBezTo>
                <a:cubicBezTo>
                  <a:pt x="2029" y="831"/>
                  <a:pt x="2029" y="831"/>
                  <a:pt x="2028" y="831"/>
                </a:cubicBezTo>
                <a:cubicBezTo>
                  <a:pt x="2028" y="831"/>
                  <a:pt x="2027" y="830"/>
                  <a:pt x="2027" y="830"/>
                </a:cubicBezTo>
                <a:cubicBezTo>
                  <a:pt x="2027" y="829"/>
                  <a:pt x="2027" y="829"/>
                  <a:pt x="2027" y="829"/>
                </a:cubicBezTo>
                <a:cubicBezTo>
                  <a:pt x="2026" y="828"/>
                  <a:pt x="2026" y="828"/>
                  <a:pt x="2026" y="828"/>
                </a:cubicBezTo>
                <a:cubicBezTo>
                  <a:pt x="2025" y="828"/>
                  <a:pt x="2024" y="828"/>
                  <a:pt x="2024" y="828"/>
                </a:cubicBezTo>
                <a:cubicBezTo>
                  <a:pt x="2023" y="829"/>
                  <a:pt x="2023" y="829"/>
                  <a:pt x="2023" y="829"/>
                </a:cubicBezTo>
                <a:cubicBezTo>
                  <a:pt x="2022" y="829"/>
                  <a:pt x="2022" y="829"/>
                  <a:pt x="2022" y="830"/>
                </a:cubicBezTo>
                <a:cubicBezTo>
                  <a:pt x="2021" y="830"/>
                  <a:pt x="2021" y="830"/>
                  <a:pt x="2020" y="830"/>
                </a:cubicBezTo>
                <a:cubicBezTo>
                  <a:pt x="2021" y="830"/>
                  <a:pt x="2021" y="830"/>
                  <a:pt x="2022" y="830"/>
                </a:cubicBezTo>
                <a:cubicBezTo>
                  <a:pt x="2022" y="830"/>
                  <a:pt x="2022" y="830"/>
                  <a:pt x="2023" y="830"/>
                </a:cubicBezTo>
                <a:cubicBezTo>
                  <a:pt x="2023" y="830"/>
                  <a:pt x="2023" y="830"/>
                  <a:pt x="2024" y="830"/>
                </a:cubicBezTo>
                <a:cubicBezTo>
                  <a:pt x="2024" y="831"/>
                  <a:pt x="2024" y="831"/>
                  <a:pt x="2025" y="831"/>
                </a:cubicBezTo>
                <a:cubicBezTo>
                  <a:pt x="2025" y="831"/>
                  <a:pt x="2025" y="831"/>
                  <a:pt x="2026" y="832"/>
                </a:cubicBezTo>
                <a:cubicBezTo>
                  <a:pt x="2026" y="832"/>
                  <a:pt x="2026" y="833"/>
                  <a:pt x="2026" y="833"/>
                </a:cubicBezTo>
                <a:cubicBezTo>
                  <a:pt x="2026" y="833"/>
                  <a:pt x="2027" y="833"/>
                  <a:pt x="2027" y="833"/>
                </a:cubicBezTo>
                <a:cubicBezTo>
                  <a:pt x="2028" y="834"/>
                  <a:pt x="2028" y="834"/>
                  <a:pt x="2028" y="835"/>
                </a:cubicBezTo>
                <a:cubicBezTo>
                  <a:pt x="2028" y="835"/>
                  <a:pt x="2030" y="835"/>
                  <a:pt x="2030" y="836"/>
                </a:cubicBezTo>
                <a:cubicBezTo>
                  <a:pt x="2029" y="836"/>
                  <a:pt x="2029" y="836"/>
                  <a:pt x="2029" y="836"/>
                </a:cubicBezTo>
                <a:cubicBezTo>
                  <a:pt x="2028" y="836"/>
                  <a:pt x="2028" y="836"/>
                  <a:pt x="2028" y="836"/>
                </a:cubicBezTo>
                <a:cubicBezTo>
                  <a:pt x="2027" y="835"/>
                  <a:pt x="2027" y="835"/>
                  <a:pt x="2027" y="835"/>
                </a:cubicBezTo>
                <a:cubicBezTo>
                  <a:pt x="2026" y="835"/>
                  <a:pt x="2026" y="835"/>
                  <a:pt x="2026" y="835"/>
                </a:cubicBezTo>
                <a:cubicBezTo>
                  <a:pt x="2025" y="834"/>
                  <a:pt x="2025" y="834"/>
                  <a:pt x="2024" y="834"/>
                </a:cubicBezTo>
                <a:cubicBezTo>
                  <a:pt x="2024" y="833"/>
                  <a:pt x="2024" y="833"/>
                  <a:pt x="2023" y="833"/>
                </a:cubicBezTo>
                <a:cubicBezTo>
                  <a:pt x="2023" y="833"/>
                  <a:pt x="2023" y="832"/>
                  <a:pt x="2022" y="831"/>
                </a:cubicBezTo>
                <a:cubicBezTo>
                  <a:pt x="2021" y="831"/>
                  <a:pt x="2021" y="831"/>
                  <a:pt x="2020" y="831"/>
                </a:cubicBezTo>
                <a:cubicBezTo>
                  <a:pt x="2019" y="831"/>
                  <a:pt x="2019" y="831"/>
                  <a:pt x="2019" y="831"/>
                </a:cubicBezTo>
                <a:cubicBezTo>
                  <a:pt x="2018" y="831"/>
                  <a:pt x="2018" y="831"/>
                  <a:pt x="2018" y="831"/>
                </a:cubicBezTo>
                <a:cubicBezTo>
                  <a:pt x="2018" y="831"/>
                  <a:pt x="2018" y="830"/>
                  <a:pt x="2017" y="830"/>
                </a:cubicBezTo>
                <a:cubicBezTo>
                  <a:pt x="2018" y="830"/>
                  <a:pt x="2018" y="830"/>
                  <a:pt x="2019" y="830"/>
                </a:cubicBezTo>
                <a:cubicBezTo>
                  <a:pt x="2019" y="830"/>
                  <a:pt x="2019" y="830"/>
                  <a:pt x="2020" y="829"/>
                </a:cubicBezTo>
                <a:cubicBezTo>
                  <a:pt x="2020" y="829"/>
                  <a:pt x="2020" y="829"/>
                  <a:pt x="2021" y="829"/>
                </a:cubicBezTo>
                <a:cubicBezTo>
                  <a:pt x="2021" y="829"/>
                  <a:pt x="2022" y="829"/>
                  <a:pt x="2022" y="829"/>
                </a:cubicBezTo>
                <a:cubicBezTo>
                  <a:pt x="2023" y="828"/>
                  <a:pt x="2022" y="828"/>
                  <a:pt x="2022" y="827"/>
                </a:cubicBezTo>
                <a:cubicBezTo>
                  <a:pt x="2021" y="827"/>
                  <a:pt x="2021" y="827"/>
                  <a:pt x="2021" y="826"/>
                </a:cubicBezTo>
                <a:cubicBezTo>
                  <a:pt x="2021" y="826"/>
                  <a:pt x="2021" y="826"/>
                  <a:pt x="2020" y="826"/>
                </a:cubicBezTo>
                <a:cubicBezTo>
                  <a:pt x="2020" y="825"/>
                  <a:pt x="2020" y="825"/>
                  <a:pt x="2020" y="825"/>
                </a:cubicBezTo>
                <a:cubicBezTo>
                  <a:pt x="2021" y="825"/>
                  <a:pt x="2021" y="825"/>
                  <a:pt x="2021" y="825"/>
                </a:cubicBezTo>
                <a:cubicBezTo>
                  <a:pt x="2022" y="824"/>
                  <a:pt x="2022" y="824"/>
                  <a:pt x="2023" y="824"/>
                </a:cubicBezTo>
                <a:cubicBezTo>
                  <a:pt x="2023" y="825"/>
                  <a:pt x="2023" y="825"/>
                  <a:pt x="2024" y="825"/>
                </a:cubicBezTo>
                <a:cubicBezTo>
                  <a:pt x="2024" y="825"/>
                  <a:pt x="2024" y="825"/>
                  <a:pt x="2024" y="826"/>
                </a:cubicBezTo>
                <a:cubicBezTo>
                  <a:pt x="2025" y="827"/>
                  <a:pt x="2023" y="827"/>
                  <a:pt x="2023" y="827"/>
                </a:cubicBezTo>
                <a:cubicBezTo>
                  <a:pt x="2024" y="827"/>
                  <a:pt x="2024" y="827"/>
                  <a:pt x="2024" y="827"/>
                </a:cubicBezTo>
                <a:cubicBezTo>
                  <a:pt x="2025" y="826"/>
                  <a:pt x="2025" y="827"/>
                  <a:pt x="2025" y="826"/>
                </a:cubicBezTo>
                <a:cubicBezTo>
                  <a:pt x="2027" y="826"/>
                  <a:pt x="2025" y="825"/>
                  <a:pt x="2025" y="825"/>
                </a:cubicBezTo>
                <a:cubicBezTo>
                  <a:pt x="2024" y="824"/>
                  <a:pt x="2024" y="823"/>
                  <a:pt x="2024" y="823"/>
                </a:cubicBezTo>
                <a:cubicBezTo>
                  <a:pt x="2023" y="822"/>
                  <a:pt x="2022" y="823"/>
                  <a:pt x="2022" y="821"/>
                </a:cubicBezTo>
                <a:cubicBezTo>
                  <a:pt x="2022" y="821"/>
                  <a:pt x="2022" y="821"/>
                  <a:pt x="2022" y="820"/>
                </a:cubicBezTo>
                <a:cubicBezTo>
                  <a:pt x="2022" y="820"/>
                  <a:pt x="2021" y="820"/>
                  <a:pt x="2021" y="819"/>
                </a:cubicBezTo>
                <a:cubicBezTo>
                  <a:pt x="2021" y="819"/>
                  <a:pt x="2021" y="819"/>
                  <a:pt x="2020" y="818"/>
                </a:cubicBezTo>
                <a:cubicBezTo>
                  <a:pt x="2020" y="818"/>
                  <a:pt x="2020" y="817"/>
                  <a:pt x="2019" y="817"/>
                </a:cubicBezTo>
                <a:cubicBezTo>
                  <a:pt x="2019" y="816"/>
                  <a:pt x="2019" y="816"/>
                  <a:pt x="2018" y="816"/>
                </a:cubicBezTo>
                <a:cubicBezTo>
                  <a:pt x="2018" y="815"/>
                  <a:pt x="2018" y="815"/>
                  <a:pt x="2018" y="815"/>
                </a:cubicBezTo>
                <a:cubicBezTo>
                  <a:pt x="2018" y="814"/>
                  <a:pt x="2018" y="814"/>
                  <a:pt x="2017" y="814"/>
                </a:cubicBezTo>
                <a:cubicBezTo>
                  <a:pt x="2017" y="814"/>
                  <a:pt x="2017" y="813"/>
                  <a:pt x="2017" y="813"/>
                </a:cubicBezTo>
                <a:cubicBezTo>
                  <a:pt x="2017" y="812"/>
                  <a:pt x="2017" y="811"/>
                  <a:pt x="2018" y="810"/>
                </a:cubicBezTo>
                <a:cubicBezTo>
                  <a:pt x="2018" y="810"/>
                  <a:pt x="2018" y="810"/>
                  <a:pt x="2018" y="809"/>
                </a:cubicBezTo>
                <a:cubicBezTo>
                  <a:pt x="2018" y="809"/>
                  <a:pt x="2018" y="809"/>
                  <a:pt x="2018" y="808"/>
                </a:cubicBezTo>
                <a:cubicBezTo>
                  <a:pt x="2019" y="808"/>
                  <a:pt x="2019" y="808"/>
                  <a:pt x="2019" y="808"/>
                </a:cubicBezTo>
                <a:cubicBezTo>
                  <a:pt x="2020" y="808"/>
                  <a:pt x="2020" y="807"/>
                  <a:pt x="2020" y="807"/>
                </a:cubicBezTo>
                <a:cubicBezTo>
                  <a:pt x="2021" y="807"/>
                  <a:pt x="2021" y="807"/>
                  <a:pt x="2021" y="808"/>
                </a:cubicBezTo>
                <a:cubicBezTo>
                  <a:pt x="2021" y="808"/>
                  <a:pt x="2020" y="808"/>
                  <a:pt x="2020" y="808"/>
                </a:cubicBezTo>
                <a:cubicBezTo>
                  <a:pt x="2019" y="809"/>
                  <a:pt x="2021" y="809"/>
                  <a:pt x="2021" y="810"/>
                </a:cubicBezTo>
                <a:cubicBezTo>
                  <a:pt x="2021" y="810"/>
                  <a:pt x="2021" y="810"/>
                  <a:pt x="2022" y="810"/>
                </a:cubicBezTo>
                <a:cubicBezTo>
                  <a:pt x="2022" y="811"/>
                  <a:pt x="2023" y="810"/>
                  <a:pt x="2023" y="811"/>
                </a:cubicBezTo>
                <a:cubicBezTo>
                  <a:pt x="2023" y="811"/>
                  <a:pt x="2023" y="811"/>
                  <a:pt x="2024" y="811"/>
                </a:cubicBezTo>
                <a:cubicBezTo>
                  <a:pt x="2024" y="812"/>
                  <a:pt x="2024" y="811"/>
                  <a:pt x="2025" y="812"/>
                </a:cubicBezTo>
                <a:cubicBezTo>
                  <a:pt x="2026" y="812"/>
                  <a:pt x="2026" y="813"/>
                  <a:pt x="2026" y="813"/>
                </a:cubicBezTo>
                <a:cubicBezTo>
                  <a:pt x="2026" y="815"/>
                  <a:pt x="2026" y="815"/>
                  <a:pt x="2027" y="815"/>
                </a:cubicBezTo>
                <a:cubicBezTo>
                  <a:pt x="2027" y="816"/>
                  <a:pt x="2028" y="816"/>
                  <a:pt x="2028" y="816"/>
                </a:cubicBezTo>
                <a:cubicBezTo>
                  <a:pt x="2028" y="816"/>
                  <a:pt x="2029" y="816"/>
                  <a:pt x="2029" y="816"/>
                </a:cubicBezTo>
                <a:cubicBezTo>
                  <a:pt x="2030" y="816"/>
                  <a:pt x="2030" y="816"/>
                  <a:pt x="2030" y="816"/>
                </a:cubicBezTo>
                <a:cubicBezTo>
                  <a:pt x="2031" y="816"/>
                  <a:pt x="2031" y="816"/>
                  <a:pt x="2030" y="816"/>
                </a:cubicBezTo>
                <a:cubicBezTo>
                  <a:pt x="2030" y="816"/>
                  <a:pt x="2030" y="816"/>
                  <a:pt x="2029" y="815"/>
                </a:cubicBezTo>
                <a:cubicBezTo>
                  <a:pt x="2029" y="815"/>
                  <a:pt x="2029" y="815"/>
                  <a:pt x="2029" y="814"/>
                </a:cubicBezTo>
                <a:cubicBezTo>
                  <a:pt x="2028" y="814"/>
                  <a:pt x="2027" y="814"/>
                  <a:pt x="2027" y="813"/>
                </a:cubicBezTo>
                <a:cubicBezTo>
                  <a:pt x="2026" y="813"/>
                  <a:pt x="2026" y="813"/>
                  <a:pt x="2026" y="812"/>
                </a:cubicBezTo>
                <a:cubicBezTo>
                  <a:pt x="2027" y="812"/>
                  <a:pt x="2027" y="812"/>
                  <a:pt x="2027" y="812"/>
                </a:cubicBezTo>
                <a:cubicBezTo>
                  <a:pt x="2028" y="812"/>
                  <a:pt x="2028" y="812"/>
                  <a:pt x="2029" y="812"/>
                </a:cubicBezTo>
                <a:cubicBezTo>
                  <a:pt x="2029" y="812"/>
                  <a:pt x="2029" y="812"/>
                  <a:pt x="2030" y="813"/>
                </a:cubicBezTo>
                <a:cubicBezTo>
                  <a:pt x="2030" y="813"/>
                  <a:pt x="2030" y="813"/>
                  <a:pt x="2030" y="813"/>
                </a:cubicBezTo>
                <a:cubicBezTo>
                  <a:pt x="2031" y="814"/>
                  <a:pt x="2031" y="814"/>
                  <a:pt x="2031" y="814"/>
                </a:cubicBezTo>
                <a:cubicBezTo>
                  <a:pt x="2031" y="814"/>
                  <a:pt x="2031" y="815"/>
                  <a:pt x="2032" y="815"/>
                </a:cubicBezTo>
                <a:cubicBezTo>
                  <a:pt x="2032" y="815"/>
                  <a:pt x="2032" y="815"/>
                  <a:pt x="2033" y="815"/>
                </a:cubicBezTo>
                <a:cubicBezTo>
                  <a:pt x="2033" y="815"/>
                  <a:pt x="2033" y="816"/>
                  <a:pt x="2034" y="816"/>
                </a:cubicBezTo>
                <a:cubicBezTo>
                  <a:pt x="2034" y="815"/>
                  <a:pt x="2033" y="815"/>
                  <a:pt x="2033" y="815"/>
                </a:cubicBezTo>
                <a:cubicBezTo>
                  <a:pt x="2032" y="815"/>
                  <a:pt x="2032" y="814"/>
                  <a:pt x="2032" y="814"/>
                </a:cubicBezTo>
                <a:cubicBezTo>
                  <a:pt x="2032" y="813"/>
                  <a:pt x="2031" y="813"/>
                  <a:pt x="2031" y="812"/>
                </a:cubicBezTo>
                <a:cubicBezTo>
                  <a:pt x="2031" y="812"/>
                  <a:pt x="2030" y="810"/>
                  <a:pt x="2031" y="810"/>
                </a:cubicBezTo>
                <a:cubicBezTo>
                  <a:pt x="2032" y="810"/>
                  <a:pt x="2032" y="810"/>
                  <a:pt x="2032" y="810"/>
                </a:cubicBezTo>
                <a:cubicBezTo>
                  <a:pt x="2033" y="810"/>
                  <a:pt x="2033" y="810"/>
                  <a:pt x="2033" y="810"/>
                </a:cubicBezTo>
                <a:cubicBezTo>
                  <a:pt x="2034" y="811"/>
                  <a:pt x="2034" y="811"/>
                  <a:pt x="2034" y="811"/>
                </a:cubicBezTo>
                <a:cubicBezTo>
                  <a:pt x="2035" y="811"/>
                  <a:pt x="2035" y="811"/>
                  <a:pt x="2034" y="811"/>
                </a:cubicBezTo>
                <a:cubicBezTo>
                  <a:pt x="2034" y="810"/>
                  <a:pt x="2033" y="810"/>
                  <a:pt x="2033" y="809"/>
                </a:cubicBezTo>
                <a:cubicBezTo>
                  <a:pt x="2032" y="809"/>
                  <a:pt x="2032" y="808"/>
                  <a:pt x="2032" y="807"/>
                </a:cubicBezTo>
                <a:cubicBezTo>
                  <a:pt x="2031" y="807"/>
                  <a:pt x="2030" y="806"/>
                  <a:pt x="2031" y="805"/>
                </a:cubicBezTo>
                <a:cubicBezTo>
                  <a:pt x="2031" y="804"/>
                  <a:pt x="2032" y="805"/>
                  <a:pt x="2033" y="805"/>
                </a:cubicBezTo>
                <a:cubicBezTo>
                  <a:pt x="2034" y="804"/>
                  <a:pt x="2034" y="804"/>
                  <a:pt x="2034" y="804"/>
                </a:cubicBezTo>
                <a:cubicBezTo>
                  <a:pt x="2035" y="803"/>
                  <a:pt x="2035" y="803"/>
                  <a:pt x="2036" y="803"/>
                </a:cubicBezTo>
                <a:cubicBezTo>
                  <a:pt x="2036" y="803"/>
                  <a:pt x="2037" y="802"/>
                  <a:pt x="2038" y="802"/>
                </a:cubicBezTo>
                <a:cubicBezTo>
                  <a:pt x="2038" y="802"/>
                  <a:pt x="2038" y="803"/>
                  <a:pt x="2039" y="803"/>
                </a:cubicBezTo>
                <a:cubicBezTo>
                  <a:pt x="2039" y="802"/>
                  <a:pt x="2040" y="802"/>
                  <a:pt x="2040" y="802"/>
                </a:cubicBezTo>
                <a:cubicBezTo>
                  <a:pt x="2041" y="802"/>
                  <a:pt x="2041" y="803"/>
                  <a:pt x="2042" y="803"/>
                </a:cubicBezTo>
                <a:cubicBezTo>
                  <a:pt x="2043" y="804"/>
                  <a:pt x="2044" y="803"/>
                  <a:pt x="2044" y="803"/>
                </a:cubicBezTo>
                <a:cubicBezTo>
                  <a:pt x="2045" y="803"/>
                  <a:pt x="2045" y="802"/>
                  <a:pt x="2046" y="802"/>
                </a:cubicBezTo>
                <a:cubicBezTo>
                  <a:pt x="2047" y="802"/>
                  <a:pt x="2048" y="802"/>
                  <a:pt x="2048" y="802"/>
                </a:cubicBezTo>
                <a:cubicBezTo>
                  <a:pt x="2049" y="802"/>
                  <a:pt x="2050" y="803"/>
                  <a:pt x="2050" y="803"/>
                </a:cubicBezTo>
                <a:cubicBezTo>
                  <a:pt x="2051" y="803"/>
                  <a:pt x="2052" y="803"/>
                  <a:pt x="2053" y="803"/>
                </a:cubicBezTo>
                <a:cubicBezTo>
                  <a:pt x="2053" y="804"/>
                  <a:pt x="2053" y="804"/>
                  <a:pt x="2054" y="804"/>
                </a:cubicBezTo>
                <a:cubicBezTo>
                  <a:pt x="2054" y="805"/>
                  <a:pt x="2055" y="805"/>
                  <a:pt x="2055" y="805"/>
                </a:cubicBezTo>
                <a:cubicBezTo>
                  <a:pt x="2056" y="805"/>
                  <a:pt x="2056" y="805"/>
                  <a:pt x="2057" y="806"/>
                </a:cubicBezTo>
                <a:cubicBezTo>
                  <a:pt x="2057" y="807"/>
                  <a:pt x="2057" y="807"/>
                  <a:pt x="2058" y="807"/>
                </a:cubicBezTo>
                <a:cubicBezTo>
                  <a:pt x="2059" y="807"/>
                  <a:pt x="2060" y="807"/>
                  <a:pt x="2061" y="807"/>
                </a:cubicBezTo>
                <a:cubicBezTo>
                  <a:pt x="2061" y="807"/>
                  <a:pt x="2062" y="807"/>
                  <a:pt x="2063" y="807"/>
                </a:cubicBezTo>
                <a:cubicBezTo>
                  <a:pt x="2063" y="807"/>
                  <a:pt x="2063" y="807"/>
                  <a:pt x="2064" y="806"/>
                </a:cubicBezTo>
                <a:cubicBezTo>
                  <a:pt x="2064" y="806"/>
                  <a:pt x="2064" y="806"/>
                  <a:pt x="2065" y="807"/>
                </a:cubicBezTo>
                <a:cubicBezTo>
                  <a:pt x="2065" y="807"/>
                  <a:pt x="2065" y="807"/>
                  <a:pt x="2065" y="808"/>
                </a:cubicBezTo>
                <a:cubicBezTo>
                  <a:pt x="2064" y="808"/>
                  <a:pt x="2064" y="808"/>
                  <a:pt x="2063" y="808"/>
                </a:cubicBezTo>
                <a:cubicBezTo>
                  <a:pt x="2062" y="808"/>
                  <a:pt x="2062" y="809"/>
                  <a:pt x="2061" y="809"/>
                </a:cubicBezTo>
                <a:cubicBezTo>
                  <a:pt x="2061" y="810"/>
                  <a:pt x="2060" y="809"/>
                  <a:pt x="2059" y="810"/>
                </a:cubicBezTo>
                <a:cubicBezTo>
                  <a:pt x="2058" y="811"/>
                  <a:pt x="2058" y="812"/>
                  <a:pt x="2058" y="813"/>
                </a:cubicBezTo>
                <a:cubicBezTo>
                  <a:pt x="2058" y="813"/>
                  <a:pt x="2058" y="813"/>
                  <a:pt x="2059" y="813"/>
                </a:cubicBezTo>
                <a:cubicBezTo>
                  <a:pt x="2060" y="813"/>
                  <a:pt x="2061" y="812"/>
                  <a:pt x="2062" y="811"/>
                </a:cubicBezTo>
                <a:cubicBezTo>
                  <a:pt x="2063" y="811"/>
                  <a:pt x="2063" y="811"/>
                  <a:pt x="2064" y="811"/>
                </a:cubicBezTo>
                <a:cubicBezTo>
                  <a:pt x="2064" y="810"/>
                  <a:pt x="2064" y="810"/>
                  <a:pt x="2065" y="810"/>
                </a:cubicBezTo>
                <a:cubicBezTo>
                  <a:pt x="2065" y="809"/>
                  <a:pt x="2066" y="809"/>
                  <a:pt x="2066" y="809"/>
                </a:cubicBezTo>
                <a:cubicBezTo>
                  <a:pt x="2066" y="809"/>
                  <a:pt x="2066" y="808"/>
                  <a:pt x="2067" y="808"/>
                </a:cubicBezTo>
                <a:cubicBezTo>
                  <a:pt x="2067" y="807"/>
                  <a:pt x="2068" y="807"/>
                  <a:pt x="2069" y="807"/>
                </a:cubicBezTo>
                <a:cubicBezTo>
                  <a:pt x="2070" y="806"/>
                  <a:pt x="2070" y="806"/>
                  <a:pt x="2071" y="805"/>
                </a:cubicBezTo>
                <a:cubicBezTo>
                  <a:pt x="2071" y="804"/>
                  <a:pt x="2072" y="804"/>
                  <a:pt x="2073" y="804"/>
                </a:cubicBezTo>
                <a:cubicBezTo>
                  <a:pt x="2073" y="804"/>
                  <a:pt x="2073" y="803"/>
                  <a:pt x="2074" y="802"/>
                </a:cubicBezTo>
                <a:cubicBezTo>
                  <a:pt x="2075" y="801"/>
                  <a:pt x="2075" y="802"/>
                  <a:pt x="2076" y="802"/>
                </a:cubicBezTo>
                <a:cubicBezTo>
                  <a:pt x="2077" y="802"/>
                  <a:pt x="2078" y="801"/>
                  <a:pt x="2079" y="801"/>
                </a:cubicBezTo>
                <a:cubicBezTo>
                  <a:pt x="2079" y="801"/>
                  <a:pt x="2080" y="801"/>
                  <a:pt x="2081" y="801"/>
                </a:cubicBezTo>
                <a:cubicBezTo>
                  <a:pt x="2081" y="801"/>
                  <a:pt x="2082" y="801"/>
                  <a:pt x="2082" y="801"/>
                </a:cubicBezTo>
                <a:cubicBezTo>
                  <a:pt x="2082" y="800"/>
                  <a:pt x="2082" y="801"/>
                  <a:pt x="2083" y="801"/>
                </a:cubicBezTo>
                <a:cubicBezTo>
                  <a:pt x="2083" y="801"/>
                  <a:pt x="2084" y="801"/>
                  <a:pt x="2085" y="801"/>
                </a:cubicBezTo>
                <a:cubicBezTo>
                  <a:pt x="2086" y="801"/>
                  <a:pt x="2086" y="802"/>
                  <a:pt x="2086" y="802"/>
                </a:cubicBezTo>
                <a:cubicBezTo>
                  <a:pt x="2087" y="802"/>
                  <a:pt x="2087" y="802"/>
                  <a:pt x="2088" y="802"/>
                </a:cubicBezTo>
                <a:cubicBezTo>
                  <a:pt x="2089" y="802"/>
                  <a:pt x="2089" y="802"/>
                  <a:pt x="2090" y="802"/>
                </a:cubicBezTo>
                <a:cubicBezTo>
                  <a:pt x="2091" y="801"/>
                  <a:pt x="2091" y="802"/>
                  <a:pt x="2092" y="802"/>
                </a:cubicBezTo>
                <a:cubicBezTo>
                  <a:pt x="2092" y="803"/>
                  <a:pt x="2092" y="803"/>
                  <a:pt x="2093" y="803"/>
                </a:cubicBezTo>
                <a:cubicBezTo>
                  <a:pt x="2093" y="803"/>
                  <a:pt x="2093" y="803"/>
                  <a:pt x="2093" y="803"/>
                </a:cubicBezTo>
                <a:cubicBezTo>
                  <a:pt x="2094" y="804"/>
                  <a:pt x="2094" y="804"/>
                  <a:pt x="2095" y="804"/>
                </a:cubicBezTo>
                <a:cubicBezTo>
                  <a:pt x="2095" y="804"/>
                  <a:pt x="2096" y="804"/>
                  <a:pt x="2096" y="804"/>
                </a:cubicBezTo>
                <a:cubicBezTo>
                  <a:pt x="2097" y="805"/>
                  <a:pt x="2097" y="805"/>
                  <a:pt x="2098" y="805"/>
                </a:cubicBezTo>
                <a:cubicBezTo>
                  <a:pt x="2098" y="805"/>
                  <a:pt x="2099" y="805"/>
                  <a:pt x="2099" y="805"/>
                </a:cubicBezTo>
                <a:cubicBezTo>
                  <a:pt x="2099" y="806"/>
                  <a:pt x="2098" y="806"/>
                  <a:pt x="2098" y="805"/>
                </a:cubicBezTo>
                <a:cubicBezTo>
                  <a:pt x="2098" y="805"/>
                  <a:pt x="2097" y="805"/>
                  <a:pt x="2097" y="805"/>
                </a:cubicBezTo>
                <a:cubicBezTo>
                  <a:pt x="2096" y="805"/>
                  <a:pt x="2095" y="805"/>
                  <a:pt x="2094" y="806"/>
                </a:cubicBezTo>
                <a:cubicBezTo>
                  <a:pt x="2094" y="806"/>
                  <a:pt x="2093" y="806"/>
                  <a:pt x="2092" y="806"/>
                </a:cubicBezTo>
                <a:cubicBezTo>
                  <a:pt x="2092" y="806"/>
                  <a:pt x="2091" y="806"/>
                  <a:pt x="2091" y="806"/>
                </a:cubicBezTo>
                <a:cubicBezTo>
                  <a:pt x="2090" y="806"/>
                  <a:pt x="2090" y="806"/>
                  <a:pt x="2090" y="807"/>
                </a:cubicBezTo>
                <a:cubicBezTo>
                  <a:pt x="2089" y="807"/>
                  <a:pt x="2088" y="807"/>
                  <a:pt x="2088" y="807"/>
                </a:cubicBezTo>
                <a:cubicBezTo>
                  <a:pt x="2088" y="808"/>
                  <a:pt x="2089" y="808"/>
                  <a:pt x="2090" y="808"/>
                </a:cubicBezTo>
                <a:cubicBezTo>
                  <a:pt x="2090" y="808"/>
                  <a:pt x="2090" y="809"/>
                  <a:pt x="2090" y="809"/>
                </a:cubicBezTo>
                <a:cubicBezTo>
                  <a:pt x="2091" y="809"/>
                  <a:pt x="2091" y="809"/>
                  <a:pt x="2091" y="809"/>
                </a:cubicBezTo>
                <a:cubicBezTo>
                  <a:pt x="2093" y="809"/>
                  <a:pt x="2091" y="810"/>
                  <a:pt x="2090" y="810"/>
                </a:cubicBezTo>
                <a:cubicBezTo>
                  <a:pt x="2089" y="810"/>
                  <a:pt x="2089" y="810"/>
                  <a:pt x="2088" y="810"/>
                </a:cubicBezTo>
                <a:cubicBezTo>
                  <a:pt x="2088" y="810"/>
                  <a:pt x="2087" y="810"/>
                  <a:pt x="2086" y="810"/>
                </a:cubicBezTo>
                <a:cubicBezTo>
                  <a:pt x="2086" y="810"/>
                  <a:pt x="2086" y="810"/>
                  <a:pt x="2085" y="810"/>
                </a:cubicBezTo>
                <a:cubicBezTo>
                  <a:pt x="2085" y="810"/>
                  <a:pt x="2085" y="810"/>
                  <a:pt x="2085" y="810"/>
                </a:cubicBezTo>
                <a:cubicBezTo>
                  <a:pt x="2084" y="810"/>
                  <a:pt x="2083" y="810"/>
                  <a:pt x="2082" y="810"/>
                </a:cubicBezTo>
                <a:cubicBezTo>
                  <a:pt x="2081" y="810"/>
                  <a:pt x="2081" y="809"/>
                  <a:pt x="2080" y="810"/>
                </a:cubicBezTo>
                <a:cubicBezTo>
                  <a:pt x="2079" y="810"/>
                  <a:pt x="2079" y="810"/>
                  <a:pt x="2079" y="810"/>
                </a:cubicBezTo>
                <a:cubicBezTo>
                  <a:pt x="2078" y="810"/>
                  <a:pt x="2078" y="809"/>
                  <a:pt x="2078" y="809"/>
                </a:cubicBezTo>
                <a:cubicBezTo>
                  <a:pt x="2078" y="808"/>
                  <a:pt x="2078" y="808"/>
                  <a:pt x="2078" y="808"/>
                </a:cubicBezTo>
                <a:cubicBezTo>
                  <a:pt x="2077" y="808"/>
                  <a:pt x="2077" y="808"/>
                  <a:pt x="2077" y="808"/>
                </a:cubicBezTo>
                <a:cubicBezTo>
                  <a:pt x="2077" y="808"/>
                  <a:pt x="2077" y="808"/>
                  <a:pt x="2077" y="808"/>
                </a:cubicBezTo>
                <a:cubicBezTo>
                  <a:pt x="2075" y="808"/>
                  <a:pt x="2077" y="809"/>
                  <a:pt x="2077" y="809"/>
                </a:cubicBezTo>
                <a:cubicBezTo>
                  <a:pt x="2077" y="811"/>
                  <a:pt x="2076" y="810"/>
                  <a:pt x="2075" y="811"/>
                </a:cubicBezTo>
                <a:cubicBezTo>
                  <a:pt x="2075" y="811"/>
                  <a:pt x="2074" y="811"/>
                  <a:pt x="2073" y="811"/>
                </a:cubicBezTo>
                <a:cubicBezTo>
                  <a:pt x="2073" y="810"/>
                  <a:pt x="2073" y="810"/>
                  <a:pt x="2073" y="810"/>
                </a:cubicBezTo>
                <a:cubicBezTo>
                  <a:pt x="2072" y="810"/>
                  <a:pt x="2072" y="810"/>
                  <a:pt x="2072" y="809"/>
                </a:cubicBezTo>
                <a:cubicBezTo>
                  <a:pt x="2071" y="808"/>
                  <a:pt x="2071" y="809"/>
                  <a:pt x="2070" y="809"/>
                </a:cubicBezTo>
                <a:cubicBezTo>
                  <a:pt x="2069" y="809"/>
                  <a:pt x="2069" y="809"/>
                  <a:pt x="2069" y="809"/>
                </a:cubicBezTo>
                <a:cubicBezTo>
                  <a:pt x="2068" y="809"/>
                  <a:pt x="2068" y="810"/>
                  <a:pt x="2068" y="810"/>
                </a:cubicBezTo>
                <a:cubicBezTo>
                  <a:pt x="2067" y="810"/>
                  <a:pt x="2067" y="810"/>
                  <a:pt x="2066" y="810"/>
                </a:cubicBezTo>
                <a:cubicBezTo>
                  <a:pt x="2066" y="810"/>
                  <a:pt x="2066" y="811"/>
                  <a:pt x="2066" y="811"/>
                </a:cubicBezTo>
                <a:cubicBezTo>
                  <a:pt x="2065" y="811"/>
                  <a:pt x="2065" y="811"/>
                  <a:pt x="2065" y="811"/>
                </a:cubicBezTo>
                <a:cubicBezTo>
                  <a:pt x="2064" y="811"/>
                  <a:pt x="2063" y="812"/>
                  <a:pt x="2063" y="812"/>
                </a:cubicBezTo>
                <a:cubicBezTo>
                  <a:pt x="2062" y="812"/>
                  <a:pt x="2062" y="812"/>
                  <a:pt x="2061" y="813"/>
                </a:cubicBezTo>
                <a:cubicBezTo>
                  <a:pt x="2060" y="813"/>
                  <a:pt x="2059" y="813"/>
                  <a:pt x="2059" y="813"/>
                </a:cubicBezTo>
                <a:cubicBezTo>
                  <a:pt x="2057" y="814"/>
                  <a:pt x="2059" y="815"/>
                  <a:pt x="2058" y="816"/>
                </a:cubicBezTo>
                <a:cubicBezTo>
                  <a:pt x="2058" y="816"/>
                  <a:pt x="2058" y="816"/>
                  <a:pt x="2058" y="816"/>
                </a:cubicBezTo>
                <a:cubicBezTo>
                  <a:pt x="2058" y="817"/>
                  <a:pt x="2058" y="817"/>
                  <a:pt x="2058" y="818"/>
                </a:cubicBezTo>
                <a:cubicBezTo>
                  <a:pt x="2058" y="818"/>
                  <a:pt x="2058" y="818"/>
                  <a:pt x="2058" y="819"/>
                </a:cubicBezTo>
                <a:cubicBezTo>
                  <a:pt x="2058" y="819"/>
                  <a:pt x="2058" y="820"/>
                  <a:pt x="2058" y="821"/>
                </a:cubicBezTo>
                <a:cubicBezTo>
                  <a:pt x="2057" y="821"/>
                  <a:pt x="2057" y="822"/>
                  <a:pt x="2058" y="822"/>
                </a:cubicBezTo>
                <a:cubicBezTo>
                  <a:pt x="2058" y="822"/>
                  <a:pt x="2059" y="822"/>
                  <a:pt x="2059" y="822"/>
                </a:cubicBezTo>
                <a:cubicBezTo>
                  <a:pt x="2060" y="822"/>
                  <a:pt x="2061" y="822"/>
                  <a:pt x="2062" y="821"/>
                </a:cubicBezTo>
                <a:cubicBezTo>
                  <a:pt x="2063" y="821"/>
                  <a:pt x="2064" y="821"/>
                  <a:pt x="2065" y="821"/>
                </a:cubicBezTo>
                <a:cubicBezTo>
                  <a:pt x="2065" y="821"/>
                  <a:pt x="2067" y="821"/>
                  <a:pt x="2067" y="822"/>
                </a:cubicBezTo>
                <a:cubicBezTo>
                  <a:pt x="2067" y="822"/>
                  <a:pt x="2066" y="823"/>
                  <a:pt x="2066" y="823"/>
                </a:cubicBezTo>
                <a:cubicBezTo>
                  <a:pt x="2065" y="823"/>
                  <a:pt x="2065" y="823"/>
                  <a:pt x="2065" y="823"/>
                </a:cubicBezTo>
                <a:cubicBezTo>
                  <a:pt x="2065" y="824"/>
                  <a:pt x="2063" y="825"/>
                  <a:pt x="2064" y="825"/>
                </a:cubicBezTo>
                <a:cubicBezTo>
                  <a:pt x="2064" y="825"/>
                  <a:pt x="2065" y="825"/>
                  <a:pt x="2065" y="826"/>
                </a:cubicBezTo>
                <a:cubicBezTo>
                  <a:pt x="2065" y="826"/>
                  <a:pt x="2065" y="826"/>
                  <a:pt x="2065" y="826"/>
                </a:cubicBezTo>
                <a:cubicBezTo>
                  <a:pt x="2065" y="827"/>
                  <a:pt x="2065" y="827"/>
                  <a:pt x="2065" y="827"/>
                </a:cubicBezTo>
                <a:cubicBezTo>
                  <a:pt x="2065" y="828"/>
                  <a:pt x="2065" y="829"/>
                  <a:pt x="2066" y="829"/>
                </a:cubicBezTo>
                <a:cubicBezTo>
                  <a:pt x="2066" y="830"/>
                  <a:pt x="2068" y="829"/>
                  <a:pt x="2068" y="830"/>
                </a:cubicBezTo>
                <a:cubicBezTo>
                  <a:pt x="2068" y="831"/>
                  <a:pt x="2067" y="831"/>
                  <a:pt x="2066" y="831"/>
                </a:cubicBezTo>
                <a:cubicBezTo>
                  <a:pt x="2066" y="832"/>
                  <a:pt x="2066" y="832"/>
                  <a:pt x="2066" y="832"/>
                </a:cubicBezTo>
                <a:cubicBezTo>
                  <a:pt x="2065" y="832"/>
                  <a:pt x="2065" y="832"/>
                  <a:pt x="2065" y="833"/>
                </a:cubicBezTo>
                <a:cubicBezTo>
                  <a:pt x="2064" y="833"/>
                  <a:pt x="2065" y="833"/>
                  <a:pt x="2065" y="833"/>
                </a:cubicBezTo>
                <a:cubicBezTo>
                  <a:pt x="2065" y="834"/>
                  <a:pt x="2065" y="834"/>
                  <a:pt x="2066" y="835"/>
                </a:cubicBezTo>
                <a:cubicBezTo>
                  <a:pt x="2066" y="835"/>
                  <a:pt x="2067" y="835"/>
                  <a:pt x="2068" y="836"/>
                </a:cubicBezTo>
                <a:cubicBezTo>
                  <a:pt x="2068" y="836"/>
                  <a:pt x="2068" y="836"/>
                  <a:pt x="2068" y="836"/>
                </a:cubicBezTo>
                <a:cubicBezTo>
                  <a:pt x="2068" y="837"/>
                  <a:pt x="2068" y="837"/>
                  <a:pt x="2067" y="837"/>
                </a:cubicBezTo>
                <a:cubicBezTo>
                  <a:pt x="2067" y="836"/>
                  <a:pt x="2066" y="837"/>
                  <a:pt x="2065" y="837"/>
                </a:cubicBezTo>
                <a:cubicBezTo>
                  <a:pt x="2065" y="837"/>
                  <a:pt x="2064" y="836"/>
                  <a:pt x="2064" y="836"/>
                </a:cubicBezTo>
                <a:cubicBezTo>
                  <a:pt x="2064" y="836"/>
                  <a:pt x="2063" y="836"/>
                  <a:pt x="2063" y="836"/>
                </a:cubicBezTo>
                <a:cubicBezTo>
                  <a:pt x="2063" y="835"/>
                  <a:pt x="2063" y="835"/>
                  <a:pt x="2063" y="834"/>
                </a:cubicBezTo>
                <a:cubicBezTo>
                  <a:pt x="2063" y="834"/>
                  <a:pt x="2063" y="834"/>
                  <a:pt x="2062" y="834"/>
                </a:cubicBezTo>
                <a:cubicBezTo>
                  <a:pt x="2062" y="833"/>
                  <a:pt x="2062" y="833"/>
                  <a:pt x="2061" y="833"/>
                </a:cubicBezTo>
                <a:cubicBezTo>
                  <a:pt x="2061" y="833"/>
                  <a:pt x="2061" y="833"/>
                  <a:pt x="2061" y="834"/>
                </a:cubicBezTo>
                <a:cubicBezTo>
                  <a:pt x="2061" y="834"/>
                  <a:pt x="2061" y="834"/>
                  <a:pt x="2061" y="834"/>
                </a:cubicBezTo>
                <a:cubicBezTo>
                  <a:pt x="2062" y="835"/>
                  <a:pt x="2062" y="835"/>
                  <a:pt x="2062" y="835"/>
                </a:cubicBezTo>
                <a:cubicBezTo>
                  <a:pt x="2062" y="836"/>
                  <a:pt x="2062" y="837"/>
                  <a:pt x="2061" y="837"/>
                </a:cubicBezTo>
                <a:cubicBezTo>
                  <a:pt x="2061" y="837"/>
                  <a:pt x="2061" y="837"/>
                  <a:pt x="2060" y="837"/>
                </a:cubicBezTo>
                <a:cubicBezTo>
                  <a:pt x="2060" y="837"/>
                  <a:pt x="2060" y="837"/>
                  <a:pt x="2059" y="838"/>
                </a:cubicBezTo>
                <a:cubicBezTo>
                  <a:pt x="2059" y="838"/>
                  <a:pt x="2059" y="838"/>
                  <a:pt x="2059" y="838"/>
                </a:cubicBezTo>
                <a:cubicBezTo>
                  <a:pt x="2059" y="839"/>
                  <a:pt x="2059" y="839"/>
                  <a:pt x="2060" y="839"/>
                </a:cubicBezTo>
                <a:cubicBezTo>
                  <a:pt x="2060" y="839"/>
                  <a:pt x="2060" y="839"/>
                  <a:pt x="2061" y="839"/>
                </a:cubicBezTo>
                <a:cubicBezTo>
                  <a:pt x="2061" y="839"/>
                  <a:pt x="2061" y="839"/>
                  <a:pt x="2062" y="839"/>
                </a:cubicBezTo>
                <a:cubicBezTo>
                  <a:pt x="2063" y="839"/>
                  <a:pt x="2064" y="839"/>
                  <a:pt x="2065" y="839"/>
                </a:cubicBezTo>
                <a:cubicBezTo>
                  <a:pt x="2065" y="839"/>
                  <a:pt x="2066" y="840"/>
                  <a:pt x="2067" y="840"/>
                </a:cubicBezTo>
                <a:cubicBezTo>
                  <a:pt x="2067" y="840"/>
                  <a:pt x="2067" y="841"/>
                  <a:pt x="2068" y="841"/>
                </a:cubicBezTo>
                <a:cubicBezTo>
                  <a:pt x="2068" y="841"/>
                  <a:pt x="2068" y="841"/>
                  <a:pt x="2069" y="841"/>
                </a:cubicBezTo>
                <a:cubicBezTo>
                  <a:pt x="2069" y="841"/>
                  <a:pt x="2070" y="842"/>
                  <a:pt x="2070" y="842"/>
                </a:cubicBezTo>
                <a:cubicBezTo>
                  <a:pt x="2070" y="842"/>
                  <a:pt x="2070" y="842"/>
                  <a:pt x="2070" y="843"/>
                </a:cubicBezTo>
                <a:cubicBezTo>
                  <a:pt x="2070" y="843"/>
                  <a:pt x="2070" y="843"/>
                  <a:pt x="2070" y="843"/>
                </a:cubicBezTo>
                <a:cubicBezTo>
                  <a:pt x="2071" y="843"/>
                  <a:pt x="2071" y="843"/>
                  <a:pt x="2071" y="844"/>
                </a:cubicBezTo>
                <a:cubicBezTo>
                  <a:pt x="2071" y="844"/>
                  <a:pt x="2071" y="844"/>
                  <a:pt x="2071" y="845"/>
                </a:cubicBezTo>
                <a:cubicBezTo>
                  <a:pt x="2071" y="845"/>
                  <a:pt x="2070" y="845"/>
                  <a:pt x="2070" y="845"/>
                </a:cubicBezTo>
                <a:cubicBezTo>
                  <a:pt x="2070" y="846"/>
                  <a:pt x="2070" y="846"/>
                  <a:pt x="2069" y="846"/>
                </a:cubicBezTo>
                <a:cubicBezTo>
                  <a:pt x="2069" y="846"/>
                  <a:pt x="2068" y="846"/>
                  <a:pt x="2068" y="846"/>
                </a:cubicBezTo>
                <a:cubicBezTo>
                  <a:pt x="2068" y="847"/>
                  <a:pt x="2068" y="847"/>
                  <a:pt x="2069" y="847"/>
                </a:cubicBezTo>
                <a:cubicBezTo>
                  <a:pt x="2069" y="847"/>
                  <a:pt x="2069" y="847"/>
                  <a:pt x="2069" y="848"/>
                </a:cubicBezTo>
                <a:cubicBezTo>
                  <a:pt x="2070" y="848"/>
                  <a:pt x="2070" y="848"/>
                  <a:pt x="2070" y="848"/>
                </a:cubicBezTo>
                <a:cubicBezTo>
                  <a:pt x="2071" y="849"/>
                  <a:pt x="2070" y="849"/>
                  <a:pt x="2070" y="850"/>
                </a:cubicBezTo>
                <a:cubicBezTo>
                  <a:pt x="2070" y="851"/>
                  <a:pt x="2071" y="850"/>
                  <a:pt x="2072" y="850"/>
                </a:cubicBezTo>
                <a:cubicBezTo>
                  <a:pt x="2073" y="850"/>
                  <a:pt x="2073" y="851"/>
                  <a:pt x="2074" y="851"/>
                </a:cubicBezTo>
                <a:cubicBezTo>
                  <a:pt x="2075" y="852"/>
                  <a:pt x="2075" y="852"/>
                  <a:pt x="2074" y="853"/>
                </a:cubicBezTo>
                <a:cubicBezTo>
                  <a:pt x="2074" y="853"/>
                  <a:pt x="2073" y="854"/>
                  <a:pt x="2073" y="854"/>
                </a:cubicBezTo>
                <a:cubicBezTo>
                  <a:pt x="2073" y="854"/>
                  <a:pt x="2073" y="854"/>
                  <a:pt x="2072" y="854"/>
                </a:cubicBezTo>
                <a:cubicBezTo>
                  <a:pt x="2072" y="853"/>
                  <a:pt x="2070" y="853"/>
                  <a:pt x="2070" y="854"/>
                </a:cubicBezTo>
                <a:cubicBezTo>
                  <a:pt x="2070" y="854"/>
                  <a:pt x="2071" y="854"/>
                  <a:pt x="2071" y="854"/>
                </a:cubicBezTo>
                <a:cubicBezTo>
                  <a:pt x="2071" y="855"/>
                  <a:pt x="2071" y="855"/>
                  <a:pt x="2071" y="855"/>
                </a:cubicBezTo>
                <a:cubicBezTo>
                  <a:pt x="2071" y="855"/>
                  <a:pt x="2071" y="855"/>
                  <a:pt x="2072" y="855"/>
                </a:cubicBezTo>
                <a:cubicBezTo>
                  <a:pt x="2072" y="855"/>
                  <a:pt x="2073" y="855"/>
                  <a:pt x="2073" y="855"/>
                </a:cubicBezTo>
                <a:cubicBezTo>
                  <a:pt x="2074" y="855"/>
                  <a:pt x="2074" y="855"/>
                  <a:pt x="2075" y="855"/>
                </a:cubicBezTo>
                <a:cubicBezTo>
                  <a:pt x="2075" y="855"/>
                  <a:pt x="2075" y="855"/>
                  <a:pt x="2076" y="855"/>
                </a:cubicBezTo>
                <a:cubicBezTo>
                  <a:pt x="2076" y="855"/>
                  <a:pt x="2076" y="855"/>
                  <a:pt x="2077" y="855"/>
                </a:cubicBezTo>
                <a:cubicBezTo>
                  <a:pt x="2077" y="855"/>
                  <a:pt x="2078" y="855"/>
                  <a:pt x="2078" y="855"/>
                </a:cubicBezTo>
                <a:cubicBezTo>
                  <a:pt x="2079" y="854"/>
                  <a:pt x="2079" y="855"/>
                  <a:pt x="2080" y="855"/>
                </a:cubicBezTo>
                <a:cubicBezTo>
                  <a:pt x="2081" y="855"/>
                  <a:pt x="2082" y="854"/>
                  <a:pt x="2082" y="855"/>
                </a:cubicBezTo>
                <a:cubicBezTo>
                  <a:pt x="2081" y="856"/>
                  <a:pt x="2081" y="856"/>
                  <a:pt x="2081" y="856"/>
                </a:cubicBezTo>
                <a:cubicBezTo>
                  <a:pt x="2080" y="856"/>
                  <a:pt x="2080" y="856"/>
                  <a:pt x="2080" y="857"/>
                </a:cubicBezTo>
                <a:cubicBezTo>
                  <a:pt x="2079" y="857"/>
                  <a:pt x="2078" y="857"/>
                  <a:pt x="2077" y="857"/>
                </a:cubicBezTo>
                <a:cubicBezTo>
                  <a:pt x="2076" y="857"/>
                  <a:pt x="2076" y="858"/>
                  <a:pt x="2075" y="858"/>
                </a:cubicBezTo>
                <a:cubicBezTo>
                  <a:pt x="2074" y="858"/>
                  <a:pt x="2073" y="858"/>
                  <a:pt x="2073" y="859"/>
                </a:cubicBezTo>
                <a:cubicBezTo>
                  <a:pt x="2072" y="859"/>
                  <a:pt x="2074" y="859"/>
                  <a:pt x="2074" y="859"/>
                </a:cubicBezTo>
                <a:cubicBezTo>
                  <a:pt x="2075" y="859"/>
                  <a:pt x="2075" y="859"/>
                  <a:pt x="2076" y="859"/>
                </a:cubicBezTo>
                <a:cubicBezTo>
                  <a:pt x="2076" y="859"/>
                  <a:pt x="2076" y="859"/>
                  <a:pt x="2077" y="858"/>
                </a:cubicBezTo>
                <a:cubicBezTo>
                  <a:pt x="2077" y="858"/>
                  <a:pt x="2077" y="858"/>
                  <a:pt x="2077" y="858"/>
                </a:cubicBezTo>
                <a:cubicBezTo>
                  <a:pt x="2078" y="858"/>
                  <a:pt x="2079" y="858"/>
                  <a:pt x="2079" y="858"/>
                </a:cubicBezTo>
                <a:cubicBezTo>
                  <a:pt x="2079" y="858"/>
                  <a:pt x="2079" y="858"/>
                  <a:pt x="2079" y="859"/>
                </a:cubicBezTo>
                <a:cubicBezTo>
                  <a:pt x="2079" y="859"/>
                  <a:pt x="2079" y="859"/>
                  <a:pt x="2079" y="859"/>
                </a:cubicBezTo>
                <a:cubicBezTo>
                  <a:pt x="2079" y="859"/>
                  <a:pt x="2079" y="859"/>
                  <a:pt x="2079" y="859"/>
                </a:cubicBezTo>
                <a:cubicBezTo>
                  <a:pt x="2079" y="860"/>
                  <a:pt x="2080" y="859"/>
                  <a:pt x="2079" y="860"/>
                </a:cubicBezTo>
                <a:cubicBezTo>
                  <a:pt x="2079" y="860"/>
                  <a:pt x="2079" y="860"/>
                  <a:pt x="2079" y="861"/>
                </a:cubicBezTo>
                <a:cubicBezTo>
                  <a:pt x="2080" y="861"/>
                  <a:pt x="2080" y="860"/>
                  <a:pt x="2081" y="859"/>
                </a:cubicBezTo>
                <a:cubicBezTo>
                  <a:pt x="2082" y="858"/>
                  <a:pt x="2082" y="858"/>
                  <a:pt x="2083" y="858"/>
                </a:cubicBezTo>
                <a:cubicBezTo>
                  <a:pt x="2084" y="857"/>
                  <a:pt x="2084" y="857"/>
                  <a:pt x="2085" y="857"/>
                </a:cubicBezTo>
                <a:cubicBezTo>
                  <a:pt x="2086" y="857"/>
                  <a:pt x="2086" y="858"/>
                  <a:pt x="2086" y="858"/>
                </a:cubicBezTo>
                <a:cubicBezTo>
                  <a:pt x="2086" y="858"/>
                  <a:pt x="2086" y="859"/>
                  <a:pt x="2087" y="859"/>
                </a:cubicBezTo>
                <a:cubicBezTo>
                  <a:pt x="2087" y="859"/>
                  <a:pt x="2088" y="859"/>
                  <a:pt x="2088" y="859"/>
                </a:cubicBezTo>
                <a:cubicBezTo>
                  <a:pt x="2089" y="860"/>
                  <a:pt x="2089" y="860"/>
                  <a:pt x="2089" y="859"/>
                </a:cubicBezTo>
                <a:cubicBezTo>
                  <a:pt x="2090" y="859"/>
                  <a:pt x="2090" y="859"/>
                  <a:pt x="2090" y="860"/>
                </a:cubicBezTo>
                <a:cubicBezTo>
                  <a:pt x="2091" y="860"/>
                  <a:pt x="2091" y="860"/>
                  <a:pt x="2091" y="861"/>
                </a:cubicBezTo>
                <a:cubicBezTo>
                  <a:pt x="2091" y="861"/>
                  <a:pt x="2091" y="861"/>
                  <a:pt x="2092" y="862"/>
                </a:cubicBezTo>
                <a:cubicBezTo>
                  <a:pt x="2092" y="862"/>
                  <a:pt x="2092" y="863"/>
                  <a:pt x="2093" y="863"/>
                </a:cubicBezTo>
                <a:cubicBezTo>
                  <a:pt x="2093" y="864"/>
                  <a:pt x="2093" y="864"/>
                  <a:pt x="2093" y="864"/>
                </a:cubicBezTo>
                <a:cubicBezTo>
                  <a:pt x="2093" y="864"/>
                  <a:pt x="2093" y="864"/>
                  <a:pt x="2094" y="865"/>
                </a:cubicBezTo>
                <a:cubicBezTo>
                  <a:pt x="2094" y="865"/>
                  <a:pt x="2094" y="865"/>
                  <a:pt x="2095" y="865"/>
                </a:cubicBezTo>
                <a:cubicBezTo>
                  <a:pt x="2096" y="864"/>
                  <a:pt x="2096" y="865"/>
                  <a:pt x="2097" y="865"/>
                </a:cubicBezTo>
                <a:cubicBezTo>
                  <a:pt x="2097" y="865"/>
                  <a:pt x="2098" y="865"/>
                  <a:pt x="2098" y="865"/>
                </a:cubicBezTo>
                <a:cubicBezTo>
                  <a:pt x="2098" y="866"/>
                  <a:pt x="2098" y="866"/>
                  <a:pt x="2099" y="866"/>
                </a:cubicBezTo>
                <a:cubicBezTo>
                  <a:pt x="2099" y="866"/>
                  <a:pt x="2099" y="866"/>
                  <a:pt x="2100" y="866"/>
                </a:cubicBezTo>
                <a:cubicBezTo>
                  <a:pt x="2100" y="866"/>
                  <a:pt x="2100" y="866"/>
                  <a:pt x="2101" y="866"/>
                </a:cubicBezTo>
                <a:cubicBezTo>
                  <a:pt x="2101" y="865"/>
                  <a:pt x="2102" y="866"/>
                  <a:pt x="2103" y="865"/>
                </a:cubicBezTo>
                <a:cubicBezTo>
                  <a:pt x="2104" y="865"/>
                  <a:pt x="2104" y="864"/>
                  <a:pt x="2105" y="864"/>
                </a:cubicBezTo>
                <a:cubicBezTo>
                  <a:pt x="2105" y="865"/>
                  <a:pt x="2105" y="865"/>
                  <a:pt x="2106" y="865"/>
                </a:cubicBezTo>
                <a:cubicBezTo>
                  <a:pt x="2106" y="865"/>
                  <a:pt x="2106" y="865"/>
                  <a:pt x="2107" y="865"/>
                </a:cubicBezTo>
                <a:cubicBezTo>
                  <a:pt x="2107" y="865"/>
                  <a:pt x="2107" y="865"/>
                  <a:pt x="2107" y="864"/>
                </a:cubicBezTo>
                <a:cubicBezTo>
                  <a:pt x="2107" y="864"/>
                  <a:pt x="2108" y="864"/>
                  <a:pt x="2108" y="863"/>
                </a:cubicBezTo>
                <a:cubicBezTo>
                  <a:pt x="2108" y="863"/>
                  <a:pt x="2108" y="861"/>
                  <a:pt x="2108" y="861"/>
                </a:cubicBezTo>
                <a:cubicBezTo>
                  <a:pt x="2108" y="860"/>
                  <a:pt x="2108" y="859"/>
                  <a:pt x="2109" y="858"/>
                </a:cubicBezTo>
                <a:cubicBezTo>
                  <a:pt x="2109" y="858"/>
                  <a:pt x="2109" y="857"/>
                  <a:pt x="2109" y="857"/>
                </a:cubicBezTo>
                <a:cubicBezTo>
                  <a:pt x="2110" y="856"/>
                  <a:pt x="2111" y="857"/>
                  <a:pt x="2111" y="857"/>
                </a:cubicBezTo>
                <a:cubicBezTo>
                  <a:pt x="2112" y="857"/>
                  <a:pt x="2113" y="857"/>
                  <a:pt x="2115" y="857"/>
                </a:cubicBezTo>
                <a:cubicBezTo>
                  <a:pt x="2115" y="857"/>
                  <a:pt x="2116" y="858"/>
                  <a:pt x="2117" y="858"/>
                </a:cubicBezTo>
                <a:cubicBezTo>
                  <a:pt x="2118" y="858"/>
                  <a:pt x="2118" y="858"/>
                  <a:pt x="2119" y="859"/>
                </a:cubicBezTo>
                <a:cubicBezTo>
                  <a:pt x="2120" y="860"/>
                  <a:pt x="2121" y="860"/>
                  <a:pt x="2121" y="860"/>
                </a:cubicBezTo>
                <a:cubicBezTo>
                  <a:pt x="2122" y="860"/>
                  <a:pt x="2122" y="860"/>
                  <a:pt x="2122" y="861"/>
                </a:cubicBezTo>
                <a:cubicBezTo>
                  <a:pt x="2123" y="861"/>
                  <a:pt x="2123" y="861"/>
                  <a:pt x="2123" y="861"/>
                </a:cubicBezTo>
                <a:cubicBezTo>
                  <a:pt x="2124" y="862"/>
                  <a:pt x="2125" y="862"/>
                  <a:pt x="2125" y="862"/>
                </a:cubicBezTo>
                <a:cubicBezTo>
                  <a:pt x="2126" y="863"/>
                  <a:pt x="2127" y="863"/>
                  <a:pt x="2127" y="864"/>
                </a:cubicBezTo>
                <a:cubicBezTo>
                  <a:pt x="2128" y="864"/>
                  <a:pt x="2128" y="865"/>
                  <a:pt x="2129" y="865"/>
                </a:cubicBezTo>
                <a:cubicBezTo>
                  <a:pt x="2130" y="867"/>
                  <a:pt x="2132" y="867"/>
                  <a:pt x="2134" y="867"/>
                </a:cubicBezTo>
                <a:cubicBezTo>
                  <a:pt x="2135" y="867"/>
                  <a:pt x="2135" y="866"/>
                  <a:pt x="2136" y="866"/>
                </a:cubicBezTo>
                <a:cubicBezTo>
                  <a:pt x="2137" y="866"/>
                  <a:pt x="2138" y="866"/>
                  <a:pt x="2139" y="866"/>
                </a:cubicBezTo>
                <a:cubicBezTo>
                  <a:pt x="2141" y="866"/>
                  <a:pt x="2143" y="866"/>
                  <a:pt x="2145" y="866"/>
                </a:cubicBezTo>
                <a:cubicBezTo>
                  <a:pt x="2146" y="866"/>
                  <a:pt x="2147" y="865"/>
                  <a:pt x="2148" y="864"/>
                </a:cubicBezTo>
                <a:cubicBezTo>
                  <a:pt x="2148" y="863"/>
                  <a:pt x="2149" y="863"/>
                  <a:pt x="2149" y="862"/>
                </a:cubicBezTo>
                <a:cubicBezTo>
                  <a:pt x="2150" y="862"/>
                  <a:pt x="2151" y="861"/>
                  <a:pt x="2152" y="860"/>
                </a:cubicBezTo>
                <a:cubicBezTo>
                  <a:pt x="2152" y="860"/>
                  <a:pt x="2153" y="859"/>
                  <a:pt x="2154" y="859"/>
                </a:cubicBezTo>
                <a:cubicBezTo>
                  <a:pt x="2155" y="858"/>
                  <a:pt x="2156" y="858"/>
                  <a:pt x="2156" y="858"/>
                </a:cubicBezTo>
                <a:cubicBezTo>
                  <a:pt x="2157" y="858"/>
                  <a:pt x="2158" y="859"/>
                  <a:pt x="2158" y="859"/>
                </a:cubicBezTo>
                <a:cubicBezTo>
                  <a:pt x="2159" y="859"/>
                  <a:pt x="2159" y="859"/>
                  <a:pt x="2160" y="859"/>
                </a:cubicBezTo>
                <a:cubicBezTo>
                  <a:pt x="2160" y="859"/>
                  <a:pt x="2160" y="860"/>
                  <a:pt x="2161" y="860"/>
                </a:cubicBezTo>
                <a:cubicBezTo>
                  <a:pt x="2161" y="860"/>
                  <a:pt x="2161" y="860"/>
                  <a:pt x="2162" y="860"/>
                </a:cubicBezTo>
                <a:cubicBezTo>
                  <a:pt x="2162" y="860"/>
                  <a:pt x="2162" y="861"/>
                  <a:pt x="2163" y="861"/>
                </a:cubicBezTo>
                <a:cubicBezTo>
                  <a:pt x="2163" y="861"/>
                  <a:pt x="2165" y="861"/>
                  <a:pt x="2165" y="860"/>
                </a:cubicBezTo>
                <a:cubicBezTo>
                  <a:pt x="2165" y="860"/>
                  <a:pt x="2166" y="859"/>
                  <a:pt x="2166" y="859"/>
                </a:cubicBezTo>
                <a:cubicBezTo>
                  <a:pt x="2166" y="859"/>
                  <a:pt x="2167" y="859"/>
                  <a:pt x="2167" y="859"/>
                </a:cubicBezTo>
                <a:cubicBezTo>
                  <a:pt x="2168" y="858"/>
                  <a:pt x="2168" y="858"/>
                  <a:pt x="2169" y="857"/>
                </a:cubicBezTo>
                <a:cubicBezTo>
                  <a:pt x="2169" y="857"/>
                  <a:pt x="2170" y="856"/>
                  <a:pt x="2170" y="856"/>
                </a:cubicBezTo>
                <a:cubicBezTo>
                  <a:pt x="2171" y="856"/>
                  <a:pt x="2171" y="857"/>
                  <a:pt x="2171" y="857"/>
                </a:cubicBezTo>
                <a:cubicBezTo>
                  <a:pt x="2171" y="857"/>
                  <a:pt x="2172" y="857"/>
                  <a:pt x="2172" y="857"/>
                </a:cubicBezTo>
                <a:cubicBezTo>
                  <a:pt x="2173" y="858"/>
                  <a:pt x="2172" y="858"/>
                  <a:pt x="2172" y="859"/>
                </a:cubicBezTo>
                <a:cubicBezTo>
                  <a:pt x="2172" y="859"/>
                  <a:pt x="2172" y="859"/>
                  <a:pt x="2171" y="860"/>
                </a:cubicBezTo>
                <a:cubicBezTo>
                  <a:pt x="2171" y="860"/>
                  <a:pt x="2171" y="860"/>
                  <a:pt x="2171" y="861"/>
                </a:cubicBezTo>
                <a:cubicBezTo>
                  <a:pt x="2171" y="861"/>
                  <a:pt x="2170" y="862"/>
                  <a:pt x="2170" y="862"/>
                </a:cubicBezTo>
                <a:cubicBezTo>
                  <a:pt x="2170" y="862"/>
                  <a:pt x="2170" y="863"/>
                  <a:pt x="2169" y="863"/>
                </a:cubicBezTo>
                <a:cubicBezTo>
                  <a:pt x="2169" y="863"/>
                  <a:pt x="2169" y="863"/>
                  <a:pt x="2168" y="864"/>
                </a:cubicBezTo>
                <a:cubicBezTo>
                  <a:pt x="2168" y="865"/>
                  <a:pt x="2168" y="865"/>
                  <a:pt x="2169" y="866"/>
                </a:cubicBezTo>
                <a:cubicBezTo>
                  <a:pt x="2169" y="867"/>
                  <a:pt x="2170" y="867"/>
                  <a:pt x="2170" y="868"/>
                </a:cubicBezTo>
                <a:cubicBezTo>
                  <a:pt x="2170" y="869"/>
                  <a:pt x="2170" y="869"/>
                  <a:pt x="2169" y="869"/>
                </a:cubicBezTo>
                <a:cubicBezTo>
                  <a:pt x="2168" y="870"/>
                  <a:pt x="2168" y="871"/>
                  <a:pt x="2168" y="872"/>
                </a:cubicBezTo>
                <a:cubicBezTo>
                  <a:pt x="2168" y="872"/>
                  <a:pt x="2168" y="872"/>
                  <a:pt x="2168" y="873"/>
                </a:cubicBezTo>
                <a:cubicBezTo>
                  <a:pt x="2168" y="873"/>
                  <a:pt x="2167" y="873"/>
                  <a:pt x="2168" y="874"/>
                </a:cubicBezTo>
                <a:cubicBezTo>
                  <a:pt x="2168" y="874"/>
                  <a:pt x="2168" y="875"/>
                  <a:pt x="2169" y="875"/>
                </a:cubicBezTo>
                <a:cubicBezTo>
                  <a:pt x="2170" y="876"/>
                  <a:pt x="2169" y="878"/>
                  <a:pt x="2169" y="879"/>
                </a:cubicBezTo>
                <a:cubicBezTo>
                  <a:pt x="2169" y="880"/>
                  <a:pt x="2169" y="881"/>
                  <a:pt x="2169" y="882"/>
                </a:cubicBezTo>
                <a:cubicBezTo>
                  <a:pt x="2169" y="883"/>
                  <a:pt x="2169" y="883"/>
                  <a:pt x="2169" y="884"/>
                </a:cubicBezTo>
                <a:cubicBezTo>
                  <a:pt x="2170" y="885"/>
                  <a:pt x="2170" y="886"/>
                  <a:pt x="2170" y="886"/>
                </a:cubicBezTo>
                <a:cubicBezTo>
                  <a:pt x="2170" y="887"/>
                  <a:pt x="2169" y="888"/>
                  <a:pt x="2168" y="888"/>
                </a:cubicBezTo>
                <a:cubicBezTo>
                  <a:pt x="2168" y="889"/>
                  <a:pt x="2167" y="889"/>
                  <a:pt x="2167" y="890"/>
                </a:cubicBezTo>
                <a:cubicBezTo>
                  <a:pt x="2167" y="890"/>
                  <a:pt x="2166" y="891"/>
                  <a:pt x="2166" y="892"/>
                </a:cubicBezTo>
                <a:cubicBezTo>
                  <a:pt x="2166" y="892"/>
                  <a:pt x="2166" y="894"/>
                  <a:pt x="2166" y="894"/>
                </a:cubicBezTo>
                <a:cubicBezTo>
                  <a:pt x="2165" y="894"/>
                  <a:pt x="2165" y="895"/>
                  <a:pt x="2165" y="895"/>
                </a:cubicBezTo>
                <a:cubicBezTo>
                  <a:pt x="2165" y="896"/>
                  <a:pt x="2165" y="896"/>
                  <a:pt x="2164" y="896"/>
                </a:cubicBezTo>
                <a:cubicBezTo>
                  <a:pt x="2164" y="897"/>
                  <a:pt x="2164" y="897"/>
                  <a:pt x="2164" y="897"/>
                </a:cubicBezTo>
                <a:cubicBezTo>
                  <a:pt x="2163" y="898"/>
                  <a:pt x="2163" y="898"/>
                  <a:pt x="2163" y="898"/>
                </a:cubicBezTo>
                <a:cubicBezTo>
                  <a:pt x="2163" y="899"/>
                  <a:pt x="2163" y="899"/>
                  <a:pt x="2163" y="899"/>
                </a:cubicBezTo>
                <a:cubicBezTo>
                  <a:pt x="2163" y="900"/>
                  <a:pt x="2163" y="900"/>
                  <a:pt x="2162" y="901"/>
                </a:cubicBezTo>
                <a:cubicBezTo>
                  <a:pt x="2162" y="901"/>
                  <a:pt x="2162" y="901"/>
                  <a:pt x="2162" y="902"/>
                </a:cubicBezTo>
                <a:cubicBezTo>
                  <a:pt x="2161" y="902"/>
                  <a:pt x="2161" y="902"/>
                  <a:pt x="2161" y="903"/>
                </a:cubicBezTo>
                <a:cubicBezTo>
                  <a:pt x="2161" y="904"/>
                  <a:pt x="2161" y="904"/>
                  <a:pt x="2160" y="905"/>
                </a:cubicBezTo>
                <a:cubicBezTo>
                  <a:pt x="2160" y="905"/>
                  <a:pt x="2160" y="906"/>
                  <a:pt x="2160" y="907"/>
                </a:cubicBezTo>
                <a:cubicBezTo>
                  <a:pt x="2160" y="907"/>
                  <a:pt x="2160" y="908"/>
                  <a:pt x="2159" y="909"/>
                </a:cubicBezTo>
                <a:cubicBezTo>
                  <a:pt x="2159" y="909"/>
                  <a:pt x="2159" y="909"/>
                  <a:pt x="2159" y="910"/>
                </a:cubicBezTo>
                <a:cubicBezTo>
                  <a:pt x="2159" y="910"/>
                  <a:pt x="2159" y="911"/>
                  <a:pt x="2159" y="911"/>
                </a:cubicBezTo>
                <a:cubicBezTo>
                  <a:pt x="2158" y="912"/>
                  <a:pt x="2158" y="912"/>
                  <a:pt x="2158" y="913"/>
                </a:cubicBezTo>
                <a:cubicBezTo>
                  <a:pt x="2157" y="914"/>
                  <a:pt x="2158" y="914"/>
                  <a:pt x="2157" y="915"/>
                </a:cubicBezTo>
                <a:cubicBezTo>
                  <a:pt x="2157" y="916"/>
                  <a:pt x="2156" y="916"/>
                  <a:pt x="2156" y="917"/>
                </a:cubicBezTo>
                <a:cubicBezTo>
                  <a:pt x="2156" y="918"/>
                  <a:pt x="2156" y="919"/>
                  <a:pt x="2156" y="919"/>
                </a:cubicBezTo>
                <a:cubicBezTo>
                  <a:pt x="2155" y="920"/>
                  <a:pt x="2154" y="922"/>
                  <a:pt x="2154" y="923"/>
                </a:cubicBezTo>
                <a:cubicBezTo>
                  <a:pt x="2153" y="924"/>
                  <a:pt x="2153" y="924"/>
                  <a:pt x="2152" y="925"/>
                </a:cubicBezTo>
                <a:cubicBezTo>
                  <a:pt x="2152" y="925"/>
                  <a:pt x="2152" y="926"/>
                  <a:pt x="2151" y="926"/>
                </a:cubicBezTo>
                <a:cubicBezTo>
                  <a:pt x="2150" y="927"/>
                  <a:pt x="2149" y="928"/>
                  <a:pt x="2148" y="928"/>
                </a:cubicBezTo>
                <a:cubicBezTo>
                  <a:pt x="2147" y="929"/>
                  <a:pt x="2147" y="929"/>
                  <a:pt x="2146" y="929"/>
                </a:cubicBezTo>
                <a:cubicBezTo>
                  <a:pt x="2146" y="929"/>
                  <a:pt x="2146" y="929"/>
                  <a:pt x="2145" y="929"/>
                </a:cubicBezTo>
                <a:cubicBezTo>
                  <a:pt x="2145" y="930"/>
                  <a:pt x="2145" y="930"/>
                  <a:pt x="2145" y="930"/>
                </a:cubicBezTo>
                <a:cubicBezTo>
                  <a:pt x="2143" y="930"/>
                  <a:pt x="2142" y="931"/>
                  <a:pt x="2141" y="930"/>
                </a:cubicBezTo>
                <a:cubicBezTo>
                  <a:pt x="2140" y="930"/>
                  <a:pt x="2139" y="929"/>
                  <a:pt x="2138" y="929"/>
                </a:cubicBezTo>
                <a:cubicBezTo>
                  <a:pt x="2137" y="929"/>
                  <a:pt x="2134" y="929"/>
                  <a:pt x="2134" y="931"/>
                </a:cubicBezTo>
                <a:cubicBezTo>
                  <a:pt x="2135" y="931"/>
                  <a:pt x="2136" y="930"/>
                  <a:pt x="2137" y="929"/>
                </a:cubicBezTo>
                <a:cubicBezTo>
                  <a:pt x="2138" y="929"/>
                  <a:pt x="2139" y="930"/>
                  <a:pt x="2140" y="930"/>
                </a:cubicBezTo>
                <a:cubicBezTo>
                  <a:pt x="2140" y="931"/>
                  <a:pt x="2139" y="931"/>
                  <a:pt x="2138" y="931"/>
                </a:cubicBezTo>
                <a:cubicBezTo>
                  <a:pt x="2137" y="931"/>
                  <a:pt x="2137" y="931"/>
                  <a:pt x="2136" y="931"/>
                </a:cubicBezTo>
                <a:cubicBezTo>
                  <a:pt x="2135" y="931"/>
                  <a:pt x="2132" y="931"/>
                  <a:pt x="2131" y="931"/>
                </a:cubicBezTo>
                <a:cubicBezTo>
                  <a:pt x="2130" y="931"/>
                  <a:pt x="2130" y="930"/>
                  <a:pt x="2129" y="929"/>
                </a:cubicBezTo>
                <a:cubicBezTo>
                  <a:pt x="2128" y="928"/>
                  <a:pt x="2127" y="928"/>
                  <a:pt x="2126" y="927"/>
                </a:cubicBezTo>
                <a:cubicBezTo>
                  <a:pt x="2125" y="926"/>
                  <a:pt x="2124" y="925"/>
                  <a:pt x="2123" y="925"/>
                </a:cubicBezTo>
                <a:cubicBezTo>
                  <a:pt x="2121" y="926"/>
                  <a:pt x="2120" y="927"/>
                  <a:pt x="2119" y="926"/>
                </a:cubicBezTo>
                <a:cubicBezTo>
                  <a:pt x="2118" y="925"/>
                  <a:pt x="2118" y="925"/>
                  <a:pt x="2117" y="925"/>
                </a:cubicBezTo>
                <a:cubicBezTo>
                  <a:pt x="2116" y="925"/>
                  <a:pt x="2115" y="925"/>
                  <a:pt x="2114" y="925"/>
                </a:cubicBezTo>
                <a:cubicBezTo>
                  <a:pt x="2113" y="924"/>
                  <a:pt x="2112" y="924"/>
                  <a:pt x="2111" y="925"/>
                </a:cubicBezTo>
                <a:cubicBezTo>
                  <a:pt x="2109" y="925"/>
                  <a:pt x="2108" y="926"/>
                  <a:pt x="2107" y="926"/>
                </a:cubicBezTo>
                <a:cubicBezTo>
                  <a:pt x="2106" y="927"/>
                  <a:pt x="2105" y="928"/>
                  <a:pt x="2104" y="928"/>
                </a:cubicBezTo>
                <a:cubicBezTo>
                  <a:pt x="2102" y="929"/>
                  <a:pt x="2101" y="929"/>
                  <a:pt x="2100" y="930"/>
                </a:cubicBezTo>
                <a:cubicBezTo>
                  <a:pt x="2098" y="931"/>
                  <a:pt x="2097" y="932"/>
                  <a:pt x="2096" y="932"/>
                </a:cubicBezTo>
                <a:cubicBezTo>
                  <a:pt x="2094" y="933"/>
                  <a:pt x="2093" y="934"/>
                  <a:pt x="2092" y="934"/>
                </a:cubicBezTo>
                <a:cubicBezTo>
                  <a:pt x="2090" y="934"/>
                  <a:pt x="2089" y="933"/>
                  <a:pt x="2088" y="932"/>
                </a:cubicBezTo>
                <a:cubicBezTo>
                  <a:pt x="2086" y="931"/>
                  <a:pt x="2085" y="931"/>
                  <a:pt x="2083" y="931"/>
                </a:cubicBezTo>
                <a:cubicBezTo>
                  <a:pt x="2082" y="931"/>
                  <a:pt x="2080" y="931"/>
                  <a:pt x="2079" y="931"/>
                </a:cubicBezTo>
                <a:cubicBezTo>
                  <a:pt x="2078" y="931"/>
                  <a:pt x="2077" y="930"/>
                  <a:pt x="2077" y="930"/>
                </a:cubicBezTo>
                <a:cubicBezTo>
                  <a:pt x="2076" y="930"/>
                  <a:pt x="2075" y="930"/>
                  <a:pt x="2075" y="929"/>
                </a:cubicBezTo>
                <a:cubicBezTo>
                  <a:pt x="2072" y="928"/>
                  <a:pt x="2069" y="927"/>
                  <a:pt x="2067" y="926"/>
                </a:cubicBezTo>
                <a:cubicBezTo>
                  <a:pt x="2065" y="926"/>
                  <a:pt x="2064" y="926"/>
                  <a:pt x="2062" y="926"/>
                </a:cubicBezTo>
                <a:cubicBezTo>
                  <a:pt x="2061" y="925"/>
                  <a:pt x="2059" y="924"/>
                  <a:pt x="2058" y="924"/>
                </a:cubicBezTo>
                <a:cubicBezTo>
                  <a:pt x="2056" y="924"/>
                  <a:pt x="2055" y="924"/>
                  <a:pt x="2053" y="924"/>
                </a:cubicBezTo>
                <a:cubicBezTo>
                  <a:pt x="2052" y="925"/>
                  <a:pt x="2050" y="926"/>
                  <a:pt x="2049" y="926"/>
                </a:cubicBezTo>
                <a:cubicBezTo>
                  <a:pt x="2048" y="925"/>
                  <a:pt x="2047" y="925"/>
                  <a:pt x="2047" y="924"/>
                </a:cubicBezTo>
                <a:cubicBezTo>
                  <a:pt x="2046" y="924"/>
                  <a:pt x="2046" y="923"/>
                  <a:pt x="2046" y="923"/>
                </a:cubicBezTo>
                <a:cubicBezTo>
                  <a:pt x="2046" y="922"/>
                  <a:pt x="2046" y="921"/>
                  <a:pt x="2046" y="921"/>
                </a:cubicBezTo>
                <a:cubicBezTo>
                  <a:pt x="2045" y="919"/>
                  <a:pt x="2042" y="919"/>
                  <a:pt x="2040" y="919"/>
                </a:cubicBezTo>
                <a:cubicBezTo>
                  <a:pt x="2040" y="919"/>
                  <a:pt x="2039" y="919"/>
                  <a:pt x="2038" y="919"/>
                </a:cubicBezTo>
                <a:cubicBezTo>
                  <a:pt x="2037" y="919"/>
                  <a:pt x="2036" y="919"/>
                  <a:pt x="2036" y="919"/>
                </a:cubicBezTo>
                <a:cubicBezTo>
                  <a:pt x="2034" y="918"/>
                  <a:pt x="2033" y="917"/>
                  <a:pt x="2032" y="917"/>
                </a:cubicBezTo>
                <a:cubicBezTo>
                  <a:pt x="2031" y="917"/>
                  <a:pt x="2030" y="917"/>
                  <a:pt x="2029" y="917"/>
                </a:cubicBezTo>
                <a:cubicBezTo>
                  <a:pt x="2029" y="917"/>
                  <a:pt x="2028" y="916"/>
                  <a:pt x="2027" y="916"/>
                </a:cubicBezTo>
                <a:cubicBezTo>
                  <a:pt x="2025" y="916"/>
                  <a:pt x="2024" y="916"/>
                  <a:pt x="2023" y="914"/>
                </a:cubicBezTo>
                <a:cubicBezTo>
                  <a:pt x="2023" y="913"/>
                  <a:pt x="2024" y="911"/>
                  <a:pt x="2023" y="911"/>
                </a:cubicBezTo>
                <a:cubicBezTo>
                  <a:pt x="2022" y="910"/>
                  <a:pt x="2021" y="910"/>
                  <a:pt x="2021" y="910"/>
                </a:cubicBezTo>
                <a:cubicBezTo>
                  <a:pt x="2020" y="910"/>
                  <a:pt x="2019" y="910"/>
                  <a:pt x="2019" y="909"/>
                </a:cubicBezTo>
                <a:cubicBezTo>
                  <a:pt x="2018" y="909"/>
                  <a:pt x="2017" y="909"/>
                  <a:pt x="2016" y="909"/>
                </a:cubicBezTo>
                <a:cubicBezTo>
                  <a:pt x="2015" y="909"/>
                  <a:pt x="2015" y="908"/>
                  <a:pt x="2014" y="908"/>
                </a:cubicBezTo>
                <a:cubicBezTo>
                  <a:pt x="2011" y="907"/>
                  <a:pt x="2008" y="908"/>
                  <a:pt x="2005" y="909"/>
                </a:cubicBezTo>
                <a:cubicBezTo>
                  <a:pt x="2002" y="910"/>
                  <a:pt x="1999" y="910"/>
                  <a:pt x="1996" y="911"/>
                </a:cubicBezTo>
                <a:cubicBezTo>
                  <a:pt x="1993" y="912"/>
                  <a:pt x="1992" y="915"/>
                  <a:pt x="1990" y="917"/>
                </a:cubicBezTo>
                <a:cubicBezTo>
                  <a:pt x="1988" y="919"/>
                  <a:pt x="1986" y="921"/>
                  <a:pt x="1987" y="925"/>
                </a:cubicBezTo>
                <a:cubicBezTo>
                  <a:pt x="1988" y="928"/>
                  <a:pt x="1990" y="930"/>
                  <a:pt x="1989" y="933"/>
                </a:cubicBezTo>
                <a:cubicBezTo>
                  <a:pt x="1988" y="934"/>
                  <a:pt x="1988" y="935"/>
                  <a:pt x="1986" y="936"/>
                </a:cubicBezTo>
                <a:cubicBezTo>
                  <a:pt x="1985" y="937"/>
                  <a:pt x="1984" y="938"/>
                  <a:pt x="1983" y="939"/>
                </a:cubicBezTo>
                <a:cubicBezTo>
                  <a:pt x="1981" y="941"/>
                  <a:pt x="1977" y="942"/>
                  <a:pt x="1975" y="940"/>
                </a:cubicBezTo>
                <a:cubicBezTo>
                  <a:pt x="1974" y="939"/>
                  <a:pt x="1973" y="938"/>
                  <a:pt x="1972" y="938"/>
                </a:cubicBezTo>
                <a:cubicBezTo>
                  <a:pt x="1970" y="937"/>
                  <a:pt x="1969" y="936"/>
                  <a:pt x="1968" y="936"/>
                </a:cubicBezTo>
                <a:cubicBezTo>
                  <a:pt x="1967" y="935"/>
                  <a:pt x="1965" y="934"/>
                  <a:pt x="1964" y="933"/>
                </a:cubicBezTo>
                <a:cubicBezTo>
                  <a:pt x="1963" y="933"/>
                  <a:pt x="1963" y="932"/>
                  <a:pt x="1962" y="932"/>
                </a:cubicBezTo>
                <a:cubicBezTo>
                  <a:pt x="1962" y="931"/>
                  <a:pt x="1961" y="931"/>
                  <a:pt x="1960" y="931"/>
                </a:cubicBezTo>
                <a:cubicBezTo>
                  <a:pt x="1959" y="931"/>
                  <a:pt x="1958" y="930"/>
                  <a:pt x="1957" y="930"/>
                </a:cubicBezTo>
                <a:cubicBezTo>
                  <a:pt x="1956" y="930"/>
                  <a:pt x="1956" y="930"/>
                  <a:pt x="1955" y="930"/>
                </a:cubicBezTo>
                <a:cubicBezTo>
                  <a:pt x="1953" y="930"/>
                  <a:pt x="1953" y="929"/>
                  <a:pt x="1951" y="929"/>
                </a:cubicBezTo>
                <a:cubicBezTo>
                  <a:pt x="1950" y="929"/>
                  <a:pt x="1948" y="929"/>
                  <a:pt x="1947" y="929"/>
                </a:cubicBezTo>
                <a:cubicBezTo>
                  <a:pt x="1944" y="928"/>
                  <a:pt x="1941" y="927"/>
                  <a:pt x="1938" y="926"/>
                </a:cubicBezTo>
                <a:cubicBezTo>
                  <a:pt x="1937" y="925"/>
                  <a:pt x="1936" y="923"/>
                  <a:pt x="1935" y="922"/>
                </a:cubicBezTo>
                <a:cubicBezTo>
                  <a:pt x="1935" y="921"/>
                  <a:pt x="1935" y="919"/>
                  <a:pt x="1934" y="918"/>
                </a:cubicBezTo>
                <a:cubicBezTo>
                  <a:pt x="1934" y="916"/>
                  <a:pt x="1934" y="915"/>
                  <a:pt x="1932" y="914"/>
                </a:cubicBezTo>
                <a:cubicBezTo>
                  <a:pt x="1931" y="913"/>
                  <a:pt x="1929" y="914"/>
                  <a:pt x="1928" y="913"/>
                </a:cubicBezTo>
                <a:cubicBezTo>
                  <a:pt x="1926" y="913"/>
                  <a:pt x="1925" y="913"/>
                  <a:pt x="1923" y="912"/>
                </a:cubicBezTo>
                <a:cubicBezTo>
                  <a:pt x="1922" y="911"/>
                  <a:pt x="1921" y="910"/>
                  <a:pt x="1919" y="910"/>
                </a:cubicBezTo>
                <a:cubicBezTo>
                  <a:pt x="1916" y="909"/>
                  <a:pt x="1913" y="908"/>
                  <a:pt x="1910" y="908"/>
                </a:cubicBezTo>
                <a:cubicBezTo>
                  <a:pt x="1906" y="908"/>
                  <a:pt x="1903" y="909"/>
                  <a:pt x="1900" y="908"/>
                </a:cubicBezTo>
                <a:cubicBezTo>
                  <a:pt x="1899" y="908"/>
                  <a:pt x="1897" y="907"/>
                  <a:pt x="1896" y="906"/>
                </a:cubicBezTo>
                <a:cubicBezTo>
                  <a:pt x="1895" y="905"/>
                  <a:pt x="1893" y="905"/>
                  <a:pt x="1892" y="904"/>
                </a:cubicBezTo>
                <a:cubicBezTo>
                  <a:pt x="1890" y="904"/>
                  <a:pt x="1889" y="904"/>
                  <a:pt x="1888" y="904"/>
                </a:cubicBezTo>
                <a:cubicBezTo>
                  <a:pt x="1888" y="904"/>
                  <a:pt x="1887" y="903"/>
                  <a:pt x="1887" y="903"/>
                </a:cubicBezTo>
                <a:cubicBezTo>
                  <a:pt x="1886" y="903"/>
                  <a:pt x="1887" y="902"/>
                  <a:pt x="1886" y="901"/>
                </a:cubicBezTo>
                <a:cubicBezTo>
                  <a:pt x="1886" y="900"/>
                  <a:pt x="1886" y="899"/>
                  <a:pt x="1885" y="899"/>
                </a:cubicBezTo>
                <a:cubicBezTo>
                  <a:pt x="1883" y="899"/>
                  <a:pt x="1884" y="901"/>
                  <a:pt x="1882" y="900"/>
                </a:cubicBezTo>
                <a:cubicBezTo>
                  <a:pt x="1881" y="899"/>
                  <a:pt x="1883" y="898"/>
                  <a:pt x="1881" y="898"/>
                </a:cubicBezTo>
                <a:cubicBezTo>
                  <a:pt x="1880" y="898"/>
                  <a:pt x="1879" y="898"/>
                  <a:pt x="1878" y="898"/>
                </a:cubicBezTo>
                <a:cubicBezTo>
                  <a:pt x="1877" y="898"/>
                  <a:pt x="1877" y="897"/>
                  <a:pt x="1877" y="896"/>
                </a:cubicBezTo>
                <a:cubicBezTo>
                  <a:pt x="1876" y="896"/>
                  <a:pt x="1875" y="896"/>
                  <a:pt x="1875" y="895"/>
                </a:cubicBezTo>
                <a:cubicBezTo>
                  <a:pt x="1874" y="894"/>
                  <a:pt x="1874" y="891"/>
                  <a:pt x="1875" y="891"/>
                </a:cubicBezTo>
                <a:cubicBezTo>
                  <a:pt x="1875" y="890"/>
                  <a:pt x="1876" y="890"/>
                  <a:pt x="1877" y="890"/>
                </a:cubicBezTo>
                <a:cubicBezTo>
                  <a:pt x="1877" y="889"/>
                  <a:pt x="1878" y="888"/>
                  <a:pt x="1878" y="888"/>
                </a:cubicBezTo>
                <a:cubicBezTo>
                  <a:pt x="1879" y="887"/>
                  <a:pt x="1881" y="887"/>
                  <a:pt x="1882" y="886"/>
                </a:cubicBezTo>
                <a:cubicBezTo>
                  <a:pt x="1883" y="885"/>
                  <a:pt x="1883" y="883"/>
                  <a:pt x="1884" y="882"/>
                </a:cubicBezTo>
                <a:cubicBezTo>
                  <a:pt x="1884" y="881"/>
                  <a:pt x="1886" y="880"/>
                  <a:pt x="1886" y="879"/>
                </a:cubicBezTo>
                <a:cubicBezTo>
                  <a:pt x="1887" y="877"/>
                  <a:pt x="1886" y="876"/>
                  <a:pt x="1886" y="875"/>
                </a:cubicBezTo>
                <a:cubicBezTo>
                  <a:pt x="1886" y="874"/>
                  <a:pt x="1886" y="874"/>
                  <a:pt x="1885" y="873"/>
                </a:cubicBezTo>
                <a:cubicBezTo>
                  <a:pt x="1885" y="873"/>
                  <a:pt x="1884" y="872"/>
                  <a:pt x="1883" y="872"/>
                </a:cubicBezTo>
                <a:cubicBezTo>
                  <a:pt x="1882" y="871"/>
                  <a:pt x="1881" y="870"/>
                  <a:pt x="1881" y="870"/>
                </a:cubicBezTo>
                <a:cubicBezTo>
                  <a:pt x="1879" y="868"/>
                  <a:pt x="1879" y="865"/>
                  <a:pt x="1880" y="863"/>
                </a:cubicBezTo>
                <a:cubicBezTo>
                  <a:pt x="1881" y="862"/>
                  <a:pt x="1883" y="862"/>
                  <a:pt x="1884" y="861"/>
                </a:cubicBezTo>
                <a:cubicBezTo>
                  <a:pt x="1885" y="860"/>
                  <a:pt x="1885" y="858"/>
                  <a:pt x="1886" y="857"/>
                </a:cubicBezTo>
                <a:cubicBezTo>
                  <a:pt x="1886" y="856"/>
                  <a:pt x="1887" y="855"/>
                  <a:pt x="1886" y="854"/>
                </a:cubicBezTo>
                <a:cubicBezTo>
                  <a:pt x="1884" y="852"/>
                  <a:pt x="1884" y="855"/>
                  <a:pt x="1883" y="856"/>
                </a:cubicBezTo>
                <a:cubicBezTo>
                  <a:pt x="1882" y="856"/>
                  <a:pt x="1882" y="856"/>
                  <a:pt x="1881" y="857"/>
                </a:cubicBezTo>
                <a:cubicBezTo>
                  <a:pt x="1880" y="857"/>
                  <a:pt x="1880" y="857"/>
                  <a:pt x="1879" y="858"/>
                </a:cubicBezTo>
                <a:cubicBezTo>
                  <a:pt x="1879" y="858"/>
                  <a:pt x="1878" y="858"/>
                  <a:pt x="1877" y="858"/>
                </a:cubicBezTo>
                <a:cubicBezTo>
                  <a:pt x="1877" y="858"/>
                  <a:pt x="1877" y="857"/>
                  <a:pt x="1877" y="856"/>
                </a:cubicBezTo>
                <a:cubicBezTo>
                  <a:pt x="1878" y="854"/>
                  <a:pt x="1873" y="849"/>
                  <a:pt x="1872" y="852"/>
                </a:cubicBezTo>
                <a:cubicBezTo>
                  <a:pt x="1871" y="853"/>
                  <a:pt x="1871" y="850"/>
                  <a:pt x="1869" y="850"/>
                </a:cubicBezTo>
                <a:cubicBezTo>
                  <a:pt x="1868" y="851"/>
                  <a:pt x="1868" y="851"/>
                  <a:pt x="1867" y="851"/>
                </a:cubicBezTo>
                <a:cubicBezTo>
                  <a:pt x="1867" y="852"/>
                  <a:pt x="1866" y="852"/>
                  <a:pt x="1865" y="852"/>
                </a:cubicBezTo>
                <a:cubicBezTo>
                  <a:pt x="1864" y="852"/>
                  <a:pt x="1863" y="853"/>
                  <a:pt x="1862" y="853"/>
                </a:cubicBezTo>
                <a:cubicBezTo>
                  <a:pt x="1861" y="854"/>
                  <a:pt x="1860" y="855"/>
                  <a:pt x="1859" y="855"/>
                </a:cubicBezTo>
                <a:cubicBezTo>
                  <a:pt x="1857" y="856"/>
                  <a:pt x="1856" y="856"/>
                  <a:pt x="1854" y="856"/>
                </a:cubicBezTo>
                <a:cubicBezTo>
                  <a:pt x="1853" y="856"/>
                  <a:pt x="1853" y="856"/>
                  <a:pt x="1852" y="856"/>
                </a:cubicBezTo>
                <a:cubicBezTo>
                  <a:pt x="1851" y="856"/>
                  <a:pt x="1851" y="856"/>
                  <a:pt x="1850" y="856"/>
                </a:cubicBezTo>
                <a:cubicBezTo>
                  <a:pt x="1848" y="856"/>
                  <a:pt x="1848" y="855"/>
                  <a:pt x="1846" y="854"/>
                </a:cubicBezTo>
                <a:cubicBezTo>
                  <a:pt x="1845" y="854"/>
                  <a:pt x="1844" y="854"/>
                  <a:pt x="1843" y="854"/>
                </a:cubicBezTo>
                <a:cubicBezTo>
                  <a:pt x="1842" y="855"/>
                  <a:pt x="1841" y="856"/>
                  <a:pt x="1839" y="856"/>
                </a:cubicBezTo>
                <a:cubicBezTo>
                  <a:pt x="1838" y="856"/>
                  <a:pt x="1838" y="856"/>
                  <a:pt x="1837" y="856"/>
                </a:cubicBezTo>
                <a:cubicBezTo>
                  <a:pt x="1836" y="855"/>
                  <a:pt x="1835" y="855"/>
                  <a:pt x="1835" y="855"/>
                </a:cubicBezTo>
                <a:cubicBezTo>
                  <a:pt x="1833" y="855"/>
                  <a:pt x="1832" y="853"/>
                  <a:pt x="1831" y="855"/>
                </a:cubicBezTo>
                <a:cubicBezTo>
                  <a:pt x="1830" y="857"/>
                  <a:pt x="1829" y="857"/>
                  <a:pt x="1828" y="857"/>
                </a:cubicBezTo>
                <a:cubicBezTo>
                  <a:pt x="1826" y="857"/>
                  <a:pt x="1825" y="858"/>
                  <a:pt x="1824" y="858"/>
                </a:cubicBezTo>
                <a:cubicBezTo>
                  <a:pt x="1822" y="859"/>
                  <a:pt x="1821" y="860"/>
                  <a:pt x="1819" y="859"/>
                </a:cubicBezTo>
                <a:cubicBezTo>
                  <a:pt x="1818" y="859"/>
                  <a:pt x="1817" y="858"/>
                  <a:pt x="1816" y="857"/>
                </a:cubicBezTo>
                <a:cubicBezTo>
                  <a:pt x="1813" y="857"/>
                  <a:pt x="1811" y="856"/>
                  <a:pt x="1808" y="856"/>
                </a:cubicBezTo>
                <a:cubicBezTo>
                  <a:pt x="1806" y="856"/>
                  <a:pt x="1803" y="856"/>
                  <a:pt x="1800" y="857"/>
                </a:cubicBezTo>
                <a:cubicBezTo>
                  <a:pt x="1799" y="858"/>
                  <a:pt x="1797" y="859"/>
                  <a:pt x="1796" y="858"/>
                </a:cubicBezTo>
                <a:cubicBezTo>
                  <a:pt x="1795" y="858"/>
                  <a:pt x="1794" y="857"/>
                  <a:pt x="1793" y="858"/>
                </a:cubicBezTo>
                <a:cubicBezTo>
                  <a:pt x="1792" y="858"/>
                  <a:pt x="1791" y="859"/>
                  <a:pt x="1789" y="860"/>
                </a:cubicBezTo>
                <a:cubicBezTo>
                  <a:pt x="1788" y="861"/>
                  <a:pt x="1786" y="860"/>
                  <a:pt x="1784" y="860"/>
                </a:cubicBezTo>
                <a:cubicBezTo>
                  <a:pt x="1783" y="860"/>
                  <a:pt x="1781" y="860"/>
                  <a:pt x="1780" y="861"/>
                </a:cubicBezTo>
                <a:cubicBezTo>
                  <a:pt x="1778" y="861"/>
                  <a:pt x="1777" y="861"/>
                  <a:pt x="1775" y="861"/>
                </a:cubicBezTo>
                <a:cubicBezTo>
                  <a:pt x="1774" y="862"/>
                  <a:pt x="1772" y="862"/>
                  <a:pt x="1771" y="863"/>
                </a:cubicBezTo>
                <a:cubicBezTo>
                  <a:pt x="1770" y="863"/>
                  <a:pt x="1768" y="863"/>
                  <a:pt x="1766" y="864"/>
                </a:cubicBezTo>
                <a:cubicBezTo>
                  <a:pt x="1765" y="865"/>
                  <a:pt x="1764" y="865"/>
                  <a:pt x="1763" y="866"/>
                </a:cubicBezTo>
                <a:cubicBezTo>
                  <a:pt x="1761" y="867"/>
                  <a:pt x="1760" y="871"/>
                  <a:pt x="1758" y="871"/>
                </a:cubicBezTo>
                <a:cubicBezTo>
                  <a:pt x="1757" y="871"/>
                  <a:pt x="1757" y="870"/>
                  <a:pt x="1757" y="869"/>
                </a:cubicBezTo>
                <a:cubicBezTo>
                  <a:pt x="1755" y="868"/>
                  <a:pt x="1754" y="870"/>
                  <a:pt x="1753" y="870"/>
                </a:cubicBezTo>
                <a:cubicBezTo>
                  <a:pt x="1751" y="871"/>
                  <a:pt x="1750" y="871"/>
                  <a:pt x="1748" y="872"/>
                </a:cubicBezTo>
                <a:cubicBezTo>
                  <a:pt x="1746" y="873"/>
                  <a:pt x="1745" y="877"/>
                  <a:pt x="1742" y="878"/>
                </a:cubicBezTo>
                <a:cubicBezTo>
                  <a:pt x="1741" y="878"/>
                  <a:pt x="1739" y="878"/>
                  <a:pt x="1738" y="878"/>
                </a:cubicBezTo>
                <a:cubicBezTo>
                  <a:pt x="1736" y="879"/>
                  <a:pt x="1735" y="880"/>
                  <a:pt x="1733" y="879"/>
                </a:cubicBezTo>
                <a:cubicBezTo>
                  <a:pt x="1732" y="879"/>
                  <a:pt x="1731" y="878"/>
                  <a:pt x="1729" y="878"/>
                </a:cubicBezTo>
                <a:cubicBezTo>
                  <a:pt x="1729" y="878"/>
                  <a:pt x="1727" y="878"/>
                  <a:pt x="1727" y="878"/>
                </a:cubicBezTo>
                <a:cubicBezTo>
                  <a:pt x="1726" y="877"/>
                  <a:pt x="1726" y="876"/>
                  <a:pt x="1726" y="876"/>
                </a:cubicBezTo>
                <a:cubicBezTo>
                  <a:pt x="1725" y="875"/>
                  <a:pt x="1724" y="876"/>
                  <a:pt x="1724" y="876"/>
                </a:cubicBezTo>
                <a:cubicBezTo>
                  <a:pt x="1722" y="876"/>
                  <a:pt x="1721" y="877"/>
                  <a:pt x="1719" y="878"/>
                </a:cubicBezTo>
                <a:cubicBezTo>
                  <a:pt x="1718" y="878"/>
                  <a:pt x="1716" y="878"/>
                  <a:pt x="1715" y="878"/>
                </a:cubicBezTo>
                <a:cubicBezTo>
                  <a:pt x="1714" y="878"/>
                  <a:pt x="1712" y="878"/>
                  <a:pt x="1711" y="878"/>
                </a:cubicBezTo>
                <a:cubicBezTo>
                  <a:pt x="1710" y="878"/>
                  <a:pt x="1709" y="878"/>
                  <a:pt x="1709" y="878"/>
                </a:cubicBezTo>
                <a:cubicBezTo>
                  <a:pt x="1708" y="878"/>
                  <a:pt x="1708" y="878"/>
                  <a:pt x="1707" y="878"/>
                </a:cubicBezTo>
                <a:cubicBezTo>
                  <a:pt x="1706" y="878"/>
                  <a:pt x="1706" y="877"/>
                  <a:pt x="1706" y="877"/>
                </a:cubicBezTo>
                <a:cubicBezTo>
                  <a:pt x="1705" y="876"/>
                  <a:pt x="1704" y="876"/>
                  <a:pt x="1703" y="876"/>
                </a:cubicBezTo>
                <a:cubicBezTo>
                  <a:pt x="1701" y="875"/>
                  <a:pt x="1701" y="872"/>
                  <a:pt x="1700" y="871"/>
                </a:cubicBezTo>
                <a:cubicBezTo>
                  <a:pt x="1699" y="871"/>
                  <a:pt x="1699" y="870"/>
                  <a:pt x="1699" y="870"/>
                </a:cubicBezTo>
                <a:cubicBezTo>
                  <a:pt x="1700" y="869"/>
                  <a:pt x="1699" y="869"/>
                  <a:pt x="1698" y="869"/>
                </a:cubicBezTo>
                <a:cubicBezTo>
                  <a:pt x="1697" y="869"/>
                  <a:pt x="1697" y="869"/>
                  <a:pt x="1696" y="870"/>
                </a:cubicBezTo>
                <a:cubicBezTo>
                  <a:pt x="1696" y="870"/>
                  <a:pt x="1696" y="870"/>
                  <a:pt x="1695" y="870"/>
                </a:cubicBezTo>
                <a:cubicBezTo>
                  <a:pt x="1694" y="870"/>
                  <a:pt x="1693" y="870"/>
                  <a:pt x="1692" y="871"/>
                </a:cubicBezTo>
                <a:cubicBezTo>
                  <a:pt x="1692" y="872"/>
                  <a:pt x="1692" y="873"/>
                  <a:pt x="1691" y="873"/>
                </a:cubicBezTo>
                <a:cubicBezTo>
                  <a:pt x="1691" y="874"/>
                  <a:pt x="1690" y="875"/>
                  <a:pt x="1690" y="877"/>
                </a:cubicBezTo>
                <a:cubicBezTo>
                  <a:pt x="1689" y="878"/>
                  <a:pt x="1689" y="879"/>
                  <a:pt x="1688" y="881"/>
                </a:cubicBezTo>
                <a:cubicBezTo>
                  <a:pt x="1688" y="882"/>
                  <a:pt x="1687" y="883"/>
                  <a:pt x="1687" y="884"/>
                </a:cubicBezTo>
                <a:cubicBezTo>
                  <a:pt x="1686" y="886"/>
                  <a:pt x="1686" y="887"/>
                  <a:pt x="1685" y="889"/>
                </a:cubicBezTo>
                <a:cubicBezTo>
                  <a:pt x="1684" y="891"/>
                  <a:pt x="1683" y="893"/>
                  <a:pt x="1681" y="894"/>
                </a:cubicBezTo>
                <a:cubicBezTo>
                  <a:pt x="1680" y="896"/>
                  <a:pt x="1678" y="896"/>
                  <a:pt x="1677" y="897"/>
                </a:cubicBezTo>
                <a:cubicBezTo>
                  <a:pt x="1676" y="897"/>
                  <a:pt x="1675" y="898"/>
                  <a:pt x="1674" y="899"/>
                </a:cubicBezTo>
                <a:cubicBezTo>
                  <a:pt x="1672" y="899"/>
                  <a:pt x="1671" y="899"/>
                  <a:pt x="1670" y="900"/>
                </a:cubicBezTo>
                <a:cubicBezTo>
                  <a:pt x="1669" y="900"/>
                  <a:pt x="1669" y="900"/>
                  <a:pt x="1669" y="901"/>
                </a:cubicBezTo>
                <a:cubicBezTo>
                  <a:pt x="1668" y="901"/>
                  <a:pt x="1668" y="901"/>
                  <a:pt x="1667" y="901"/>
                </a:cubicBezTo>
                <a:cubicBezTo>
                  <a:pt x="1666" y="901"/>
                  <a:pt x="1664" y="902"/>
                  <a:pt x="1663" y="903"/>
                </a:cubicBezTo>
                <a:cubicBezTo>
                  <a:pt x="1661" y="904"/>
                  <a:pt x="1659" y="905"/>
                  <a:pt x="1658" y="907"/>
                </a:cubicBezTo>
                <a:cubicBezTo>
                  <a:pt x="1658" y="908"/>
                  <a:pt x="1657" y="909"/>
                  <a:pt x="1657" y="910"/>
                </a:cubicBezTo>
                <a:cubicBezTo>
                  <a:pt x="1656" y="910"/>
                  <a:pt x="1655" y="911"/>
                  <a:pt x="1655" y="912"/>
                </a:cubicBezTo>
                <a:cubicBezTo>
                  <a:pt x="1654" y="912"/>
                  <a:pt x="1654" y="913"/>
                  <a:pt x="1653" y="914"/>
                </a:cubicBezTo>
                <a:cubicBezTo>
                  <a:pt x="1653" y="915"/>
                  <a:pt x="1653" y="916"/>
                  <a:pt x="1653" y="916"/>
                </a:cubicBezTo>
                <a:cubicBezTo>
                  <a:pt x="1653" y="918"/>
                  <a:pt x="1652" y="919"/>
                  <a:pt x="1652" y="920"/>
                </a:cubicBezTo>
                <a:cubicBezTo>
                  <a:pt x="1651" y="921"/>
                  <a:pt x="1651" y="922"/>
                  <a:pt x="1650" y="922"/>
                </a:cubicBezTo>
                <a:cubicBezTo>
                  <a:pt x="1650" y="923"/>
                  <a:pt x="1649" y="924"/>
                  <a:pt x="1649" y="925"/>
                </a:cubicBezTo>
                <a:cubicBezTo>
                  <a:pt x="1648" y="925"/>
                  <a:pt x="1648" y="926"/>
                  <a:pt x="1648" y="927"/>
                </a:cubicBezTo>
                <a:cubicBezTo>
                  <a:pt x="1647" y="929"/>
                  <a:pt x="1648" y="930"/>
                  <a:pt x="1648" y="932"/>
                </a:cubicBezTo>
                <a:cubicBezTo>
                  <a:pt x="1648" y="934"/>
                  <a:pt x="1647" y="936"/>
                  <a:pt x="1648" y="937"/>
                </a:cubicBezTo>
                <a:cubicBezTo>
                  <a:pt x="1648" y="938"/>
                  <a:pt x="1649" y="938"/>
                  <a:pt x="1650" y="939"/>
                </a:cubicBezTo>
                <a:cubicBezTo>
                  <a:pt x="1651" y="940"/>
                  <a:pt x="1650" y="943"/>
                  <a:pt x="1649" y="944"/>
                </a:cubicBezTo>
                <a:cubicBezTo>
                  <a:pt x="1649" y="946"/>
                  <a:pt x="1648" y="947"/>
                  <a:pt x="1647" y="948"/>
                </a:cubicBezTo>
                <a:cubicBezTo>
                  <a:pt x="1646" y="950"/>
                  <a:pt x="1644" y="952"/>
                  <a:pt x="1642" y="954"/>
                </a:cubicBezTo>
                <a:cubicBezTo>
                  <a:pt x="1641" y="955"/>
                  <a:pt x="1640" y="955"/>
                  <a:pt x="1640" y="956"/>
                </a:cubicBezTo>
                <a:cubicBezTo>
                  <a:pt x="1639" y="957"/>
                  <a:pt x="1638" y="958"/>
                  <a:pt x="1637" y="958"/>
                </a:cubicBezTo>
                <a:cubicBezTo>
                  <a:pt x="1636" y="959"/>
                  <a:pt x="1635" y="959"/>
                  <a:pt x="1634" y="960"/>
                </a:cubicBezTo>
                <a:cubicBezTo>
                  <a:pt x="1634" y="960"/>
                  <a:pt x="1633" y="960"/>
                  <a:pt x="1633" y="961"/>
                </a:cubicBezTo>
                <a:cubicBezTo>
                  <a:pt x="1632" y="961"/>
                  <a:pt x="1632" y="961"/>
                  <a:pt x="1632" y="962"/>
                </a:cubicBezTo>
                <a:cubicBezTo>
                  <a:pt x="1631" y="962"/>
                  <a:pt x="1630" y="963"/>
                  <a:pt x="1629" y="963"/>
                </a:cubicBezTo>
                <a:cubicBezTo>
                  <a:pt x="1628" y="964"/>
                  <a:pt x="1627" y="965"/>
                  <a:pt x="1626" y="966"/>
                </a:cubicBezTo>
                <a:cubicBezTo>
                  <a:pt x="1626" y="967"/>
                  <a:pt x="1625" y="967"/>
                  <a:pt x="1624" y="967"/>
                </a:cubicBezTo>
                <a:cubicBezTo>
                  <a:pt x="1623" y="968"/>
                  <a:pt x="1622" y="968"/>
                  <a:pt x="1621" y="968"/>
                </a:cubicBezTo>
                <a:cubicBezTo>
                  <a:pt x="1620" y="968"/>
                  <a:pt x="1619" y="968"/>
                  <a:pt x="1618" y="968"/>
                </a:cubicBezTo>
                <a:cubicBezTo>
                  <a:pt x="1617" y="969"/>
                  <a:pt x="1617" y="969"/>
                  <a:pt x="1616" y="969"/>
                </a:cubicBezTo>
                <a:cubicBezTo>
                  <a:pt x="1614" y="969"/>
                  <a:pt x="1612" y="969"/>
                  <a:pt x="1611" y="971"/>
                </a:cubicBezTo>
                <a:cubicBezTo>
                  <a:pt x="1611" y="972"/>
                  <a:pt x="1611" y="972"/>
                  <a:pt x="1610" y="973"/>
                </a:cubicBezTo>
                <a:cubicBezTo>
                  <a:pt x="1609" y="974"/>
                  <a:pt x="1609" y="975"/>
                  <a:pt x="1608" y="977"/>
                </a:cubicBezTo>
                <a:cubicBezTo>
                  <a:pt x="1608" y="978"/>
                  <a:pt x="1608" y="979"/>
                  <a:pt x="1608" y="980"/>
                </a:cubicBezTo>
                <a:cubicBezTo>
                  <a:pt x="1607" y="982"/>
                  <a:pt x="1606" y="984"/>
                  <a:pt x="1604" y="986"/>
                </a:cubicBezTo>
                <a:cubicBezTo>
                  <a:pt x="1603" y="987"/>
                  <a:pt x="1600" y="988"/>
                  <a:pt x="1598" y="989"/>
                </a:cubicBezTo>
                <a:cubicBezTo>
                  <a:pt x="1598" y="989"/>
                  <a:pt x="1597" y="990"/>
                  <a:pt x="1596" y="990"/>
                </a:cubicBezTo>
                <a:cubicBezTo>
                  <a:pt x="1594" y="991"/>
                  <a:pt x="1594" y="993"/>
                  <a:pt x="1594" y="994"/>
                </a:cubicBezTo>
                <a:cubicBezTo>
                  <a:pt x="1594" y="995"/>
                  <a:pt x="1593" y="996"/>
                  <a:pt x="1593" y="997"/>
                </a:cubicBezTo>
                <a:cubicBezTo>
                  <a:pt x="1592" y="999"/>
                  <a:pt x="1591" y="1001"/>
                  <a:pt x="1591" y="1003"/>
                </a:cubicBezTo>
                <a:cubicBezTo>
                  <a:pt x="1590" y="1005"/>
                  <a:pt x="1591" y="1007"/>
                  <a:pt x="1590" y="1009"/>
                </a:cubicBezTo>
                <a:cubicBezTo>
                  <a:pt x="1589" y="1011"/>
                  <a:pt x="1587" y="1013"/>
                  <a:pt x="1585" y="1014"/>
                </a:cubicBezTo>
                <a:cubicBezTo>
                  <a:pt x="1584" y="1015"/>
                  <a:pt x="1583" y="1016"/>
                  <a:pt x="1583" y="1016"/>
                </a:cubicBezTo>
                <a:cubicBezTo>
                  <a:pt x="1582" y="1017"/>
                  <a:pt x="1581" y="1017"/>
                  <a:pt x="1580" y="1018"/>
                </a:cubicBezTo>
                <a:cubicBezTo>
                  <a:pt x="1581" y="1018"/>
                  <a:pt x="1581" y="1018"/>
                  <a:pt x="1581" y="1018"/>
                </a:cubicBezTo>
                <a:cubicBezTo>
                  <a:pt x="1582" y="1018"/>
                  <a:pt x="1581" y="1019"/>
                  <a:pt x="1581" y="1019"/>
                </a:cubicBezTo>
                <a:cubicBezTo>
                  <a:pt x="1580" y="1020"/>
                  <a:pt x="1579" y="1021"/>
                  <a:pt x="1579" y="1021"/>
                </a:cubicBezTo>
                <a:cubicBezTo>
                  <a:pt x="1577" y="1024"/>
                  <a:pt x="1576" y="1026"/>
                  <a:pt x="1575" y="1029"/>
                </a:cubicBezTo>
                <a:cubicBezTo>
                  <a:pt x="1574" y="1030"/>
                  <a:pt x="1574" y="1032"/>
                  <a:pt x="1573" y="1033"/>
                </a:cubicBezTo>
                <a:cubicBezTo>
                  <a:pt x="1573" y="1034"/>
                  <a:pt x="1573" y="1035"/>
                  <a:pt x="1572" y="1036"/>
                </a:cubicBezTo>
                <a:cubicBezTo>
                  <a:pt x="1572" y="1037"/>
                  <a:pt x="1572" y="1038"/>
                  <a:pt x="1571" y="1039"/>
                </a:cubicBezTo>
                <a:cubicBezTo>
                  <a:pt x="1570" y="1040"/>
                  <a:pt x="1569" y="1040"/>
                  <a:pt x="1569" y="1041"/>
                </a:cubicBezTo>
                <a:cubicBezTo>
                  <a:pt x="1568" y="1041"/>
                  <a:pt x="1567" y="1042"/>
                  <a:pt x="1567" y="1043"/>
                </a:cubicBezTo>
                <a:cubicBezTo>
                  <a:pt x="1567" y="1043"/>
                  <a:pt x="1566" y="1044"/>
                  <a:pt x="1566" y="1045"/>
                </a:cubicBezTo>
                <a:cubicBezTo>
                  <a:pt x="1566" y="1045"/>
                  <a:pt x="1566" y="1046"/>
                  <a:pt x="1566" y="1047"/>
                </a:cubicBezTo>
                <a:cubicBezTo>
                  <a:pt x="1566" y="1048"/>
                  <a:pt x="1566" y="1049"/>
                  <a:pt x="1566" y="1050"/>
                </a:cubicBezTo>
                <a:cubicBezTo>
                  <a:pt x="1566" y="1051"/>
                  <a:pt x="1566" y="1052"/>
                  <a:pt x="1565" y="1053"/>
                </a:cubicBezTo>
                <a:cubicBezTo>
                  <a:pt x="1565" y="1054"/>
                  <a:pt x="1565" y="1055"/>
                  <a:pt x="1565" y="1055"/>
                </a:cubicBezTo>
                <a:cubicBezTo>
                  <a:pt x="1565" y="1056"/>
                  <a:pt x="1565" y="1058"/>
                  <a:pt x="1566" y="1057"/>
                </a:cubicBezTo>
                <a:cubicBezTo>
                  <a:pt x="1566" y="1057"/>
                  <a:pt x="1566" y="1055"/>
                  <a:pt x="1566" y="1055"/>
                </a:cubicBezTo>
                <a:cubicBezTo>
                  <a:pt x="1566" y="1054"/>
                  <a:pt x="1566" y="1054"/>
                  <a:pt x="1566" y="1054"/>
                </a:cubicBezTo>
                <a:cubicBezTo>
                  <a:pt x="1566" y="1053"/>
                  <a:pt x="1566" y="1053"/>
                  <a:pt x="1567" y="1053"/>
                </a:cubicBezTo>
                <a:cubicBezTo>
                  <a:pt x="1567" y="1052"/>
                  <a:pt x="1567" y="1053"/>
                  <a:pt x="1567" y="1053"/>
                </a:cubicBezTo>
                <a:cubicBezTo>
                  <a:pt x="1567" y="1054"/>
                  <a:pt x="1568" y="1054"/>
                  <a:pt x="1568" y="1054"/>
                </a:cubicBezTo>
                <a:cubicBezTo>
                  <a:pt x="1569" y="1055"/>
                  <a:pt x="1569" y="1056"/>
                  <a:pt x="1569" y="1056"/>
                </a:cubicBezTo>
                <a:cubicBezTo>
                  <a:pt x="1569" y="1057"/>
                  <a:pt x="1570" y="1057"/>
                  <a:pt x="1570" y="1058"/>
                </a:cubicBezTo>
                <a:cubicBezTo>
                  <a:pt x="1571" y="1058"/>
                  <a:pt x="1571" y="1060"/>
                  <a:pt x="1572" y="1059"/>
                </a:cubicBezTo>
                <a:cubicBezTo>
                  <a:pt x="1572" y="1058"/>
                  <a:pt x="1572" y="1058"/>
                  <a:pt x="1572" y="1058"/>
                </a:cubicBezTo>
                <a:cubicBezTo>
                  <a:pt x="1573" y="1058"/>
                  <a:pt x="1573" y="1059"/>
                  <a:pt x="1573" y="1059"/>
                </a:cubicBezTo>
                <a:cubicBezTo>
                  <a:pt x="1573" y="1060"/>
                  <a:pt x="1574" y="1060"/>
                  <a:pt x="1574" y="1061"/>
                </a:cubicBezTo>
                <a:cubicBezTo>
                  <a:pt x="1574" y="1061"/>
                  <a:pt x="1575" y="1062"/>
                  <a:pt x="1575" y="1063"/>
                </a:cubicBezTo>
                <a:cubicBezTo>
                  <a:pt x="1575" y="1064"/>
                  <a:pt x="1575" y="1065"/>
                  <a:pt x="1575" y="1066"/>
                </a:cubicBezTo>
                <a:cubicBezTo>
                  <a:pt x="1575" y="1066"/>
                  <a:pt x="1574" y="1067"/>
                  <a:pt x="1574" y="1067"/>
                </a:cubicBezTo>
                <a:cubicBezTo>
                  <a:pt x="1573" y="1068"/>
                  <a:pt x="1573" y="1068"/>
                  <a:pt x="1573" y="1069"/>
                </a:cubicBezTo>
                <a:cubicBezTo>
                  <a:pt x="1573" y="1069"/>
                  <a:pt x="1573" y="1070"/>
                  <a:pt x="1573" y="1070"/>
                </a:cubicBezTo>
                <a:cubicBezTo>
                  <a:pt x="1573" y="1070"/>
                  <a:pt x="1573" y="1069"/>
                  <a:pt x="1573" y="1069"/>
                </a:cubicBezTo>
                <a:cubicBezTo>
                  <a:pt x="1573" y="1068"/>
                  <a:pt x="1574" y="1067"/>
                  <a:pt x="1574" y="1067"/>
                </a:cubicBezTo>
                <a:cubicBezTo>
                  <a:pt x="1575" y="1068"/>
                  <a:pt x="1574" y="1069"/>
                  <a:pt x="1574" y="1069"/>
                </a:cubicBezTo>
                <a:cubicBezTo>
                  <a:pt x="1574" y="1070"/>
                  <a:pt x="1574" y="1070"/>
                  <a:pt x="1573" y="1070"/>
                </a:cubicBezTo>
                <a:cubicBezTo>
                  <a:pt x="1573" y="1070"/>
                  <a:pt x="1573" y="1070"/>
                  <a:pt x="1573" y="1071"/>
                </a:cubicBezTo>
                <a:cubicBezTo>
                  <a:pt x="1572" y="1071"/>
                  <a:pt x="1572" y="1071"/>
                  <a:pt x="1572" y="1072"/>
                </a:cubicBezTo>
                <a:cubicBezTo>
                  <a:pt x="1572" y="1072"/>
                  <a:pt x="1573" y="1072"/>
                  <a:pt x="1573" y="1072"/>
                </a:cubicBezTo>
                <a:cubicBezTo>
                  <a:pt x="1573" y="1072"/>
                  <a:pt x="1573" y="1073"/>
                  <a:pt x="1573" y="1073"/>
                </a:cubicBezTo>
                <a:cubicBezTo>
                  <a:pt x="1572" y="1073"/>
                  <a:pt x="1572" y="1072"/>
                  <a:pt x="1572" y="1072"/>
                </a:cubicBezTo>
                <a:cubicBezTo>
                  <a:pt x="1572" y="1073"/>
                  <a:pt x="1572" y="1073"/>
                  <a:pt x="1572" y="1073"/>
                </a:cubicBezTo>
                <a:cubicBezTo>
                  <a:pt x="1572" y="1074"/>
                  <a:pt x="1572" y="1074"/>
                  <a:pt x="1572" y="1074"/>
                </a:cubicBezTo>
                <a:cubicBezTo>
                  <a:pt x="1572" y="1075"/>
                  <a:pt x="1572" y="1075"/>
                  <a:pt x="1573" y="1076"/>
                </a:cubicBezTo>
                <a:cubicBezTo>
                  <a:pt x="1573" y="1076"/>
                  <a:pt x="1574" y="1077"/>
                  <a:pt x="1575" y="1077"/>
                </a:cubicBezTo>
                <a:cubicBezTo>
                  <a:pt x="1575" y="1078"/>
                  <a:pt x="1575" y="1079"/>
                  <a:pt x="1575" y="1080"/>
                </a:cubicBezTo>
                <a:cubicBezTo>
                  <a:pt x="1575" y="1082"/>
                  <a:pt x="1576" y="1083"/>
                  <a:pt x="1576" y="1084"/>
                </a:cubicBezTo>
                <a:cubicBezTo>
                  <a:pt x="1576" y="1085"/>
                  <a:pt x="1576" y="1086"/>
                  <a:pt x="1576" y="1087"/>
                </a:cubicBezTo>
                <a:cubicBezTo>
                  <a:pt x="1576" y="1088"/>
                  <a:pt x="1576" y="1089"/>
                  <a:pt x="1576" y="1090"/>
                </a:cubicBezTo>
                <a:cubicBezTo>
                  <a:pt x="1577" y="1091"/>
                  <a:pt x="1576" y="1093"/>
                  <a:pt x="1576" y="1095"/>
                </a:cubicBezTo>
                <a:cubicBezTo>
                  <a:pt x="1576" y="1097"/>
                  <a:pt x="1576" y="1098"/>
                  <a:pt x="1575" y="1099"/>
                </a:cubicBezTo>
                <a:cubicBezTo>
                  <a:pt x="1575" y="1100"/>
                  <a:pt x="1574" y="1100"/>
                  <a:pt x="1574" y="1101"/>
                </a:cubicBezTo>
                <a:cubicBezTo>
                  <a:pt x="1573" y="1103"/>
                  <a:pt x="1572" y="1105"/>
                  <a:pt x="1572" y="1108"/>
                </a:cubicBezTo>
                <a:cubicBezTo>
                  <a:pt x="1572" y="1110"/>
                  <a:pt x="1571" y="1112"/>
                  <a:pt x="1571" y="1114"/>
                </a:cubicBezTo>
                <a:cubicBezTo>
                  <a:pt x="1571" y="1116"/>
                  <a:pt x="1569" y="1119"/>
                  <a:pt x="1568" y="1121"/>
                </a:cubicBezTo>
                <a:cubicBezTo>
                  <a:pt x="1567" y="1123"/>
                  <a:pt x="1566" y="1124"/>
                  <a:pt x="1564" y="1125"/>
                </a:cubicBezTo>
                <a:cubicBezTo>
                  <a:pt x="1563" y="1126"/>
                  <a:pt x="1563" y="1127"/>
                  <a:pt x="1561" y="1127"/>
                </a:cubicBezTo>
                <a:cubicBezTo>
                  <a:pt x="1561" y="1127"/>
                  <a:pt x="1560" y="1127"/>
                  <a:pt x="1560" y="1127"/>
                </a:cubicBezTo>
                <a:cubicBezTo>
                  <a:pt x="1560" y="1128"/>
                  <a:pt x="1560" y="1128"/>
                  <a:pt x="1560" y="1128"/>
                </a:cubicBezTo>
                <a:cubicBezTo>
                  <a:pt x="1561" y="1128"/>
                  <a:pt x="1561" y="1129"/>
                  <a:pt x="1561" y="1129"/>
                </a:cubicBezTo>
                <a:cubicBezTo>
                  <a:pt x="1561" y="1128"/>
                  <a:pt x="1561" y="1128"/>
                  <a:pt x="1561" y="1128"/>
                </a:cubicBezTo>
                <a:cubicBezTo>
                  <a:pt x="1562" y="1128"/>
                  <a:pt x="1562" y="1128"/>
                  <a:pt x="1562" y="1128"/>
                </a:cubicBezTo>
                <a:cubicBezTo>
                  <a:pt x="1563" y="1128"/>
                  <a:pt x="1563" y="1128"/>
                  <a:pt x="1563" y="1128"/>
                </a:cubicBezTo>
                <a:cubicBezTo>
                  <a:pt x="1564" y="1129"/>
                  <a:pt x="1564" y="1129"/>
                  <a:pt x="1564" y="1129"/>
                </a:cubicBezTo>
                <a:cubicBezTo>
                  <a:pt x="1564" y="1129"/>
                  <a:pt x="1565" y="1129"/>
                  <a:pt x="1565" y="1130"/>
                </a:cubicBezTo>
                <a:cubicBezTo>
                  <a:pt x="1565" y="1130"/>
                  <a:pt x="1565" y="1131"/>
                  <a:pt x="1566" y="1132"/>
                </a:cubicBezTo>
                <a:cubicBezTo>
                  <a:pt x="1566" y="1132"/>
                  <a:pt x="1567" y="1133"/>
                  <a:pt x="1567" y="1134"/>
                </a:cubicBezTo>
                <a:cubicBezTo>
                  <a:pt x="1568" y="1135"/>
                  <a:pt x="1568" y="1136"/>
                  <a:pt x="1568" y="1136"/>
                </a:cubicBezTo>
                <a:cubicBezTo>
                  <a:pt x="1568" y="1137"/>
                  <a:pt x="1568" y="1137"/>
                  <a:pt x="1568" y="1138"/>
                </a:cubicBezTo>
                <a:cubicBezTo>
                  <a:pt x="1569" y="1138"/>
                  <a:pt x="1569" y="1138"/>
                  <a:pt x="1569" y="1138"/>
                </a:cubicBezTo>
                <a:cubicBezTo>
                  <a:pt x="1569" y="1139"/>
                  <a:pt x="1569" y="1138"/>
                  <a:pt x="1570" y="1139"/>
                </a:cubicBezTo>
                <a:cubicBezTo>
                  <a:pt x="1570" y="1139"/>
                  <a:pt x="1570" y="1140"/>
                  <a:pt x="1571" y="1141"/>
                </a:cubicBezTo>
                <a:cubicBezTo>
                  <a:pt x="1571" y="1141"/>
                  <a:pt x="1571" y="1142"/>
                  <a:pt x="1572" y="1142"/>
                </a:cubicBezTo>
                <a:cubicBezTo>
                  <a:pt x="1572" y="1143"/>
                  <a:pt x="1572" y="1144"/>
                  <a:pt x="1573" y="1144"/>
                </a:cubicBezTo>
                <a:cubicBezTo>
                  <a:pt x="1573" y="1144"/>
                  <a:pt x="1574" y="1144"/>
                  <a:pt x="1574" y="1144"/>
                </a:cubicBezTo>
                <a:cubicBezTo>
                  <a:pt x="1575" y="1144"/>
                  <a:pt x="1575" y="1144"/>
                  <a:pt x="1575" y="1144"/>
                </a:cubicBezTo>
                <a:cubicBezTo>
                  <a:pt x="1576" y="1144"/>
                  <a:pt x="1574" y="1145"/>
                  <a:pt x="1574" y="1145"/>
                </a:cubicBezTo>
                <a:cubicBezTo>
                  <a:pt x="1574" y="1145"/>
                  <a:pt x="1573" y="1145"/>
                  <a:pt x="1573" y="1145"/>
                </a:cubicBezTo>
                <a:cubicBezTo>
                  <a:pt x="1572" y="1145"/>
                  <a:pt x="1572" y="1144"/>
                  <a:pt x="1572" y="1144"/>
                </a:cubicBezTo>
                <a:cubicBezTo>
                  <a:pt x="1571" y="1144"/>
                  <a:pt x="1571" y="1144"/>
                  <a:pt x="1571" y="1144"/>
                </a:cubicBezTo>
                <a:cubicBezTo>
                  <a:pt x="1570" y="1144"/>
                  <a:pt x="1570" y="1143"/>
                  <a:pt x="1570" y="1143"/>
                </a:cubicBezTo>
                <a:cubicBezTo>
                  <a:pt x="1570" y="1143"/>
                  <a:pt x="1570" y="1142"/>
                  <a:pt x="1570" y="1142"/>
                </a:cubicBezTo>
                <a:cubicBezTo>
                  <a:pt x="1569" y="1142"/>
                  <a:pt x="1569" y="1142"/>
                  <a:pt x="1569" y="1143"/>
                </a:cubicBezTo>
                <a:cubicBezTo>
                  <a:pt x="1568" y="1143"/>
                  <a:pt x="1568" y="1143"/>
                  <a:pt x="1568" y="1143"/>
                </a:cubicBezTo>
                <a:cubicBezTo>
                  <a:pt x="1568" y="1144"/>
                  <a:pt x="1568" y="1144"/>
                  <a:pt x="1568" y="1145"/>
                </a:cubicBezTo>
                <a:cubicBezTo>
                  <a:pt x="1568" y="1146"/>
                  <a:pt x="1569" y="1146"/>
                  <a:pt x="1569" y="1147"/>
                </a:cubicBezTo>
                <a:cubicBezTo>
                  <a:pt x="1569" y="1147"/>
                  <a:pt x="1569" y="1148"/>
                  <a:pt x="1569" y="1149"/>
                </a:cubicBezTo>
                <a:cubicBezTo>
                  <a:pt x="1569" y="1150"/>
                  <a:pt x="1568" y="1151"/>
                  <a:pt x="1569" y="1152"/>
                </a:cubicBezTo>
                <a:cubicBezTo>
                  <a:pt x="1569" y="1152"/>
                  <a:pt x="1569" y="1152"/>
                  <a:pt x="1569" y="1153"/>
                </a:cubicBezTo>
                <a:cubicBezTo>
                  <a:pt x="1569" y="1153"/>
                  <a:pt x="1569" y="1153"/>
                  <a:pt x="1569" y="1154"/>
                </a:cubicBezTo>
                <a:cubicBezTo>
                  <a:pt x="1568" y="1155"/>
                  <a:pt x="1569" y="1155"/>
                  <a:pt x="1570" y="1156"/>
                </a:cubicBezTo>
                <a:cubicBezTo>
                  <a:pt x="1570" y="1156"/>
                  <a:pt x="1571" y="1156"/>
                  <a:pt x="1571" y="1157"/>
                </a:cubicBezTo>
                <a:cubicBezTo>
                  <a:pt x="1572" y="1157"/>
                  <a:pt x="1573" y="1157"/>
                  <a:pt x="1574" y="1158"/>
                </a:cubicBezTo>
                <a:cubicBezTo>
                  <a:pt x="1574" y="1158"/>
                  <a:pt x="1574" y="1158"/>
                  <a:pt x="1574" y="1159"/>
                </a:cubicBezTo>
                <a:cubicBezTo>
                  <a:pt x="1574" y="1159"/>
                  <a:pt x="1574" y="1159"/>
                  <a:pt x="1575" y="1159"/>
                </a:cubicBezTo>
                <a:cubicBezTo>
                  <a:pt x="1575" y="1160"/>
                  <a:pt x="1575" y="1161"/>
                  <a:pt x="1575" y="1161"/>
                </a:cubicBezTo>
                <a:cubicBezTo>
                  <a:pt x="1576" y="1162"/>
                  <a:pt x="1577" y="1162"/>
                  <a:pt x="1577" y="1162"/>
                </a:cubicBezTo>
                <a:cubicBezTo>
                  <a:pt x="1577" y="1161"/>
                  <a:pt x="1577" y="1161"/>
                  <a:pt x="1578" y="1161"/>
                </a:cubicBezTo>
                <a:cubicBezTo>
                  <a:pt x="1578" y="1160"/>
                  <a:pt x="1578" y="1161"/>
                  <a:pt x="1578" y="1161"/>
                </a:cubicBezTo>
                <a:cubicBezTo>
                  <a:pt x="1578" y="1161"/>
                  <a:pt x="1578" y="1162"/>
                  <a:pt x="1578" y="1162"/>
                </a:cubicBezTo>
                <a:cubicBezTo>
                  <a:pt x="1578" y="1162"/>
                  <a:pt x="1578" y="1162"/>
                  <a:pt x="1579" y="1162"/>
                </a:cubicBezTo>
                <a:cubicBezTo>
                  <a:pt x="1579" y="1162"/>
                  <a:pt x="1580" y="1162"/>
                  <a:pt x="1581" y="1162"/>
                </a:cubicBezTo>
                <a:cubicBezTo>
                  <a:pt x="1582" y="1162"/>
                  <a:pt x="1582" y="1161"/>
                  <a:pt x="1583" y="1161"/>
                </a:cubicBezTo>
                <a:cubicBezTo>
                  <a:pt x="1583" y="1160"/>
                  <a:pt x="1585" y="1161"/>
                  <a:pt x="1584" y="1162"/>
                </a:cubicBezTo>
                <a:cubicBezTo>
                  <a:pt x="1584" y="1162"/>
                  <a:pt x="1583" y="1162"/>
                  <a:pt x="1583" y="1162"/>
                </a:cubicBezTo>
                <a:cubicBezTo>
                  <a:pt x="1583" y="1163"/>
                  <a:pt x="1584" y="1163"/>
                  <a:pt x="1583" y="1163"/>
                </a:cubicBezTo>
                <a:cubicBezTo>
                  <a:pt x="1583" y="1163"/>
                  <a:pt x="1583" y="1163"/>
                  <a:pt x="1583" y="1164"/>
                </a:cubicBezTo>
                <a:cubicBezTo>
                  <a:pt x="1583" y="1164"/>
                  <a:pt x="1583" y="1164"/>
                  <a:pt x="1583" y="1164"/>
                </a:cubicBezTo>
                <a:cubicBezTo>
                  <a:pt x="1583" y="1164"/>
                  <a:pt x="1583" y="1164"/>
                  <a:pt x="1583" y="1164"/>
                </a:cubicBezTo>
                <a:cubicBezTo>
                  <a:pt x="1584" y="1165"/>
                  <a:pt x="1584" y="1164"/>
                  <a:pt x="1585" y="1164"/>
                </a:cubicBezTo>
                <a:cubicBezTo>
                  <a:pt x="1586" y="1163"/>
                  <a:pt x="1588" y="1164"/>
                  <a:pt x="1588" y="1165"/>
                </a:cubicBezTo>
                <a:cubicBezTo>
                  <a:pt x="1587" y="1164"/>
                  <a:pt x="1587" y="1164"/>
                  <a:pt x="1586" y="1164"/>
                </a:cubicBezTo>
                <a:cubicBezTo>
                  <a:pt x="1585" y="1164"/>
                  <a:pt x="1585" y="1165"/>
                  <a:pt x="1585" y="1165"/>
                </a:cubicBezTo>
                <a:cubicBezTo>
                  <a:pt x="1585" y="1165"/>
                  <a:pt x="1585" y="1165"/>
                  <a:pt x="1584" y="1165"/>
                </a:cubicBezTo>
                <a:cubicBezTo>
                  <a:pt x="1584" y="1166"/>
                  <a:pt x="1584" y="1166"/>
                  <a:pt x="1584" y="1166"/>
                </a:cubicBezTo>
                <a:cubicBezTo>
                  <a:pt x="1584" y="1167"/>
                  <a:pt x="1584" y="1167"/>
                  <a:pt x="1584" y="1167"/>
                </a:cubicBezTo>
                <a:cubicBezTo>
                  <a:pt x="1584" y="1167"/>
                  <a:pt x="1584" y="1167"/>
                  <a:pt x="1583" y="1167"/>
                </a:cubicBezTo>
                <a:cubicBezTo>
                  <a:pt x="1583" y="1167"/>
                  <a:pt x="1583" y="1167"/>
                  <a:pt x="1583" y="1167"/>
                </a:cubicBezTo>
                <a:cubicBezTo>
                  <a:pt x="1584" y="1167"/>
                  <a:pt x="1584" y="1167"/>
                  <a:pt x="1584" y="1168"/>
                </a:cubicBezTo>
                <a:cubicBezTo>
                  <a:pt x="1585" y="1168"/>
                  <a:pt x="1585" y="1168"/>
                  <a:pt x="1585" y="1168"/>
                </a:cubicBezTo>
                <a:cubicBezTo>
                  <a:pt x="1585" y="1168"/>
                  <a:pt x="1586" y="1168"/>
                  <a:pt x="1586" y="1168"/>
                </a:cubicBezTo>
                <a:cubicBezTo>
                  <a:pt x="1587" y="1169"/>
                  <a:pt x="1586" y="1170"/>
                  <a:pt x="1587" y="1170"/>
                </a:cubicBezTo>
                <a:cubicBezTo>
                  <a:pt x="1588" y="1170"/>
                  <a:pt x="1589" y="1169"/>
                  <a:pt x="1589" y="1170"/>
                </a:cubicBezTo>
                <a:cubicBezTo>
                  <a:pt x="1589" y="1171"/>
                  <a:pt x="1589" y="1171"/>
                  <a:pt x="1589" y="1171"/>
                </a:cubicBezTo>
                <a:cubicBezTo>
                  <a:pt x="1590" y="1171"/>
                  <a:pt x="1591" y="1171"/>
                  <a:pt x="1591" y="1171"/>
                </a:cubicBezTo>
                <a:cubicBezTo>
                  <a:pt x="1591" y="1172"/>
                  <a:pt x="1591" y="1172"/>
                  <a:pt x="1591" y="1172"/>
                </a:cubicBezTo>
                <a:cubicBezTo>
                  <a:pt x="1591" y="1173"/>
                  <a:pt x="1591" y="1173"/>
                  <a:pt x="1591" y="1174"/>
                </a:cubicBezTo>
                <a:cubicBezTo>
                  <a:pt x="1591" y="1174"/>
                  <a:pt x="1592" y="1174"/>
                  <a:pt x="1592" y="1174"/>
                </a:cubicBezTo>
                <a:cubicBezTo>
                  <a:pt x="1593" y="1175"/>
                  <a:pt x="1592" y="1176"/>
                  <a:pt x="1593" y="1176"/>
                </a:cubicBezTo>
                <a:cubicBezTo>
                  <a:pt x="1593" y="1176"/>
                  <a:pt x="1594" y="1176"/>
                  <a:pt x="1594" y="1177"/>
                </a:cubicBezTo>
                <a:cubicBezTo>
                  <a:pt x="1595" y="1178"/>
                  <a:pt x="1594" y="1179"/>
                  <a:pt x="1595" y="1180"/>
                </a:cubicBezTo>
                <a:cubicBezTo>
                  <a:pt x="1595" y="1180"/>
                  <a:pt x="1596" y="1180"/>
                  <a:pt x="1596" y="1181"/>
                </a:cubicBezTo>
                <a:cubicBezTo>
                  <a:pt x="1597" y="1181"/>
                  <a:pt x="1597" y="1182"/>
                  <a:pt x="1598" y="1182"/>
                </a:cubicBezTo>
                <a:cubicBezTo>
                  <a:pt x="1599" y="1183"/>
                  <a:pt x="1599" y="1182"/>
                  <a:pt x="1599" y="1182"/>
                </a:cubicBezTo>
                <a:cubicBezTo>
                  <a:pt x="1600" y="1181"/>
                  <a:pt x="1600" y="1181"/>
                  <a:pt x="1601" y="1182"/>
                </a:cubicBezTo>
                <a:cubicBezTo>
                  <a:pt x="1601" y="1183"/>
                  <a:pt x="1601" y="1183"/>
                  <a:pt x="1601" y="1183"/>
                </a:cubicBezTo>
                <a:cubicBezTo>
                  <a:pt x="1601" y="1183"/>
                  <a:pt x="1602" y="1184"/>
                  <a:pt x="1602" y="1184"/>
                </a:cubicBezTo>
                <a:cubicBezTo>
                  <a:pt x="1602" y="1184"/>
                  <a:pt x="1603" y="1184"/>
                  <a:pt x="1603" y="1184"/>
                </a:cubicBezTo>
                <a:cubicBezTo>
                  <a:pt x="1603" y="1185"/>
                  <a:pt x="1603" y="1185"/>
                  <a:pt x="1604" y="1185"/>
                </a:cubicBezTo>
                <a:cubicBezTo>
                  <a:pt x="1604" y="1186"/>
                  <a:pt x="1604" y="1185"/>
                  <a:pt x="1605" y="1186"/>
                </a:cubicBezTo>
                <a:cubicBezTo>
                  <a:pt x="1605" y="1186"/>
                  <a:pt x="1604" y="1187"/>
                  <a:pt x="1604" y="1187"/>
                </a:cubicBezTo>
                <a:cubicBezTo>
                  <a:pt x="1604" y="1187"/>
                  <a:pt x="1604" y="1187"/>
                  <a:pt x="1604" y="1188"/>
                </a:cubicBezTo>
                <a:cubicBezTo>
                  <a:pt x="1603" y="1188"/>
                  <a:pt x="1604" y="1188"/>
                  <a:pt x="1604" y="1188"/>
                </a:cubicBezTo>
                <a:cubicBezTo>
                  <a:pt x="1605" y="1188"/>
                  <a:pt x="1605" y="1188"/>
                  <a:pt x="1605" y="1188"/>
                </a:cubicBezTo>
                <a:cubicBezTo>
                  <a:pt x="1606" y="1188"/>
                  <a:pt x="1606" y="1188"/>
                  <a:pt x="1606" y="1188"/>
                </a:cubicBezTo>
                <a:cubicBezTo>
                  <a:pt x="1607" y="1188"/>
                  <a:pt x="1606" y="1189"/>
                  <a:pt x="1607" y="1190"/>
                </a:cubicBezTo>
                <a:cubicBezTo>
                  <a:pt x="1607" y="1191"/>
                  <a:pt x="1608" y="1191"/>
                  <a:pt x="1608" y="1192"/>
                </a:cubicBezTo>
                <a:cubicBezTo>
                  <a:pt x="1608" y="1192"/>
                  <a:pt x="1609" y="1193"/>
                  <a:pt x="1609" y="1193"/>
                </a:cubicBezTo>
                <a:cubicBezTo>
                  <a:pt x="1609" y="1194"/>
                  <a:pt x="1609" y="1194"/>
                  <a:pt x="1610" y="1195"/>
                </a:cubicBezTo>
                <a:cubicBezTo>
                  <a:pt x="1610" y="1195"/>
                  <a:pt x="1611" y="1195"/>
                  <a:pt x="1611" y="1196"/>
                </a:cubicBezTo>
                <a:cubicBezTo>
                  <a:pt x="1611" y="1196"/>
                  <a:pt x="1610" y="1196"/>
                  <a:pt x="1610" y="1197"/>
                </a:cubicBezTo>
                <a:cubicBezTo>
                  <a:pt x="1610" y="1197"/>
                  <a:pt x="1610" y="1198"/>
                  <a:pt x="1610" y="1198"/>
                </a:cubicBezTo>
                <a:cubicBezTo>
                  <a:pt x="1610" y="1199"/>
                  <a:pt x="1611" y="1199"/>
                  <a:pt x="1611" y="1199"/>
                </a:cubicBezTo>
                <a:cubicBezTo>
                  <a:pt x="1612" y="1199"/>
                  <a:pt x="1612" y="1198"/>
                  <a:pt x="1612" y="1199"/>
                </a:cubicBezTo>
                <a:cubicBezTo>
                  <a:pt x="1612" y="1199"/>
                  <a:pt x="1612" y="1199"/>
                  <a:pt x="1612" y="1199"/>
                </a:cubicBezTo>
                <a:cubicBezTo>
                  <a:pt x="1611" y="1200"/>
                  <a:pt x="1611" y="1202"/>
                  <a:pt x="1610" y="1201"/>
                </a:cubicBezTo>
                <a:cubicBezTo>
                  <a:pt x="1610" y="1201"/>
                  <a:pt x="1610" y="1201"/>
                  <a:pt x="1610" y="1200"/>
                </a:cubicBezTo>
                <a:cubicBezTo>
                  <a:pt x="1610" y="1200"/>
                  <a:pt x="1610" y="1200"/>
                  <a:pt x="1609" y="1200"/>
                </a:cubicBezTo>
                <a:cubicBezTo>
                  <a:pt x="1609" y="1200"/>
                  <a:pt x="1609" y="1200"/>
                  <a:pt x="1609" y="1200"/>
                </a:cubicBezTo>
                <a:cubicBezTo>
                  <a:pt x="1609" y="1200"/>
                  <a:pt x="1609" y="1199"/>
                  <a:pt x="1608" y="1200"/>
                </a:cubicBezTo>
                <a:cubicBezTo>
                  <a:pt x="1608" y="1200"/>
                  <a:pt x="1609" y="1200"/>
                  <a:pt x="1609" y="1200"/>
                </a:cubicBezTo>
                <a:cubicBezTo>
                  <a:pt x="1609" y="1201"/>
                  <a:pt x="1609" y="1201"/>
                  <a:pt x="1609" y="1202"/>
                </a:cubicBezTo>
                <a:cubicBezTo>
                  <a:pt x="1609" y="1202"/>
                  <a:pt x="1609" y="1202"/>
                  <a:pt x="1609" y="1203"/>
                </a:cubicBezTo>
                <a:cubicBezTo>
                  <a:pt x="1610" y="1203"/>
                  <a:pt x="1610" y="1204"/>
                  <a:pt x="1610" y="1203"/>
                </a:cubicBezTo>
                <a:cubicBezTo>
                  <a:pt x="1611" y="1203"/>
                  <a:pt x="1611" y="1202"/>
                  <a:pt x="1612" y="1203"/>
                </a:cubicBezTo>
                <a:cubicBezTo>
                  <a:pt x="1612" y="1203"/>
                  <a:pt x="1612" y="1204"/>
                  <a:pt x="1612" y="1205"/>
                </a:cubicBezTo>
                <a:cubicBezTo>
                  <a:pt x="1612" y="1206"/>
                  <a:pt x="1613" y="1206"/>
                  <a:pt x="1613" y="1207"/>
                </a:cubicBezTo>
                <a:cubicBezTo>
                  <a:pt x="1613" y="1208"/>
                  <a:pt x="1613" y="1208"/>
                  <a:pt x="1614" y="1208"/>
                </a:cubicBezTo>
                <a:cubicBezTo>
                  <a:pt x="1614" y="1209"/>
                  <a:pt x="1615" y="1209"/>
                  <a:pt x="1615" y="1209"/>
                </a:cubicBezTo>
                <a:cubicBezTo>
                  <a:pt x="1616" y="1209"/>
                  <a:pt x="1617" y="1209"/>
                  <a:pt x="1617" y="1210"/>
                </a:cubicBezTo>
                <a:cubicBezTo>
                  <a:pt x="1618" y="1210"/>
                  <a:pt x="1618" y="1210"/>
                  <a:pt x="1618" y="1210"/>
                </a:cubicBezTo>
                <a:cubicBezTo>
                  <a:pt x="1618" y="1211"/>
                  <a:pt x="1619" y="1211"/>
                  <a:pt x="1618" y="1211"/>
                </a:cubicBezTo>
                <a:cubicBezTo>
                  <a:pt x="1618" y="1212"/>
                  <a:pt x="1617" y="1213"/>
                  <a:pt x="1618" y="1213"/>
                </a:cubicBezTo>
                <a:cubicBezTo>
                  <a:pt x="1619" y="1213"/>
                  <a:pt x="1619" y="1213"/>
                  <a:pt x="1619" y="1213"/>
                </a:cubicBezTo>
                <a:cubicBezTo>
                  <a:pt x="1619" y="1214"/>
                  <a:pt x="1620" y="1214"/>
                  <a:pt x="1620" y="1214"/>
                </a:cubicBezTo>
                <a:cubicBezTo>
                  <a:pt x="1621" y="1214"/>
                  <a:pt x="1622" y="1214"/>
                  <a:pt x="1622" y="1214"/>
                </a:cubicBezTo>
                <a:cubicBezTo>
                  <a:pt x="1623" y="1215"/>
                  <a:pt x="1624" y="1215"/>
                  <a:pt x="1624" y="1215"/>
                </a:cubicBezTo>
                <a:cubicBezTo>
                  <a:pt x="1625" y="1216"/>
                  <a:pt x="1625" y="1216"/>
                  <a:pt x="1626" y="1216"/>
                </a:cubicBezTo>
                <a:cubicBezTo>
                  <a:pt x="1627" y="1217"/>
                  <a:pt x="1628" y="1217"/>
                  <a:pt x="1628" y="1217"/>
                </a:cubicBezTo>
                <a:cubicBezTo>
                  <a:pt x="1629" y="1218"/>
                  <a:pt x="1631" y="1219"/>
                  <a:pt x="1632" y="1220"/>
                </a:cubicBezTo>
                <a:cubicBezTo>
                  <a:pt x="1633" y="1221"/>
                  <a:pt x="1634" y="1222"/>
                  <a:pt x="1635" y="1223"/>
                </a:cubicBezTo>
                <a:cubicBezTo>
                  <a:pt x="1637" y="1224"/>
                  <a:pt x="1638" y="1226"/>
                  <a:pt x="1639" y="1227"/>
                </a:cubicBezTo>
                <a:cubicBezTo>
                  <a:pt x="1641" y="1227"/>
                  <a:pt x="1643" y="1227"/>
                  <a:pt x="1644" y="1228"/>
                </a:cubicBezTo>
                <a:cubicBezTo>
                  <a:pt x="1645" y="1229"/>
                  <a:pt x="1646" y="1231"/>
                  <a:pt x="1648" y="1232"/>
                </a:cubicBezTo>
                <a:cubicBezTo>
                  <a:pt x="1649" y="1234"/>
                  <a:pt x="1651" y="1235"/>
                  <a:pt x="1652" y="1237"/>
                </a:cubicBezTo>
                <a:cubicBezTo>
                  <a:pt x="1653" y="1237"/>
                  <a:pt x="1654" y="1238"/>
                  <a:pt x="1655" y="1238"/>
                </a:cubicBezTo>
                <a:cubicBezTo>
                  <a:pt x="1656" y="1239"/>
                  <a:pt x="1656" y="1240"/>
                  <a:pt x="1657" y="1240"/>
                </a:cubicBezTo>
                <a:cubicBezTo>
                  <a:pt x="1658" y="1241"/>
                  <a:pt x="1658" y="1241"/>
                  <a:pt x="1659" y="1241"/>
                </a:cubicBezTo>
                <a:cubicBezTo>
                  <a:pt x="1660" y="1242"/>
                  <a:pt x="1661" y="1242"/>
                  <a:pt x="1662" y="1242"/>
                </a:cubicBezTo>
                <a:cubicBezTo>
                  <a:pt x="1663" y="1243"/>
                  <a:pt x="1663" y="1243"/>
                  <a:pt x="1664" y="1244"/>
                </a:cubicBezTo>
                <a:cubicBezTo>
                  <a:pt x="1665" y="1244"/>
                  <a:pt x="1666" y="1244"/>
                  <a:pt x="1667" y="1245"/>
                </a:cubicBezTo>
                <a:cubicBezTo>
                  <a:pt x="1668" y="1245"/>
                  <a:pt x="1668" y="1245"/>
                  <a:pt x="1669" y="1246"/>
                </a:cubicBezTo>
                <a:cubicBezTo>
                  <a:pt x="1671" y="1247"/>
                  <a:pt x="1672" y="1248"/>
                  <a:pt x="1674" y="1247"/>
                </a:cubicBezTo>
                <a:cubicBezTo>
                  <a:pt x="1676" y="1247"/>
                  <a:pt x="1677" y="1246"/>
                  <a:pt x="1678" y="1246"/>
                </a:cubicBezTo>
                <a:cubicBezTo>
                  <a:pt x="1680" y="1245"/>
                  <a:pt x="1681" y="1244"/>
                  <a:pt x="1683" y="1244"/>
                </a:cubicBezTo>
                <a:cubicBezTo>
                  <a:pt x="1684" y="1243"/>
                  <a:pt x="1686" y="1243"/>
                  <a:pt x="1688" y="1242"/>
                </a:cubicBezTo>
                <a:cubicBezTo>
                  <a:pt x="1688" y="1242"/>
                  <a:pt x="1689" y="1241"/>
                  <a:pt x="1690" y="1241"/>
                </a:cubicBezTo>
                <a:cubicBezTo>
                  <a:pt x="1691" y="1240"/>
                  <a:pt x="1691" y="1240"/>
                  <a:pt x="1692" y="1240"/>
                </a:cubicBezTo>
                <a:cubicBezTo>
                  <a:pt x="1694" y="1240"/>
                  <a:pt x="1696" y="1239"/>
                  <a:pt x="1697" y="1239"/>
                </a:cubicBezTo>
                <a:cubicBezTo>
                  <a:pt x="1699" y="1239"/>
                  <a:pt x="1700" y="1239"/>
                  <a:pt x="1701" y="1239"/>
                </a:cubicBezTo>
                <a:cubicBezTo>
                  <a:pt x="1702" y="1239"/>
                  <a:pt x="1702" y="1239"/>
                  <a:pt x="1703" y="1238"/>
                </a:cubicBezTo>
                <a:cubicBezTo>
                  <a:pt x="1703" y="1238"/>
                  <a:pt x="1704" y="1238"/>
                  <a:pt x="1705" y="1238"/>
                </a:cubicBezTo>
                <a:cubicBezTo>
                  <a:pt x="1707" y="1238"/>
                  <a:pt x="1709" y="1238"/>
                  <a:pt x="1710" y="1238"/>
                </a:cubicBezTo>
                <a:cubicBezTo>
                  <a:pt x="1711" y="1238"/>
                  <a:pt x="1712" y="1238"/>
                  <a:pt x="1713" y="1238"/>
                </a:cubicBezTo>
                <a:cubicBezTo>
                  <a:pt x="1714" y="1238"/>
                  <a:pt x="1714" y="1237"/>
                  <a:pt x="1715" y="1237"/>
                </a:cubicBezTo>
                <a:cubicBezTo>
                  <a:pt x="1716" y="1237"/>
                  <a:pt x="1717" y="1238"/>
                  <a:pt x="1718" y="1238"/>
                </a:cubicBezTo>
                <a:cubicBezTo>
                  <a:pt x="1718" y="1238"/>
                  <a:pt x="1719" y="1238"/>
                  <a:pt x="1720" y="1238"/>
                </a:cubicBezTo>
                <a:cubicBezTo>
                  <a:pt x="1721" y="1239"/>
                  <a:pt x="1722" y="1239"/>
                  <a:pt x="1723" y="1239"/>
                </a:cubicBezTo>
                <a:cubicBezTo>
                  <a:pt x="1724" y="1239"/>
                  <a:pt x="1724" y="1239"/>
                  <a:pt x="1725" y="1239"/>
                </a:cubicBezTo>
                <a:cubicBezTo>
                  <a:pt x="1725" y="1239"/>
                  <a:pt x="1726" y="1239"/>
                  <a:pt x="1727" y="1240"/>
                </a:cubicBezTo>
                <a:cubicBezTo>
                  <a:pt x="1727" y="1240"/>
                  <a:pt x="1728" y="1240"/>
                  <a:pt x="1728" y="1240"/>
                </a:cubicBezTo>
                <a:cubicBezTo>
                  <a:pt x="1729" y="1240"/>
                  <a:pt x="1729" y="1241"/>
                  <a:pt x="1729" y="1241"/>
                </a:cubicBezTo>
                <a:cubicBezTo>
                  <a:pt x="1730" y="1241"/>
                  <a:pt x="1730" y="1241"/>
                  <a:pt x="1731" y="1241"/>
                </a:cubicBezTo>
                <a:cubicBezTo>
                  <a:pt x="1731" y="1241"/>
                  <a:pt x="1732" y="1242"/>
                  <a:pt x="1733" y="1242"/>
                </a:cubicBezTo>
                <a:cubicBezTo>
                  <a:pt x="1733" y="1242"/>
                  <a:pt x="1734" y="1242"/>
                  <a:pt x="1734" y="1242"/>
                </a:cubicBezTo>
                <a:cubicBezTo>
                  <a:pt x="1734" y="1242"/>
                  <a:pt x="1735" y="1243"/>
                  <a:pt x="1735" y="1243"/>
                </a:cubicBezTo>
                <a:cubicBezTo>
                  <a:pt x="1736" y="1243"/>
                  <a:pt x="1737" y="1243"/>
                  <a:pt x="1737" y="1243"/>
                </a:cubicBezTo>
                <a:cubicBezTo>
                  <a:pt x="1739" y="1242"/>
                  <a:pt x="1740" y="1241"/>
                  <a:pt x="1741" y="1240"/>
                </a:cubicBezTo>
                <a:cubicBezTo>
                  <a:pt x="1742" y="1240"/>
                  <a:pt x="1743" y="1240"/>
                  <a:pt x="1743" y="1239"/>
                </a:cubicBezTo>
                <a:cubicBezTo>
                  <a:pt x="1744" y="1239"/>
                  <a:pt x="1745" y="1239"/>
                  <a:pt x="1746" y="1239"/>
                </a:cubicBezTo>
                <a:cubicBezTo>
                  <a:pt x="1747" y="1238"/>
                  <a:pt x="1749" y="1238"/>
                  <a:pt x="1751" y="1238"/>
                </a:cubicBezTo>
                <a:cubicBezTo>
                  <a:pt x="1751" y="1237"/>
                  <a:pt x="1751" y="1237"/>
                  <a:pt x="1752" y="1237"/>
                </a:cubicBezTo>
                <a:cubicBezTo>
                  <a:pt x="1752" y="1237"/>
                  <a:pt x="1753" y="1237"/>
                  <a:pt x="1753" y="1236"/>
                </a:cubicBezTo>
                <a:cubicBezTo>
                  <a:pt x="1754" y="1236"/>
                  <a:pt x="1755" y="1235"/>
                  <a:pt x="1756" y="1235"/>
                </a:cubicBezTo>
                <a:cubicBezTo>
                  <a:pt x="1756" y="1234"/>
                  <a:pt x="1757" y="1233"/>
                  <a:pt x="1758" y="1233"/>
                </a:cubicBezTo>
                <a:cubicBezTo>
                  <a:pt x="1759" y="1233"/>
                  <a:pt x="1760" y="1233"/>
                  <a:pt x="1761" y="1232"/>
                </a:cubicBezTo>
                <a:cubicBezTo>
                  <a:pt x="1761" y="1232"/>
                  <a:pt x="1762" y="1232"/>
                  <a:pt x="1763" y="1232"/>
                </a:cubicBezTo>
                <a:cubicBezTo>
                  <a:pt x="1764" y="1231"/>
                  <a:pt x="1765" y="1231"/>
                  <a:pt x="1766" y="1231"/>
                </a:cubicBezTo>
                <a:cubicBezTo>
                  <a:pt x="1767" y="1231"/>
                  <a:pt x="1767" y="1231"/>
                  <a:pt x="1767" y="1230"/>
                </a:cubicBezTo>
                <a:cubicBezTo>
                  <a:pt x="1767" y="1230"/>
                  <a:pt x="1766" y="1230"/>
                  <a:pt x="1766" y="1230"/>
                </a:cubicBezTo>
                <a:cubicBezTo>
                  <a:pt x="1766" y="1230"/>
                  <a:pt x="1766" y="1230"/>
                  <a:pt x="1766" y="1230"/>
                </a:cubicBezTo>
                <a:cubicBezTo>
                  <a:pt x="1766" y="1229"/>
                  <a:pt x="1766" y="1229"/>
                  <a:pt x="1765" y="1229"/>
                </a:cubicBezTo>
                <a:cubicBezTo>
                  <a:pt x="1765" y="1229"/>
                  <a:pt x="1764" y="1229"/>
                  <a:pt x="1764" y="1229"/>
                </a:cubicBezTo>
                <a:cubicBezTo>
                  <a:pt x="1764" y="1228"/>
                  <a:pt x="1764" y="1228"/>
                  <a:pt x="1765" y="1228"/>
                </a:cubicBezTo>
                <a:cubicBezTo>
                  <a:pt x="1765" y="1228"/>
                  <a:pt x="1766" y="1228"/>
                  <a:pt x="1767" y="1229"/>
                </a:cubicBezTo>
                <a:cubicBezTo>
                  <a:pt x="1767" y="1229"/>
                  <a:pt x="1767" y="1229"/>
                  <a:pt x="1767" y="1230"/>
                </a:cubicBezTo>
                <a:cubicBezTo>
                  <a:pt x="1767" y="1230"/>
                  <a:pt x="1767" y="1230"/>
                  <a:pt x="1767" y="1231"/>
                </a:cubicBezTo>
                <a:cubicBezTo>
                  <a:pt x="1767" y="1231"/>
                  <a:pt x="1769" y="1231"/>
                  <a:pt x="1769" y="1231"/>
                </a:cubicBezTo>
                <a:cubicBezTo>
                  <a:pt x="1770" y="1231"/>
                  <a:pt x="1771" y="1231"/>
                  <a:pt x="1772" y="1230"/>
                </a:cubicBezTo>
                <a:cubicBezTo>
                  <a:pt x="1772" y="1230"/>
                  <a:pt x="1772" y="1229"/>
                  <a:pt x="1773" y="1229"/>
                </a:cubicBezTo>
                <a:cubicBezTo>
                  <a:pt x="1773" y="1228"/>
                  <a:pt x="1773" y="1228"/>
                  <a:pt x="1774" y="1227"/>
                </a:cubicBezTo>
                <a:cubicBezTo>
                  <a:pt x="1774" y="1227"/>
                  <a:pt x="1775" y="1226"/>
                  <a:pt x="1776" y="1226"/>
                </a:cubicBezTo>
                <a:cubicBezTo>
                  <a:pt x="1777" y="1226"/>
                  <a:pt x="1777" y="1226"/>
                  <a:pt x="1777" y="1226"/>
                </a:cubicBezTo>
                <a:cubicBezTo>
                  <a:pt x="1778" y="1226"/>
                  <a:pt x="1778" y="1226"/>
                  <a:pt x="1778" y="1226"/>
                </a:cubicBezTo>
                <a:cubicBezTo>
                  <a:pt x="1779" y="1226"/>
                  <a:pt x="1780" y="1226"/>
                  <a:pt x="1781" y="1226"/>
                </a:cubicBezTo>
                <a:cubicBezTo>
                  <a:pt x="1781" y="1226"/>
                  <a:pt x="1782" y="1225"/>
                  <a:pt x="1782" y="1225"/>
                </a:cubicBezTo>
                <a:cubicBezTo>
                  <a:pt x="1782" y="1225"/>
                  <a:pt x="1783" y="1225"/>
                  <a:pt x="1783" y="1225"/>
                </a:cubicBezTo>
                <a:cubicBezTo>
                  <a:pt x="1783" y="1225"/>
                  <a:pt x="1784" y="1225"/>
                  <a:pt x="1784" y="1225"/>
                </a:cubicBezTo>
                <a:cubicBezTo>
                  <a:pt x="1784" y="1225"/>
                  <a:pt x="1784" y="1225"/>
                  <a:pt x="1785" y="1225"/>
                </a:cubicBezTo>
                <a:cubicBezTo>
                  <a:pt x="1785" y="1225"/>
                  <a:pt x="1786" y="1225"/>
                  <a:pt x="1787" y="1225"/>
                </a:cubicBezTo>
                <a:cubicBezTo>
                  <a:pt x="1788" y="1225"/>
                  <a:pt x="1789" y="1225"/>
                  <a:pt x="1790" y="1225"/>
                </a:cubicBezTo>
                <a:cubicBezTo>
                  <a:pt x="1791" y="1225"/>
                  <a:pt x="1792" y="1225"/>
                  <a:pt x="1793" y="1225"/>
                </a:cubicBezTo>
                <a:cubicBezTo>
                  <a:pt x="1794" y="1224"/>
                  <a:pt x="1794" y="1224"/>
                  <a:pt x="1795" y="1225"/>
                </a:cubicBezTo>
                <a:cubicBezTo>
                  <a:pt x="1796" y="1225"/>
                  <a:pt x="1797" y="1224"/>
                  <a:pt x="1798" y="1224"/>
                </a:cubicBezTo>
                <a:cubicBezTo>
                  <a:pt x="1798" y="1224"/>
                  <a:pt x="1799" y="1224"/>
                  <a:pt x="1800" y="1223"/>
                </a:cubicBezTo>
                <a:cubicBezTo>
                  <a:pt x="1800" y="1223"/>
                  <a:pt x="1800" y="1223"/>
                  <a:pt x="1801" y="1223"/>
                </a:cubicBezTo>
                <a:cubicBezTo>
                  <a:pt x="1801" y="1223"/>
                  <a:pt x="1801" y="1223"/>
                  <a:pt x="1802" y="1223"/>
                </a:cubicBezTo>
                <a:cubicBezTo>
                  <a:pt x="1803" y="1224"/>
                  <a:pt x="1805" y="1223"/>
                  <a:pt x="1807" y="1224"/>
                </a:cubicBezTo>
                <a:cubicBezTo>
                  <a:pt x="1808" y="1224"/>
                  <a:pt x="1808" y="1224"/>
                  <a:pt x="1809" y="1224"/>
                </a:cubicBezTo>
                <a:cubicBezTo>
                  <a:pt x="1810" y="1224"/>
                  <a:pt x="1811" y="1225"/>
                  <a:pt x="1811" y="1225"/>
                </a:cubicBezTo>
                <a:cubicBezTo>
                  <a:pt x="1813" y="1227"/>
                  <a:pt x="1814" y="1227"/>
                  <a:pt x="1815" y="1229"/>
                </a:cubicBezTo>
                <a:cubicBezTo>
                  <a:pt x="1816" y="1229"/>
                  <a:pt x="1816" y="1230"/>
                  <a:pt x="1816" y="1230"/>
                </a:cubicBezTo>
                <a:cubicBezTo>
                  <a:pt x="1817" y="1231"/>
                  <a:pt x="1817" y="1231"/>
                  <a:pt x="1818" y="1231"/>
                </a:cubicBezTo>
                <a:cubicBezTo>
                  <a:pt x="1818" y="1231"/>
                  <a:pt x="1818" y="1232"/>
                  <a:pt x="1818" y="1232"/>
                </a:cubicBezTo>
                <a:cubicBezTo>
                  <a:pt x="1819" y="1233"/>
                  <a:pt x="1819" y="1233"/>
                  <a:pt x="1820" y="1232"/>
                </a:cubicBezTo>
                <a:cubicBezTo>
                  <a:pt x="1820" y="1232"/>
                  <a:pt x="1821" y="1232"/>
                  <a:pt x="1821" y="1232"/>
                </a:cubicBezTo>
                <a:cubicBezTo>
                  <a:pt x="1821" y="1233"/>
                  <a:pt x="1820" y="1233"/>
                  <a:pt x="1820" y="1233"/>
                </a:cubicBezTo>
                <a:cubicBezTo>
                  <a:pt x="1820" y="1233"/>
                  <a:pt x="1820" y="1233"/>
                  <a:pt x="1819" y="1233"/>
                </a:cubicBezTo>
                <a:cubicBezTo>
                  <a:pt x="1818" y="1234"/>
                  <a:pt x="1820" y="1234"/>
                  <a:pt x="1820" y="1234"/>
                </a:cubicBezTo>
                <a:cubicBezTo>
                  <a:pt x="1820" y="1235"/>
                  <a:pt x="1820" y="1235"/>
                  <a:pt x="1821" y="1235"/>
                </a:cubicBezTo>
                <a:cubicBezTo>
                  <a:pt x="1821" y="1235"/>
                  <a:pt x="1822" y="1235"/>
                  <a:pt x="1822" y="1235"/>
                </a:cubicBezTo>
                <a:cubicBezTo>
                  <a:pt x="1822" y="1235"/>
                  <a:pt x="1823" y="1234"/>
                  <a:pt x="1823" y="1235"/>
                </a:cubicBezTo>
                <a:cubicBezTo>
                  <a:pt x="1823" y="1235"/>
                  <a:pt x="1823" y="1235"/>
                  <a:pt x="1823" y="1236"/>
                </a:cubicBezTo>
                <a:cubicBezTo>
                  <a:pt x="1823" y="1236"/>
                  <a:pt x="1822" y="1237"/>
                  <a:pt x="1822" y="1238"/>
                </a:cubicBezTo>
                <a:cubicBezTo>
                  <a:pt x="1822" y="1238"/>
                  <a:pt x="1822" y="1238"/>
                  <a:pt x="1822" y="1239"/>
                </a:cubicBezTo>
                <a:cubicBezTo>
                  <a:pt x="1822" y="1239"/>
                  <a:pt x="1822" y="1239"/>
                  <a:pt x="1823" y="1240"/>
                </a:cubicBezTo>
                <a:cubicBezTo>
                  <a:pt x="1823" y="1241"/>
                  <a:pt x="1823" y="1241"/>
                  <a:pt x="1823" y="1242"/>
                </a:cubicBezTo>
                <a:cubicBezTo>
                  <a:pt x="1823" y="1243"/>
                  <a:pt x="1823" y="1244"/>
                  <a:pt x="1824" y="1244"/>
                </a:cubicBezTo>
                <a:cubicBezTo>
                  <a:pt x="1824" y="1245"/>
                  <a:pt x="1825" y="1245"/>
                  <a:pt x="1826" y="1246"/>
                </a:cubicBezTo>
                <a:cubicBezTo>
                  <a:pt x="1826" y="1246"/>
                  <a:pt x="1827" y="1247"/>
                  <a:pt x="1827" y="1248"/>
                </a:cubicBezTo>
                <a:cubicBezTo>
                  <a:pt x="1828" y="1248"/>
                  <a:pt x="1829" y="1248"/>
                  <a:pt x="1829" y="1248"/>
                </a:cubicBezTo>
                <a:cubicBezTo>
                  <a:pt x="1830" y="1248"/>
                  <a:pt x="1830" y="1248"/>
                  <a:pt x="1830" y="1248"/>
                </a:cubicBezTo>
                <a:cubicBezTo>
                  <a:pt x="1831" y="1248"/>
                  <a:pt x="1831" y="1248"/>
                  <a:pt x="1831" y="1248"/>
                </a:cubicBezTo>
                <a:cubicBezTo>
                  <a:pt x="1832" y="1248"/>
                  <a:pt x="1832" y="1248"/>
                  <a:pt x="1832" y="1248"/>
                </a:cubicBezTo>
                <a:cubicBezTo>
                  <a:pt x="1833" y="1248"/>
                  <a:pt x="1833" y="1248"/>
                  <a:pt x="1834" y="1248"/>
                </a:cubicBezTo>
                <a:cubicBezTo>
                  <a:pt x="1834" y="1247"/>
                  <a:pt x="1834" y="1246"/>
                  <a:pt x="1835" y="1246"/>
                </a:cubicBezTo>
                <a:cubicBezTo>
                  <a:pt x="1836" y="1246"/>
                  <a:pt x="1836" y="1248"/>
                  <a:pt x="1836" y="1247"/>
                </a:cubicBezTo>
                <a:cubicBezTo>
                  <a:pt x="1837" y="1247"/>
                  <a:pt x="1836" y="1247"/>
                  <a:pt x="1837" y="1246"/>
                </a:cubicBezTo>
                <a:cubicBezTo>
                  <a:pt x="1837" y="1246"/>
                  <a:pt x="1837" y="1247"/>
                  <a:pt x="1838" y="1247"/>
                </a:cubicBezTo>
                <a:cubicBezTo>
                  <a:pt x="1838" y="1247"/>
                  <a:pt x="1838" y="1246"/>
                  <a:pt x="1838" y="1246"/>
                </a:cubicBezTo>
                <a:cubicBezTo>
                  <a:pt x="1838" y="1246"/>
                  <a:pt x="1839" y="1247"/>
                  <a:pt x="1839" y="1247"/>
                </a:cubicBezTo>
                <a:cubicBezTo>
                  <a:pt x="1840" y="1247"/>
                  <a:pt x="1840" y="1246"/>
                  <a:pt x="1840" y="1245"/>
                </a:cubicBezTo>
                <a:cubicBezTo>
                  <a:pt x="1840" y="1245"/>
                  <a:pt x="1839" y="1244"/>
                  <a:pt x="1840" y="1244"/>
                </a:cubicBezTo>
                <a:cubicBezTo>
                  <a:pt x="1840" y="1244"/>
                  <a:pt x="1840" y="1245"/>
                  <a:pt x="1840" y="1245"/>
                </a:cubicBezTo>
                <a:cubicBezTo>
                  <a:pt x="1840" y="1246"/>
                  <a:pt x="1842" y="1246"/>
                  <a:pt x="1842" y="1246"/>
                </a:cubicBezTo>
                <a:cubicBezTo>
                  <a:pt x="1843" y="1245"/>
                  <a:pt x="1841" y="1245"/>
                  <a:pt x="1842" y="1244"/>
                </a:cubicBezTo>
                <a:cubicBezTo>
                  <a:pt x="1842" y="1244"/>
                  <a:pt x="1843" y="1245"/>
                  <a:pt x="1844" y="1245"/>
                </a:cubicBezTo>
                <a:cubicBezTo>
                  <a:pt x="1844" y="1245"/>
                  <a:pt x="1845" y="1245"/>
                  <a:pt x="1845" y="1245"/>
                </a:cubicBezTo>
                <a:cubicBezTo>
                  <a:pt x="1845" y="1245"/>
                  <a:pt x="1845" y="1244"/>
                  <a:pt x="1846" y="1244"/>
                </a:cubicBezTo>
                <a:cubicBezTo>
                  <a:pt x="1846" y="1244"/>
                  <a:pt x="1847" y="1244"/>
                  <a:pt x="1847" y="1245"/>
                </a:cubicBezTo>
                <a:cubicBezTo>
                  <a:pt x="1847" y="1246"/>
                  <a:pt x="1848" y="1246"/>
                  <a:pt x="1849" y="1246"/>
                </a:cubicBezTo>
                <a:cubicBezTo>
                  <a:pt x="1849" y="1246"/>
                  <a:pt x="1849" y="1246"/>
                  <a:pt x="1850" y="1246"/>
                </a:cubicBezTo>
                <a:cubicBezTo>
                  <a:pt x="1851" y="1246"/>
                  <a:pt x="1852" y="1246"/>
                  <a:pt x="1852" y="1246"/>
                </a:cubicBezTo>
                <a:cubicBezTo>
                  <a:pt x="1853" y="1245"/>
                  <a:pt x="1853" y="1245"/>
                  <a:pt x="1854" y="1245"/>
                </a:cubicBezTo>
                <a:cubicBezTo>
                  <a:pt x="1854" y="1245"/>
                  <a:pt x="1854" y="1245"/>
                  <a:pt x="1855" y="1245"/>
                </a:cubicBezTo>
                <a:cubicBezTo>
                  <a:pt x="1855" y="1244"/>
                  <a:pt x="1855" y="1243"/>
                  <a:pt x="1855" y="1243"/>
                </a:cubicBezTo>
                <a:cubicBezTo>
                  <a:pt x="1854" y="1242"/>
                  <a:pt x="1854" y="1242"/>
                  <a:pt x="1855" y="1242"/>
                </a:cubicBezTo>
                <a:cubicBezTo>
                  <a:pt x="1855" y="1241"/>
                  <a:pt x="1855" y="1242"/>
                  <a:pt x="1855" y="1242"/>
                </a:cubicBezTo>
                <a:cubicBezTo>
                  <a:pt x="1856" y="1242"/>
                  <a:pt x="1856" y="1243"/>
                  <a:pt x="1856" y="1243"/>
                </a:cubicBezTo>
                <a:cubicBezTo>
                  <a:pt x="1856" y="1243"/>
                  <a:pt x="1857" y="1243"/>
                  <a:pt x="1857" y="1243"/>
                </a:cubicBezTo>
                <a:cubicBezTo>
                  <a:pt x="1858" y="1244"/>
                  <a:pt x="1857" y="1245"/>
                  <a:pt x="1858" y="1245"/>
                </a:cubicBezTo>
                <a:cubicBezTo>
                  <a:pt x="1858" y="1246"/>
                  <a:pt x="1859" y="1244"/>
                  <a:pt x="1859" y="1244"/>
                </a:cubicBezTo>
                <a:cubicBezTo>
                  <a:pt x="1861" y="1243"/>
                  <a:pt x="1861" y="1247"/>
                  <a:pt x="1862" y="1248"/>
                </a:cubicBezTo>
                <a:cubicBezTo>
                  <a:pt x="1862" y="1248"/>
                  <a:pt x="1862" y="1249"/>
                  <a:pt x="1863" y="1250"/>
                </a:cubicBezTo>
                <a:cubicBezTo>
                  <a:pt x="1863" y="1250"/>
                  <a:pt x="1864" y="1251"/>
                  <a:pt x="1865" y="1251"/>
                </a:cubicBezTo>
                <a:cubicBezTo>
                  <a:pt x="1865" y="1252"/>
                  <a:pt x="1866" y="1252"/>
                  <a:pt x="1867" y="1252"/>
                </a:cubicBezTo>
                <a:cubicBezTo>
                  <a:pt x="1868" y="1252"/>
                  <a:pt x="1868" y="1252"/>
                  <a:pt x="1869" y="1251"/>
                </a:cubicBezTo>
                <a:cubicBezTo>
                  <a:pt x="1869" y="1251"/>
                  <a:pt x="1870" y="1249"/>
                  <a:pt x="1870" y="1250"/>
                </a:cubicBezTo>
                <a:cubicBezTo>
                  <a:pt x="1871" y="1251"/>
                  <a:pt x="1870" y="1251"/>
                  <a:pt x="1870" y="1251"/>
                </a:cubicBezTo>
                <a:cubicBezTo>
                  <a:pt x="1869" y="1252"/>
                  <a:pt x="1870" y="1252"/>
                  <a:pt x="1870" y="1252"/>
                </a:cubicBezTo>
                <a:cubicBezTo>
                  <a:pt x="1871" y="1253"/>
                  <a:pt x="1867" y="1253"/>
                  <a:pt x="1869" y="1255"/>
                </a:cubicBezTo>
                <a:cubicBezTo>
                  <a:pt x="1869" y="1255"/>
                  <a:pt x="1870" y="1255"/>
                  <a:pt x="1870" y="1256"/>
                </a:cubicBezTo>
                <a:cubicBezTo>
                  <a:pt x="1870" y="1256"/>
                  <a:pt x="1870" y="1256"/>
                  <a:pt x="1870" y="1257"/>
                </a:cubicBezTo>
                <a:cubicBezTo>
                  <a:pt x="1870" y="1257"/>
                  <a:pt x="1871" y="1257"/>
                  <a:pt x="1871" y="1257"/>
                </a:cubicBezTo>
                <a:cubicBezTo>
                  <a:pt x="1871" y="1258"/>
                  <a:pt x="1871" y="1258"/>
                  <a:pt x="1872" y="1258"/>
                </a:cubicBezTo>
                <a:cubicBezTo>
                  <a:pt x="1872" y="1259"/>
                  <a:pt x="1873" y="1259"/>
                  <a:pt x="1873" y="1260"/>
                </a:cubicBezTo>
                <a:cubicBezTo>
                  <a:pt x="1873" y="1260"/>
                  <a:pt x="1873" y="1261"/>
                  <a:pt x="1873" y="1262"/>
                </a:cubicBezTo>
                <a:cubicBezTo>
                  <a:pt x="1873" y="1262"/>
                  <a:pt x="1873" y="1262"/>
                  <a:pt x="1872" y="1263"/>
                </a:cubicBezTo>
                <a:cubicBezTo>
                  <a:pt x="1872" y="1264"/>
                  <a:pt x="1872" y="1264"/>
                  <a:pt x="1872" y="1265"/>
                </a:cubicBezTo>
                <a:cubicBezTo>
                  <a:pt x="1872" y="1266"/>
                  <a:pt x="1872" y="1267"/>
                  <a:pt x="1872" y="1268"/>
                </a:cubicBezTo>
                <a:cubicBezTo>
                  <a:pt x="1872" y="1269"/>
                  <a:pt x="1872" y="1270"/>
                  <a:pt x="1872" y="1271"/>
                </a:cubicBezTo>
                <a:cubicBezTo>
                  <a:pt x="1872" y="1272"/>
                  <a:pt x="1872" y="1274"/>
                  <a:pt x="1871" y="1275"/>
                </a:cubicBezTo>
                <a:cubicBezTo>
                  <a:pt x="1871" y="1276"/>
                  <a:pt x="1870" y="1276"/>
                  <a:pt x="1870" y="1277"/>
                </a:cubicBezTo>
                <a:cubicBezTo>
                  <a:pt x="1870" y="1278"/>
                  <a:pt x="1869" y="1280"/>
                  <a:pt x="1868" y="1281"/>
                </a:cubicBezTo>
                <a:cubicBezTo>
                  <a:pt x="1867" y="1282"/>
                  <a:pt x="1867" y="1282"/>
                  <a:pt x="1867" y="1283"/>
                </a:cubicBezTo>
                <a:cubicBezTo>
                  <a:pt x="1866" y="1284"/>
                  <a:pt x="1867" y="1284"/>
                  <a:pt x="1868" y="1284"/>
                </a:cubicBezTo>
                <a:cubicBezTo>
                  <a:pt x="1869" y="1284"/>
                  <a:pt x="1869" y="1284"/>
                  <a:pt x="1869" y="1285"/>
                </a:cubicBezTo>
                <a:cubicBezTo>
                  <a:pt x="1869" y="1285"/>
                  <a:pt x="1870" y="1285"/>
                  <a:pt x="1870" y="1285"/>
                </a:cubicBezTo>
                <a:cubicBezTo>
                  <a:pt x="1870" y="1285"/>
                  <a:pt x="1871" y="1285"/>
                  <a:pt x="1871" y="1285"/>
                </a:cubicBezTo>
                <a:cubicBezTo>
                  <a:pt x="1871" y="1285"/>
                  <a:pt x="1871" y="1285"/>
                  <a:pt x="1871" y="1286"/>
                </a:cubicBezTo>
                <a:cubicBezTo>
                  <a:pt x="1870" y="1286"/>
                  <a:pt x="1870" y="1286"/>
                  <a:pt x="1870" y="1286"/>
                </a:cubicBezTo>
                <a:cubicBezTo>
                  <a:pt x="1869" y="1286"/>
                  <a:pt x="1869" y="1285"/>
                  <a:pt x="1869" y="1286"/>
                </a:cubicBezTo>
                <a:cubicBezTo>
                  <a:pt x="1868" y="1287"/>
                  <a:pt x="1869" y="1287"/>
                  <a:pt x="1869" y="1288"/>
                </a:cubicBezTo>
                <a:cubicBezTo>
                  <a:pt x="1869" y="1288"/>
                  <a:pt x="1869" y="1289"/>
                  <a:pt x="1869" y="1289"/>
                </a:cubicBezTo>
                <a:cubicBezTo>
                  <a:pt x="1869" y="1290"/>
                  <a:pt x="1869" y="1290"/>
                  <a:pt x="1869" y="1290"/>
                </a:cubicBezTo>
                <a:cubicBezTo>
                  <a:pt x="1868" y="1290"/>
                  <a:pt x="1868" y="1290"/>
                  <a:pt x="1868" y="1290"/>
                </a:cubicBezTo>
                <a:cubicBezTo>
                  <a:pt x="1867" y="1290"/>
                  <a:pt x="1867" y="1290"/>
                  <a:pt x="1867" y="1291"/>
                </a:cubicBezTo>
                <a:cubicBezTo>
                  <a:pt x="1865" y="1291"/>
                  <a:pt x="1867" y="1291"/>
                  <a:pt x="1867" y="1292"/>
                </a:cubicBezTo>
                <a:cubicBezTo>
                  <a:pt x="1868" y="1292"/>
                  <a:pt x="1868" y="1293"/>
                  <a:pt x="1869" y="1294"/>
                </a:cubicBezTo>
                <a:cubicBezTo>
                  <a:pt x="1869" y="1294"/>
                  <a:pt x="1869" y="1294"/>
                  <a:pt x="1870" y="1294"/>
                </a:cubicBezTo>
                <a:cubicBezTo>
                  <a:pt x="1870" y="1294"/>
                  <a:pt x="1870" y="1295"/>
                  <a:pt x="1871" y="1295"/>
                </a:cubicBezTo>
                <a:cubicBezTo>
                  <a:pt x="1871" y="1295"/>
                  <a:pt x="1873" y="1295"/>
                  <a:pt x="1872" y="1296"/>
                </a:cubicBezTo>
                <a:cubicBezTo>
                  <a:pt x="1872" y="1296"/>
                  <a:pt x="1871" y="1296"/>
                  <a:pt x="1871" y="1296"/>
                </a:cubicBezTo>
                <a:cubicBezTo>
                  <a:pt x="1871" y="1296"/>
                  <a:pt x="1871" y="1295"/>
                  <a:pt x="1870" y="1295"/>
                </a:cubicBezTo>
                <a:cubicBezTo>
                  <a:pt x="1869" y="1295"/>
                  <a:pt x="1868" y="1295"/>
                  <a:pt x="1868" y="1295"/>
                </a:cubicBezTo>
                <a:cubicBezTo>
                  <a:pt x="1867" y="1295"/>
                  <a:pt x="1867" y="1295"/>
                  <a:pt x="1867" y="1294"/>
                </a:cubicBezTo>
                <a:cubicBezTo>
                  <a:pt x="1867" y="1294"/>
                  <a:pt x="1866" y="1294"/>
                  <a:pt x="1866" y="1294"/>
                </a:cubicBezTo>
                <a:cubicBezTo>
                  <a:pt x="1865" y="1293"/>
                  <a:pt x="1866" y="1296"/>
                  <a:pt x="1866" y="1296"/>
                </a:cubicBezTo>
                <a:cubicBezTo>
                  <a:pt x="1866" y="1297"/>
                  <a:pt x="1866" y="1297"/>
                  <a:pt x="1866" y="1298"/>
                </a:cubicBezTo>
                <a:cubicBezTo>
                  <a:pt x="1866" y="1298"/>
                  <a:pt x="1866" y="1299"/>
                  <a:pt x="1866" y="1299"/>
                </a:cubicBezTo>
                <a:cubicBezTo>
                  <a:pt x="1866" y="1299"/>
                  <a:pt x="1866" y="1300"/>
                  <a:pt x="1866" y="1300"/>
                </a:cubicBezTo>
                <a:cubicBezTo>
                  <a:pt x="1866" y="1301"/>
                  <a:pt x="1865" y="1301"/>
                  <a:pt x="1865" y="1302"/>
                </a:cubicBezTo>
                <a:cubicBezTo>
                  <a:pt x="1864" y="1303"/>
                  <a:pt x="1864" y="1304"/>
                  <a:pt x="1864" y="1304"/>
                </a:cubicBezTo>
                <a:cubicBezTo>
                  <a:pt x="1864" y="1305"/>
                  <a:pt x="1863" y="1306"/>
                  <a:pt x="1862" y="1306"/>
                </a:cubicBezTo>
                <a:cubicBezTo>
                  <a:pt x="1862" y="1306"/>
                  <a:pt x="1861" y="1306"/>
                  <a:pt x="1860" y="1305"/>
                </a:cubicBezTo>
                <a:cubicBezTo>
                  <a:pt x="1860" y="1305"/>
                  <a:pt x="1860" y="1303"/>
                  <a:pt x="1859" y="1303"/>
                </a:cubicBezTo>
                <a:cubicBezTo>
                  <a:pt x="1859" y="1303"/>
                  <a:pt x="1860" y="1305"/>
                  <a:pt x="1860" y="1305"/>
                </a:cubicBezTo>
                <a:cubicBezTo>
                  <a:pt x="1860" y="1306"/>
                  <a:pt x="1860" y="1307"/>
                  <a:pt x="1860" y="1308"/>
                </a:cubicBezTo>
                <a:cubicBezTo>
                  <a:pt x="1860" y="1308"/>
                  <a:pt x="1861" y="1308"/>
                  <a:pt x="1861" y="1308"/>
                </a:cubicBezTo>
                <a:cubicBezTo>
                  <a:pt x="1861" y="1309"/>
                  <a:pt x="1861" y="1309"/>
                  <a:pt x="1861" y="1309"/>
                </a:cubicBezTo>
                <a:cubicBezTo>
                  <a:pt x="1862" y="1310"/>
                  <a:pt x="1862" y="1311"/>
                  <a:pt x="1863" y="1311"/>
                </a:cubicBezTo>
                <a:cubicBezTo>
                  <a:pt x="1864" y="1312"/>
                  <a:pt x="1863" y="1312"/>
                  <a:pt x="1864" y="1313"/>
                </a:cubicBezTo>
                <a:cubicBezTo>
                  <a:pt x="1865" y="1314"/>
                  <a:pt x="1865" y="1313"/>
                  <a:pt x="1865" y="1312"/>
                </a:cubicBezTo>
                <a:cubicBezTo>
                  <a:pt x="1865" y="1312"/>
                  <a:pt x="1866" y="1311"/>
                  <a:pt x="1866" y="1312"/>
                </a:cubicBezTo>
                <a:cubicBezTo>
                  <a:pt x="1866" y="1313"/>
                  <a:pt x="1866" y="1313"/>
                  <a:pt x="1866" y="1314"/>
                </a:cubicBezTo>
                <a:cubicBezTo>
                  <a:pt x="1865" y="1314"/>
                  <a:pt x="1865" y="1314"/>
                  <a:pt x="1865" y="1315"/>
                </a:cubicBezTo>
                <a:cubicBezTo>
                  <a:pt x="1865" y="1315"/>
                  <a:pt x="1865" y="1315"/>
                  <a:pt x="1865" y="1316"/>
                </a:cubicBezTo>
                <a:cubicBezTo>
                  <a:pt x="1865" y="1317"/>
                  <a:pt x="1865" y="1318"/>
                  <a:pt x="1865" y="1318"/>
                </a:cubicBezTo>
                <a:cubicBezTo>
                  <a:pt x="1866" y="1319"/>
                  <a:pt x="1867" y="1318"/>
                  <a:pt x="1868" y="1319"/>
                </a:cubicBezTo>
                <a:cubicBezTo>
                  <a:pt x="1868" y="1319"/>
                  <a:pt x="1869" y="1320"/>
                  <a:pt x="1869" y="1321"/>
                </a:cubicBezTo>
                <a:cubicBezTo>
                  <a:pt x="1869" y="1322"/>
                  <a:pt x="1869" y="1323"/>
                  <a:pt x="1869" y="1324"/>
                </a:cubicBezTo>
                <a:cubicBezTo>
                  <a:pt x="1869" y="1324"/>
                  <a:pt x="1870" y="1325"/>
                  <a:pt x="1870" y="1325"/>
                </a:cubicBezTo>
                <a:cubicBezTo>
                  <a:pt x="1871" y="1325"/>
                  <a:pt x="1871" y="1325"/>
                  <a:pt x="1871" y="1325"/>
                </a:cubicBezTo>
                <a:cubicBezTo>
                  <a:pt x="1872" y="1326"/>
                  <a:pt x="1872" y="1326"/>
                  <a:pt x="1872" y="1327"/>
                </a:cubicBezTo>
                <a:cubicBezTo>
                  <a:pt x="1872" y="1327"/>
                  <a:pt x="1872" y="1327"/>
                  <a:pt x="1872" y="1327"/>
                </a:cubicBezTo>
                <a:cubicBezTo>
                  <a:pt x="1873" y="1327"/>
                  <a:pt x="1873" y="1327"/>
                  <a:pt x="1874" y="1327"/>
                </a:cubicBezTo>
                <a:cubicBezTo>
                  <a:pt x="1874" y="1327"/>
                  <a:pt x="1874" y="1328"/>
                  <a:pt x="1874" y="1328"/>
                </a:cubicBezTo>
                <a:cubicBezTo>
                  <a:pt x="1874" y="1328"/>
                  <a:pt x="1874" y="1329"/>
                  <a:pt x="1874" y="1329"/>
                </a:cubicBezTo>
                <a:cubicBezTo>
                  <a:pt x="1875" y="1329"/>
                  <a:pt x="1876" y="1330"/>
                  <a:pt x="1876" y="1331"/>
                </a:cubicBezTo>
                <a:cubicBezTo>
                  <a:pt x="1876" y="1331"/>
                  <a:pt x="1876" y="1331"/>
                  <a:pt x="1877" y="1331"/>
                </a:cubicBezTo>
                <a:cubicBezTo>
                  <a:pt x="1877" y="1332"/>
                  <a:pt x="1878" y="1333"/>
                  <a:pt x="1878" y="1333"/>
                </a:cubicBezTo>
                <a:cubicBezTo>
                  <a:pt x="1879" y="1334"/>
                  <a:pt x="1879" y="1334"/>
                  <a:pt x="1880" y="1335"/>
                </a:cubicBezTo>
                <a:cubicBezTo>
                  <a:pt x="1881" y="1335"/>
                  <a:pt x="1881" y="1336"/>
                  <a:pt x="1882" y="1337"/>
                </a:cubicBezTo>
                <a:cubicBezTo>
                  <a:pt x="1883" y="1338"/>
                  <a:pt x="1883" y="1338"/>
                  <a:pt x="1884" y="1339"/>
                </a:cubicBezTo>
                <a:cubicBezTo>
                  <a:pt x="1885" y="1340"/>
                  <a:pt x="1886" y="1341"/>
                  <a:pt x="1887" y="1342"/>
                </a:cubicBezTo>
                <a:cubicBezTo>
                  <a:pt x="1888" y="1343"/>
                  <a:pt x="1889" y="1344"/>
                  <a:pt x="1890" y="1345"/>
                </a:cubicBezTo>
                <a:cubicBezTo>
                  <a:pt x="1891" y="1346"/>
                  <a:pt x="1893" y="1347"/>
                  <a:pt x="1894" y="1349"/>
                </a:cubicBezTo>
                <a:cubicBezTo>
                  <a:pt x="1895" y="1350"/>
                  <a:pt x="1896" y="1351"/>
                  <a:pt x="1896" y="1353"/>
                </a:cubicBezTo>
                <a:cubicBezTo>
                  <a:pt x="1897" y="1354"/>
                  <a:pt x="1897" y="1355"/>
                  <a:pt x="1897" y="1355"/>
                </a:cubicBezTo>
                <a:cubicBezTo>
                  <a:pt x="1898" y="1356"/>
                  <a:pt x="1898" y="1357"/>
                  <a:pt x="1899" y="1357"/>
                </a:cubicBezTo>
                <a:cubicBezTo>
                  <a:pt x="1899" y="1359"/>
                  <a:pt x="1899" y="1360"/>
                  <a:pt x="1899" y="1362"/>
                </a:cubicBezTo>
                <a:cubicBezTo>
                  <a:pt x="1899" y="1362"/>
                  <a:pt x="1899" y="1363"/>
                  <a:pt x="1899" y="1364"/>
                </a:cubicBezTo>
                <a:cubicBezTo>
                  <a:pt x="1900" y="1364"/>
                  <a:pt x="1901" y="1365"/>
                  <a:pt x="1900" y="1366"/>
                </a:cubicBezTo>
                <a:cubicBezTo>
                  <a:pt x="1900" y="1367"/>
                  <a:pt x="1900" y="1367"/>
                  <a:pt x="1900" y="1367"/>
                </a:cubicBezTo>
                <a:cubicBezTo>
                  <a:pt x="1900" y="1368"/>
                  <a:pt x="1900" y="1368"/>
                  <a:pt x="1901" y="1368"/>
                </a:cubicBezTo>
                <a:cubicBezTo>
                  <a:pt x="1902" y="1369"/>
                  <a:pt x="1902" y="1371"/>
                  <a:pt x="1903" y="1373"/>
                </a:cubicBezTo>
                <a:cubicBezTo>
                  <a:pt x="1904" y="1374"/>
                  <a:pt x="1905" y="1376"/>
                  <a:pt x="1906" y="1378"/>
                </a:cubicBezTo>
                <a:cubicBezTo>
                  <a:pt x="1906" y="1379"/>
                  <a:pt x="1907" y="1379"/>
                  <a:pt x="1907" y="1380"/>
                </a:cubicBezTo>
                <a:cubicBezTo>
                  <a:pt x="1907" y="1381"/>
                  <a:pt x="1908" y="1382"/>
                  <a:pt x="1908" y="1383"/>
                </a:cubicBezTo>
                <a:cubicBezTo>
                  <a:pt x="1909" y="1384"/>
                  <a:pt x="1909" y="1385"/>
                  <a:pt x="1909" y="1386"/>
                </a:cubicBezTo>
                <a:cubicBezTo>
                  <a:pt x="1910" y="1387"/>
                  <a:pt x="1910" y="1388"/>
                  <a:pt x="1911" y="1388"/>
                </a:cubicBezTo>
                <a:cubicBezTo>
                  <a:pt x="1911" y="1389"/>
                  <a:pt x="1911" y="1389"/>
                  <a:pt x="1912" y="1390"/>
                </a:cubicBezTo>
                <a:cubicBezTo>
                  <a:pt x="1912" y="1391"/>
                  <a:pt x="1912" y="1392"/>
                  <a:pt x="1912" y="1393"/>
                </a:cubicBezTo>
                <a:cubicBezTo>
                  <a:pt x="1912" y="1394"/>
                  <a:pt x="1912" y="1397"/>
                  <a:pt x="1911" y="1398"/>
                </a:cubicBezTo>
                <a:cubicBezTo>
                  <a:pt x="1910" y="1398"/>
                  <a:pt x="1908" y="1400"/>
                  <a:pt x="1908" y="1401"/>
                </a:cubicBezTo>
                <a:cubicBezTo>
                  <a:pt x="1908" y="1402"/>
                  <a:pt x="1909" y="1403"/>
                  <a:pt x="1909" y="1403"/>
                </a:cubicBezTo>
                <a:cubicBezTo>
                  <a:pt x="1910" y="1404"/>
                  <a:pt x="1910" y="1405"/>
                  <a:pt x="1911" y="1406"/>
                </a:cubicBezTo>
                <a:cubicBezTo>
                  <a:pt x="1911" y="1406"/>
                  <a:pt x="1911" y="1407"/>
                  <a:pt x="1911" y="1408"/>
                </a:cubicBezTo>
                <a:cubicBezTo>
                  <a:pt x="1911" y="1409"/>
                  <a:pt x="1912" y="1410"/>
                  <a:pt x="1912" y="1410"/>
                </a:cubicBezTo>
                <a:cubicBezTo>
                  <a:pt x="1913" y="1411"/>
                  <a:pt x="1913" y="1412"/>
                  <a:pt x="1913" y="1413"/>
                </a:cubicBezTo>
                <a:cubicBezTo>
                  <a:pt x="1914" y="1414"/>
                  <a:pt x="1914" y="1415"/>
                  <a:pt x="1914" y="1416"/>
                </a:cubicBezTo>
                <a:cubicBezTo>
                  <a:pt x="1915" y="1417"/>
                  <a:pt x="1915" y="1417"/>
                  <a:pt x="1916" y="1418"/>
                </a:cubicBezTo>
                <a:cubicBezTo>
                  <a:pt x="1916" y="1419"/>
                  <a:pt x="1917" y="1420"/>
                  <a:pt x="1917" y="1421"/>
                </a:cubicBezTo>
                <a:cubicBezTo>
                  <a:pt x="1917" y="1422"/>
                  <a:pt x="1917" y="1424"/>
                  <a:pt x="1917" y="1425"/>
                </a:cubicBezTo>
                <a:cubicBezTo>
                  <a:pt x="1918" y="1427"/>
                  <a:pt x="1918" y="1430"/>
                  <a:pt x="1917" y="1432"/>
                </a:cubicBezTo>
                <a:cubicBezTo>
                  <a:pt x="1917" y="1433"/>
                  <a:pt x="1916" y="1434"/>
                  <a:pt x="1916" y="1435"/>
                </a:cubicBezTo>
                <a:cubicBezTo>
                  <a:pt x="1915" y="1436"/>
                  <a:pt x="1915" y="1436"/>
                  <a:pt x="1914" y="1437"/>
                </a:cubicBezTo>
                <a:cubicBezTo>
                  <a:pt x="1914" y="1437"/>
                  <a:pt x="1914" y="1438"/>
                  <a:pt x="1914" y="1439"/>
                </a:cubicBezTo>
                <a:cubicBezTo>
                  <a:pt x="1913" y="1440"/>
                  <a:pt x="1913" y="1440"/>
                  <a:pt x="1912" y="1441"/>
                </a:cubicBezTo>
                <a:cubicBezTo>
                  <a:pt x="1912" y="1441"/>
                  <a:pt x="1911" y="1441"/>
                  <a:pt x="1911" y="1441"/>
                </a:cubicBezTo>
                <a:cubicBezTo>
                  <a:pt x="1910" y="1441"/>
                  <a:pt x="1910" y="1442"/>
                  <a:pt x="1909" y="1442"/>
                </a:cubicBezTo>
                <a:cubicBezTo>
                  <a:pt x="1909" y="1443"/>
                  <a:pt x="1909" y="1443"/>
                  <a:pt x="1908" y="1443"/>
                </a:cubicBezTo>
                <a:cubicBezTo>
                  <a:pt x="1908" y="1444"/>
                  <a:pt x="1907" y="1444"/>
                  <a:pt x="1907" y="1445"/>
                </a:cubicBezTo>
                <a:cubicBezTo>
                  <a:pt x="1905" y="1447"/>
                  <a:pt x="1904" y="1448"/>
                  <a:pt x="1903" y="1450"/>
                </a:cubicBezTo>
                <a:cubicBezTo>
                  <a:pt x="1903" y="1452"/>
                  <a:pt x="1902" y="1454"/>
                  <a:pt x="1902" y="1456"/>
                </a:cubicBezTo>
                <a:cubicBezTo>
                  <a:pt x="1901" y="1457"/>
                  <a:pt x="1901" y="1459"/>
                  <a:pt x="1901" y="1460"/>
                </a:cubicBezTo>
                <a:cubicBezTo>
                  <a:pt x="1900" y="1461"/>
                  <a:pt x="1900" y="1463"/>
                  <a:pt x="1900" y="1464"/>
                </a:cubicBezTo>
                <a:cubicBezTo>
                  <a:pt x="1900" y="1465"/>
                  <a:pt x="1899" y="1466"/>
                  <a:pt x="1899" y="1467"/>
                </a:cubicBezTo>
                <a:cubicBezTo>
                  <a:pt x="1899" y="1467"/>
                  <a:pt x="1898" y="1468"/>
                  <a:pt x="1898" y="1469"/>
                </a:cubicBezTo>
                <a:cubicBezTo>
                  <a:pt x="1898" y="1471"/>
                  <a:pt x="1898" y="1473"/>
                  <a:pt x="1897" y="1475"/>
                </a:cubicBezTo>
                <a:cubicBezTo>
                  <a:pt x="1896" y="1476"/>
                  <a:pt x="1895" y="1477"/>
                  <a:pt x="1894" y="1478"/>
                </a:cubicBezTo>
                <a:cubicBezTo>
                  <a:pt x="1894" y="1479"/>
                  <a:pt x="1893" y="1479"/>
                  <a:pt x="1894" y="1480"/>
                </a:cubicBezTo>
                <a:cubicBezTo>
                  <a:pt x="1894" y="1480"/>
                  <a:pt x="1894" y="1481"/>
                  <a:pt x="1894" y="1481"/>
                </a:cubicBezTo>
                <a:cubicBezTo>
                  <a:pt x="1894" y="1482"/>
                  <a:pt x="1894" y="1483"/>
                  <a:pt x="1894" y="1484"/>
                </a:cubicBezTo>
                <a:cubicBezTo>
                  <a:pt x="1894" y="1485"/>
                  <a:pt x="1894" y="1485"/>
                  <a:pt x="1894" y="1486"/>
                </a:cubicBezTo>
                <a:cubicBezTo>
                  <a:pt x="1894" y="1488"/>
                  <a:pt x="1894" y="1490"/>
                  <a:pt x="1894" y="1491"/>
                </a:cubicBezTo>
                <a:cubicBezTo>
                  <a:pt x="1894" y="1492"/>
                  <a:pt x="1894" y="1493"/>
                  <a:pt x="1894" y="1494"/>
                </a:cubicBezTo>
                <a:cubicBezTo>
                  <a:pt x="1894" y="1494"/>
                  <a:pt x="1894" y="1495"/>
                  <a:pt x="1893" y="1495"/>
                </a:cubicBezTo>
                <a:cubicBezTo>
                  <a:pt x="1893" y="1496"/>
                  <a:pt x="1894" y="1496"/>
                  <a:pt x="1894" y="1497"/>
                </a:cubicBezTo>
                <a:cubicBezTo>
                  <a:pt x="1894" y="1498"/>
                  <a:pt x="1894" y="1500"/>
                  <a:pt x="1894" y="1501"/>
                </a:cubicBezTo>
                <a:cubicBezTo>
                  <a:pt x="1894" y="1503"/>
                  <a:pt x="1895" y="1505"/>
                  <a:pt x="1895" y="1507"/>
                </a:cubicBezTo>
                <a:cubicBezTo>
                  <a:pt x="1895" y="1508"/>
                  <a:pt x="1896" y="1510"/>
                  <a:pt x="1897" y="1511"/>
                </a:cubicBezTo>
                <a:cubicBezTo>
                  <a:pt x="1898" y="1512"/>
                  <a:pt x="1900" y="1513"/>
                  <a:pt x="1901" y="1514"/>
                </a:cubicBezTo>
                <a:cubicBezTo>
                  <a:pt x="1902" y="1517"/>
                  <a:pt x="1905" y="1519"/>
                  <a:pt x="1906" y="1522"/>
                </a:cubicBezTo>
                <a:cubicBezTo>
                  <a:pt x="1906" y="1524"/>
                  <a:pt x="1907" y="1525"/>
                  <a:pt x="1907" y="1526"/>
                </a:cubicBezTo>
                <a:cubicBezTo>
                  <a:pt x="1908" y="1527"/>
                  <a:pt x="1908" y="1528"/>
                  <a:pt x="1909" y="1529"/>
                </a:cubicBezTo>
                <a:cubicBezTo>
                  <a:pt x="1910" y="1531"/>
                  <a:pt x="1911" y="1533"/>
                  <a:pt x="1912" y="1535"/>
                </a:cubicBezTo>
                <a:cubicBezTo>
                  <a:pt x="1912" y="1536"/>
                  <a:pt x="1913" y="1537"/>
                  <a:pt x="1913" y="1538"/>
                </a:cubicBezTo>
                <a:cubicBezTo>
                  <a:pt x="1914" y="1539"/>
                  <a:pt x="1914" y="1540"/>
                  <a:pt x="1915" y="1541"/>
                </a:cubicBezTo>
                <a:cubicBezTo>
                  <a:pt x="1915" y="1542"/>
                  <a:pt x="1916" y="1543"/>
                  <a:pt x="1917" y="1544"/>
                </a:cubicBezTo>
                <a:cubicBezTo>
                  <a:pt x="1917" y="1545"/>
                  <a:pt x="1918" y="1547"/>
                  <a:pt x="1919" y="1548"/>
                </a:cubicBezTo>
                <a:cubicBezTo>
                  <a:pt x="1920" y="1550"/>
                  <a:pt x="1921" y="1553"/>
                  <a:pt x="1922" y="1555"/>
                </a:cubicBezTo>
                <a:cubicBezTo>
                  <a:pt x="1924" y="1557"/>
                  <a:pt x="1925" y="1558"/>
                  <a:pt x="1926" y="1560"/>
                </a:cubicBezTo>
                <a:cubicBezTo>
                  <a:pt x="1926" y="1561"/>
                  <a:pt x="1926" y="1561"/>
                  <a:pt x="1925" y="1562"/>
                </a:cubicBezTo>
                <a:cubicBezTo>
                  <a:pt x="1925" y="1563"/>
                  <a:pt x="1925" y="1564"/>
                  <a:pt x="1925" y="1565"/>
                </a:cubicBezTo>
                <a:cubicBezTo>
                  <a:pt x="1925" y="1568"/>
                  <a:pt x="1925" y="1571"/>
                  <a:pt x="1925" y="1574"/>
                </a:cubicBezTo>
                <a:cubicBezTo>
                  <a:pt x="1925" y="1577"/>
                  <a:pt x="1925" y="1579"/>
                  <a:pt x="1926" y="1581"/>
                </a:cubicBezTo>
                <a:cubicBezTo>
                  <a:pt x="1926" y="1582"/>
                  <a:pt x="1926" y="1583"/>
                  <a:pt x="1927" y="1584"/>
                </a:cubicBezTo>
                <a:cubicBezTo>
                  <a:pt x="1927" y="1585"/>
                  <a:pt x="1928" y="1586"/>
                  <a:pt x="1928" y="1587"/>
                </a:cubicBezTo>
                <a:cubicBezTo>
                  <a:pt x="1929" y="1589"/>
                  <a:pt x="1930" y="1591"/>
                  <a:pt x="1929" y="1593"/>
                </a:cubicBezTo>
                <a:cubicBezTo>
                  <a:pt x="1929" y="1594"/>
                  <a:pt x="1929" y="1595"/>
                  <a:pt x="1929" y="1597"/>
                </a:cubicBezTo>
                <a:cubicBezTo>
                  <a:pt x="1929" y="1598"/>
                  <a:pt x="1929" y="1599"/>
                  <a:pt x="1930" y="1601"/>
                </a:cubicBezTo>
                <a:cubicBezTo>
                  <a:pt x="1930" y="1602"/>
                  <a:pt x="1930" y="1603"/>
                  <a:pt x="1930" y="1604"/>
                </a:cubicBezTo>
                <a:cubicBezTo>
                  <a:pt x="1931" y="1605"/>
                  <a:pt x="1931" y="1606"/>
                  <a:pt x="1932" y="1608"/>
                </a:cubicBezTo>
                <a:cubicBezTo>
                  <a:pt x="1932" y="1610"/>
                  <a:pt x="1933" y="1612"/>
                  <a:pt x="1934" y="1615"/>
                </a:cubicBezTo>
                <a:cubicBezTo>
                  <a:pt x="1934" y="1616"/>
                  <a:pt x="1935" y="1618"/>
                  <a:pt x="1936" y="1620"/>
                </a:cubicBezTo>
                <a:cubicBezTo>
                  <a:pt x="1937" y="1622"/>
                  <a:pt x="1939" y="1625"/>
                  <a:pt x="1941" y="1627"/>
                </a:cubicBezTo>
                <a:cubicBezTo>
                  <a:pt x="1942" y="1628"/>
                  <a:pt x="1944" y="1630"/>
                  <a:pt x="1945" y="1631"/>
                </a:cubicBezTo>
                <a:cubicBezTo>
                  <a:pt x="1946" y="1632"/>
                  <a:pt x="1947" y="1632"/>
                  <a:pt x="1947" y="1632"/>
                </a:cubicBezTo>
                <a:cubicBezTo>
                  <a:pt x="1948" y="1632"/>
                  <a:pt x="1948" y="1633"/>
                  <a:pt x="1948" y="1634"/>
                </a:cubicBezTo>
                <a:cubicBezTo>
                  <a:pt x="1949" y="1634"/>
                  <a:pt x="1949" y="1635"/>
                  <a:pt x="1950" y="1636"/>
                </a:cubicBezTo>
                <a:cubicBezTo>
                  <a:pt x="1950" y="1637"/>
                  <a:pt x="1950" y="1638"/>
                  <a:pt x="1951" y="1639"/>
                </a:cubicBezTo>
                <a:cubicBezTo>
                  <a:pt x="1952" y="1640"/>
                  <a:pt x="1953" y="1642"/>
                  <a:pt x="1953" y="1643"/>
                </a:cubicBezTo>
                <a:cubicBezTo>
                  <a:pt x="1954" y="1645"/>
                  <a:pt x="1955" y="1647"/>
                  <a:pt x="1955" y="1648"/>
                </a:cubicBezTo>
                <a:cubicBezTo>
                  <a:pt x="1955" y="1649"/>
                  <a:pt x="1956" y="1649"/>
                  <a:pt x="1956" y="1650"/>
                </a:cubicBezTo>
                <a:cubicBezTo>
                  <a:pt x="1956" y="1651"/>
                  <a:pt x="1957" y="1652"/>
                  <a:pt x="1958" y="1654"/>
                </a:cubicBezTo>
                <a:cubicBezTo>
                  <a:pt x="1958" y="1655"/>
                  <a:pt x="1959" y="1656"/>
                  <a:pt x="1959" y="1657"/>
                </a:cubicBezTo>
                <a:cubicBezTo>
                  <a:pt x="1960" y="1658"/>
                  <a:pt x="1960" y="1659"/>
                  <a:pt x="1961" y="1661"/>
                </a:cubicBezTo>
                <a:cubicBezTo>
                  <a:pt x="1962" y="1662"/>
                  <a:pt x="1962" y="1664"/>
                  <a:pt x="1963" y="1665"/>
                </a:cubicBezTo>
                <a:cubicBezTo>
                  <a:pt x="1964" y="1666"/>
                  <a:pt x="1964" y="1667"/>
                  <a:pt x="1965" y="1668"/>
                </a:cubicBezTo>
                <a:cubicBezTo>
                  <a:pt x="1965" y="1668"/>
                  <a:pt x="1965" y="1669"/>
                  <a:pt x="1965" y="1669"/>
                </a:cubicBezTo>
                <a:cubicBezTo>
                  <a:pt x="1965" y="1669"/>
                  <a:pt x="1966" y="1670"/>
                  <a:pt x="1966" y="1670"/>
                </a:cubicBezTo>
                <a:cubicBezTo>
                  <a:pt x="1966" y="1671"/>
                  <a:pt x="1967" y="1671"/>
                  <a:pt x="1967" y="1672"/>
                </a:cubicBezTo>
                <a:cubicBezTo>
                  <a:pt x="1968" y="1674"/>
                  <a:pt x="1969" y="1675"/>
                  <a:pt x="1969" y="1677"/>
                </a:cubicBezTo>
                <a:cubicBezTo>
                  <a:pt x="1969" y="1678"/>
                  <a:pt x="1969" y="1679"/>
                  <a:pt x="1969" y="1679"/>
                </a:cubicBezTo>
                <a:cubicBezTo>
                  <a:pt x="1968" y="1680"/>
                  <a:pt x="1968" y="1681"/>
                  <a:pt x="1967" y="1683"/>
                </a:cubicBezTo>
                <a:cubicBezTo>
                  <a:pt x="1967" y="1683"/>
                  <a:pt x="1967" y="1685"/>
                  <a:pt x="1966" y="1685"/>
                </a:cubicBezTo>
                <a:cubicBezTo>
                  <a:pt x="1966" y="1684"/>
                  <a:pt x="1966" y="1684"/>
                  <a:pt x="1965" y="1684"/>
                </a:cubicBezTo>
                <a:cubicBezTo>
                  <a:pt x="1965" y="1684"/>
                  <a:pt x="1964" y="1684"/>
                  <a:pt x="1964" y="1685"/>
                </a:cubicBezTo>
                <a:cubicBezTo>
                  <a:pt x="1963" y="1685"/>
                  <a:pt x="1963" y="1685"/>
                  <a:pt x="1963" y="1685"/>
                </a:cubicBezTo>
                <a:cubicBezTo>
                  <a:pt x="1963" y="1686"/>
                  <a:pt x="1963" y="1686"/>
                  <a:pt x="1963" y="1686"/>
                </a:cubicBezTo>
                <a:cubicBezTo>
                  <a:pt x="1963" y="1687"/>
                  <a:pt x="1964" y="1687"/>
                  <a:pt x="1964" y="1687"/>
                </a:cubicBezTo>
                <a:cubicBezTo>
                  <a:pt x="1964" y="1688"/>
                  <a:pt x="1965" y="1687"/>
                  <a:pt x="1965" y="1688"/>
                </a:cubicBezTo>
                <a:cubicBezTo>
                  <a:pt x="1966" y="1688"/>
                  <a:pt x="1966" y="1689"/>
                  <a:pt x="1966" y="1690"/>
                </a:cubicBezTo>
                <a:cubicBezTo>
                  <a:pt x="1966" y="1691"/>
                  <a:pt x="1967" y="1691"/>
                  <a:pt x="1967" y="1692"/>
                </a:cubicBezTo>
                <a:cubicBezTo>
                  <a:pt x="1967" y="1693"/>
                  <a:pt x="1968" y="1693"/>
                  <a:pt x="1968" y="1694"/>
                </a:cubicBezTo>
                <a:cubicBezTo>
                  <a:pt x="1969" y="1695"/>
                  <a:pt x="1969" y="1695"/>
                  <a:pt x="1970" y="1696"/>
                </a:cubicBezTo>
                <a:cubicBezTo>
                  <a:pt x="1970" y="1697"/>
                  <a:pt x="1970" y="1697"/>
                  <a:pt x="1970" y="1698"/>
                </a:cubicBezTo>
                <a:cubicBezTo>
                  <a:pt x="1970" y="1698"/>
                  <a:pt x="1970" y="1698"/>
                  <a:pt x="1969" y="1698"/>
                </a:cubicBezTo>
                <a:cubicBezTo>
                  <a:pt x="1969" y="1699"/>
                  <a:pt x="1969" y="1700"/>
                  <a:pt x="1969" y="1701"/>
                </a:cubicBezTo>
                <a:cubicBezTo>
                  <a:pt x="1969" y="1702"/>
                  <a:pt x="1970" y="1703"/>
                  <a:pt x="1970" y="1703"/>
                </a:cubicBezTo>
                <a:cubicBezTo>
                  <a:pt x="1970" y="1703"/>
                  <a:pt x="1970" y="1704"/>
                  <a:pt x="1970" y="1704"/>
                </a:cubicBezTo>
                <a:cubicBezTo>
                  <a:pt x="1971" y="1705"/>
                  <a:pt x="1971" y="1704"/>
                  <a:pt x="1971" y="1703"/>
                </a:cubicBezTo>
                <a:cubicBezTo>
                  <a:pt x="1971" y="1703"/>
                  <a:pt x="1970" y="1702"/>
                  <a:pt x="1971" y="1701"/>
                </a:cubicBezTo>
                <a:cubicBezTo>
                  <a:pt x="1972" y="1701"/>
                  <a:pt x="1972" y="1701"/>
                  <a:pt x="1972" y="1701"/>
                </a:cubicBezTo>
                <a:cubicBezTo>
                  <a:pt x="1973" y="1701"/>
                  <a:pt x="1973" y="1701"/>
                  <a:pt x="1974" y="1701"/>
                </a:cubicBezTo>
                <a:cubicBezTo>
                  <a:pt x="1975" y="1701"/>
                  <a:pt x="1975" y="1702"/>
                  <a:pt x="1975" y="1703"/>
                </a:cubicBezTo>
                <a:cubicBezTo>
                  <a:pt x="1975" y="1703"/>
                  <a:pt x="1974" y="1704"/>
                  <a:pt x="1975" y="1705"/>
                </a:cubicBezTo>
                <a:cubicBezTo>
                  <a:pt x="1975" y="1705"/>
                  <a:pt x="1976" y="1705"/>
                  <a:pt x="1977" y="1705"/>
                </a:cubicBezTo>
                <a:cubicBezTo>
                  <a:pt x="1978" y="1705"/>
                  <a:pt x="1978" y="1705"/>
                  <a:pt x="1979" y="1706"/>
                </a:cubicBezTo>
                <a:cubicBezTo>
                  <a:pt x="1979" y="1706"/>
                  <a:pt x="1979" y="1707"/>
                  <a:pt x="1980" y="1707"/>
                </a:cubicBezTo>
                <a:cubicBezTo>
                  <a:pt x="1980" y="1707"/>
                  <a:pt x="1980" y="1708"/>
                  <a:pt x="1981" y="1708"/>
                </a:cubicBezTo>
                <a:cubicBezTo>
                  <a:pt x="1981" y="1708"/>
                  <a:pt x="1982" y="1708"/>
                  <a:pt x="1983" y="1708"/>
                </a:cubicBezTo>
                <a:cubicBezTo>
                  <a:pt x="1984" y="1709"/>
                  <a:pt x="1984" y="1709"/>
                  <a:pt x="1985" y="1709"/>
                </a:cubicBezTo>
                <a:cubicBezTo>
                  <a:pt x="1986" y="1709"/>
                  <a:pt x="1986" y="1710"/>
                  <a:pt x="1986" y="1710"/>
                </a:cubicBezTo>
                <a:cubicBezTo>
                  <a:pt x="1987" y="1710"/>
                  <a:pt x="1987" y="1710"/>
                  <a:pt x="1987" y="1710"/>
                </a:cubicBezTo>
                <a:cubicBezTo>
                  <a:pt x="1988" y="1710"/>
                  <a:pt x="1989" y="1710"/>
                  <a:pt x="1990" y="1710"/>
                </a:cubicBezTo>
                <a:cubicBezTo>
                  <a:pt x="1990" y="1710"/>
                  <a:pt x="1991" y="1709"/>
                  <a:pt x="1991" y="1708"/>
                </a:cubicBezTo>
                <a:cubicBezTo>
                  <a:pt x="1993" y="1707"/>
                  <a:pt x="1994" y="1707"/>
                  <a:pt x="1996" y="1706"/>
                </a:cubicBezTo>
                <a:cubicBezTo>
                  <a:pt x="1996" y="1706"/>
                  <a:pt x="1996" y="1705"/>
                  <a:pt x="1997" y="1705"/>
                </a:cubicBezTo>
                <a:cubicBezTo>
                  <a:pt x="1997" y="1705"/>
                  <a:pt x="1998" y="1705"/>
                  <a:pt x="1998" y="1705"/>
                </a:cubicBezTo>
                <a:cubicBezTo>
                  <a:pt x="1998" y="1705"/>
                  <a:pt x="1999" y="1705"/>
                  <a:pt x="1999" y="1705"/>
                </a:cubicBezTo>
                <a:cubicBezTo>
                  <a:pt x="2000" y="1704"/>
                  <a:pt x="2001" y="1705"/>
                  <a:pt x="2001" y="1705"/>
                </a:cubicBezTo>
                <a:cubicBezTo>
                  <a:pt x="2002" y="1705"/>
                  <a:pt x="2004" y="1705"/>
                  <a:pt x="2005" y="1705"/>
                </a:cubicBezTo>
                <a:cubicBezTo>
                  <a:pt x="2006" y="1705"/>
                  <a:pt x="2009" y="1705"/>
                  <a:pt x="2010" y="1704"/>
                </a:cubicBezTo>
                <a:cubicBezTo>
                  <a:pt x="2011" y="1704"/>
                  <a:pt x="2012" y="1702"/>
                  <a:pt x="2013" y="1701"/>
                </a:cubicBezTo>
                <a:cubicBezTo>
                  <a:pt x="2014" y="1701"/>
                  <a:pt x="2014" y="1701"/>
                  <a:pt x="2014" y="1701"/>
                </a:cubicBezTo>
                <a:cubicBezTo>
                  <a:pt x="2015" y="1701"/>
                  <a:pt x="2015" y="1701"/>
                  <a:pt x="2015" y="1701"/>
                </a:cubicBezTo>
                <a:cubicBezTo>
                  <a:pt x="2016" y="1700"/>
                  <a:pt x="2017" y="1700"/>
                  <a:pt x="2018" y="1700"/>
                </a:cubicBezTo>
                <a:cubicBezTo>
                  <a:pt x="2019" y="1700"/>
                  <a:pt x="2020" y="1700"/>
                  <a:pt x="2020" y="1700"/>
                </a:cubicBezTo>
                <a:cubicBezTo>
                  <a:pt x="2021" y="1700"/>
                  <a:pt x="2022" y="1701"/>
                  <a:pt x="2023" y="1701"/>
                </a:cubicBezTo>
                <a:cubicBezTo>
                  <a:pt x="2024" y="1701"/>
                  <a:pt x="2024" y="1701"/>
                  <a:pt x="2025" y="1701"/>
                </a:cubicBezTo>
                <a:cubicBezTo>
                  <a:pt x="2025" y="1701"/>
                  <a:pt x="2026" y="1701"/>
                  <a:pt x="2026" y="1701"/>
                </a:cubicBezTo>
                <a:cubicBezTo>
                  <a:pt x="2027" y="1701"/>
                  <a:pt x="2027" y="1701"/>
                  <a:pt x="2027" y="1701"/>
                </a:cubicBezTo>
                <a:cubicBezTo>
                  <a:pt x="2029" y="1700"/>
                  <a:pt x="2031" y="1700"/>
                  <a:pt x="2032" y="1701"/>
                </a:cubicBezTo>
                <a:cubicBezTo>
                  <a:pt x="2033" y="1701"/>
                  <a:pt x="2034" y="1701"/>
                  <a:pt x="2034" y="1701"/>
                </a:cubicBezTo>
                <a:cubicBezTo>
                  <a:pt x="2035" y="1701"/>
                  <a:pt x="2036" y="1701"/>
                  <a:pt x="2037" y="1702"/>
                </a:cubicBezTo>
                <a:cubicBezTo>
                  <a:pt x="2038" y="1702"/>
                  <a:pt x="2039" y="1702"/>
                  <a:pt x="2040" y="1702"/>
                </a:cubicBezTo>
                <a:cubicBezTo>
                  <a:pt x="2041" y="1702"/>
                  <a:pt x="2042" y="1703"/>
                  <a:pt x="2043" y="1702"/>
                </a:cubicBezTo>
                <a:cubicBezTo>
                  <a:pt x="2044" y="1702"/>
                  <a:pt x="2045" y="1699"/>
                  <a:pt x="2047" y="1699"/>
                </a:cubicBezTo>
                <a:cubicBezTo>
                  <a:pt x="2047" y="1699"/>
                  <a:pt x="2048" y="1700"/>
                  <a:pt x="2049" y="1700"/>
                </a:cubicBezTo>
                <a:cubicBezTo>
                  <a:pt x="2049" y="1700"/>
                  <a:pt x="2050" y="1700"/>
                  <a:pt x="2050" y="1700"/>
                </a:cubicBezTo>
                <a:cubicBezTo>
                  <a:pt x="2051" y="1700"/>
                  <a:pt x="2051" y="1700"/>
                  <a:pt x="2051" y="1701"/>
                </a:cubicBezTo>
                <a:cubicBezTo>
                  <a:pt x="2051" y="1701"/>
                  <a:pt x="2052" y="1701"/>
                  <a:pt x="2052" y="1701"/>
                </a:cubicBezTo>
                <a:cubicBezTo>
                  <a:pt x="2053" y="1700"/>
                  <a:pt x="2053" y="1700"/>
                  <a:pt x="2052" y="1699"/>
                </a:cubicBezTo>
                <a:cubicBezTo>
                  <a:pt x="2052" y="1698"/>
                  <a:pt x="2053" y="1698"/>
                  <a:pt x="2054" y="1697"/>
                </a:cubicBezTo>
                <a:cubicBezTo>
                  <a:pt x="2054" y="1696"/>
                  <a:pt x="2056" y="1696"/>
                  <a:pt x="2057" y="1696"/>
                </a:cubicBezTo>
                <a:cubicBezTo>
                  <a:pt x="2058" y="1696"/>
                  <a:pt x="2060" y="1696"/>
                  <a:pt x="2061" y="1696"/>
                </a:cubicBezTo>
                <a:cubicBezTo>
                  <a:pt x="2063" y="1696"/>
                  <a:pt x="2065" y="1696"/>
                  <a:pt x="2066" y="1695"/>
                </a:cubicBezTo>
                <a:cubicBezTo>
                  <a:pt x="2067" y="1695"/>
                  <a:pt x="2068" y="1695"/>
                  <a:pt x="2069" y="1694"/>
                </a:cubicBezTo>
                <a:cubicBezTo>
                  <a:pt x="2069" y="1693"/>
                  <a:pt x="2070" y="1693"/>
                  <a:pt x="2071" y="1692"/>
                </a:cubicBezTo>
                <a:cubicBezTo>
                  <a:pt x="2072" y="1692"/>
                  <a:pt x="2074" y="1691"/>
                  <a:pt x="2075" y="1690"/>
                </a:cubicBezTo>
                <a:cubicBezTo>
                  <a:pt x="2076" y="1689"/>
                  <a:pt x="2076" y="1689"/>
                  <a:pt x="2077" y="1688"/>
                </a:cubicBezTo>
                <a:cubicBezTo>
                  <a:pt x="2077" y="1688"/>
                  <a:pt x="2078" y="1687"/>
                  <a:pt x="2078" y="1687"/>
                </a:cubicBezTo>
                <a:cubicBezTo>
                  <a:pt x="2079" y="1687"/>
                  <a:pt x="2079" y="1686"/>
                  <a:pt x="2079" y="1686"/>
                </a:cubicBezTo>
                <a:cubicBezTo>
                  <a:pt x="2080" y="1685"/>
                  <a:pt x="2082" y="1684"/>
                  <a:pt x="2083" y="1683"/>
                </a:cubicBezTo>
                <a:cubicBezTo>
                  <a:pt x="2084" y="1683"/>
                  <a:pt x="2085" y="1682"/>
                  <a:pt x="2085" y="1682"/>
                </a:cubicBezTo>
                <a:cubicBezTo>
                  <a:pt x="2086" y="1681"/>
                  <a:pt x="2087" y="1680"/>
                  <a:pt x="2087" y="1680"/>
                </a:cubicBezTo>
                <a:cubicBezTo>
                  <a:pt x="2088" y="1679"/>
                  <a:pt x="2089" y="1678"/>
                  <a:pt x="2090" y="1677"/>
                </a:cubicBezTo>
                <a:cubicBezTo>
                  <a:pt x="2090" y="1677"/>
                  <a:pt x="2091" y="1676"/>
                  <a:pt x="2092" y="1675"/>
                </a:cubicBezTo>
                <a:cubicBezTo>
                  <a:pt x="2092" y="1675"/>
                  <a:pt x="2092" y="1674"/>
                  <a:pt x="2093" y="1674"/>
                </a:cubicBezTo>
                <a:cubicBezTo>
                  <a:pt x="2093" y="1673"/>
                  <a:pt x="2094" y="1673"/>
                  <a:pt x="2094" y="1673"/>
                </a:cubicBezTo>
                <a:cubicBezTo>
                  <a:pt x="2095" y="1672"/>
                  <a:pt x="2096" y="1671"/>
                  <a:pt x="2096" y="1671"/>
                </a:cubicBezTo>
                <a:cubicBezTo>
                  <a:pt x="2098" y="1669"/>
                  <a:pt x="2099" y="1669"/>
                  <a:pt x="2100" y="1667"/>
                </a:cubicBezTo>
                <a:cubicBezTo>
                  <a:pt x="2100" y="1667"/>
                  <a:pt x="2101" y="1666"/>
                  <a:pt x="2101" y="1666"/>
                </a:cubicBezTo>
                <a:cubicBezTo>
                  <a:pt x="2102" y="1665"/>
                  <a:pt x="2103" y="1664"/>
                  <a:pt x="2104" y="1663"/>
                </a:cubicBezTo>
                <a:cubicBezTo>
                  <a:pt x="2105" y="1662"/>
                  <a:pt x="2105" y="1661"/>
                  <a:pt x="2106" y="1661"/>
                </a:cubicBezTo>
                <a:cubicBezTo>
                  <a:pt x="2107" y="1659"/>
                  <a:pt x="2107" y="1659"/>
                  <a:pt x="2108" y="1658"/>
                </a:cubicBezTo>
                <a:cubicBezTo>
                  <a:pt x="2109" y="1657"/>
                  <a:pt x="2109" y="1655"/>
                  <a:pt x="2110" y="1654"/>
                </a:cubicBezTo>
                <a:cubicBezTo>
                  <a:pt x="2110" y="1654"/>
                  <a:pt x="2111" y="1653"/>
                  <a:pt x="2111" y="1653"/>
                </a:cubicBezTo>
                <a:cubicBezTo>
                  <a:pt x="2112" y="1650"/>
                  <a:pt x="2114" y="1647"/>
                  <a:pt x="2115" y="1645"/>
                </a:cubicBezTo>
                <a:cubicBezTo>
                  <a:pt x="2116" y="1644"/>
                  <a:pt x="2116" y="1643"/>
                  <a:pt x="2117" y="1642"/>
                </a:cubicBezTo>
                <a:cubicBezTo>
                  <a:pt x="2118" y="1641"/>
                  <a:pt x="2119" y="1640"/>
                  <a:pt x="2120" y="1639"/>
                </a:cubicBezTo>
                <a:cubicBezTo>
                  <a:pt x="2121" y="1638"/>
                  <a:pt x="2122" y="1637"/>
                  <a:pt x="2124" y="1636"/>
                </a:cubicBezTo>
                <a:cubicBezTo>
                  <a:pt x="2124" y="1636"/>
                  <a:pt x="2125" y="1636"/>
                  <a:pt x="2125" y="1635"/>
                </a:cubicBezTo>
                <a:cubicBezTo>
                  <a:pt x="2125" y="1635"/>
                  <a:pt x="2125" y="1634"/>
                  <a:pt x="2126" y="1634"/>
                </a:cubicBezTo>
                <a:cubicBezTo>
                  <a:pt x="2127" y="1633"/>
                  <a:pt x="2127" y="1632"/>
                  <a:pt x="2128" y="1631"/>
                </a:cubicBezTo>
                <a:cubicBezTo>
                  <a:pt x="2129" y="1631"/>
                  <a:pt x="2129" y="1630"/>
                  <a:pt x="2130" y="1629"/>
                </a:cubicBezTo>
                <a:cubicBezTo>
                  <a:pt x="2130" y="1629"/>
                  <a:pt x="2130" y="1629"/>
                  <a:pt x="2130" y="1628"/>
                </a:cubicBezTo>
                <a:cubicBezTo>
                  <a:pt x="2131" y="1628"/>
                  <a:pt x="2131" y="1627"/>
                  <a:pt x="2131" y="1627"/>
                </a:cubicBezTo>
                <a:cubicBezTo>
                  <a:pt x="2131" y="1626"/>
                  <a:pt x="2131" y="1625"/>
                  <a:pt x="2132" y="1625"/>
                </a:cubicBezTo>
                <a:cubicBezTo>
                  <a:pt x="2132" y="1624"/>
                  <a:pt x="2132" y="1623"/>
                  <a:pt x="2132" y="1622"/>
                </a:cubicBezTo>
                <a:cubicBezTo>
                  <a:pt x="2132" y="1621"/>
                  <a:pt x="2132" y="1620"/>
                  <a:pt x="2133" y="1619"/>
                </a:cubicBezTo>
                <a:cubicBezTo>
                  <a:pt x="2133" y="1618"/>
                  <a:pt x="2133" y="1617"/>
                  <a:pt x="2133" y="1616"/>
                </a:cubicBezTo>
                <a:cubicBezTo>
                  <a:pt x="2134" y="1615"/>
                  <a:pt x="2134" y="1614"/>
                  <a:pt x="2134" y="1613"/>
                </a:cubicBezTo>
                <a:cubicBezTo>
                  <a:pt x="2135" y="1612"/>
                  <a:pt x="2135" y="1611"/>
                  <a:pt x="2135" y="1611"/>
                </a:cubicBezTo>
                <a:cubicBezTo>
                  <a:pt x="2135" y="1610"/>
                  <a:pt x="2135" y="1609"/>
                  <a:pt x="2135" y="1608"/>
                </a:cubicBezTo>
                <a:cubicBezTo>
                  <a:pt x="2135" y="1607"/>
                  <a:pt x="2135" y="1606"/>
                  <a:pt x="2135" y="1606"/>
                </a:cubicBezTo>
                <a:cubicBezTo>
                  <a:pt x="2135" y="1605"/>
                  <a:pt x="2135" y="1604"/>
                  <a:pt x="2136" y="1603"/>
                </a:cubicBezTo>
                <a:cubicBezTo>
                  <a:pt x="2136" y="1603"/>
                  <a:pt x="2136" y="1601"/>
                  <a:pt x="2135" y="1601"/>
                </a:cubicBezTo>
                <a:cubicBezTo>
                  <a:pt x="2135" y="1601"/>
                  <a:pt x="2135" y="1601"/>
                  <a:pt x="2135" y="1601"/>
                </a:cubicBezTo>
                <a:cubicBezTo>
                  <a:pt x="2135" y="1602"/>
                  <a:pt x="2134" y="1601"/>
                  <a:pt x="2134" y="1602"/>
                </a:cubicBezTo>
                <a:cubicBezTo>
                  <a:pt x="2135" y="1602"/>
                  <a:pt x="2135" y="1603"/>
                  <a:pt x="2135" y="1603"/>
                </a:cubicBezTo>
                <a:cubicBezTo>
                  <a:pt x="2134" y="1603"/>
                  <a:pt x="2134" y="1603"/>
                  <a:pt x="2134" y="1603"/>
                </a:cubicBezTo>
                <a:cubicBezTo>
                  <a:pt x="2133" y="1602"/>
                  <a:pt x="2133" y="1602"/>
                  <a:pt x="2132" y="1601"/>
                </a:cubicBezTo>
                <a:cubicBezTo>
                  <a:pt x="2132" y="1601"/>
                  <a:pt x="2130" y="1600"/>
                  <a:pt x="2131" y="1600"/>
                </a:cubicBezTo>
                <a:cubicBezTo>
                  <a:pt x="2132" y="1600"/>
                  <a:pt x="2132" y="1600"/>
                  <a:pt x="2132" y="1599"/>
                </a:cubicBezTo>
                <a:cubicBezTo>
                  <a:pt x="2133" y="1599"/>
                  <a:pt x="2133" y="1598"/>
                  <a:pt x="2133" y="1598"/>
                </a:cubicBezTo>
                <a:cubicBezTo>
                  <a:pt x="2133" y="1597"/>
                  <a:pt x="2134" y="1596"/>
                  <a:pt x="2134" y="1596"/>
                </a:cubicBezTo>
                <a:cubicBezTo>
                  <a:pt x="2135" y="1595"/>
                  <a:pt x="2136" y="1594"/>
                  <a:pt x="2137" y="1594"/>
                </a:cubicBezTo>
                <a:cubicBezTo>
                  <a:pt x="2138" y="1593"/>
                  <a:pt x="2139" y="1592"/>
                  <a:pt x="2140" y="1592"/>
                </a:cubicBezTo>
                <a:cubicBezTo>
                  <a:pt x="2142" y="1591"/>
                  <a:pt x="2144" y="1590"/>
                  <a:pt x="2145" y="1589"/>
                </a:cubicBezTo>
                <a:cubicBezTo>
                  <a:pt x="2147" y="1588"/>
                  <a:pt x="2149" y="1588"/>
                  <a:pt x="2151" y="1587"/>
                </a:cubicBezTo>
                <a:cubicBezTo>
                  <a:pt x="2152" y="1587"/>
                  <a:pt x="2153" y="1586"/>
                  <a:pt x="2154" y="1586"/>
                </a:cubicBezTo>
                <a:cubicBezTo>
                  <a:pt x="2155" y="1585"/>
                  <a:pt x="2157" y="1585"/>
                  <a:pt x="2158" y="1585"/>
                </a:cubicBezTo>
                <a:cubicBezTo>
                  <a:pt x="2159" y="1584"/>
                  <a:pt x="2160" y="1583"/>
                  <a:pt x="2161" y="1582"/>
                </a:cubicBezTo>
                <a:cubicBezTo>
                  <a:pt x="2161" y="1582"/>
                  <a:pt x="2162" y="1581"/>
                  <a:pt x="2162" y="1580"/>
                </a:cubicBezTo>
                <a:cubicBezTo>
                  <a:pt x="2163" y="1580"/>
                  <a:pt x="2164" y="1579"/>
                  <a:pt x="2164" y="1578"/>
                </a:cubicBezTo>
                <a:cubicBezTo>
                  <a:pt x="2164" y="1578"/>
                  <a:pt x="2164" y="1577"/>
                  <a:pt x="2165" y="1576"/>
                </a:cubicBezTo>
                <a:cubicBezTo>
                  <a:pt x="2165" y="1576"/>
                  <a:pt x="2165" y="1575"/>
                  <a:pt x="2165" y="1575"/>
                </a:cubicBezTo>
                <a:cubicBezTo>
                  <a:pt x="2165" y="1574"/>
                  <a:pt x="2165" y="1574"/>
                  <a:pt x="2165" y="1574"/>
                </a:cubicBezTo>
                <a:cubicBezTo>
                  <a:pt x="2165" y="1573"/>
                  <a:pt x="2165" y="1573"/>
                  <a:pt x="2165" y="1573"/>
                </a:cubicBezTo>
                <a:cubicBezTo>
                  <a:pt x="2164" y="1574"/>
                  <a:pt x="2164" y="1575"/>
                  <a:pt x="2163" y="1574"/>
                </a:cubicBezTo>
                <a:cubicBezTo>
                  <a:pt x="2163" y="1574"/>
                  <a:pt x="2163" y="1573"/>
                  <a:pt x="2164" y="1573"/>
                </a:cubicBezTo>
                <a:cubicBezTo>
                  <a:pt x="2164" y="1573"/>
                  <a:pt x="2164" y="1573"/>
                  <a:pt x="2164" y="1572"/>
                </a:cubicBezTo>
                <a:cubicBezTo>
                  <a:pt x="2164" y="1571"/>
                  <a:pt x="2164" y="1570"/>
                  <a:pt x="2164" y="1569"/>
                </a:cubicBezTo>
                <a:cubicBezTo>
                  <a:pt x="2164" y="1568"/>
                  <a:pt x="2164" y="1567"/>
                  <a:pt x="2164" y="1567"/>
                </a:cubicBezTo>
                <a:cubicBezTo>
                  <a:pt x="2164" y="1566"/>
                  <a:pt x="2164" y="1566"/>
                  <a:pt x="2164" y="1565"/>
                </a:cubicBezTo>
                <a:cubicBezTo>
                  <a:pt x="2165" y="1565"/>
                  <a:pt x="2165" y="1565"/>
                  <a:pt x="2165" y="1564"/>
                </a:cubicBezTo>
                <a:cubicBezTo>
                  <a:pt x="2165" y="1564"/>
                  <a:pt x="2165" y="1564"/>
                  <a:pt x="2165" y="1563"/>
                </a:cubicBezTo>
                <a:cubicBezTo>
                  <a:pt x="2165" y="1562"/>
                  <a:pt x="2165" y="1562"/>
                  <a:pt x="2165" y="1561"/>
                </a:cubicBezTo>
                <a:cubicBezTo>
                  <a:pt x="2165" y="1560"/>
                  <a:pt x="2165" y="1559"/>
                  <a:pt x="2165" y="1558"/>
                </a:cubicBezTo>
                <a:cubicBezTo>
                  <a:pt x="2165" y="1558"/>
                  <a:pt x="2165" y="1557"/>
                  <a:pt x="2165" y="1556"/>
                </a:cubicBezTo>
                <a:cubicBezTo>
                  <a:pt x="2165" y="1556"/>
                  <a:pt x="2165" y="1555"/>
                  <a:pt x="2165" y="1555"/>
                </a:cubicBezTo>
                <a:cubicBezTo>
                  <a:pt x="2165" y="1554"/>
                  <a:pt x="2165" y="1553"/>
                  <a:pt x="2165" y="1553"/>
                </a:cubicBezTo>
                <a:cubicBezTo>
                  <a:pt x="2164" y="1553"/>
                  <a:pt x="2164" y="1554"/>
                  <a:pt x="2163" y="1554"/>
                </a:cubicBezTo>
                <a:cubicBezTo>
                  <a:pt x="2163" y="1553"/>
                  <a:pt x="2164" y="1552"/>
                  <a:pt x="2163" y="1552"/>
                </a:cubicBezTo>
                <a:cubicBezTo>
                  <a:pt x="2163" y="1551"/>
                  <a:pt x="2163" y="1551"/>
                  <a:pt x="2163" y="1550"/>
                </a:cubicBezTo>
                <a:cubicBezTo>
                  <a:pt x="2163" y="1550"/>
                  <a:pt x="2163" y="1549"/>
                  <a:pt x="2162" y="1549"/>
                </a:cubicBezTo>
                <a:cubicBezTo>
                  <a:pt x="2162" y="1548"/>
                  <a:pt x="2162" y="1547"/>
                  <a:pt x="2162" y="1547"/>
                </a:cubicBezTo>
                <a:cubicBezTo>
                  <a:pt x="2161" y="1545"/>
                  <a:pt x="2160" y="1544"/>
                  <a:pt x="2160" y="1543"/>
                </a:cubicBezTo>
                <a:cubicBezTo>
                  <a:pt x="2160" y="1542"/>
                  <a:pt x="2159" y="1542"/>
                  <a:pt x="2159" y="1541"/>
                </a:cubicBezTo>
                <a:cubicBezTo>
                  <a:pt x="2159" y="1541"/>
                  <a:pt x="2159" y="1541"/>
                  <a:pt x="2160" y="1540"/>
                </a:cubicBezTo>
                <a:cubicBezTo>
                  <a:pt x="2160" y="1540"/>
                  <a:pt x="2160" y="1540"/>
                  <a:pt x="2160" y="1540"/>
                </a:cubicBezTo>
                <a:cubicBezTo>
                  <a:pt x="2161" y="1539"/>
                  <a:pt x="2159" y="1538"/>
                  <a:pt x="2158" y="1537"/>
                </a:cubicBezTo>
                <a:cubicBezTo>
                  <a:pt x="2157" y="1536"/>
                  <a:pt x="2157" y="1536"/>
                  <a:pt x="2156" y="1535"/>
                </a:cubicBezTo>
                <a:cubicBezTo>
                  <a:pt x="2156" y="1534"/>
                  <a:pt x="2155" y="1534"/>
                  <a:pt x="2155" y="1533"/>
                </a:cubicBezTo>
                <a:cubicBezTo>
                  <a:pt x="2155" y="1532"/>
                  <a:pt x="2155" y="1532"/>
                  <a:pt x="2155" y="1532"/>
                </a:cubicBezTo>
                <a:cubicBezTo>
                  <a:pt x="2155" y="1531"/>
                  <a:pt x="2155" y="1531"/>
                  <a:pt x="2155" y="1530"/>
                </a:cubicBezTo>
                <a:cubicBezTo>
                  <a:pt x="2156" y="1530"/>
                  <a:pt x="2156" y="1530"/>
                  <a:pt x="2156" y="1530"/>
                </a:cubicBezTo>
                <a:cubicBezTo>
                  <a:pt x="2157" y="1530"/>
                  <a:pt x="2157" y="1529"/>
                  <a:pt x="2157" y="1529"/>
                </a:cubicBezTo>
                <a:cubicBezTo>
                  <a:pt x="2157" y="1528"/>
                  <a:pt x="2157" y="1528"/>
                  <a:pt x="2156" y="1527"/>
                </a:cubicBezTo>
                <a:cubicBezTo>
                  <a:pt x="2156" y="1526"/>
                  <a:pt x="2156" y="1526"/>
                  <a:pt x="2156" y="1525"/>
                </a:cubicBezTo>
                <a:cubicBezTo>
                  <a:pt x="2156" y="1525"/>
                  <a:pt x="2155" y="1525"/>
                  <a:pt x="2155" y="1524"/>
                </a:cubicBezTo>
                <a:cubicBezTo>
                  <a:pt x="2155" y="1524"/>
                  <a:pt x="2155" y="1524"/>
                  <a:pt x="2156" y="1524"/>
                </a:cubicBezTo>
                <a:cubicBezTo>
                  <a:pt x="2156" y="1525"/>
                  <a:pt x="2156" y="1525"/>
                  <a:pt x="2156" y="1525"/>
                </a:cubicBezTo>
                <a:cubicBezTo>
                  <a:pt x="2157" y="1525"/>
                  <a:pt x="2158" y="1526"/>
                  <a:pt x="2158" y="1526"/>
                </a:cubicBezTo>
                <a:cubicBezTo>
                  <a:pt x="2159" y="1526"/>
                  <a:pt x="2160" y="1525"/>
                  <a:pt x="2160" y="1525"/>
                </a:cubicBezTo>
                <a:cubicBezTo>
                  <a:pt x="2161" y="1524"/>
                  <a:pt x="2163" y="1523"/>
                  <a:pt x="2163" y="1522"/>
                </a:cubicBezTo>
                <a:cubicBezTo>
                  <a:pt x="2164" y="1522"/>
                  <a:pt x="2164" y="1521"/>
                  <a:pt x="2165" y="1520"/>
                </a:cubicBezTo>
                <a:cubicBezTo>
                  <a:pt x="2165" y="1520"/>
                  <a:pt x="2166" y="1519"/>
                  <a:pt x="2167" y="1518"/>
                </a:cubicBezTo>
                <a:cubicBezTo>
                  <a:pt x="2167" y="1518"/>
                  <a:pt x="2167" y="1517"/>
                  <a:pt x="2168" y="1517"/>
                </a:cubicBezTo>
                <a:cubicBezTo>
                  <a:pt x="2168" y="1517"/>
                  <a:pt x="2168" y="1517"/>
                  <a:pt x="2169" y="1516"/>
                </a:cubicBezTo>
                <a:cubicBezTo>
                  <a:pt x="2169" y="1516"/>
                  <a:pt x="2169" y="1516"/>
                  <a:pt x="2170" y="1515"/>
                </a:cubicBezTo>
                <a:cubicBezTo>
                  <a:pt x="2170" y="1515"/>
                  <a:pt x="2171" y="1514"/>
                  <a:pt x="2172" y="1514"/>
                </a:cubicBezTo>
                <a:cubicBezTo>
                  <a:pt x="2172" y="1514"/>
                  <a:pt x="2173" y="1515"/>
                  <a:pt x="2173" y="1515"/>
                </a:cubicBezTo>
                <a:cubicBezTo>
                  <a:pt x="2173" y="1515"/>
                  <a:pt x="2173" y="1514"/>
                  <a:pt x="2174" y="1514"/>
                </a:cubicBezTo>
                <a:cubicBezTo>
                  <a:pt x="2174" y="1514"/>
                  <a:pt x="2174" y="1514"/>
                  <a:pt x="2175" y="1513"/>
                </a:cubicBezTo>
                <a:cubicBezTo>
                  <a:pt x="2175" y="1513"/>
                  <a:pt x="2175" y="1513"/>
                  <a:pt x="2176" y="1512"/>
                </a:cubicBezTo>
                <a:cubicBezTo>
                  <a:pt x="2176" y="1512"/>
                  <a:pt x="2176" y="1511"/>
                  <a:pt x="2177" y="1511"/>
                </a:cubicBezTo>
                <a:cubicBezTo>
                  <a:pt x="2177" y="1510"/>
                  <a:pt x="2178" y="1509"/>
                  <a:pt x="2179" y="1509"/>
                </a:cubicBezTo>
                <a:cubicBezTo>
                  <a:pt x="2179" y="1508"/>
                  <a:pt x="2180" y="1508"/>
                  <a:pt x="2180" y="1507"/>
                </a:cubicBezTo>
                <a:cubicBezTo>
                  <a:pt x="2181" y="1507"/>
                  <a:pt x="2181" y="1506"/>
                  <a:pt x="2182" y="1505"/>
                </a:cubicBezTo>
                <a:cubicBezTo>
                  <a:pt x="2182" y="1504"/>
                  <a:pt x="2181" y="1505"/>
                  <a:pt x="2181" y="1504"/>
                </a:cubicBezTo>
                <a:cubicBezTo>
                  <a:pt x="2180" y="1503"/>
                  <a:pt x="2183" y="1503"/>
                  <a:pt x="2183" y="1503"/>
                </a:cubicBezTo>
                <a:cubicBezTo>
                  <a:pt x="2184" y="1502"/>
                  <a:pt x="2184" y="1502"/>
                  <a:pt x="2185" y="1502"/>
                </a:cubicBezTo>
                <a:cubicBezTo>
                  <a:pt x="2186" y="1501"/>
                  <a:pt x="2186" y="1500"/>
                  <a:pt x="2187" y="1500"/>
                </a:cubicBezTo>
                <a:cubicBezTo>
                  <a:pt x="2188" y="1499"/>
                  <a:pt x="2189" y="1499"/>
                  <a:pt x="2190" y="1499"/>
                </a:cubicBezTo>
                <a:cubicBezTo>
                  <a:pt x="2191" y="1498"/>
                  <a:pt x="2191" y="1498"/>
                  <a:pt x="2192" y="1497"/>
                </a:cubicBezTo>
                <a:cubicBezTo>
                  <a:pt x="2193" y="1497"/>
                  <a:pt x="2194" y="1497"/>
                  <a:pt x="2194" y="1496"/>
                </a:cubicBezTo>
                <a:cubicBezTo>
                  <a:pt x="2195" y="1496"/>
                  <a:pt x="2195" y="1495"/>
                  <a:pt x="2195" y="1495"/>
                </a:cubicBezTo>
                <a:cubicBezTo>
                  <a:pt x="2195" y="1494"/>
                  <a:pt x="2196" y="1494"/>
                  <a:pt x="2196" y="1494"/>
                </a:cubicBezTo>
                <a:cubicBezTo>
                  <a:pt x="2197" y="1494"/>
                  <a:pt x="2198" y="1494"/>
                  <a:pt x="2199" y="1494"/>
                </a:cubicBezTo>
                <a:cubicBezTo>
                  <a:pt x="2201" y="1493"/>
                  <a:pt x="2203" y="1492"/>
                  <a:pt x="2205" y="1491"/>
                </a:cubicBezTo>
                <a:cubicBezTo>
                  <a:pt x="2207" y="1491"/>
                  <a:pt x="2208" y="1490"/>
                  <a:pt x="2209" y="1489"/>
                </a:cubicBezTo>
                <a:cubicBezTo>
                  <a:pt x="2210" y="1489"/>
                  <a:pt x="2210" y="1489"/>
                  <a:pt x="2211" y="1488"/>
                </a:cubicBezTo>
                <a:cubicBezTo>
                  <a:pt x="2212" y="1488"/>
                  <a:pt x="2212" y="1487"/>
                  <a:pt x="2213" y="1487"/>
                </a:cubicBezTo>
                <a:cubicBezTo>
                  <a:pt x="2214" y="1486"/>
                  <a:pt x="2214" y="1485"/>
                  <a:pt x="2215" y="1485"/>
                </a:cubicBezTo>
                <a:cubicBezTo>
                  <a:pt x="2215" y="1484"/>
                  <a:pt x="2216" y="1484"/>
                  <a:pt x="2216" y="1484"/>
                </a:cubicBezTo>
                <a:cubicBezTo>
                  <a:pt x="2216" y="1483"/>
                  <a:pt x="2217" y="1483"/>
                  <a:pt x="2217" y="1483"/>
                </a:cubicBezTo>
                <a:cubicBezTo>
                  <a:pt x="2218" y="1481"/>
                  <a:pt x="2219" y="1479"/>
                  <a:pt x="2220" y="1477"/>
                </a:cubicBezTo>
                <a:cubicBezTo>
                  <a:pt x="2221" y="1476"/>
                  <a:pt x="2222" y="1475"/>
                  <a:pt x="2222" y="1474"/>
                </a:cubicBezTo>
                <a:cubicBezTo>
                  <a:pt x="2223" y="1473"/>
                  <a:pt x="2223" y="1472"/>
                  <a:pt x="2224" y="1472"/>
                </a:cubicBezTo>
                <a:cubicBezTo>
                  <a:pt x="2224" y="1471"/>
                  <a:pt x="2225" y="1470"/>
                  <a:pt x="2224" y="1469"/>
                </a:cubicBezTo>
                <a:cubicBezTo>
                  <a:pt x="2224" y="1469"/>
                  <a:pt x="2224" y="1468"/>
                  <a:pt x="2224" y="1468"/>
                </a:cubicBezTo>
                <a:cubicBezTo>
                  <a:pt x="2224" y="1467"/>
                  <a:pt x="2225" y="1467"/>
                  <a:pt x="2225" y="1467"/>
                </a:cubicBezTo>
                <a:cubicBezTo>
                  <a:pt x="2226" y="1466"/>
                  <a:pt x="2226" y="1465"/>
                  <a:pt x="2226" y="1465"/>
                </a:cubicBezTo>
                <a:cubicBezTo>
                  <a:pt x="2226" y="1464"/>
                  <a:pt x="2226" y="1464"/>
                  <a:pt x="2226" y="1464"/>
                </a:cubicBezTo>
                <a:cubicBezTo>
                  <a:pt x="2226" y="1463"/>
                  <a:pt x="2226" y="1463"/>
                  <a:pt x="2225" y="1463"/>
                </a:cubicBezTo>
                <a:cubicBezTo>
                  <a:pt x="2225" y="1463"/>
                  <a:pt x="2225" y="1462"/>
                  <a:pt x="2225" y="1462"/>
                </a:cubicBezTo>
                <a:cubicBezTo>
                  <a:pt x="2225" y="1462"/>
                  <a:pt x="2225" y="1462"/>
                  <a:pt x="2224" y="1462"/>
                </a:cubicBezTo>
                <a:cubicBezTo>
                  <a:pt x="2224" y="1463"/>
                  <a:pt x="2224" y="1462"/>
                  <a:pt x="2224" y="1462"/>
                </a:cubicBezTo>
                <a:cubicBezTo>
                  <a:pt x="2225" y="1461"/>
                  <a:pt x="2224" y="1460"/>
                  <a:pt x="2224" y="1460"/>
                </a:cubicBezTo>
                <a:cubicBezTo>
                  <a:pt x="2224" y="1460"/>
                  <a:pt x="2224" y="1459"/>
                  <a:pt x="2223" y="1460"/>
                </a:cubicBezTo>
                <a:cubicBezTo>
                  <a:pt x="2223" y="1460"/>
                  <a:pt x="2223" y="1460"/>
                  <a:pt x="2223" y="1460"/>
                </a:cubicBezTo>
                <a:cubicBezTo>
                  <a:pt x="2223" y="1460"/>
                  <a:pt x="2223" y="1458"/>
                  <a:pt x="2223" y="1457"/>
                </a:cubicBezTo>
                <a:cubicBezTo>
                  <a:pt x="2223" y="1457"/>
                  <a:pt x="2223" y="1457"/>
                  <a:pt x="2223" y="1456"/>
                </a:cubicBezTo>
                <a:cubicBezTo>
                  <a:pt x="2223" y="1456"/>
                  <a:pt x="2223" y="1456"/>
                  <a:pt x="2223" y="1455"/>
                </a:cubicBezTo>
                <a:cubicBezTo>
                  <a:pt x="2222" y="1455"/>
                  <a:pt x="2223" y="1455"/>
                  <a:pt x="2222" y="1454"/>
                </a:cubicBezTo>
                <a:cubicBezTo>
                  <a:pt x="2222" y="1454"/>
                  <a:pt x="2222" y="1453"/>
                  <a:pt x="2222" y="1453"/>
                </a:cubicBezTo>
                <a:cubicBezTo>
                  <a:pt x="2222" y="1452"/>
                  <a:pt x="2222" y="1452"/>
                  <a:pt x="2222" y="1452"/>
                </a:cubicBezTo>
                <a:cubicBezTo>
                  <a:pt x="2222" y="1451"/>
                  <a:pt x="2222" y="1450"/>
                  <a:pt x="2222" y="1449"/>
                </a:cubicBezTo>
                <a:cubicBezTo>
                  <a:pt x="2223" y="1448"/>
                  <a:pt x="2222" y="1448"/>
                  <a:pt x="2223" y="1447"/>
                </a:cubicBezTo>
                <a:cubicBezTo>
                  <a:pt x="2223" y="1447"/>
                  <a:pt x="2223" y="1446"/>
                  <a:pt x="2222" y="1446"/>
                </a:cubicBezTo>
                <a:cubicBezTo>
                  <a:pt x="2222" y="1445"/>
                  <a:pt x="2221" y="1445"/>
                  <a:pt x="2222" y="1445"/>
                </a:cubicBezTo>
                <a:cubicBezTo>
                  <a:pt x="2222" y="1444"/>
                  <a:pt x="2222" y="1444"/>
                  <a:pt x="2222" y="1444"/>
                </a:cubicBezTo>
                <a:cubicBezTo>
                  <a:pt x="2222" y="1444"/>
                  <a:pt x="2223" y="1443"/>
                  <a:pt x="2223" y="1443"/>
                </a:cubicBezTo>
                <a:cubicBezTo>
                  <a:pt x="2223" y="1443"/>
                  <a:pt x="2223" y="1442"/>
                  <a:pt x="2223" y="1441"/>
                </a:cubicBezTo>
                <a:cubicBezTo>
                  <a:pt x="2223" y="1441"/>
                  <a:pt x="2223" y="1440"/>
                  <a:pt x="2223" y="1440"/>
                </a:cubicBezTo>
                <a:cubicBezTo>
                  <a:pt x="2223" y="1439"/>
                  <a:pt x="2223" y="1438"/>
                  <a:pt x="2223" y="1437"/>
                </a:cubicBezTo>
                <a:cubicBezTo>
                  <a:pt x="2223" y="1437"/>
                  <a:pt x="2222" y="1436"/>
                  <a:pt x="2222" y="1436"/>
                </a:cubicBezTo>
                <a:cubicBezTo>
                  <a:pt x="2222" y="1434"/>
                  <a:pt x="2222" y="1433"/>
                  <a:pt x="2222" y="1431"/>
                </a:cubicBezTo>
                <a:cubicBezTo>
                  <a:pt x="2222" y="1430"/>
                  <a:pt x="2222" y="1429"/>
                  <a:pt x="2222" y="1429"/>
                </a:cubicBezTo>
                <a:cubicBezTo>
                  <a:pt x="2221" y="1428"/>
                  <a:pt x="2221" y="1427"/>
                  <a:pt x="2221" y="1426"/>
                </a:cubicBezTo>
                <a:cubicBezTo>
                  <a:pt x="2221" y="1425"/>
                  <a:pt x="2221" y="1425"/>
                  <a:pt x="2222" y="1424"/>
                </a:cubicBezTo>
                <a:cubicBezTo>
                  <a:pt x="2222" y="1423"/>
                  <a:pt x="2222" y="1423"/>
                  <a:pt x="2222" y="1422"/>
                </a:cubicBezTo>
                <a:cubicBezTo>
                  <a:pt x="2223" y="1422"/>
                  <a:pt x="2223" y="1421"/>
                  <a:pt x="2222" y="1421"/>
                </a:cubicBezTo>
                <a:cubicBezTo>
                  <a:pt x="2222" y="1420"/>
                  <a:pt x="2222" y="1420"/>
                  <a:pt x="2222" y="1420"/>
                </a:cubicBezTo>
                <a:cubicBezTo>
                  <a:pt x="2222" y="1419"/>
                  <a:pt x="2224" y="1419"/>
                  <a:pt x="2223" y="1418"/>
                </a:cubicBezTo>
                <a:cubicBezTo>
                  <a:pt x="2222" y="1418"/>
                  <a:pt x="2222" y="1418"/>
                  <a:pt x="2221" y="1417"/>
                </a:cubicBezTo>
                <a:cubicBezTo>
                  <a:pt x="2221" y="1417"/>
                  <a:pt x="2221" y="1416"/>
                  <a:pt x="2221" y="1416"/>
                </a:cubicBezTo>
                <a:cubicBezTo>
                  <a:pt x="2221" y="1415"/>
                  <a:pt x="2221" y="1415"/>
                  <a:pt x="2220" y="1415"/>
                </a:cubicBezTo>
                <a:cubicBezTo>
                  <a:pt x="2220" y="1414"/>
                  <a:pt x="2219" y="1413"/>
                  <a:pt x="2218" y="1413"/>
                </a:cubicBezTo>
                <a:cubicBezTo>
                  <a:pt x="2217" y="1413"/>
                  <a:pt x="2216" y="1414"/>
                  <a:pt x="2216" y="1413"/>
                </a:cubicBezTo>
                <a:cubicBezTo>
                  <a:pt x="2215" y="1412"/>
                  <a:pt x="2215" y="1411"/>
                  <a:pt x="2214" y="1411"/>
                </a:cubicBezTo>
                <a:cubicBezTo>
                  <a:pt x="2214" y="1411"/>
                  <a:pt x="2212" y="1412"/>
                  <a:pt x="2213" y="1411"/>
                </a:cubicBezTo>
                <a:cubicBezTo>
                  <a:pt x="2213" y="1410"/>
                  <a:pt x="2213" y="1410"/>
                  <a:pt x="2213" y="1409"/>
                </a:cubicBezTo>
                <a:cubicBezTo>
                  <a:pt x="2213" y="1409"/>
                  <a:pt x="2212" y="1409"/>
                  <a:pt x="2212" y="1408"/>
                </a:cubicBezTo>
                <a:cubicBezTo>
                  <a:pt x="2212" y="1407"/>
                  <a:pt x="2212" y="1407"/>
                  <a:pt x="2211" y="1406"/>
                </a:cubicBezTo>
                <a:cubicBezTo>
                  <a:pt x="2211" y="1405"/>
                  <a:pt x="2211" y="1405"/>
                  <a:pt x="2211" y="1404"/>
                </a:cubicBezTo>
                <a:cubicBezTo>
                  <a:pt x="2212" y="1402"/>
                  <a:pt x="2211" y="1401"/>
                  <a:pt x="2210" y="1400"/>
                </a:cubicBezTo>
                <a:cubicBezTo>
                  <a:pt x="2209" y="1399"/>
                  <a:pt x="2209" y="1398"/>
                  <a:pt x="2209" y="1398"/>
                </a:cubicBezTo>
                <a:cubicBezTo>
                  <a:pt x="2209" y="1397"/>
                  <a:pt x="2209" y="1396"/>
                  <a:pt x="2209" y="1395"/>
                </a:cubicBezTo>
                <a:cubicBezTo>
                  <a:pt x="2209" y="1394"/>
                  <a:pt x="2208" y="1393"/>
                  <a:pt x="2208" y="1392"/>
                </a:cubicBezTo>
                <a:cubicBezTo>
                  <a:pt x="2208" y="1390"/>
                  <a:pt x="2210" y="1388"/>
                  <a:pt x="2210" y="1387"/>
                </a:cubicBezTo>
                <a:cubicBezTo>
                  <a:pt x="2209" y="1386"/>
                  <a:pt x="2209" y="1385"/>
                  <a:pt x="2209" y="1384"/>
                </a:cubicBezTo>
                <a:cubicBezTo>
                  <a:pt x="2208" y="1383"/>
                  <a:pt x="2208" y="1381"/>
                  <a:pt x="2209" y="1379"/>
                </a:cubicBezTo>
                <a:cubicBezTo>
                  <a:pt x="2210" y="1379"/>
                  <a:pt x="2210" y="1379"/>
                  <a:pt x="2210" y="1378"/>
                </a:cubicBezTo>
                <a:cubicBezTo>
                  <a:pt x="2210" y="1378"/>
                  <a:pt x="2211" y="1378"/>
                  <a:pt x="2211" y="1377"/>
                </a:cubicBezTo>
                <a:cubicBezTo>
                  <a:pt x="2211" y="1377"/>
                  <a:pt x="2211" y="1376"/>
                  <a:pt x="2210" y="1376"/>
                </a:cubicBezTo>
                <a:cubicBezTo>
                  <a:pt x="2210" y="1375"/>
                  <a:pt x="2210" y="1375"/>
                  <a:pt x="2210" y="1375"/>
                </a:cubicBezTo>
                <a:cubicBezTo>
                  <a:pt x="2209" y="1375"/>
                  <a:pt x="2209" y="1374"/>
                  <a:pt x="2209" y="1374"/>
                </a:cubicBezTo>
                <a:cubicBezTo>
                  <a:pt x="2208" y="1373"/>
                  <a:pt x="2208" y="1373"/>
                  <a:pt x="2207" y="1373"/>
                </a:cubicBezTo>
                <a:cubicBezTo>
                  <a:pt x="2206" y="1372"/>
                  <a:pt x="2206" y="1372"/>
                  <a:pt x="2205" y="1371"/>
                </a:cubicBezTo>
                <a:cubicBezTo>
                  <a:pt x="2205" y="1370"/>
                  <a:pt x="2203" y="1369"/>
                  <a:pt x="2203" y="1368"/>
                </a:cubicBezTo>
                <a:cubicBezTo>
                  <a:pt x="2202" y="1366"/>
                  <a:pt x="2203" y="1365"/>
                  <a:pt x="2203" y="1363"/>
                </a:cubicBezTo>
                <a:cubicBezTo>
                  <a:pt x="2203" y="1363"/>
                  <a:pt x="2203" y="1362"/>
                  <a:pt x="2203" y="1361"/>
                </a:cubicBezTo>
                <a:cubicBezTo>
                  <a:pt x="2204" y="1359"/>
                  <a:pt x="2205" y="1358"/>
                  <a:pt x="2205" y="1356"/>
                </a:cubicBezTo>
                <a:cubicBezTo>
                  <a:pt x="2205" y="1355"/>
                  <a:pt x="2206" y="1355"/>
                  <a:pt x="2206" y="1354"/>
                </a:cubicBezTo>
                <a:cubicBezTo>
                  <a:pt x="2206" y="1353"/>
                  <a:pt x="2206" y="1352"/>
                  <a:pt x="2207" y="1351"/>
                </a:cubicBezTo>
                <a:cubicBezTo>
                  <a:pt x="2207" y="1350"/>
                  <a:pt x="2208" y="1350"/>
                  <a:pt x="2209" y="1349"/>
                </a:cubicBezTo>
                <a:cubicBezTo>
                  <a:pt x="2210" y="1349"/>
                  <a:pt x="2210" y="1348"/>
                  <a:pt x="2211" y="1346"/>
                </a:cubicBezTo>
                <a:cubicBezTo>
                  <a:pt x="2211" y="1346"/>
                  <a:pt x="2211" y="1345"/>
                  <a:pt x="2212" y="1345"/>
                </a:cubicBezTo>
                <a:cubicBezTo>
                  <a:pt x="2212" y="1344"/>
                  <a:pt x="2212" y="1344"/>
                  <a:pt x="2212" y="1343"/>
                </a:cubicBezTo>
                <a:cubicBezTo>
                  <a:pt x="2212" y="1343"/>
                  <a:pt x="2212" y="1343"/>
                  <a:pt x="2212" y="1342"/>
                </a:cubicBezTo>
                <a:cubicBezTo>
                  <a:pt x="2212" y="1342"/>
                  <a:pt x="2213" y="1342"/>
                  <a:pt x="2214" y="1341"/>
                </a:cubicBezTo>
                <a:cubicBezTo>
                  <a:pt x="2214" y="1341"/>
                  <a:pt x="2214" y="1340"/>
                  <a:pt x="2214" y="1340"/>
                </a:cubicBezTo>
                <a:cubicBezTo>
                  <a:pt x="2215" y="1340"/>
                  <a:pt x="2215" y="1339"/>
                  <a:pt x="2215" y="1339"/>
                </a:cubicBezTo>
                <a:cubicBezTo>
                  <a:pt x="2214" y="1338"/>
                  <a:pt x="2213" y="1338"/>
                  <a:pt x="2214" y="1337"/>
                </a:cubicBezTo>
                <a:cubicBezTo>
                  <a:pt x="2214" y="1337"/>
                  <a:pt x="2215" y="1336"/>
                  <a:pt x="2215" y="1336"/>
                </a:cubicBezTo>
                <a:cubicBezTo>
                  <a:pt x="2215" y="1336"/>
                  <a:pt x="2216" y="1335"/>
                  <a:pt x="2216" y="1335"/>
                </a:cubicBezTo>
                <a:cubicBezTo>
                  <a:pt x="2217" y="1334"/>
                  <a:pt x="2217" y="1334"/>
                  <a:pt x="2218" y="1334"/>
                </a:cubicBezTo>
                <a:cubicBezTo>
                  <a:pt x="2219" y="1333"/>
                  <a:pt x="2218" y="1331"/>
                  <a:pt x="2219" y="1330"/>
                </a:cubicBezTo>
                <a:cubicBezTo>
                  <a:pt x="2219" y="1329"/>
                  <a:pt x="2219" y="1328"/>
                  <a:pt x="2220" y="1327"/>
                </a:cubicBezTo>
                <a:cubicBezTo>
                  <a:pt x="2220" y="1327"/>
                  <a:pt x="2221" y="1326"/>
                  <a:pt x="2222" y="1326"/>
                </a:cubicBezTo>
                <a:cubicBezTo>
                  <a:pt x="2223" y="1325"/>
                  <a:pt x="2223" y="1325"/>
                  <a:pt x="2224" y="1324"/>
                </a:cubicBezTo>
                <a:cubicBezTo>
                  <a:pt x="2225" y="1323"/>
                  <a:pt x="2225" y="1323"/>
                  <a:pt x="2226" y="1323"/>
                </a:cubicBezTo>
                <a:cubicBezTo>
                  <a:pt x="2227" y="1323"/>
                  <a:pt x="2227" y="1323"/>
                  <a:pt x="2227" y="1322"/>
                </a:cubicBezTo>
                <a:cubicBezTo>
                  <a:pt x="2228" y="1322"/>
                  <a:pt x="2228" y="1322"/>
                  <a:pt x="2228" y="1321"/>
                </a:cubicBezTo>
                <a:cubicBezTo>
                  <a:pt x="2229" y="1321"/>
                  <a:pt x="2230" y="1321"/>
                  <a:pt x="2229" y="1320"/>
                </a:cubicBezTo>
                <a:cubicBezTo>
                  <a:pt x="2229" y="1320"/>
                  <a:pt x="2228" y="1321"/>
                  <a:pt x="2228" y="1321"/>
                </a:cubicBezTo>
                <a:cubicBezTo>
                  <a:pt x="2228" y="1321"/>
                  <a:pt x="2227" y="1321"/>
                  <a:pt x="2227" y="1322"/>
                </a:cubicBezTo>
                <a:cubicBezTo>
                  <a:pt x="2227" y="1322"/>
                  <a:pt x="2227" y="1322"/>
                  <a:pt x="2227" y="1322"/>
                </a:cubicBezTo>
                <a:cubicBezTo>
                  <a:pt x="2227" y="1322"/>
                  <a:pt x="2227" y="1322"/>
                  <a:pt x="2227" y="1322"/>
                </a:cubicBezTo>
                <a:cubicBezTo>
                  <a:pt x="2227" y="1321"/>
                  <a:pt x="2227" y="1321"/>
                  <a:pt x="2227" y="1321"/>
                </a:cubicBezTo>
                <a:cubicBezTo>
                  <a:pt x="2226" y="1321"/>
                  <a:pt x="2226" y="1321"/>
                  <a:pt x="2226" y="1320"/>
                </a:cubicBezTo>
                <a:cubicBezTo>
                  <a:pt x="2226" y="1320"/>
                  <a:pt x="2226" y="1319"/>
                  <a:pt x="2227" y="1320"/>
                </a:cubicBezTo>
                <a:cubicBezTo>
                  <a:pt x="2227" y="1320"/>
                  <a:pt x="2227" y="1320"/>
                  <a:pt x="2228" y="1320"/>
                </a:cubicBezTo>
                <a:cubicBezTo>
                  <a:pt x="2228" y="1320"/>
                  <a:pt x="2228" y="1320"/>
                  <a:pt x="2229" y="1320"/>
                </a:cubicBezTo>
                <a:cubicBezTo>
                  <a:pt x="2229" y="1319"/>
                  <a:pt x="2229" y="1319"/>
                  <a:pt x="2230" y="1319"/>
                </a:cubicBezTo>
                <a:cubicBezTo>
                  <a:pt x="2230" y="1319"/>
                  <a:pt x="2231" y="1319"/>
                  <a:pt x="2231" y="1318"/>
                </a:cubicBezTo>
                <a:cubicBezTo>
                  <a:pt x="2232" y="1317"/>
                  <a:pt x="2233" y="1317"/>
                  <a:pt x="2233" y="1316"/>
                </a:cubicBezTo>
                <a:cubicBezTo>
                  <a:pt x="2234" y="1316"/>
                  <a:pt x="2234" y="1316"/>
                  <a:pt x="2234" y="1315"/>
                </a:cubicBezTo>
                <a:cubicBezTo>
                  <a:pt x="2234" y="1315"/>
                  <a:pt x="2234" y="1315"/>
                  <a:pt x="2234" y="1314"/>
                </a:cubicBezTo>
                <a:cubicBezTo>
                  <a:pt x="2235" y="1314"/>
                  <a:pt x="2235" y="1313"/>
                  <a:pt x="2236" y="1313"/>
                </a:cubicBezTo>
                <a:cubicBezTo>
                  <a:pt x="2236" y="1312"/>
                  <a:pt x="2236" y="1311"/>
                  <a:pt x="2237" y="1310"/>
                </a:cubicBezTo>
                <a:cubicBezTo>
                  <a:pt x="2237" y="1309"/>
                  <a:pt x="2238" y="1309"/>
                  <a:pt x="2239" y="1308"/>
                </a:cubicBezTo>
                <a:cubicBezTo>
                  <a:pt x="2239" y="1307"/>
                  <a:pt x="2240" y="1306"/>
                  <a:pt x="2241" y="1305"/>
                </a:cubicBezTo>
                <a:cubicBezTo>
                  <a:pt x="2242" y="1305"/>
                  <a:pt x="2242" y="1304"/>
                  <a:pt x="2243" y="1304"/>
                </a:cubicBezTo>
                <a:cubicBezTo>
                  <a:pt x="2244" y="1303"/>
                  <a:pt x="2244" y="1302"/>
                  <a:pt x="2245" y="1301"/>
                </a:cubicBezTo>
                <a:cubicBezTo>
                  <a:pt x="2246" y="1301"/>
                  <a:pt x="2246" y="1300"/>
                  <a:pt x="2247" y="1300"/>
                </a:cubicBezTo>
                <a:cubicBezTo>
                  <a:pt x="2247" y="1299"/>
                  <a:pt x="2248" y="1299"/>
                  <a:pt x="2248" y="1299"/>
                </a:cubicBezTo>
                <a:cubicBezTo>
                  <a:pt x="2248" y="1298"/>
                  <a:pt x="2248" y="1298"/>
                  <a:pt x="2249" y="1297"/>
                </a:cubicBezTo>
                <a:cubicBezTo>
                  <a:pt x="2250" y="1296"/>
                  <a:pt x="2251" y="1295"/>
                  <a:pt x="2252" y="1294"/>
                </a:cubicBezTo>
                <a:cubicBezTo>
                  <a:pt x="2253" y="1293"/>
                  <a:pt x="2253" y="1292"/>
                  <a:pt x="2254" y="1291"/>
                </a:cubicBezTo>
                <a:cubicBezTo>
                  <a:pt x="2255" y="1291"/>
                  <a:pt x="2255" y="1291"/>
                  <a:pt x="2256" y="1290"/>
                </a:cubicBezTo>
                <a:cubicBezTo>
                  <a:pt x="2256" y="1290"/>
                  <a:pt x="2257" y="1289"/>
                  <a:pt x="2257" y="1289"/>
                </a:cubicBezTo>
                <a:cubicBezTo>
                  <a:pt x="2258" y="1288"/>
                  <a:pt x="2258" y="1288"/>
                  <a:pt x="2258" y="1288"/>
                </a:cubicBezTo>
                <a:cubicBezTo>
                  <a:pt x="2259" y="1287"/>
                  <a:pt x="2260" y="1287"/>
                  <a:pt x="2261" y="1286"/>
                </a:cubicBezTo>
                <a:cubicBezTo>
                  <a:pt x="2262" y="1285"/>
                  <a:pt x="2263" y="1284"/>
                  <a:pt x="2263" y="1284"/>
                </a:cubicBezTo>
                <a:cubicBezTo>
                  <a:pt x="2264" y="1283"/>
                  <a:pt x="2265" y="1283"/>
                  <a:pt x="2266" y="1282"/>
                </a:cubicBezTo>
                <a:cubicBezTo>
                  <a:pt x="2267" y="1281"/>
                  <a:pt x="2268" y="1280"/>
                  <a:pt x="2269" y="1280"/>
                </a:cubicBezTo>
                <a:cubicBezTo>
                  <a:pt x="2269" y="1279"/>
                  <a:pt x="2270" y="1278"/>
                  <a:pt x="2271" y="1278"/>
                </a:cubicBezTo>
                <a:cubicBezTo>
                  <a:pt x="2273" y="1276"/>
                  <a:pt x="2275" y="1275"/>
                  <a:pt x="2277" y="1274"/>
                </a:cubicBezTo>
                <a:cubicBezTo>
                  <a:pt x="2278" y="1273"/>
                  <a:pt x="2279" y="1273"/>
                  <a:pt x="2280" y="1272"/>
                </a:cubicBezTo>
                <a:cubicBezTo>
                  <a:pt x="2280" y="1271"/>
                  <a:pt x="2281" y="1271"/>
                  <a:pt x="2282" y="1270"/>
                </a:cubicBezTo>
                <a:cubicBezTo>
                  <a:pt x="2284" y="1268"/>
                  <a:pt x="2286" y="1266"/>
                  <a:pt x="2288" y="1265"/>
                </a:cubicBezTo>
                <a:cubicBezTo>
                  <a:pt x="2289" y="1264"/>
                  <a:pt x="2289" y="1264"/>
                  <a:pt x="2290" y="1263"/>
                </a:cubicBezTo>
                <a:cubicBezTo>
                  <a:pt x="2290" y="1263"/>
                  <a:pt x="2291" y="1262"/>
                  <a:pt x="2292" y="1262"/>
                </a:cubicBezTo>
                <a:cubicBezTo>
                  <a:pt x="2292" y="1261"/>
                  <a:pt x="2293" y="1260"/>
                  <a:pt x="2293" y="1260"/>
                </a:cubicBezTo>
                <a:cubicBezTo>
                  <a:pt x="2294" y="1259"/>
                  <a:pt x="2295" y="1258"/>
                  <a:pt x="2296" y="1258"/>
                </a:cubicBezTo>
                <a:cubicBezTo>
                  <a:pt x="2297" y="1257"/>
                  <a:pt x="2298" y="1256"/>
                  <a:pt x="2298" y="1255"/>
                </a:cubicBezTo>
                <a:cubicBezTo>
                  <a:pt x="2300" y="1254"/>
                  <a:pt x="2301" y="1252"/>
                  <a:pt x="2302" y="1251"/>
                </a:cubicBezTo>
                <a:cubicBezTo>
                  <a:pt x="2304" y="1249"/>
                  <a:pt x="2306" y="1248"/>
                  <a:pt x="2307" y="1246"/>
                </a:cubicBezTo>
                <a:cubicBezTo>
                  <a:pt x="2307" y="1245"/>
                  <a:pt x="2308" y="1245"/>
                  <a:pt x="2309" y="1244"/>
                </a:cubicBezTo>
                <a:cubicBezTo>
                  <a:pt x="2309" y="1243"/>
                  <a:pt x="2309" y="1242"/>
                  <a:pt x="2310" y="1241"/>
                </a:cubicBezTo>
                <a:cubicBezTo>
                  <a:pt x="2312" y="1239"/>
                  <a:pt x="2313" y="1237"/>
                  <a:pt x="2314" y="1235"/>
                </a:cubicBezTo>
                <a:cubicBezTo>
                  <a:pt x="2315" y="1234"/>
                  <a:pt x="2315" y="1233"/>
                  <a:pt x="2316" y="1232"/>
                </a:cubicBezTo>
                <a:cubicBezTo>
                  <a:pt x="2316" y="1231"/>
                  <a:pt x="2317" y="1230"/>
                  <a:pt x="2318" y="1229"/>
                </a:cubicBezTo>
                <a:cubicBezTo>
                  <a:pt x="2319" y="1228"/>
                  <a:pt x="2320" y="1226"/>
                  <a:pt x="2320" y="1225"/>
                </a:cubicBezTo>
                <a:cubicBezTo>
                  <a:pt x="2321" y="1223"/>
                  <a:pt x="2321" y="1222"/>
                  <a:pt x="2322" y="1221"/>
                </a:cubicBezTo>
                <a:cubicBezTo>
                  <a:pt x="2322" y="1220"/>
                  <a:pt x="2323" y="1219"/>
                  <a:pt x="2323" y="1218"/>
                </a:cubicBezTo>
                <a:cubicBezTo>
                  <a:pt x="2324" y="1217"/>
                  <a:pt x="2324" y="1216"/>
                  <a:pt x="2325" y="1215"/>
                </a:cubicBezTo>
                <a:cubicBezTo>
                  <a:pt x="2326" y="1213"/>
                  <a:pt x="2327" y="1211"/>
                  <a:pt x="2327" y="1209"/>
                </a:cubicBezTo>
                <a:cubicBezTo>
                  <a:pt x="2328" y="1208"/>
                  <a:pt x="2328" y="1207"/>
                  <a:pt x="2328" y="1206"/>
                </a:cubicBezTo>
                <a:cubicBezTo>
                  <a:pt x="2328" y="1206"/>
                  <a:pt x="2329" y="1205"/>
                  <a:pt x="2329" y="1204"/>
                </a:cubicBezTo>
                <a:cubicBezTo>
                  <a:pt x="2330" y="1204"/>
                  <a:pt x="2331" y="1203"/>
                  <a:pt x="2331" y="1203"/>
                </a:cubicBezTo>
                <a:cubicBezTo>
                  <a:pt x="2332" y="1202"/>
                  <a:pt x="2333" y="1201"/>
                  <a:pt x="2333" y="1201"/>
                </a:cubicBezTo>
                <a:cubicBezTo>
                  <a:pt x="2333" y="1200"/>
                  <a:pt x="2334" y="1200"/>
                  <a:pt x="2334" y="1199"/>
                </a:cubicBezTo>
                <a:cubicBezTo>
                  <a:pt x="2335" y="1198"/>
                  <a:pt x="2335" y="1197"/>
                  <a:pt x="2335" y="1196"/>
                </a:cubicBezTo>
                <a:cubicBezTo>
                  <a:pt x="2337" y="1194"/>
                  <a:pt x="2338" y="1192"/>
                  <a:pt x="2339" y="1190"/>
                </a:cubicBezTo>
                <a:cubicBezTo>
                  <a:pt x="2339" y="1190"/>
                  <a:pt x="2340" y="1189"/>
                  <a:pt x="2340" y="1188"/>
                </a:cubicBezTo>
                <a:cubicBezTo>
                  <a:pt x="2340" y="1187"/>
                  <a:pt x="2340" y="1186"/>
                  <a:pt x="2340" y="1185"/>
                </a:cubicBezTo>
                <a:cubicBezTo>
                  <a:pt x="2340" y="1183"/>
                  <a:pt x="2340" y="1182"/>
                  <a:pt x="2340" y="1180"/>
                </a:cubicBezTo>
                <a:cubicBezTo>
                  <a:pt x="2341" y="1179"/>
                  <a:pt x="2342" y="1178"/>
                  <a:pt x="2343" y="1178"/>
                </a:cubicBezTo>
                <a:cubicBezTo>
                  <a:pt x="2344" y="1178"/>
                  <a:pt x="2346" y="1178"/>
                  <a:pt x="2346" y="1177"/>
                </a:cubicBezTo>
                <a:cubicBezTo>
                  <a:pt x="2346" y="1177"/>
                  <a:pt x="2346" y="1177"/>
                  <a:pt x="2345" y="1177"/>
                </a:cubicBezTo>
                <a:cubicBezTo>
                  <a:pt x="2345" y="1177"/>
                  <a:pt x="2345" y="1176"/>
                  <a:pt x="2344" y="1176"/>
                </a:cubicBezTo>
                <a:cubicBezTo>
                  <a:pt x="2343" y="1176"/>
                  <a:pt x="2343" y="1176"/>
                  <a:pt x="2343" y="1175"/>
                </a:cubicBezTo>
                <a:cubicBezTo>
                  <a:pt x="2342" y="1174"/>
                  <a:pt x="2343" y="1174"/>
                  <a:pt x="2343" y="1173"/>
                </a:cubicBezTo>
                <a:cubicBezTo>
                  <a:pt x="2343" y="1173"/>
                  <a:pt x="2343" y="1172"/>
                  <a:pt x="2342" y="1172"/>
                </a:cubicBezTo>
                <a:cubicBezTo>
                  <a:pt x="2342" y="1171"/>
                  <a:pt x="2342" y="1171"/>
                  <a:pt x="2342" y="1171"/>
                </a:cubicBezTo>
                <a:cubicBezTo>
                  <a:pt x="2342" y="1170"/>
                  <a:pt x="2342" y="1169"/>
                  <a:pt x="2342" y="1168"/>
                </a:cubicBezTo>
                <a:cubicBezTo>
                  <a:pt x="2342" y="1167"/>
                  <a:pt x="2343" y="1166"/>
                  <a:pt x="2343" y="1165"/>
                </a:cubicBezTo>
                <a:cubicBezTo>
                  <a:pt x="2343" y="1165"/>
                  <a:pt x="2343" y="1164"/>
                  <a:pt x="2343" y="1164"/>
                </a:cubicBezTo>
                <a:cubicBezTo>
                  <a:pt x="2343" y="1163"/>
                  <a:pt x="2344" y="1163"/>
                  <a:pt x="2344" y="1162"/>
                </a:cubicBezTo>
                <a:cubicBezTo>
                  <a:pt x="2345" y="1162"/>
                  <a:pt x="2345" y="1161"/>
                  <a:pt x="2344" y="1161"/>
                </a:cubicBezTo>
                <a:cubicBezTo>
                  <a:pt x="2344" y="1161"/>
                  <a:pt x="2343" y="1161"/>
                  <a:pt x="2343" y="1161"/>
                </a:cubicBezTo>
                <a:cubicBezTo>
                  <a:pt x="2342" y="1160"/>
                  <a:pt x="2342" y="1160"/>
                  <a:pt x="2342" y="1160"/>
                </a:cubicBezTo>
                <a:cubicBezTo>
                  <a:pt x="2342" y="1160"/>
                  <a:pt x="2342" y="1160"/>
                  <a:pt x="2341" y="1160"/>
                </a:cubicBezTo>
                <a:cubicBezTo>
                  <a:pt x="2341" y="1160"/>
                  <a:pt x="2340" y="1159"/>
                  <a:pt x="2339" y="1159"/>
                </a:cubicBezTo>
                <a:cubicBezTo>
                  <a:pt x="2338" y="1159"/>
                  <a:pt x="2337" y="1160"/>
                  <a:pt x="2337" y="1160"/>
                </a:cubicBezTo>
                <a:cubicBezTo>
                  <a:pt x="2336" y="1161"/>
                  <a:pt x="2336" y="1162"/>
                  <a:pt x="2335" y="1163"/>
                </a:cubicBezTo>
                <a:cubicBezTo>
                  <a:pt x="2334" y="1163"/>
                  <a:pt x="2334" y="1163"/>
                  <a:pt x="2333" y="1163"/>
                </a:cubicBezTo>
                <a:cubicBezTo>
                  <a:pt x="2332" y="1163"/>
                  <a:pt x="2331" y="1164"/>
                  <a:pt x="2330" y="1164"/>
                </a:cubicBezTo>
                <a:cubicBezTo>
                  <a:pt x="2329" y="1164"/>
                  <a:pt x="2328" y="1164"/>
                  <a:pt x="2327" y="1165"/>
                </a:cubicBezTo>
                <a:cubicBezTo>
                  <a:pt x="2327" y="1165"/>
                  <a:pt x="2326" y="1165"/>
                  <a:pt x="2325" y="1166"/>
                </a:cubicBezTo>
                <a:cubicBezTo>
                  <a:pt x="2324" y="1166"/>
                  <a:pt x="2323" y="1166"/>
                  <a:pt x="2322" y="1166"/>
                </a:cubicBezTo>
                <a:cubicBezTo>
                  <a:pt x="2322" y="1166"/>
                  <a:pt x="2322" y="1167"/>
                  <a:pt x="2321" y="1167"/>
                </a:cubicBezTo>
                <a:cubicBezTo>
                  <a:pt x="2321" y="1167"/>
                  <a:pt x="2320" y="1167"/>
                  <a:pt x="2320" y="1167"/>
                </a:cubicBezTo>
                <a:cubicBezTo>
                  <a:pt x="2319" y="1167"/>
                  <a:pt x="2318" y="1168"/>
                  <a:pt x="2317" y="1168"/>
                </a:cubicBezTo>
                <a:cubicBezTo>
                  <a:pt x="2316" y="1168"/>
                  <a:pt x="2315" y="1168"/>
                  <a:pt x="2314" y="1168"/>
                </a:cubicBezTo>
                <a:cubicBezTo>
                  <a:pt x="2314" y="1168"/>
                  <a:pt x="2313" y="1168"/>
                  <a:pt x="2312" y="1168"/>
                </a:cubicBezTo>
                <a:cubicBezTo>
                  <a:pt x="2311" y="1168"/>
                  <a:pt x="2309" y="1168"/>
                  <a:pt x="2308" y="1168"/>
                </a:cubicBezTo>
                <a:cubicBezTo>
                  <a:pt x="2305" y="1168"/>
                  <a:pt x="2303" y="1168"/>
                  <a:pt x="2300" y="1169"/>
                </a:cubicBezTo>
                <a:cubicBezTo>
                  <a:pt x="2299" y="1169"/>
                  <a:pt x="2298" y="1170"/>
                  <a:pt x="2297" y="1171"/>
                </a:cubicBezTo>
                <a:cubicBezTo>
                  <a:pt x="2296" y="1171"/>
                  <a:pt x="2295" y="1172"/>
                  <a:pt x="2294" y="1173"/>
                </a:cubicBezTo>
                <a:cubicBezTo>
                  <a:pt x="2292" y="1173"/>
                  <a:pt x="2291" y="1175"/>
                  <a:pt x="2289" y="1174"/>
                </a:cubicBezTo>
                <a:cubicBezTo>
                  <a:pt x="2287" y="1174"/>
                  <a:pt x="2287" y="1173"/>
                  <a:pt x="2286" y="1173"/>
                </a:cubicBezTo>
                <a:cubicBezTo>
                  <a:pt x="2285" y="1173"/>
                  <a:pt x="2284" y="1173"/>
                  <a:pt x="2283" y="1173"/>
                </a:cubicBezTo>
                <a:cubicBezTo>
                  <a:pt x="2282" y="1173"/>
                  <a:pt x="2281" y="1174"/>
                  <a:pt x="2281" y="1174"/>
                </a:cubicBezTo>
                <a:cubicBezTo>
                  <a:pt x="2279" y="1174"/>
                  <a:pt x="2278" y="1175"/>
                  <a:pt x="2276" y="1176"/>
                </a:cubicBezTo>
                <a:cubicBezTo>
                  <a:pt x="2275" y="1177"/>
                  <a:pt x="2273" y="1177"/>
                  <a:pt x="2271" y="1178"/>
                </a:cubicBezTo>
                <a:cubicBezTo>
                  <a:pt x="2269" y="1178"/>
                  <a:pt x="2267" y="1178"/>
                  <a:pt x="2265" y="1177"/>
                </a:cubicBezTo>
                <a:cubicBezTo>
                  <a:pt x="2264" y="1177"/>
                  <a:pt x="2263" y="1176"/>
                  <a:pt x="2262" y="1175"/>
                </a:cubicBezTo>
                <a:cubicBezTo>
                  <a:pt x="2260" y="1174"/>
                  <a:pt x="2259" y="1172"/>
                  <a:pt x="2258" y="1171"/>
                </a:cubicBezTo>
                <a:cubicBezTo>
                  <a:pt x="2258" y="1170"/>
                  <a:pt x="2257" y="1170"/>
                  <a:pt x="2257" y="1169"/>
                </a:cubicBezTo>
                <a:cubicBezTo>
                  <a:pt x="2256" y="1169"/>
                  <a:pt x="2256" y="1168"/>
                  <a:pt x="2255" y="1167"/>
                </a:cubicBezTo>
                <a:cubicBezTo>
                  <a:pt x="2255" y="1167"/>
                  <a:pt x="2254" y="1166"/>
                  <a:pt x="2254" y="1166"/>
                </a:cubicBezTo>
                <a:cubicBezTo>
                  <a:pt x="2253" y="1165"/>
                  <a:pt x="2252" y="1165"/>
                  <a:pt x="2252" y="1164"/>
                </a:cubicBezTo>
                <a:cubicBezTo>
                  <a:pt x="2251" y="1164"/>
                  <a:pt x="2250" y="1164"/>
                  <a:pt x="2249" y="1164"/>
                </a:cubicBezTo>
                <a:cubicBezTo>
                  <a:pt x="2249" y="1164"/>
                  <a:pt x="2248" y="1164"/>
                  <a:pt x="2248" y="1164"/>
                </a:cubicBezTo>
                <a:cubicBezTo>
                  <a:pt x="2247" y="1164"/>
                  <a:pt x="2247" y="1164"/>
                  <a:pt x="2247" y="1164"/>
                </a:cubicBezTo>
                <a:cubicBezTo>
                  <a:pt x="2246" y="1164"/>
                  <a:pt x="2246" y="1164"/>
                  <a:pt x="2247" y="1164"/>
                </a:cubicBezTo>
                <a:cubicBezTo>
                  <a:pt x="2247" y="1164"/>
                  <a:pt x="2247" y="1164"/>
                  <a:pt x="2248" y="1164"/>
                </a:cubicBezTo>
                <a:cubicBezTo>
                  <a:pt x="2248" y="1163"/>
                  <a:pt x="2249" y="1163"/>
                  <a:pt x="2250" y="1162"/>
                </a:cubicBezTo>
                <a:cubicBezTo>
                  <a:pt x="2250" y="1162"/>
                  <a:pt x="2251" y="1161"/>
                  <a:pt x="2252" y="1161"/>
                </a:cubicBezTo>
                <a:cubicBezTo>
                  <a:pt x="2252" y="1160"/>
                  <a:pt x="2253" y="1160"/>
                  <a:pt x="2254" y="1160"/>
                </a:cubicBezTo>
                <a:cubicBezTo>
                  <a:pt x="2255" y="1159"/>
                  <a:pt x="2255" y="1158"/>
                  <a:pt x="2255" y="1157"/>
                </a:cubicBezTo>
                <a:cubicBezTo>
                  <a:pt x="2255" y="1156"/>
                  <a:pt x="2254" y="1154"/>
                  <a:pt x="2254" y="1153"/>
                </a:cubicBezTo>
                <a:cubicBezTo>
                  <a:pt x="2253" y="1152"/>
                  <a:pt x="2253" y="1152"/>
                  <a:pt x="2252" y="1151"/>
                </a:cubicBezTo>
                <a:cubicBezTo>
                  <a:pt x="2251" y="1151"/>
                  <a:pt x="2251" y="1150"/>
                  <a:pt x="2251" y="1149"/>
                </a:cubicBezTo>
                <a:cubicBezTo>
                  <a:pt x="2250" y="1149"/>
                  <a:pt x="2249" y="1150"/>
                  <a:pt x="2249" y="1150"/>
                </a:cubicBezTo>
                <a:cubicBezTo>
                  <a:pt x="2248" y="1150"/>
                  <a:pt x="2247" y="1149"/>
                  <a:pt x="2247" y="1148"/>
                </a:cubicBezTo>
                <a:cubicBezTo>
                  <a:pt x="2246" y="1148"/>
                  <a:pt x="2246" y="1147"/>
                  <a:pt x="2245" y="1147"/>
                </a:cubicBezTo>
                <a:cubicBezTo>
                  <a:pt x="2245" y="1146"/>
                  <a:pt x="2244" y="1146"/>
                  <a:pt x="2244" y="1145"/>
                </a:cubicBezTo>
                <a:cubicBezTo>
                  <a:pt x="2243" y="1145"/>
                  <a:pt x="2243" y="1144"/>
                  <a:pt x="2243" y="1143"/>
                </a:cubicBezTo>
                <a:cubicBezTo>
                  <a:pt x="2243" y="1142"/>
                  <a:pt x="2242" y="1142"/>
                  <a:pt x="2242" y="1141"/>
                </a:cubicBezTo>
                <a:cubicBezTo>
                  <a:pt x="2241" y="1140"/>
                  <a:pt x="2240" y="1138"/>
                  <a:pt x="2238" y="1138"/>
                </a:cubicBezTo>
                <a:cubicBezTo>
                  <a:pt x="2237" y="1137"/>
                  <a:pt x="2235" y="1137"/>
                  <a:pt x="2234" y="1136"/>
                </a:cubicBezTo>
                <a:cubicBezTo>
                  <a:pt x="2233" y="1135"/>
                  <a:pt x="2233" y="1134"/>
                  <a:pt x="2233" y="1133"/>
                </a:cubicBezTo>
                <a:cubicBezTo>
                  <a:pt x="2232" y="1132"/>
                  <a:pt x="2232" y="1132"/>
                  <a:pt x="2232" y="1132"/>
                </a:cubicBezTo>
                <a:cubicBezTo>
                  <a:pt x="2232" y="1131"/>
                  <a:pt x="2232" y="1131"/>
                  <a:pt x="2231" y="1131"/>
                </a:cubicBezTo>
                <a:cubicBezTo>
                  <a:pt x="2231" y="1130"/>
                  <a:pt x="2230" y="1130"/>
                  <a:pt x="2229" y="1129"/>
                </a:cubicBezTo>
                <a:cubicBezTo>
                  <a:pt x="2228" y="1128"/>
                  <a:pt x="2226" y="1128"/>
                  <a:pt x="2225" y="1127"/>
                </a:cubicBezTo>
                <a:cubicBezTo>
                  <a:pt x="2223" y="1125"/>
                  <a:pt x="2222" y="1125"/>
                  <a:pt x="2220" y="1125"/>
                </a:cubicBezTo>
                <a:cubicBezTo>
                  <a:pt x="2219" y="1125"/>
                  <a:pt x="2218" y="1125"/>
                  <a:pt x="2217" y="1123"/>
                </a:cubicBezTo>
                <a:cubicBezTo>
                  <a:pt x="2217" y="1123"/>
                  <a:pt x="2216" y="1122"/>
                  <a:pt x="2216" y="1122"/>
                </a:cubicBezTo>
                <a:cubicBezTo>
                  <a:pt x="2216" y="1121"/>
                  <a:pt x="2216" y="1121"/>
                  <a:pt x="2215" y="1121"/>
                </a:cubicBezTo>
                <a:cubicBezTo>
                  <a:pt x="2215" y="1120"/>
                  <a:pt x="2215" y="1119"/>
                  <a:pt x="2215" y="1119"/>
                </a:cubicBezTo>
                <a:cubicBezTo>
                  <a:pt x="2214" y="1118"/>
                  <a:pt x="2213" y="1120"/>
                  <a:pt x="2213" y="1121"/>
                </a:cubicBezTo>
                <a:cubicBezTo>
                  <a:pt x="2214" y="1121"/>
                  <a:pt x="2214" y="1122"/>
                  <a:pt x="2214" y="1123"/>
                </a:cubicBezTo>
                <a:cubicBezTo>
                  <a:pt x="2214" y="1123"/>
                  <a:pt x="2214" y="1123"/>
                  <a:pt x="2213" y="1123"/>
                </a:cubicBezTo>
                <a:cubicBezTo>
                  <a:pt x="2213" y="1123"/>
                  <a:pt x="2213" y="1123"/>
                  <a:pt x="2213" y="1122"/>
                </a:cubicBezTo>
                <a:cubicBezTo>
                  <a:pt x="2213" y="1121"/>
                  <a:pt x="2212" y="1121"/>
                  <a:pt x="2212" y="1120"/>
                </a:cubicBezTo>
                <a:cubicBezTo>
                  <a:pt x="2211" y="1120"/>
                  <a:pt x="2210" y="1119"/>
                  <a:pt x="2210" y="1119"/>
                </a:cubicBezTo>
                <a:cubicBezTo>
                  <a:pt x="2210" y="1118"/>
                  <a:pt x="2210" y="1117"/>
                  <a:pt x="2210" y="1116"/>
                </a:cubicBezTo>
                <a:cubicBezTo>
                  <a:pt x="2209" y="1115"/>
                  <a:pt x="2209" y="1115"/>
                  <a:pt x="2208" y="1114"/>
                </a:cubicBezTo>
                <a:cubicBezTo>
                  <a:pt x="2208" y="1113"/>
                  <a:pt x="2207" y="1112"/>
                  <a:pt x="2207" y="1111"/>
                </a:cubicBezTo>
                <a:cubicBezTo>
                  <a:pt x="2207" y="1110"/>
                  <a:pt x="2207" y="1109"/>
                  <a:pt x="2207" y="1108"/>
                </a:cubicBezTo>
                <a:cubicBezTo>
                  <a:pt x="2207" y="1106"/>
                  <a:pt x="2206" y="1103"/>
                  <a:pt x="2205" y="1101"/>
                </a:cubicBezTo>
                <a:cubicBezTo>
                  <a:pt x="2205" y="1099"/>
                  <a:pt x="2204" y="1097"/>
                  <a:pt x="2203" y="1096"/>
                </a:cubicBezTo>
                <a:cubicBezTo>
                  <a:pt x="2202" y="1095"/>
                  <a:pt x="2202" y="1093"/>
                  <a:pt x="2201" y="1091"/>
                </a:cubicBezTo>
                <a:cubicBezTo>
                  <a:pt x="2201" y="1091"/>
                  <a:pt x="2201" y="1090"/>
                  <a:pt x="2200" y="1090"/>
                </a:cubicBezTo>
                <a:cubicBezTo>
                  <a:pt x="2200" y="1089"/>
                  <a:pt x="2199" y="1089"/>
                  <a:pt x="2199" y="1088"/>
                </a:cubicBezTo>
                <a:cubicBezTo>
                  <a:pt x="2198" y="1088"/>
                  <a:pt x="2198" y="1088"/>
                  <a:pt x="2198" y="1088"/>
                </a:cubicBezTo>
                <a:cubicBezTo>
                  <a:pt x="2198" y="1088"/>
                  <a:pt x="2198" y="1087"/>
                  <a:pt x="2197" y="1087"/>
                </a:cubicBezTo>
                <a:cubicBezTo>
                  <a:pt x="2197" y="1086"/>
                  <a:pt x="2195" y="1086"/>
                  <a:pt x="2194" y="1085"/>
                </a:cubicBezTo>
                <a:cubicBezTo>
                  <a:pt x="2194" y="1085"/>
                  <a:pt x="2193" y="1085"/>
                  <a:pt x="2193" y="1085"/>
                </a:cubicBezTo>
                <a:cubicBezTo>
                  <a:pt x="2192" y="1084"/>
                  <a:pt x="2191" y="1083"/>
                  <a:pt x="2190" y="1083"/>
                </a:cubicBezTo>
                <a:cubicBezTo>
                  <a:pt x="2189" y="1082"/>
                  <a:pt x="2188" y="1081"/>
                  <a:pt x="2187" y="1079"/>
                </a:cubicBezTo>
                <a:cubicBezTo>
                  <a:pt x="2187" y="1078"/>
                  <a:pt x="2186" y="1077"/>
                  <a:pt x="2186" y="1076"/>
                </a:cubicBezTo>
                <a:cubicBezTo>
                  <a:pt x="2186" y="1076"/>
                  <a:pt x="2185" y="1075"/>
                  <a:pt x="2185" y="1074"/>
                </a:cubicBezTo>
                <a:cubicBezTo>
                  <a:pt x="2185" y="1073"/>
                  <a:pt x="2185" y="1072"/>
                  <a:pt x="2185" y="1072"/>
                </a:cubicBezTo>
                <a:cubicBezTo>
                  <a:pt x="2185" y="1071"/>
                  <a:pt x="2185" y="1070"/>
                  <a:pt x="2185" y="1069"/>
                </a:cubicBezTo>
                <a:cubicBezTo>
                  <a:pt x="2184" y="1066"/>
                  <a:pt x="2185" y="1062"/>
                  <a:pt x="2184" y="1059"/>
                </a:cubicBezTo>
                <a:cubicBezTo>
                  <a:pt x="2184" y="1058"/>
                  <a:pt x="2184" y="1057"/>
                  <a:pt x="2184" y="1057"/>
                </a:cubicBezTo>
                <a:cubicBezTo>
                  <a:pt x="2184" y="1056"/>
                  <a:pt x="2184" y="1055"/>
                  <a:pt x="2184" y="1054"/>
                </a:cubicBezTo>
                <a:cubicBezTo>
                  <a:pt x="2184" y="1053"/>
                  <a:pt x="2183" y="1052"/>
                  <a:pt x="2184" y="1053"/>
                </a:cubicBezTo>
                <a:cubicBezTo>
                  <a:pt x="2185" y="1053"/>
                  <a:pt x="2185" y="1054"/>
                  <a:pt x="2185" y="1054"/>
                </a:cubicBezTo>
                <a:cubicBezTo>
                  <a:pt x="2185" y="1054"/>
                  <a:pt x="2185" y="1054"/>
                  <a:pt x="2185" y="1054"/>
                </a:cubicBezTo>
                <a:cubicBezTo>
                  <a:pt x="2186" y="1053"/>
                  <a:pt x="2185" y="1052"/>
                  <a:pt x="2185" y="1052"/>
                </a:cubicBezTo>
                <a:cubicBezTo>
                  <a:pt x="2184" y="1052"/>
                  <a:pt x="2184" y="1051"/>
                  <a:pt x="2184" y="1051"/>
                </a:cubicBezTo>
                <a:cubicBezTo>
                  <a:pt x="2184" y="1051"/>
                  <a:pt x="2183" y="1051"/>
                  <a:pt x="2183" y="1051"/>
                </a:cubicBezTo>
                <a:cubicBezTo>
                  <a:pt x="2182" y="1050"/>
                  <a:pt x="2181" y="1048"/>
                  <a:pt x="2181" y="1047"/>
                </a:cubicBezTo>
                <a:cubicBezTo>
                  <a:pt x="2181" y="1046"/>
                  <a:pt x="2180" y="1046"/>
                  <a:pt x="2180" y="1045"/>
                </a:cubicBezTo>
                <a:cubicBezTo>
                  <a:pt x="2180" y="1044"/>
                  <a:pt x="2181" y="1044"/>
                  <a:pt x="2181" y="1044"/>
                </a:cubicBezTo>
                <a:cubicBezTo>
                  <a:pt x="2181" y="1043"/>
                  <a:pt x="2181" y="1043"/>
                  <a:pt x="2181" y="1043"/>
                </a:cubicBezTo>
                <a:cubicBezTo>
                  <a:pt x="2180" y="1042"/>
                  <a:pt x="2179" y="1041"/>
                  <a:pt x="2179" y="1040"/>
                </a:cubicBezTo>
                <a:cubicBezTo>
                  <a:pt x="2178" y="1040"/>
                  <a:pt x="2178" y="1039"/>
                  <a:pt x="2177" y="1039"/>
                </a:cubicBezTo>
                <a:cubicBezTo>
                  <a:pt x="2175" y="1038"/>
                  <a:pt x="2174" y="1036"/>
                  <a:pt x="2173" y="1036"/>
                </a:cubicBezTo>
                <a:cubicBezTo>
                  <a:pt x="2172" y="1035"/>
                  <a:pt x="2171" y="1035"/>
                  <a:pt x="2171" y="1034"/>
                </a:cubicBezTo>
                <a:cubicBezTo>
                  <a:pt x="2170" y="1034"/>
                  <a:pt x="2169" y="1033"/>
                  <a:pt x="2169" y="1032"/>
                </a:cubicBezTo>
                <a:cubicBezTo>
                  <a:pt x="2168" y="1031"/>
                  <a:pt x="2167" y="1030"/>
                  <a:pt x="2166" y="1028"/>
                </a:cubicBezTo>
                <a:cubicBezTo>
                  <a:pt x="2166" y="1027"/>
                  <a:pt x="2166" y="1025"/>
                  <a:pt x="2166" y="1023"/>
                </a:cubicBezTo>
                <a:cubicBezTo>
                  <a:pt x="2165" y="1022"/>
                  <a:pt x="2165" y="1022"/>
                  <a:pt x="2165" y="1021"/>
                </a:cubicBezTo>
                <a:cubicBezTo>
                  <a:pt x="2165" y="1020"/>
                  <a:pt x="2164" y="1019"/>
                  <a:pt x="2165" y="1019"/>
                </a:cubicBezTo>
                <a:cubicBezTo>
                  <a:pt x="2165" y="1018"/>
                  <a:pt x="2166" y="1019"/>
                  <a:pt x="2167" y="1019"/>
                </a:cubicBezTo>
                <a:cubicBezTo>
                  <a:pt x="2168" y="1019"/>
                  <a:pt x="2167" y="1018"/>
                  <a:pt x="2167" y="1018"/>
                </a:cubicBezTo>
                <a:cubicBezTo>
                  <a:pt x="2166" y="1017"/>
                  <a:pt x="2165" y="1017"/>
                  <a:pt x="2165" y="1016"/>
                </a:cubicBezTo>
                <a:cubicBezTo>
                  <a:pt x="2164" y="1016"/>
                  <a:pt x="2164" y="1016"/>
                  <a:pt x="2163" y="1015"/>
                </a:cubicBezTo>
                <a:cubicBezTo>
                  <a:pt x="2163" y="1015"/>
                  <a:pt x="2163" y="1014"/>
                  <a:pt x="2163" y="1014"/>
                </a:cubicBezTo>
                <a:cubicBezTo>
                  <a:pt x="2162" y="1013"/>
                  <a:pt x="2161" y="1012"/>
                  <a:pt x="2161" y="1011"/>
                </a:cubicBezTo>
                <a:cubicBezTo>
                  <a:pt x="2160" y="1011"/>
                  <a:pt x="2160" y="1010"/>
                  <a:pt x="2159" y="1009"/>
                </a:cubicBezTo>
                <a:cubicBezTo>
                  <a:pt x="2159" y="1008"/>
                  <a:pt x="2158" y="1007"/>
                  <a:pt x="2158" y="1006"/>
                </a:cubicBezTo>
                <a:cubicBezTo>
                  <a:pt x="2157" y="1004"/>
                  <a:pt x="2156" y="1002"/>
                  <a:pt x="2155" y="1000"/>
                </a:cubicBezTo>
                <a:cubicBezTo>
                  <a:pt x="2155" y="1000"/>
                  <a:pt x="2155" y="999"/>
                  <a:pt x="2154" y="998"/>
                </a:cubicBezTo>
                <a:cubicBezTo>
                  <a:pt x="2154" y="997"/>
                  <a:pt x="2153" y="996"/>
                  <a:pt x="2153" y="996"/>
                </a:cubicBezTo>
                <a:cubicBezTo>
                  <a:pt x="2152" y="994"/>
                  <a:pt x="2151" y="992"/>
                  <a:pt x="2150" y="990"/>
                </a:cubicBezTo>
                <a:cubicBezTo>
                  <a:pt x="2149" y="989"/>
                  <a:pt x="2149" y="989"/>
                  <a:pt x="2148" y="988"/>
                </a:cubicBezTo>
                <a:cubicBezTo>
                  <a:pt x="2148" y="987"/>
                  <a:pt x="2147" y="987"/>
                  <a:pt x="2147" y="986"/>
                </a:cubicBezTo>
                <a:cubicBezTo>
                  <a:pt x="2147" y="985"/>
                  <a:pt x="2147" y="984"/>
                  <a:pt x="2147" y="983"/>
                </a:cubicBezTo>
                <a:cubicBezTo>
                  <a:pt x="2147" y="982"/>
                  <a:pt x="2147" y="981"/>
                  <a:pt x="2147" y="980"/>
                </a:cubicBezTo>
                <a:cubicBezTo>
                  <a:pt x="2146" y="979"/>
                  <a:pt x="2146" y="978"/>
                  <a:pt x="2146" y="977"/>
                </a:cubicBezTo>
                <a:cubicBezTo>
                  <a:pt x="2145" y="976"/>
                  <a:pt x="2145" y="975"/>
                  <a:pt x="2144" y="975"/>
                </a:cubicBezTo>
                <a:cubicBezTo>
                  <a:pt x="2144" y="974"/>
                  <a:pt x="2144" y="973"/>
                  <a:pt x="2143" y="972"/>
                </a:cubicBezTo>
                <a:cubicBezTo>
                  <a:pt x="2143" y="971"/>
                  <a:pt x="2142" y="970"/>
                  <a:pt x="2142" y="970"/>
                </a:cubicBezTo>
                <a:cubicBezTo>
                  <a:pt x="2141" y="968"/>
                  <a:pt x="2139" y="967"/>
                  <a:pt x="2138" y="966"/>
                </a:cubicBezTo>
                <a:cubicBezTo>
                  <a:pt x="2137" y="965"/>
                  <a:pt x="2136" y="964"/>
                  <a:pt x="2135" y="962"/>
                </a:cubicBezTo>
                <a:cubicBezTo>
                  <a:pt x="2134" y="961"/>
                  <a:pt x="2134" y="960"/>
                  <a:pt x="2133" y="959"/>
                </a:cubicBezTo>
                <a:cubicBezTo>
                  <a:pt x="2133" y="959"/>
                  <a:pt x="2133" y="958"/>
                  <a:pt x="2133" y="957"/>
                </a:cubicBezTo>
                <a:cubicBezTo>
                  <a:pt x="2132" y="956"/>
                  <a:pt x="2132" y="955"/>
                  <a:pt x="2132" y="954"/>
                </a:cubicBezTo>
                <a:cubicBezTo>
                  <a:pt x="2131" y="954"/>
                  <a:pt x="2131" y="953"/>
                  <a:pt x="2130" y="952"/>
                </a:cubicBezTo>
                <a:cubicBezTo>
                  <a:pt x="2130" y="951"/>
                  <a:pt x="2129" y="951"/>
                  <a:pt x="2129" y="950"/>
                </a:cubicBezTo>
                <a:cubicBezTo>
                  <a:pt x="2129" y="950"/>
                  <a:pt x="2129" y="949"/>
                  <a:pt x="2129" y="948"/>
                </a:cubicBezTo>
                <a:cubicBezTo>
                  <a:pt x="2130" y="947"/>
                  <a:pt x="2130" y="947"/>
                  <a:pt x="2130" y="946"/>
                </a:cubicBezTo>
                <a:cubicBezTo>
                  <a:pt x="2130" y="945"/>
                  <a:pt x="2131" y="945"/>
                  <a:pt x="2132" y="946"/>
                </a:cubicBezTo>
                <a:cubicBezTo>
                  <a:pt x="2132" y="946"/>
                  <a:pt x="2132" y="947"/>
                  <a:pt x="2132" y="947"/>
                </a:cubicBezTo>
                <a:cubicBezTo>
                  <a:pt x="2132" y="948"/>
                  <a:pt x="2132" y="948"/>
                  <a:pt x="2132" y="948"/>
                </a:cubicBezTo>
                <a:cubicBezTo>
                  <a:pt x="2133" y="949"/>
                  <a:pt x="2132" y="950"/>
                  <a:pt x="2132" y="950"/>
                </a:cubicBezTo>
                <a:cubicBezTo>
                  <a:pt x="2132" y="951"/>
                  <a:pt x="2133" y="951"/>
                  <a:pt x="2134" y="952"/>
                </a:cubicBezTo>
                <a:cubicBezTo>
                  <a:pt x="2134" y="953"/>
                  <a:pt x="2134" y="953"/>
                  <a:pt x="2135" y="954"/>
                </a:cubicBezTo>
                <a:cubicBezTo>
                  <a:pt x="2136" y="955"/>
                  <a:pt x="2138" y="955"/>
                  <a:pt x="2138" y="957"/>
                </a:cubicBezTo>
                <a:cubicBezTo>
                  <a:pt x="2139" y="959"/>
                  <a:pt x="2138" y="960"/>
                  <a:pt x="2139" y="962"/>
                </a:cubicBezTo>
                <a:cubicBezTo>
                  <a:pt x="2139" y="963"/>
                  <a:pt x="2140" y="963"/>
                  <a:pt x="2140" y="964"/>
                </a:cubicBezTo>
                <a:cubicBezTo>
                  <a:pt x="2141" y="965"/>
                  <a:pt x="2141" y="965"/>
                  <a:pt x="2142" y="966"/>
                </a:cubicBezTo>
                <a:cubicBezTo>
                  <a:pt x="2143" y="967"/>
                  <a:pt x="2144" y="967"/>
                  <a:pt x="2145" y="968"/>
                </a:cubicBezTo>
                <a:cubicBezTo>
                  <a:pt x="2145" y="969"/>
                  <a:pt x="2146" y="970"/>
                  <a:pt x="2147" y="970"/>
                </a:cubicBezTo>
                <a:cubicBezTo>
                  <a:pt x="2147" y="971"/>
                  <a:pt x="2148" y="971"/>
                  <a:pt x="2149" y="972"/>
                </a:cubicBezTo>
                <a:cubicBezTo>
                  <a:pt x="2149" y="972"/>
                  <a:pt x="2150" y="973"/>
                  <a:pt x="2151" y="972"/>
                </a:cubicBezTo>
                <a:cubicBezTo>
                  <a:pt x="2151" y="972"/>
                  <a:pt x="2151" y="972"/>
                  <a:pt x="2151" y="971"/>
                </a:cubicBezTo>
                <a:cubicBezTo>
                  <a:pt x="2151" y="971"/>
                  <a:pt x="2151" y="970"/>
                  <a:pt x="2151" y="970"/>
                </a:cubicBezTo>
                <a:cubicBezTo>
                  <a:pt x="2152" y="969"/>
                  <a:pt x="2152" y="968"/>
                  <a:pt x="2152" y="968"/>
                </a:cubicBezTo>
                <a:cubicBezTo>
                  <a:pt x="2153" y="966"/>
                  <a:pt x="2153" y="964"/>
                  <a:pt x="2154" y="962"/>
                </a:cubicBezTo>
                <a:cubicBezTo>
                  <a:pt x="2154" y="962"/>
                  <a:pt x="2155" y="961"/>
                  <a:pt x="2155" y="960"/>
                </a:cubicBezTo>
                <a:cubicBezTo>
                  <a:pt x="2155" y="959"/>
                  <a:pt x="2155" y="958"/>
                  <a:pt x="2155" y="958"/>
                </a:cubicBezTo>
                <a:cubicBezTo>
                  <a:pt x="2156" y="956"/>
                  <a:pt x="2157" y="955"/>
                  <a:pt x="2157" y="953"/>
                </a:cubicBezTo>
                <a:cubicBezTo>
                  <a:pt x="2157" y="952"/>
                  <a:pt x="2158" y="952"/>
                  <a:pt x="2158" y="951"/>
                </a:cubicBezTo>
                <a:cubicBezTo>
                  <a:pt x="2158" y="951"/>
                  <a:pt x="2158" y="950"/>
                  <a:pt x="2158" y="951"/>
                </a:cubicBezTo>
                <a:cubicBezTo>
                  <a:pt x="2158" y="951"/>
                  <a:pt x="2158" y="952"/>
                  <a:pt x="2158" y="952"/>
                </a:cubicBezTo>
                <a:cubicBezTo>
                  <a:pt x="2158" y="953"/>
                  <a:pt x="2158" y="954"/>
                  <a:pt x="2158" y="954"/>
                </a:cubicBezTo>
                <a:cubicBezTo>
                  <a:pt x="2158" y="955"/>
                  <a:pt x="2157" y="956"/>
                  <a:pt x="2157" y="957"/>
                </a:cubicBezTo>
                <a:cubicBezTo>
                  <a:pt x="2157" y="957"/>
                  <a:pt x="2157" y="958"/>
                  <a:pt x="2157" y="959"/>
                </a:cubicBezTo>
                <a:cubicBezTo>
                  <a:pt x="2157" y="960"/>
                  <a:pt x="2156" y="960"/>
                  <a:pt x="2156" y="961"/>
                </a:cubicBezTo>
                <a:cubicBezTo>
                  <a:pt x="2156" y="963"/>
                  <a:pt x="2155" y="964"/>
                  <a:pt x="2155" y="966"/>
                </a:cubicBezTo>
                <a:cubicBezTo>
                  <a:pt x="2154" y="966"/>
                  <a:pt x="2154" y="967"/>
                  <a:pt x="2154" y="967"/>
                </a:cubicBezTo>
                <a:cubicBezTo>
                  <a:pt x="2154" y="968"/>
                  <a:pt x="2154" y="969"/>
                  <a:pt x="2154" y="969"/>
                </a:cubicBezTo>
                <a:cubicBezTo>
                  <a:pt x="2155" y="969"/>
                  <a:pt x="2155" y="969"/>
                  <a:pt x="2155" y="968"/>
                </a:cubicBezTo>
                <a:cubicBezTo>
                  <a:pt x="2156" y="967"/>
                  <a:pt x="2157" y="968"/>
                  <a:pt x="2158" y="968"/>
                </a:cubicBezTo>
                <a:cubicBezTo>
                  <a:pt x="2159" y="968"/>
                  <a:pt x="2160" y="968"/>
                  <a:pt x="2161" y="969"/>
                </a:cubicBezTo>
                <a:cubicBezTo>
                  <a:pt x="2161" y="969"/>
                  <a:pt x="2162" y="970"/>
                  <a:pt x="2162" y="971"/>
                </a:cubicBezTo>
                <a:cubicBezTo>
                  <a:pt x="2163" y="972"/>
                  <a:pt x="2163" y="973"/>
                  <a:pt x="2164" y="973"/>
                </a:cubicBezTo>
                <a:cubicBezTo>
                  <a:pt x="2164" y="974"/>
                  <a:pt x="2165" y="975"/>
                  <a:pt x="2165" y="976"/>
                </a:cubicBezTo>
                <a:cubicBezTo>
                  <a:pt x="2165" y="976"/>
                  <a:pt x="2166" y="977"/>
                  <a:pt x="2167" y="978"/>
                </a:cubicBezTo>
                <a:cubicBezTo>
                  <a:pt x="2168" y="979"/>
                  <a:pt x="2169" y="981"/>
                  <a:pt x="2170" y="982"/>
                </a:cubicBezTo>
                <a:cubicBezTo>
                  <a:pt x="2171" y="984"/>
                  <a:pt x="2172" y="985"/>
                  <a:pt x="2172" y="986"/>
                </a:cubicBezTo>
                <a:cubicBezTo>
                  <a:pt x="2172" y="987"/>
                  <a:pt x="2172" y="987"/>
                  <a:pt x="2173" y="987"/>
                </a:cubicBezTo>
                <a:cubicBezTo>
                  <a:pt x="2173" y="988"/>
                  <a:pt x="2174" y="988"/>
                  <a:pt x="2174" y="989"/>
                </a:cubicBezTo>
                <a:cubicBezTo>
                  <a:pt x="2175" y="990"/>
                  <a:pt x="2175" y="991"/>
                  <a:pt x="2175" y="991"/>
                </a:cubicBezTo>
                <a:cubicBezTo>
                  <a:pt x="2176" y="992"/>
                  <a:pt x="2176" y="993"/>
                  <a:pt x="2177" y="993"/>
                </a:cubicBezTo>
                <a:cubicBezTo>
                  <a:pt x="2178" y="994"/>
                  <a:pt x="2178" y="994"/>
                  <a:pt x="2178" y="995"/>
                </a:cubicBezTo>
                <a:cubicBezTo>
                  <a:pt x="2178" y="996"/>
                  <a:pt x="2178" y="997"/>
                  <a:pt x="2179" y="997"/>
                </a:cubicBezTo>
                <a:cubicBezTo>
                  <a:pt x="2180" y="998"/>
                  <a:pt x="2180" y="998"/>
                  <a:pt x="2181" y="999"/>
                </a:cubicBezTo>
                <a:cubicBezTo>
                  <a:pt x="2181" y="1000"/>
                  <a:pt x="2181" y="1000"/>
                  <a:pt x="2182" y="1001"/>
                </a:cubicBezTo>
                <a:cubicBezTo>
                  <a:pt x="2183" y="1001"/>
                  <a:pt x="2183" y="1002"/>
                  <a:pt x="2184" y="1003"/>
                </a:cubicBezTo>
                <a:cubicBezTo>
                  <a:pt x="2184" y="1003"/>
                  <a:pt x="2184" y="1003"/>
                  <a:pt x="2184" y="1004"/>
                </a:cubicBezTo>
                <a:cubicBezTo>
                  <a:pt x="2184" y="1004"/>
                  <a:pt x="2185" y="1005"/>
                  <a:pt x="2185" y="1005"/>
                </a:cubicBezTo>
                <a:cubicBezTo>
                  <a:pt x="2186" y="1007"/>
                  <a:pt x="2185" y="1009"/>
                  <a:pt x="2186" y="1011"/>
                </a:cubicBezTo>
                <a:cubicBezTo>
                  <a:pt x="2186" y="1012"/>
                  <a:pt x="2187" y="1012"/>
                  <a:pt x="2188" y="1014"/>
                </a:cubicBezTo>
                <a:cubicBezTo>
                  <a:pt x="2188" y="1014"/>
                  <a:pt x="2189" y="1015"/>
                  <a:pt x="2190" y="1015"/>
                </a:cubicBezTo>
                <a:cubicBezTo>
                  <a:pt x="2191" y="1015"/>
                  <a:pt x="2192" y="1015"/>
                  <a:pt x="2192" y="1016"/>
                </a:cubicBezTo>
                <a:cubicBezTo>
                  <a:pt x="2193" y="1016"/>
                  <a:pt x="2194" y="1017"/>
                  <a:pt x="2195" y="1017"/>
                </a:cubicBezTo>
                <a:cubicBezTo>
                  <a:pt x="2195" y="1018"/>
                  <a:pt x="2196" y="1018"/>
                  <a:pt x="2197" y="1019"/>
                </a:cubicBezTo>
                <a:cubicBezTo>
                  <a:pt x="2197" y="1020"/>
                  <a:pt x="2198" y="1021"/>
                  <a:pt x="2198" y="1021"/>
                </a:cubicBezTo>
                <a:cubicBezTo>
                  <a:pt x="2199" y="1022"/>
                  <a:pt x="2200" y="1023"/>
                  <a:pt x="2200" y="1024"/>
                </a:cubicBezTo>
                <a:cubicBezTo>
                  <a:pt x="2201" y="1026"/>
                  <a:pt x="2202" y="1027"/>
                  <a:pt x="2203" y="1029"/>
                </a:cubicBezTo>
                <a:cubicBezTo>
                  <a:pt x="2203" y="1030"/>
                  <a:pt x="2204" y="1031"/>
                  <a:pt x="2204" y="1032"/>
                </a:cubicBezTo>
                <a:cubicBezTo>
                  <a:pt x="2204" y="1033"/>
                  <a:pt x="2204" y="1034"/>
                  <a:pt x="2205" y="1035"/>
                </a:cubicBezTo>
                <a:cubicBezTo>
                  <a:pt x="2206" y="1036"/>
                  <a:pt x="2206" y="1036"/>
                  <a:pt x="2206" y="1037"/>
                </a:cubicBezTo>
                <a:cubicBezTo>
                  <a:pt x="2206" y="1038"/>
                  <a:pt x="2205" y="1038"/>
                  <a:pt x="2205" y="1039"/>
                </a:cubicBezTo>
                <a:cubicBezTo>
                  <a:pt x="2205" y="1040"/>
                  <a:pt x="2205" y="1041"/>
                  <a:pt x="2205" y="1042"/>
                </a:cubicBezTo>
                <a:cubicBezTo>
                  <a:pt x="2205" y="1042"/>
                  <a:pt x="2205" y="1043"/>
                  <a:pt x="2206" y="1044"/>
                </a:cubicBezTo>
                <a:cubicBezTo>
                  <a:pt x="2206" y="1045"/>
                  <a:pt x="2206" y="1045"/>
                  <a:pt x="2206" y="1046"/>
                </a:cubicBezTo>
                <a:cubicBezTo>
                  <a:pt x="2206" y="1047"/>
                  <a:pt x="2206" y="1049"/>
                  <a:pt x="2206" y="1050"/>
                </a:cubicBezTo>
                <a:cubicBezTo>
                  <a:pt x="2206" y="1051"/>
                  <a:pt x="2206" y="1052"/>
                  <a:pt x="2207" y="1053"/>
                </a:cubicBezTo>
                <a:cubicBezTo>
                  <a:pt x="2207" y="1055"/>
                  <a:pt x="2209" y="1056"/>
                  <a:pt x="2210" y="1057"/>
                </a:cubicBezTo>
                <a:cubicBezTo>
                  <a:pt x="2211" y="1058"/>
                  <a:pt x="2211" y="1059"/>
                  <a:pt x="2211" y="1060"/>
                </a:cubicBezTo>
                <a:cubicBezTo>
                  <a:pt x="2212" y="1061"/>
                  <a:pt x="2212" y="1061"/>
                  <a:pt x="2213" y="1062"/>
                </a:cubicBezTo>
                <a:cubicBezTo>
                  <a:pt x="2214" y="1063"/>
                  <a:pt x="2216" y="1062"/>
                  <a:pt x="2218" y="1063"/>
                </a:cubicBezTo>
                <a:cubicBezTo>
                  <a:pt x="2219" y="1064"/>
                  <a:pt x="2219" y="1064"/>
                  <a:pt x="2220" y="1065"/>
                </a:cubicBezTo>
                <a:cubicBezTo>
                  <a:pt x="2220" y="1066"/>
                  <a:pt x="2221" y="1066"/>
                  <a:pt x="2221" y="1067"/>
                </a:cubicBezTo>
                <a:cubicBezTo>
                  <a:pt x="2223" y="1068"/>
                  <a:pt x="2224" y="1070"/>
                  <a:pt x="2225" y="1072"/>
                </a:cubicBezTo>
                <a:cubicBezTo>
                  <a:pt x="2225" y="1073"/>
                  <a:pt x="2226" y="1074"/>
                  <a:pt x="2227" y="1075"/>
                </a:cubicBezTo>
                <a:cubicBezTo>
                  <a:pt x="2227" y="1076"/>
                  <a:pt x="2228" y="1077"/>
                  <a:pt x="2228" y="1078"/>
                </a:cubicBezTo>
                <a:cubicBezTo>
                  <a:pt x="2229" y="1080"/>
                  <a:pt x="2230" y="1082"/>
                  <a:pt x="2232" y="1083"/>
                </a:cubicBezTo>
                <a:cubicBezTo>
                  <a:pt x="2233" y="1085"/>
                  <a:pt x="2233" y="1087"/>
                  <a:pt x="2235" y="1089"/>
                </a:cubicBezTo>
                <a:cubicBezTo>
                  <a:pt x="2236" y="1091"/>
                  <a:pt x="2237" y="1092"/>
                  <a:pt x="2239" y="1093"/>
                </a:cubicBezTo>
                <a:cubicBezTo>
                  <a:pt x="2240" y="1094"/>
                  <a:pt x="2241" y="1095"/>
                  <a:pt x="2242" y="1096"/>
                </a:cubicBezTo>
                <a:cubicBezTo>
                  <a:pt x="2242" y="1096"/>
                  <a:pt x="2243" y="1097"/>
                  <a:pt x="2243" y="1097"/>
                </a:cubicBezTo>
                <a:cubicBezTo>
                  <a:pt x="2243" y="1098"/>
                  <a:pt x="2242" y="1099"/>
                  <a:pt x="2243" y="1100"/>
                </a:cubicBezTo>
                <a:cubicBezTo>
                  <a:pt x="2243" y="1101"/>
                  <a:pt x="2244" y="1101"/>
                  <a:pt x="2245" y="1101"/>
                </a:cubicBezTo>
                <a:cubicBezTo>
                  <a:pt x="2245" y="1102"/>
                  <a:pt x="2245" y="1102"/>
                  <a:pt x="2245" y="1102"/>
                </a:cubicBezTo>
                <a:cubicBezTo>
                  <a:pt x="2246" y="1103"/>
                  <a:pt x="2246" y="1103"/>
                  <a:pt x="2246" y="1103"/>
                </a:cubicBezTo>
                <a:cubicBezTo>
                  <a:pt x="2247" y="1104"/>
                  <a:pt x="2247" y="1105"/>
                  <a:pt x="2247" y="1105"/>
                </a:cubicBezTo>
                <a:cubicBezTo>
                  <a:pt x="2247" y="1106"/>
                  <a:pt x="2248" y="1107"/>
                  <a:pt x="2248" y="1108"/>
                </a:cubicBezTo>
                <a:cubicBezTo>
                  <a:pt x="2248" y="1109"/>
                  <a:pt x="2248" y="1109"/>
                  <a:pt x="2248" y="1110"/>
                </a:cubicBezTo>
                <a:cubicBezTo>
                  <a:pt x="2248" y="1110"/>
                  <a:pt x="2248" y="1111"/>
                  <a:pt x="2248" y="1111"/>
                </a:cubicBezTo>
                <a:cubicBezTo>
                  <a:pt x="2248" y="1111"/>
                  <a:pt x="2248" y="1112"/>
                  <a:pt x="2248" y="1112"/>
                </a:cubicBezTo>
                <a:cubicBezTo>
                  <a:pt x="2248" y="1112"/>
                  <a:pt x="2248" y="1113"/>
                  <a:pt x="2248" y="1113"/>
                </a:cubicBezTo>
                <a:cubicBezTo>
                  <a:pt x="2248" y="1114"/>
                  <a:pt x="2247" y="1115"/>
                  <a:pt x="2247" y="1116"/>
                </a:cubicBezTo>
                <a:cubicBezTo>
                  <a:pt x="2247" y="1117"/>
                  <a:pt x="2248" y="1117"/>
                  <a:pt x="2248" y="1118"/>
                </a:cubicBezTo>
                <a:cubicBezTo>
                  <a:pt x="2248" y="1119"/>
                  <a:pt x="2248" y="1120"/>
                  <a:pt x="2248" y="1121"/>
                </a:cubicBezTo>
                <a:cubicBezTo>
                  <a:pt x="2247" y="1121"/>
                  <a:pt x="2246" y="1122"/>
                  <a:pt x="2246" y="1122"/>
                </a:cubicBezTo>
                <a:cubicBezTo>
                  <a:pt x="2246" y="1123"/>
                  <a:pt x="2248" y="1122"/>
                  <a:pt x="2248" y="1122"/>
                </a:cubicBezTo>
                <a:cubicBezTo>
                  <a:pt x="2248" y="1123"/>
                  <a:pt x="2248" y="1123"/>
                  <a:pt x="2248" y="1124"/>
                </a:cubicBezTo>
                <a:cubicBezTo>
                  <a:pt x="2248" y="1125"/>
                  <a:pt x="2248" y="1125"/>
                  <a:pt x="2249" y="1126"/>
                </a:cubicBezTo>
                <a:cubicBezTo>
                  <a:pt x="2249" y="1127"/>
                  <a:pt x="2249" y="1128"/>
                  <a:pt x="2249" y="1129"/>
                </a:cubicBezTo>
                <a:cubicBezTo>
                  <a:pt x="2249" y="1129"/>
                  <a:pt x="2250" y="1130"/>
                  <a:pt x="2250" y="1131"/>
                </a:cubicBezTo>
                <a:cubicBezTo>
                  <a:pt x="2250" y="1132"/>
                  <a:pt x="2250" y="1133"/>
                  <a:pt x="2250" y="1134"/>
                </a:cubicBezTo>
                <a:cubicBezTo>
                  <a:pt x="2250" y="1134"/>
                  <a:pt x="2251" y="1135"/>
                  <a:pt x="2251" y="1136"/>
                </a:cubicBezTo>
                <a:cubicBezTo>
                  <a:pt x="2251" y="1137"/>
                  <a:pt x="2252" y="1137"/>
                  <a:pt x="2252" y="1138"/>
                </a:cubicBezTo>
                <a:cubicBezTo>
                  <a:pt x="2253" y="1139"/>
                  <a:pt x="2253" y="1140"/>
                  <a:pt x="2253" y="1140"/>
                </a:cubicBezTo>
                <a:cubicBezTo>
                  <a:pt x="2253" y="1141"/>
                  <a:pt x="2253" y="1143"/>
                  <a:pt x="2253" y="1143"/>
                </a:cubicBezTo>
                <a:cubicBezTo>
                  <a:pt x="2253" y="1144"/>
                  <a:pt x="2253" y="1144"/>
                  <a:pt x="2253" y="1145"/>
                </a:cubicBezTo>
                <a:cubicBezTo>
                  <a:pt x="2253" y="1145"/>
                  <a:pt x="2253" y="1146"/>
                  <a:pt x="2254" y="1146"/>
                </a:cubicBezTo>
                <a:cubicBezTo>
                  <a:pt x="2254" y="1147"/>
                  <a:pt x="2254" y="1147"/>
                  <a:pt x="2254" y="1148"/>
                </a:cubicBezTo>
                <a:cubicBezTo>
                  <a:pt x="2254" y="1149"/>
                  <a:pt x="2255" y="1150"/>
                  <a:pt x="2255" y="1150"/>
                </a:cubicBezTo>
                <a:cubicBezTo>
                  <a:pt x="2255" y="1151"/>
                  <a:pt x="2255" y="1152"/>
                  <a:pt x="2256" y="1152"/>
                </a:cubicBezTo>
                <a:cubicBezTo>
                  <a:pt x="2257" y="1152"/>
                  <a:pt x="2258" y="1152"/>
                  <a:pt x="2259" y="1152"/>
                </a:cubicBezTo>
                <a:cubicBezTo>
                  <a:pt x="2260" y="1152"/>
                  <a:pt x="2262" y="1152"/>
                  <a:pt x="2264" y="1152"/>
                </a:cubicBezTo>
                <a:cubicBezTo>
                  <a:pt x="2265" y="1152"/>
                  <a:pt x="2266" y="1152"/>
                  <a:pt x="2266" y="1152"/>
                </a:cubicBezTo>
                <a:cubicBezTo>
                  <a:pt x="2267" y="1151"/>
                  <a:pt x="2268" y="1151"/>
                  <a:pt x="2269" y="1151"/>
                </a:cubicBezTo>
                <a:cubicBezTo>
                  <a:pt x="2269" y="1151"/>
                  <a:pt x="2270" y="1151"/>
                  <a:pt x="2271" y="1151"/>
                </a:cubicBezTo>
                <a:cubicBezTo>
                  <a:pt x="2272" y="1151"/>
                  <a:pt x="2273" y="1151"/>
                  <a:pt x="2273" y="1151"/>
                </a:cubicBezTo>
                <a:cubicBezTo>
                  <a:pt x="2274" y="1150"/>
                  <a:pt x="2274" y="1149"/>
                  <a:pt x="2275" y="1149"/>
                </a:cubicBezTo>
                <a:cubicBezTo>
                  <a:pt x="2275" y="1148"/>
                  <a:pt x="2276" y="1148"/>
                  <a:pt x="2276" y="1147"/>
                </a:cubicBezTo>
                <a:cubicBezTo>
                  <a:pt x="2277" y="1147"/>
                  <a:pt x="2278" y="1147"/>
                  <a:pt x="2278" y="1146"/>
                </a:cubicBezTo>
                <a:cubicBezTo>
                  <a:pt x="2279" y="1146"/>
                  <a:pt x="2280" y="1145"/>
                  <a:pt x="2280" y="1145"/>
                </a:cubicBezTo>
                <a:cubicBezTo>
                  <a:pt x="2281" y="1144"/>
                  <a:pt x="2282" y="1144"/>
                  <a:pt x="2282" y="1144"/>
                </a:cubicBezTo>
                <a:cubicBezTo>
                  <a:pt x="2283" y="1143"/>
                  <a:pt x="2284" y="1144"/>
                  <a:pt x="2285" y="1143"/>
                </a:cubicBezTo>
                <a:cubicBezTo>
                  <a:pt x="2286" y="1143"/>
                  <a:pt x="2288" y="1142"/>
                  <a:pt x="2290" y="1142"/>
                </a:cubicBezTo>
                <a:cubicBezTo>
                  <a:pt x="2291" y="1142"/>
                  <a:pt x="2291" y="1142"/>
                  <a:pt x="2292" y="1142"/>
                </a:cubicBezTo>
                <a:cubicBezTo>
                  <a:pt x="2293" y="1142"/>
                  <a:pt x="2293" y="1142"/>
                  <a:pt x="2294" y="1142"/>
                </a:cubicBezTo>
                <a:cubicBezTo>
                  <a:pt x="2294" y="1141"/>
                  <a:pt x="2295" y="1142"/>
                  <a:pt x="2296" y="1141"/>
                </a:cubicBezTo>
                <a:cubicBezTo>
                  <a:pt x="2297" y="1141"/>
                  <a:pt x="2298" y="1141"/>
                  <a:pt x="2298" y="1141"/>
                </a:cubicBezTo>
                <a:cubicBezTo>
                  <a:pt x="2300" y="1141"/>
                  <a:pt x="2300" y="1140"/>
                  <a:pt x="2301" y="1140"/>
                </a:cubicBezTo>
                <a:cubicBezTo>
                  <a:pt x="2302" y="1139"/>
                  <a:pt x="2303" y="1139"/>
                  <a:pt x="2304" y="1138"/>
                </a:cubicBezTo>
                <a:cubicBezTo>
                  <a:pt x="2304" y="1138"/>
                  <a:pt x="2305" y="1137"/>
                  <a:pt x="2306" y="1137"/>
                </a:cubicBezTo>
                <a:cubicBezTo>
                  <a:pt x="2307" y="1137"/>
                  <a:pt x="2308" y="1136"/>
                  <a:pt x="2308" y="1136"/>
                </a:cubicBezTo>
                <a:cubicBezTo>
                  <a:pt x="2310" y="1136"/>
                  <a:pt x="2312" y="1137"/>
                  <a:pt x="2314" y="1136"/>
                </a:cubicBezTo>
                <a:cubicBezTo>
                  <a:pt x="2315" y="1136"/>
                  <a:pt x="2315" y="1136"/>
                  <a:pt x="2316" y="1135"/>
                </a:cubicBezTo>
                <a:cubicBezTo>
                  <a:pt x="2316" y="1134"/>
                  <a:pt x="2317" y="1133"/>
                  <a:pt x="2318" y="1132"/>
                </a:cubicBezTo>
                <a:cubicBezTo>
                  <a:pt x="2319" y="1131"/>
                  <a:pt x="2320" y="1131"/>
                  <a:pt x="2321" y="1130"/>
                </a:cubicBezTo>
                <a:cubicBezTo>
                  <a:pt x="2322" y="1129"/>
                  <a:pt x="2323" y="1129"/>
                  <a:pt x="2324" y="1128"/>
                </a:cubicBezTo>
                <a:cubicBezTo>
                  <a:pt x="2325" y="1128"/>
                  <a:pt x="2326" y="1127"/>
                  <a:pt x="2328" y="1127"/>
                </a:cubicBezTo>
                <a:cubicBezTo>
                  <a:pt x="2329" y="1127"/>
                  <a:pt x="2330" y="1126"/>
                  <a:pt x="2331" y="1126"/>
                </a:cubicBezTo>
                <a:cubicBezTo>
                  <a:pt x="2332" y="1126"/>
                  <a:pt x="2333" y="1126"/>
                  <a:pt x="2333" y="1126"/>
                </a:cubicBezTo>
                <a:cubicBezTo>
                  <a:pt x="2334" y="1125"/>
                  <a:pt x="2335" y="1125"/>
                  <a:pt x="2336" y="1125"/>
                </a:cubicBezTo>
                <a:cubicBezTo>
                  <a:pt x="2338" y="1124"/>
                  <a:pt x="2339" y="1124"/>
                  <a:pt x="2341" y="1123"/>
                </a:cubicBezTo>
                <a:cubicBezTo>
                  <a:pt x="2343" y="1123"/>
                  <a:pt x="2345" y="1122"/>
                  <a:pt x="2346" y="1121"/>
                </a:cubicBezTo>
                <a:cubicBezTo>
                  <a:pt x="2347" y="1121"/>
                  <a:pt x="2348" y="1121"/>
                  <a:pt x="2349" y="1120"/>
                </a:cubicBezTo>
                <a:cubicBezTo>
                  <a:pt x="2350" y="1120"/>
                  <a:pt x="2350" y="1120"/>
                  <a:pt x="2351" y="1119"/>
                </a:cubicBezTo>
                <a:cubicBezTo>
                  <a:pt x="2352" y="1119"/>
                  <a:pt x="2353" y="1119"/>
                  <a:pt x="2354" y="1118"/>
                </a:cubicBezTo>
                <a:cubicBezTo>
                  <a:pt x="2355" y="1118"/>
                  <a:pt x="2355" y="1118"/>
                  <a:pt x="2356" y="1117"/>
                </a:cubicBezTo>
                <a:cubicBezTo>
                  <a:pt x="2356" y="1115"/>
                  <a:pt x="2354" y="1114"/>
                  <a:pt x="2355" y="1112"/>
                </a:cubicBezTo>
                <a:cubicBezTo>
                  <a:pt x="2356" y="1111"/>
                  <a:pt x="2357" y="1111"/>
                  <a:pt x="2357" y="1110"/>
                </a:cubicBezTo>
                <a:cubicBezTo>
                  <a:pt x="2358" y="1110"/>
                  <a:pt x="2358" y="1109"/>
                  <a:pt x="2359" y="1108"/>
                </a:cubicBezTo>
                <a:cubicBezTo>
                  <a:pt x="2359" y="1108"/>
                  <a:pt x="2360" y="1108"/>
                  <a:pt x="2361" y="1107"/>
                </a:cubicBezTo>
                <a:cubicBezTo>
                  <a:pt x="2362" y="1107"/>
                  <a:pt x="2362" y="1107"/>
                  <a:pt x="2363" y="1106"/>
                </a:cubicBezTo>
                <a:cubicBezTo>
                  <a:pt x="2364" y="1106"/>
                  <a:pt x="2365" y="1106"/>
                  <a:pt x="2366" y="1106"/>
                </a:cubicBezTo>
                <a:cubicBezTo>
                  <a:pt x="2367" y="1105"/>
                  <a:pt x="2369" y="1104"/>
                  <a:pt x="2371" y="1104"/>
                </a:cubicBezTo>
                <a:cubicBezTo>
                  <a:pt x="2372" y="1103"/>
                  <a:pt x="2373" y="1103"/>
                  <a:pt x="2373" y="1102"/>
                </a:cubicBezTo>
                <a:cubicBezTo>
                  <a:pt x="2374" y="1102"/>
                  <a:pt x="2375" y="1102"/>
                  <a:pt x="2376" y="1102"/>
                </a:cubicBezTo>
                <a:cubicBezTo>
                  <a:pt x="2377" y="1102"/>
                  <a:pt x="2377" y="1101"/>
                  <a:pt x="2378" y="1101"/>
                </a:cubicBezTo>
                <a:cubicBezTo>
                  <a:pt x="2379" y="1101"/>
                  <a:pt x="2380" y="1101"/>
                  <a:pt x="2381" y="1101"/>
                </a:cubicBezTo>
                <a:cubicBezTo>
                  <a:pt x="2382" y="1101"/>
                  <a:pt x="2384" y="1102"/>
                  <a:pt x="2386" y="1102"/>
                </a:cubicBezTo>
                <a:cubicBezTo>
                  <a:pt x="2386" y="1101"/>
                  <a:pt x="2387" y="1101"/>
                  <a:pt x="2388" y="1101"/>
                </a:cubicBezTo>
                <a:cubicBezTo>
                  <a:pt x="2389" y="1100"/>
                  <a:pt x="2389" y="1100"/>
                  <a:pt x="2389" y="1099"/>
                </a:cubicBezTo>
                <a:cubicBezTo>
                  <a:pt x="2390" y="1098"/>
                  <a:pt x="2390" y="1097"/>
                  <a:pt x="2390" y="1097"/>
                </a:cubicBezTo>
                <a:cubicBezTo>
                  <a:pt x="2390" y="1096"/>
                  <a:pt x="2390" y="1095"/>
                  <a:pt x="2391" y="1094"/>
                </a:cubicBezTo>
                <a:cubicBezTo>
                  <a:pt x="2391" y="1093"/>
                  <a:pt x="2391" y="1093"/>
                  <a:pt x="2392" y="1092"/>
                </a:cubicBezTo>
                <a:cubicBezTo>
                  <a:pt x="2392" y="1092"/>
                  <a:pt x="2393" y="1092"/>
                  <a:pt x="2393" y="1091"/>
                </a:cubicBezTo>
                <a:cubicBezTo>
                  <a:pt x="2393" y="1091"/>
                  <a:pt x="2393" y="1091"/>
                  <a:pt x="2394" y="1091"/>
                </a:cubicBezTo>
                <a:cubicBezTo>
                  <a:pt x="2396" y="1090"/>
                  <a:pt x="2397" y="1091"/>
                  <a:pt x="2399" y="1091"/>
                </a:cubicBezTo>
                <a:cubicBezTo>
                  <a:pt x="2400" y="1091"/>
                  <a:pt x="2400" y="1090"/>
                  <a:pt x="2401" y="1090"/>
                </a:cubicBezTo>
                <a:cubicBezTo>
                  <a:pt x="2402" y="1089"/>
                  <a:pt x="2403" y="1089"/>
                  <a:pt x="2403" y="1089"/>
                </a:cubicBezTo>
                <a:cubicBezTo>
                  <a:pt x="2404" y="1089"/>
                  <a:pt x="2405" y="1088"/>
                  <a:pt x="2405" y="1087"/>
                </a:cubicBezTo>
                <a:cubicBezTo>
                  <a:pt x="2405" y="1087"/>
                  <a:pt x="2405" y="1087"/>
                  <a:pt x="2405" y="1086"/>
                </a:cubicBezTo>
                <a:cubicBezTo>
                  <a:pt x="2405" y="1086"/>
                  <a:pt x="2406" y="1085"/>
                  <a:pt x="2406" y="1084"/>
                </a:cubicBezTo>
                <a:cubicBezTo>
                  <a:pt x="2406" y="1084"/>
                  <a:pt x="2406" y="1084"/>
                  <a:pt x="2406" y="1083"/>
                </a:cubicBezTo>
                <a:cubicBezTo>
                  <a:pt x="2407" y="1082"/>
                  <a:pt x="2407" y="1082"/>
                  <a:pt x="2408" y="1081"/>
                </a:cubicBezTo>
                <a:cubicBezTo>
                  <a:pt x="2409" y="1081"/>
                  <a:pt x="2409" y="1080"/>
                  <a:pt x="2409" y="1080"/>
                </a:cubicBezTo>
                <a:cubicBezTo>
                  <a:pt x="2410" y="1080"/>
                  <a:pt x="2410" y="1080"/>
                  <a:pt x="2411" y="1080"/>
                </a:cubicBezTo>
                <a:cubicBezTo>
                  <a:pt x="2412" y="1080"/>
                  <a:pt x="2412" y="1079"/>
                  <a:pt x="2413" y="1079"/>
                </a:cubicBezTo>
                <a:cubicBezTo>
                  <a:pt x="2415" y="1078"/>
                  <a:pt x="2417" y="1079"/>
                  <a:pt x="2418" y="1078"/>
                </a:cubicBezTo>
                <a:cubicBezTo>
                  <a:pt x="2419" y="1078"/>
                  <a:pt x="2419" y="1077"/>
                  <a:pt x="2419" y="1076"/>
                </a:cubicBezTo>
                <a:cubicBezTo>
                  <a:pt x="2419" y="1075"/>
                  <a:pt x="2418" y="1075"/>
                  <a:pt x="2418" y="1074"/>
                </a:cubicBezTo>
                <a:cubicBezTo>
                  <a:pt x="2418" y="1073"/>
                  <a:pt x="2419" y="1073"/>
                  <a:pt x="2419" y="1072"/>
                </a:cubicBezTo>
                <a:cubicBezTo>
                  <a:pt x="2419" y="1072"/>
                  <a:pt x="2418" y="1072"/>
                  <a:pt x="2418" y="1072"/>
                </a:cubicBezTo>
                <a:cubicBezTo>
                  <a:pt x="2418" y="1071"/>
                  <a:pt x="2418" y="1069"/>
                  <a:pt x="2418" y="1068"/>
                </a:cubicBezTo>
                <a:cubicBezTo>
                  <a:pt x="2418" y="1067"/>
                  <a:pt x="2419" y="1067"/>
                  <a:pt x="2419" y="1066"/>
                </a:cubicBezTo>
                <a:cubicBezTo>
                  <a:pt x="2420" y="1065"/>
                  <a:pt x="2420" y="1064"/>
                  <a:pt x="2420" y="1063"/>
                </a:cubicBezTo>
                <a:cubicBezTo>
                  <a:pt x="2420" y="1062"/>
                  <a:pt x="2421" y="1062"/>
                  <a:pt x="2421" y="1061"/>
                </a:cubicBezTo>
                <a:cubicBezTo>
                  <a:pt x="2422" y="1061"/>
                  <a:pt x="2422" y="1060"/>
                  <a:pt x="2423" y="1059"/>
                </a:cubicBezTo>
                <a:cubicBezTo>
                  <a:pt x="2423" y="1059"/>
                  <a:pt x="2425" y="1059"/>
                  <a:pt x="2424" y="1060"/>
                </a:cubicBezTo>
                <a:cubicBezTo>
                  <a:pt x="2424" y="1060"/>
                  <a:pt x="2423" y="1060"/>
                  <a:pt x="2424" y="1061"/>
                </a:cubicBezTo>
                <a:cubicBezTo>
                  <a:pt x="2424" y="1061"/>
                  <a:pt x="2424" y="1061"/>
                  <a:pt x="2424" y="1061"/>
                </a:cubicBezTo>
                <a:cubicBezTo>
                  <a:pt x="2425" y="1061"/>
                  <a:pt x="2425" y="1061"/>
                  <a:pt x="2426" y="1061"/>
                </a:cubicBezTo>
                <a:cubicBezTo>
                  <a:pt x="2426" y="1061"/>
                  <a:pt x="2426" y="1061"/>
                  <a:pt x="2427" y="1061"/>
                </a:cubicBezTo>
                <a:cubicBezTo>
                  <a:pt x="2428" y="1060"/>
                  <a:pt x="2428" y="1059"/>
                  <a:pt x="2429" y="1058"/>
                </a:cubicBezTo>
                <a:cubicBezTo>
                  <a:pt x="2430" y="1057"/>
                  <a:pt x="2430" y="1057"/>
                  <a:pt x="2430" y="1056"/>
                </a:cubicBezTo>
                <a:cubicBezTo>
                  <a:pt x="2430" y="1055"/>
                  <a:pt x="2431" y="1055"/>
                  <a:pt x="2431" y="1055"/>
                </a:cubicBezTo>
                <a:cubicBezTo>
                  <a:pt x="2431" y="1054"/>
                  <a:pt x="2432" y="1052"/>
                  <a:pt x="2433" y="1052"/>
                </a:cubicBezTo>
                <a:cubicBezTo>
                  <a:pt x="2434" y="1051"/>
                  <a:pt x="2434" y="1051"/>
                  <a:pt x="2435" y="1050"/>
                </a:cubicBezTo>
                <a:cubicBezTo>
                  <a:pt x="2435" y="1049"/>
                  <a:pt x="2436" y="1049"/>
                  <a:pt x="2437" y="1048"/>
                </a:cubicBezTo>
                <a:cubicBezTo>
                  <a:pt x="2437" y="1048"/>
                  <a:pt x="2438" y="1047"/>
                  <a:pt x="2438" y="1046"/>
                </a:cubicBezTo>
                <a:cubicBezTo>
                  <a:pt x="2439" y="1045"/>
                  <a:pt x="2439" y="1045"/>
                  <a:pt x="2440" y="1044"/>
                </a:cubicBezTo>
                <a:cubicBezTo>
                  <a:pt x="2440" y="1043"/>
                  <a:pt x="2440" y="1042"/>
                  <a:pt x="2440" y="1042"/>
                </a:cubicBezTo>
                <a:cubicBezTo>
                  <a:pt x="2441" y="1041"/>
                  <a:pt x="2441" y="1041"/>
                  <a:pt x="2441" y="1041"/>
                </a:cubicBezTo>
                <a:cubicBezTo>
                  <a:pt x="2441" y="1040"/>
                  <a:pt x="2441" y="1040"/>
                  <a:pt x="2442" y="1040"/>
                </a:cubicBezTo>
                <a:cubicBezTo>
                  <a:pt x="2442" y="1039"/>
                  <a:pt x="2443" y="1038"/>
                  <a:pt x="2443" y="1037"/>
                </a:cubicBezTo>
                <a:cubicBezTo>
                  <a:pt x="2442" y="1037"/>
                  <a:pt x="2442" y="1037"/>
                  <a:pt x="2442" y="1036"/>
                </a:cubicBezTo>
                <a:cubicBezTo>
                  <a:pt x="2442" y="1036"/>
                  <a:pt x="2442" y="1036"/>
                  <a:pt x="2442" y="1035"/>
                </a:cubicBezTo>
                <a:cubicBezTo>
                  <a:pt x="2442" y="1035"/>
                  <a:pt x="2441" y="1035"/>
                  <a:pt x="2441" y="1035"/>
                </a:cubicBezTo>
                <a:cubicBezTo>
                  <a:pt x="2441" y="1035"/>
                  <a:pt x="2441" y="1035"/>
                  <a:pt x="2440" y="1035"/>
                </a:cubicBezTo>
                <a:cubicBezTo>
                  <a:pt x="2440" y="1035"/>
                  <a:pt x="2439" y="1035"/>
                  <a:pt x="2439" y="1035"/>
                </a:cubicBezTo>
                <a:cubicBezTo>
                  <a:pt x="2438" y="1035"/>
                  <a:pt x="2438" y="1034"/>
                  <a:pt x="2438" y="1034"/>
                </a:cubicBezTo>
                <a:cubicBezTo>
                  <a:pt x="2437" y="1033"/>
                  <a:pt x="2436" y="1033"/>
                  <a:pt x="2436" y="1032"/>
                </a:cubicBezTo>
                <a:cubicBezTo>
                  <a:pt x="2435" y="1032"/>
                  <a:pt x="2435" y="1031"/>
                  <a:pt x="2434" y="1030"/>
                </a:cubicBezTo>
                <a:cubicBezTo>
                  <a:pt x="2434" y="1029"/>
                  <a:pt x="2433" y="1029"/>
                  <a:pt x="2433" y="1028"/>
                </a:cubicBezTo>
                <a:cubicBezTo>
                  <a:pt x="2432" y="1028"/>
                  <a:pt x="2432" y="1027"/>
                  <a:pt x="2431" y="1026"/>
                </a:cubicBezTo>
                <a:cubicBezTo>
                  <a:pt x="2431" y="1026"/>
                  <a:pt x="2430" y="1025"/>
                  <a:pt x="2430" y="1024"/>
                </a:cubicBezTo>
                <a:cubicBezTo>
                  <a:pt x="2429" y="1024"/>
                  <a:pt x="2429" y="1023"/>
                  <a:pt x="2428" y="1022"/>
                </a:cubicBezTo>
                <a:cubicBezTo>
                  <a:pt x="2427" y="1022"/>
                  <a:pt x="2426" y="1023"/>
                  <a:pt x="2425" y="1022"/>
                </a:cubicBezTo>
                <a:cubicBezTo>
                  <a:pt x="2424" y="1022"/>
                  <a:pt x="2423" y="1021"/>
                  <a:pt x="2421" y="1021"/>
                </a:cubicBezTo>
                <a:cubicBezTo>
                  <a:pt x="2420" y="1021"/>
                  <a:pt x="2419" y="1021"/>
                  <a:pt x="2419" y="1020"/>
                </a:cubicBezTo>
                <a:cubicBezTo>
                  <a:pt x="2418" y="1020"/>
                  <a:pt x="2418" y="1020"/>
                  <a:pt x="2417" y="1020"/>
                </a:cubicBezTo>
                <a:cubicBezTo>
                  <a:pt x="2415" y="1019"/>
                  <a:pt x="2414" y="1019"/>
                  <a:pt x="2412" y="1018"/>
                </a:cubicBezTo>
                <a:cubicBezTo>
                  <a:pt x="2410" y="1018"/>
                  <a:pt x="2409" y="1016"/>
                  <a:pt x="2408" y="1015"/>
                </a:cubicBezTo>
                <a:cubicBezTo>
                  <a:pt x="2407" y="1014"/>
                  <a:pt x="2407" y="1014"/>
                  <a:pt x="2406" y="1013"/>
                </a:cubicBezTo>
                <a:cubicBezTo>
                  <a:pt x="2405" y="1012"/>
                  <a:pt x="2405" y="1011"/>
                  <a:pt x="2404" y="1010"/>
                </a:cubicBezTo>
                <a:cubicBezTo>
                  <a:pt x="2404" y="1009"/>
                  <a:pt x="2404" y="1009"/>
                  <a:pt x="2404" y="1008"/>
                </a:cubicBezTo>
                <a:cubicBezTo>
                  <a:pt x="2403" y="1008"/>
                  <a:pt x="2403" y="1007"/>
                  <a:pt x="2403" y="1007"/>
                </a:cubicBezTo>
                <a:cubicBezTo>
                  <a:pt x="2403" y="1006"/>
                  <a:pt x="2403" y="1006"/>
                  <a:pt x="2403" y="1006"/>
                </a:cubicBezTo>
                <a:cubicBezTo>
                  <a:pt x="2403" y="1004"/>
                  <a:pt x="2403" y="1003"/>
                  <a:pt x="2403" y="1001"/>
                </a:cubicBezTo>
                <a:cubicBezTo>
                  <a:pt x="2403" y="1000"/>
                  <a:pt x="2403" y="1000"/>
                  <a:pt x="2402" y="999"/>
                </a:cubicBezTo>
                <a:cubicBezTo>
                  <a:pt x="2401" y="999"/>
                  <a:pt x="2401" y="998"/>
                  <a:pt x="2402" y="997"/>
                </a:cubicBezTo>
                <a:cubicBezTo>
                  <a:pt x="2402" y="997"/>
                  <a:pt x="2402" y="996"/>
                  <a:pt x="2403" y="995"/>
                </a:cubicBezTo>
                <a:cubicBezTo>
                  <a:pt x="2403" y="995"/>
                  <a:pt x="2403" y="995"/>
                  <a:pt x="2403" y="995"/>
                </a:cubicBezTo>
                <a:cubicBezTo>
                  <a:pt x="2403" y="994"/>
                  <a:pt x="2403" y="994"/>
                  <a:pt x="2404" y="993"/>
                </a:cubicBezTo>
                <a:cubicBezTo>
                  <a:pt x="2404" y="993"/>
                  <a:pt x="2404" y="993"/>
                  <a:pt x="2404" y="992"/>
                </a:cubicBezTo>
                <a:cubicBezTo>
                  <a:pt x="2404" y="992"/>
                  <a:pt x="2403" y="992"/>
                  <a:pt x="2403" y="991"/>
                </a:cubicBezTo>
                <a:cubicBezTo>
                  <a:pt x="2403" y="991"/>
                  <a:pt x="2404" y="991"/>
                  <a:pt x="2404" y="991"/>
                </a:cubicBezTo>
                <a:cubicBezTo>
                  <a:pt x="2404" y="991"/>
                  <a:pt x="2404" y="991"/>
                  <a:pt x="2404" y="991"/>
                </a:cubicBezTo>
                <a:cubicBezTo>
                  <a:pt x="2404" y="990"/>
                  <a:pt x="2405" y="990"/>
                  <a:pt x="2405" y="989"/>
                </a:cubicBezTo>
                <a:cubicBezTo>
                  <a:pt x="2405" y="989"/>
                  <a:pt x="2404" y="990"/>
                  <a:pt x="2404" y="990"/>
                </a:cubicBezTo>
                <a:cubicBezTo>
                  <a:pt x="2403" y="990"/>
                  <a:pt x="2403" y="989"/>
                  <a:pt x="2403" y="989"/>
                </a:cubicBezTo>
                <a:cubicBezTo>
                  <a:pt x="2402" y="989"/>
                  <a:pt x="2402" y="990"/>
                  <a:pt x="2401" y="990"/>
                </a:cubicBezTo>
                <a:cubicBezTo>
                  <a:pt x="2401" y="991"/>
                  <a:pt x="2400" y="991"/>
                  <a:pt x="2400" y="992"/>
                </a:cubicBezTo>
                <a:cubicBezTo>
                  <a:pt x="2399" y="993"/>
                  <a:pt x="2399" y="993"/>
                  <a:pt x="2398" y="994"/>
                </a:cubicBezTo>
                <a:cubicBezTo>
                  <a:pt x="2398" y="995"/>
                  <a:pt x="2397" y="995"/>
                  <a:pt x="2397" y="996"/>
                </a:cubicBezTo>
                <a:cubicBezTo>
                  <a:pt x="2396" y="997"/>
                  <a:pt x="2395" y="998"/>
                  <a:pt x="2394" y="999"/>
                </a:cubicBezTo>
                <a:cubicBezTo>
                  <a:pt x="2393" y="1000"/>
                  <a:pt x="2392" y="1000"/>
                  <a:pt x="2391" y="1001"/>
                </a:cubicBezTo>
                <a:cubicBezTo>
                  <a:pt x="2390" y="1002"/>
                  <a:pt x="2390" y="1003"/>
                  <a:pt x="2389" y="1004"/>
                </a:cubicBezTo>
                <a:cubicBezTo>
                  <a:pt x="2388" y="1005"/>
                  <a:pt x="2387" y="1005"/>
                  <a:pt x="2386" y="1006"/>
                </a:cubicBezTo>
                <a:cubicBezTo>
                  <a:pt x="2385" y="1007"/>
                  <a:pt x="2383" y="1008"/>
                  <a:pt x="2382" y="1010"/>
                </a:cubicBezTo>
                <a:cubicBezTo>
                  <a:pt x="2382" y="1011"/>
                  <a:pt x="2382" y="1012"/>
                  <a:pt x="2381" y="1013"/>
                </a:cubicBezTo>
                <a:cubicBezTo>
                  <a:pt x="2381" y="1014"/>
                  <a:pt x="2380" y="1016"/>
                  <a:pt x="2379" y="1015"/>
                </a:cubicBezTo>
                <a:cubicBezTo>
                  <a:pt x="2378" y="1015"/>
                  <a:pt x="2378" y="1015"/>
                  <a:pt x="2378" y="1015"/>
                </a:cubicBezTo>
                <a:cubicBezTo>
                  <a:pt x="2377" y="1014"/>
                  <a:pt x="2377" y="1014"/>
                  <a:pt x="2376" y="1015"/>
                </a:cubicBezTo>
                <a:cubicBezTo>
                  <a:pt x="2376" y="1015"/>
                  <a:pt x="2376" y="1015"/>
                  <a:pt x="2376" y="1015"/>
                </a:cubicBezTo>
                <a:cubicBezTo>
                  <a:pt x="2376" y="1016"/>
                  <a:pt x="2377" y="1015"/>
                  <a:pt x="2377" y="1016"/>
                </a:cubicBezTo>
                <a:cubicBezTo>
                  <a:pt x="2377" y="1016"/>
                  <a:pt x="2374" y="1017"/>
                  <a:pt x="2374" y="1016"/>
                </a:cubicBezTo>
                <a:cubicBezTo>
                  <a:pt x="2374" y="1016"/>
                  <a:pt x="2375" y="1016"/>
                  <a:pt x="2375" y="1016"/>
                </a:cubicBezTo>
                <a:cubicBezTo>
                  <a:pt x="2375" y="1015"/>
                  <a:pt x="2375" y="1015"/>
                  <a:pt x="2374" y="1015"/>
                </a:cubicBezTo>
                <a:cubicBezTo>
                  <a:pt x="2373" y="1015"/>
                  <a:pt x="2373" y="1015"/>
                  <a:pt x="2372" y="1015"/>
                </a:cubicBezTo>
                <a:cubicBezTo>
                  <a:pt x="2372" y="1015"/>
                  <a:pt x="2371" y="1016"/>
                  <a:pt x="2371" y="1016"/>
                </a:cubicBezTo>
                <a:cubicBezTo>
                  <a:pt x="2371" y="1017"/>
                  <a:pt x="2372" y="1016"/>
                  <a:pt x="2372" y="1016"/>
                </a:cubicBezTo>
                <a:cubicBezTo>
                  <a:pt x="2373" y="1016"/>
                  <a:pt x="2373" y="1016"/>
                  <a:pt x="2373" y="1016"/>
                </a:cubicBezTo>
                <a:cubicBezTo>
                  <a:pt x="2373" y="1017"/>
                  <a:pt x="2374" y="1017"/>
                  <a:pt x="2374" y="1017"/>
                </a:cubicBezTo>
                <a:cubicBezTo>
                  <a:pt x="2374" y="1017"/>
                  <a:pt x="2373" y="1017"/>
                  <a:pt x="2373" y="1017"/>
                </a:cubicBezTo>
                <a:cubicBezTo>
                  <a:pt x="2372" y="1017"/>
                  <a:pt x="2372" y="1018"/>
                  <a:pt x="2372" y="1018"/>
                </a:cubicBezTo>
                <a:cubicBezTo>
                  <a:pt x="2372" y="1017"/>
                  <a:pt x="2372" y="1017"/>
                  <a:pt x="2371" y="1017"/>
                </a:cubicBezTo>
                <a:cubicBezTo>
                  <a:pt x="2371" y="1017"/>
                  <a:pt x="2370" y="1017"/>
                  <a:pt x="2370" y="1017"/>
                </a:cubicBezTo>
                <a:cubicBezTo>
                  <a:pt x="2370" y="1017"/>
                  <a:pt x="2370" y="1017"/>
                  <a:pt x="2369" y="1016"/>
                </a:cubicBezTo>
                <a:cubicBezTo>
                  <a:pt x="2369" y="1016"/>
                  <a:pt x="2368" y="1016"/>
                  <a:pt x="2367" y="1016"/>
                </a:cubicBezTo>
                <a:cubicBezTo>
                  <a:pt x="2366" y="1016"/>
                  <a:pt x="2365" y="1016"/>
                  <a:pt x="2364" y="1016"/>
                </a:cubicBezTo>
                <a:cubicBezTo>
                  <a:pt x="2362" y="1016"/>
                  <a:pt x="2361" y="1017"/>
                  <a:pt x="2359" y="1017"/>
                </a:cubicBezTo>
                <a:cubicBezTo>
                  <a:pt x="2358" y="1018"/>
                  <a:pt x="2357" y="1018"/>
                  <a:pt x="2356" y="1018"/>
                </a:cubicBezTo>
                <a:cubicBezTo>
                  <a:pt x="2355" y="1019"/>
                  <a:pt x="2353" y="1019"/>
                  <a:pt x="2352" y="1018"/>
                </a:cubicBezTo>
                <a:cubicBezTo>
                  <a:pt x="2351" y="1018"/>
                  <a:pt x="2351" y="1018"/>
                  <a:pt x="2351" y="1017"/>
                </a:cubicBezTo>
                <a:cubicBezTo>
                  <a:pt x="2350" y="1017"/>
                  <a:pt x="2350" y="1017"/>
                  <a:pt x="2350" y="1016"/>
                </a:cubicBezTo>
                <a:cubicBezTo>
                  <a:pt x="2350" y="1016"/>
                  <a:pt x="2350" y="1015"/>
                  <a:pt x="2350" y="1015"/>
                </a:cubicBezTo>
                <a:cubicBezTo>
                  <a:pt x="2350" y="1014"/>
                  <a:pt x="2350" y="1015"/>
                  <a:pt x="2349" y="1015"/>
                </a:cubicBezTo>
                <a:cubicBezTo>
                  <a:pt x="2349" y="1016"/>
                  <a:pt x="2348" y="1015"/>
                  <a:pt x="2348" y="1014"/>
                </a:cubicBezTo>
                <a:cubicBezTo>
                  <a:pt x="2348" y="1014"/>
                  <a:pt x="2348" y="1013"/>
                  <a:pt x="2348" y="1013"/>
                </a:cubicBezTo>
                <a:cubicBezTo>
                  <a:pt x="2348" y="1014"/>
                  <a:pt x="2348" y="1014"/>
                  <a:pt x="2347" y="1015"/>
                </a:cubicBezTo>
                <a:cubicBezTo>
                  <a:pt x="2347" y="1015"/>
                  <a:pt x="2347" y="1015"/>
                  <a:pt x="2346" y="1015"/>
                </a:cubicBezTo>
                <a:cubicBezTo>
                  <a:pt x="2346" y="1014"/>
                  <a:pt x="2345" y="1015"/>
                  <a:pt x="2345" y="1014"/>
                </a:cubicBezTo>
                <a:cubicBezTo>
                  <a:pt x="2345" y="1014"/>
                  <a:pt x="2345" y="1013"/>
                  <a:pt x="2345" y="1013"/>
                </a:cubicBezTo>
                <a:cubicBezTo>
                  <a:pt x="2345" y="1012"/>
                  <a:pt x="2346" y="1012"/>
                  <a:pt x="2346" y="1011"/>
                </a:cubicBezTo>
                <a:cubicBezTo>
                  <a:pt x="2347" y="1011"/>
                  <a:pt x="2346" y="1010"/>
                  <a:pt x="2347" y="1009"/>
                </a:cubicBezTo>
                <a:cubicBezTo>
                  <a:pt x="2347" y="1009"/>
                  <a:pt x="2347" y="1009"/>
                  <a:pt x="2347" y="1008"/>
                </a:cubicBezTo>
                <a:cubicBezTo>
                  <a:pt x="2347" y="1008"/>
                  <a:pt x="2347" y="1007"/>
                  <a:pt x="2347" y="1007"/>
                </a:cubicBezTo>
                <a:cubicBezTo>
                  <a:pt x="2347" y="1007"/>
                  <a:pt x="2348" y="1006"/>
                  <a:pt x="2348" y="1006"/>
                </a:cubicBezTo>
                <a:cubicBezTo>
                  <a:pt x="2348" y="1005"/>
                  <a:pt x="2348" y="1005"/>
                  <a:pt x="2348" y="1004"/>
                </a:cubicBezTo>
                <a:cubicBezTo>
                  <a:pt x="2349" y="1003"/>
                  <a:pt x="2349" y="1003"/>
                  <a:pt x="2349" y="1003"/>
                </a:cubicBezTo>
                <a:cubicBezTo>
                  <a:pt x="2348" y="1002"/>
                  <a:pt x="2348" y="1002"/>
                  <a:pt x="2348" y="1002"/>
                </a:cubicBezTo>
                <a:cubicBezTo>
                  <a:pt x="2348" y="1001"/>
                  <a:pt x="2348" y="1001"/>
                  <a:pt x="2347" y="1001"/>
                </a:cubicBezTo>
                <a:cubicBezTo>
                  <a:pt x="2347" y="1000"/>
                  <a:pt x="2347" y="999"/>
                  <a:pt x="2347" y="999"/>
                </a:cubicBezTo>
                <a:cubicBezTo>
                  <a:pt x="2347" y="998"/>
                  <a:pt x="2347" y="998"/>
                  <a:pt x="2348" y="998"/>
                </a:cubicBezTo>
                <a:cubicBezTo>
                  <a:pt x="2348" y="997"/>
                  <a:pt x="2348" y="997"/>
                  <a:pt x="2348" y="996"/>
                </a:cubicBezTo>
                <a:cubicBezTo>
                  <a:pt x="2348" y="996"/>
                  <a:pt x="2348" y="994"/>
                  <a:pt x="2347" y="994"/>
                </a:cubicBezTo>
                <a:cubicBezTo>
                  <a:pt x="2347" y="994"/>
                  <a:pt x="2346" y="994"/>
                  <a:pt x="2346" y="994"/>
                </a:cubicBezTo>
                <a:cubicBezTo>
                  <a:pt x="2346" y="994"/>
                  <a:pt x="2345" y="993"/>
                  <a:pt x="2345" y="993"/>
                </a:cubicBezTo>
                <a:cubicBezTo>
                  <a:pt x="2345" y="992"/>
                  <a:pt x="2345" y="992"/>
                  <a:pt x="2344" y="992"/>
                </a:cubicBezTo>
                <a:cubicBezTo>
                  <a:pt x="2343" y="992"/>
                  <a:pt x="2343" y="992"/>
                  <a:pt x="2342" y="993"/>
                </a:cubicBezTo>
                <a:cubicBezTo>
                  <a:pt x="2341" y="993"/>
                  <a:pt x="2341" y="994"/>
                  <a:pt x="2341" y="995"/>
                </a:cubicBezTo>
                <a:cubicBezTo>
                  <a:pt x="2341" y="996"/>
                  <a:pt x="2341" y="996"/>
                  <a:pt x="2340" y="997"/>
                </a:cubicBezTo>
                <a:cubicBezTo>
                  <a:pt x="2340" y="998"/>
                  <a:pt x="2340" y="998"/>
                  <a:pt x="2340" y="999"/>
                </a:cubicBezTo>
                <a:cubicBezTo>
                  <a:pt x="2340" y="999"/>
                  <a:pt x="2340" y="1000"/>
                  <a:pt x="2339" y="1001"/>
                </a:cubicBezTo>
                <a:cubicBezTo>
                  <a:pt x="2339" y="1001"/>
                  <a:pt x="2339" y="1002"/>
                  <a:pt x="2339" y="1003"/>
                </a:cubicBezTo>
                <a:cubicBezTo>
                  <a:pt x="2339" y="1003"/>
                  <a:pt x="2338" y="1004"/>
                  <a:pt x="2339" y="1005"/>
                </a:cubicBezTo>
                <a:cubicBezTo>
                  <a:pt x="2339" y="1005"/>
                  <a:pt x="2339" y="1006"/>
                  <a:pt x="2339" y="1007"/>
                </a:cubicBezTo>
                <a:cubicBezTo>
                  <a:pt x="2339" y="1007"/>
                  <a:pt x="2339" y="1007"/>
                  <a:pt x="2339" y="1008"/>
                </a:cubicBezTo>
                <a:cubicBezTo>
                  <a:pt x="2338" y="1008"/>
                  <a:pt x="2338" y="1007"/>
                  <a:pt x="2338" y="1007"/>
                </a:cubicBezTo>
                <a:cubicBezTo>
                  <a:pt x="2338" y="1006"/>
                  <a:pt x="2337" y="1005"/>
                  <a:pt x="2337" y="1005"/>
                </a:cubicBezTo>
                <a:cubicBezTo>
                  <a:pt x="2336" y="1004"/>
                  <a:pt x="2336" y="1003"/>
                  <a:pt x="2336" y="1003"/>
                </a:cubicBezTo>
                <a:cubicBezTo>
                  <a:pt x="2335" y="1001"/>
                  <a:pt x="2334" y="1000"/>
                  <a:pt x="2333" y="999"/>
                </a:cubicBezTo>
                <a:cubicBezTo>
                  <a:pt x="2332" y="998"/>
                  <a:pt x="2332" y="996"/>
                  <a:pt x="2331" y="995"/>
                </a:cubicBezTo>
                <a:cubicBezTo>
                  <a:pt x="2330" y="995"/>
                  <a:pt x="2330" y="994"/>
                  <a:pt x="2330" y="993"/>
                </a:cubicBezTo>
                <a:cubicBezTo>
                  <a:pt x="2330" y="993"/>
                  <a:pt x="2330" y="992"/>
                  <a:pt x="2330" y="992"/>
                </a:cubicBezTo>
                <a:cubicBezTo>
                  <a:pt x="2330" y="992"/>
                  <a:pt x="2330" y="992"/>
                  <a:pt x="2331" y="992"/>
                </a:cubicBezTo>
                <a:cubicBezTo>
                  <a:pt x="2331" y="992"/>
                  <a:pt x="2331" y="993"/>
                  <a:pt x="2331" y="993"/>
                </a:cubicBezTo>
                <a:cubicBezTo>
                  <a:pt x="2331" y="993"/>
                  <a:pt x="2331" y="993"/>
                  <a:pt x="2331" y="993"/>
                </a:cubicBezTo>
                <a:cubicBezTo>
                  <a:pt x="2332" y="993"/>
                  <a:pt x="2332" y="994"/>
                  <a:pt x="2332" y="993"/>
                </a:cubicBezTo>
                <a:cubicBezTo>
                  <a:pt x="2332" y="993"/>
                  <a:pt x="2332" y="992"/>
                  <a:pt x="2332" y="992"/>
                </a:cubicBezTo>
                <a:cubicBezTo>
                  <a:pt x="2332" y="991"/>
                  <a:pt x="2332" y="991"/>
                  <a:pt x="2332" y="991"/>
                </a:cubicBezTo>
                <a:cubicBezTo>
                  <a:pt x="2332" y="991"/>
                  <a:pt x="2332" y="990"/>
                  <a:pt x="2332" y="990"/>
                </a:cubicBezTo>
                <a:cubicBezTo>
                  <a:pt x="2332" y="990"/>
                  <a:pt x="2333" y="990"/>
                  <a:pt x="2333" y="990"/>
                </a:cubicBezTo>
                <a:cubicBezTo>
                  <a:pt x="2333" y="989"/>
                  <a:pt x="2333" y="989"/>
                  <a:pt x="2332" y="989"/>
                </a:cubicBezTo>
                <a:cubicBezTo>
                  <a:pt x="2332" y="989"/>
                  <a:pt x="2332" y="988"/>
                  <a:pt x="2332" y="988"/>
                </a:cubicBezTo>
                <a:cubicBezTo>
                  <a:pt x="2332" y="988"/>
                  <a:pt x="2331" y="988"/>
                  <a:pt x="2331" y="987"/>
                </a:cubicBezTo>
                <a:cubicBezTo>
                  <a:pt x="2330" y="987"/>
                  <a:pt x="2330" y="987"/>
                  <a:pt x="2330" y="986"/>
                </a:cubicBezTo>
                <a:cubicBezTo>
                  <a:pt x="2330" y="984"/>
                  <a:pt x="2331" y="986"/>
                  <a:pt x="2331" y="986"/>
                </a:cubicBezTo>
                <a:cubicBezTo>
                  <a:pt x="2332" y="986"/>
                  <a:pt x="2332" y="985"/>
                  <a:pt x="2331" y="985"/>
                </a:cubicBezTo>
                <a:cubicBezTo>
                  <a:pt x="2331" y="985"/>
                  <a:pt x="2331" y="985"/>
                  <a:pt x="2331" y="984"/>
                </a:cubicBezTo>
                <a:cubicBezTo>
                  <a:pt x="2330" y="984"/>
                  <a:pt x="2330" y="984"/>
                  <a:pt x="2330" y="984"/>
                </a:cubicBezTo>
                <a:cubicBezTo>
                  <a:pt x="2330" y="983"/>
                  <a:pt x="2329" y="983"/>
                  <a:pt x="2329" y="983"/>
                </a:cubicBezTo>
                <a:cubicBezTo>
                  <a:pt x="2328" y="983"/>
                  <a:pt x="2328" y="983"/>
                  <a:pt x="2327" y="983"/>
                </a:cubicBezTo>
                <a:cubicBezTo>
                  <a:pt x="2327" y="983"/>
                  <a:pt x="2327" y="981"/>
                  <a:pt x="2326" y="981"/>
                </a:cubicBezTo>
                <a:cubicBezTo>
                  <a:pt x="2326" y="980"/>
                  <a:pt x="2326" y="980"/>
                  <a:pt x="2325" y="980"/>
                </a:cubicBezTo>
                <a:cubicBezTo>
                  <a:pt x="2325" y="980"/>
                  <a:pt x="2325" y="979"/>
                  <a:pt x="2325" y="979"/>
                </a:cubicBezTo>
                <a:cubicBezTo>
                  <a:pt x="2324" y="979"/>
                  <a:pt x="2324" y="979"/>
                  <a:pt x="2324" y="979"/>
                </a:cubicBezTo>
                <a:cubicBezTo>
                  <a:pt x="2323" y="979"/>
                  <a:pt x="2323" y="979"/>
                  <a:pt x="2323" y="979"/>
                </a:cubicBezTo>
                <a:cubicBezTo>
                  <a:pt x="2322" y="978"/>
                  <a:pt x="2322" y="977"/>
                  <a:pt x="2321" y="977"/>
                </a:cubicBezTo>
                <a:cubicBezTo>
                  <a:pt x="2321" y="977"/>
                  <a:pt x="2320" y="976"/>
                  <a:pt x="2321" y="976"/>
                </a:cubicBezTo>
                <a:cubicBezTo>
                  <a:pt x="2321" y="976"/>
                  <a:pt x="2323" y="976"/>
                  <a:pt x="2322" y="975"/>
                </a:cubicBezTo>
                <a:cubicBezTo>
                  <a:pt x="2321" y="975"/>
                  <a:pt x="2321" y="975"/>
                  <a:pt x="2320" y="975"/>
                </a:cubicBezTo>
                <a:cubicBezTo>
                  <a:pt x="2320" y="975"/>
                  <a:pt x="2319" y="975"/>
                  <a:pt x="2319" y="975"/>
                </a:cubicBezTo>
                <a:cubicBezTo>
                  <a:pt x="2319" y="975"/>
                  <a:pt x="2319" y="974"/>
                  <a:pt x="2319" y="974"/>
                </a:cubicBezTo>
                <a:cubicBezTo>
                  <a:pt x="2319" y="974"/>
                  <a:pt x="2318" y="974"/>
                  <a:pt x="2318" y="974"/>
                </a:cubicBezTo>
                <a:cubicBezTo>
                  <a:pt x="2317" y="974"/>
                  <a:pt x="2317" y="974"/>
                  <a:pt x="2317" y="973"/>
                </a:cubicBezTo>
                <a:cubicBezTo>
                  <a:pt x="2316" y="973"/>
                  <a:pt x="2316" y="972"/>
                  <a:pt x="2315" y="971"/>
                </a:cubicBezTo>
                <a:cubicBezTo>
                  <a:pt x="2315" y="970"/>
                  <a:pt x="2315" y="969"/>
                  <a:pt x="2315" y="968"/>
                </a:cubicBezTo>
                <a:cubicBezTo>
                  <a:pt x="2315" y="968"/>
                  <a:pt x="2314" y="967"/>
                  <a:pt x="2314" y="966"/>
                </a:cubicBezTo>
                <a:cubicBezTo>
                  <a:pt x="2314" y="965"/>
                  <a:pt x="2313" y="965"/>
                  <a:pt x="2313" y="964"/>
                </a:cubicBezTo>
                <a:cubicBezTo>
                  <a:pt x="2312" y="963"/>
                  <a:pt x="2312" y="962"/>
                  <a:pt x="2311" y="962"/>
                </a:cubicBezTo>
                <a:cubicBezTo>
                  <a:pt x="2311" y="961"/>
                  <a:pt x="2311" y="961"/>
                  <a:pt x="2311" y="960"/>
                </a:cubicBezTo>
                <a:cubicBezTo>
                  <a:pt x="2311" y="960"/>
                  <a:pt x="2311" y="960"/>
                  <a:pt x="2311" y="959"/>
                </a:cubicBezTo>
                <a:cubicBezTo>
                  <a:pt x="2310" y="959"/>
                  <a:pt x="2310" y="958"/>
                  <a:pt x="2310" y="958"/>
                </a:cubicBezTo>
                <a:cubicBezTo>
                  <a:pt x="2309" y="957"/>
                  <a:pt x="2309" y="956"/>
                  <a:pt x="2309" y="955"/>
                </a:cubicBezTo>
                <a:cubicBezTo>
                  <a:pt x="2309" y="955"/>
                  <a:pt x="2309" y="955"/>
                  <a:pt x="2308" y="955"/>
                </a:cubicBezTo>
                <a:cubicBezTo>
                  <a:pt x="2308" y="954"/>
                  <a:pt x="2308" y="953"/>
                  <a:pt x="2308" y="953"/>
                </a:cubicBezTo>
                <a:cubicBezTo>
                  <a:pt x="2308" y="952"/>
                  <a:pt x="2307" y="952"/>
                  <a:pt x="2307" y="952"/>
                </a:cubicBezTo>
                <a:cubicBezTo>
                  <a:pt x="2306" y="952"/>
                  <a:pt x="2306" y="952"/>
                  <a:pt x="2305" y="952"/>
                </a:cubicBezTo>
                <a:cubicBezTo>
                  <a:pt x="2305" y="952"/>
                  <a:pt x="2304" y="952"/>
                  <a:pt x="2305" y="951"/>
                </a:cubicBezTo>
                <a:cubicBezTo>
                  <a:pt x="2305" y="951"/>
                  <a:pt x="2305" y="951"/>
                  <a:pt x="2306" y="951"/>
                </a:cubicBezTo>
                <a:cubicBezTo>
                  <a:pt x="2306" y="951"/>
                  <a:pt x="2306" y="950"/>
                  <a:pt x="2306" y="950"/>
                </a:cubicBezTo>
                <a:cubicBezTo>
                  <a:pt x="2307" y="949"/>
                  <a:pt x="2307" y="949"/>
                  <a:pt x="2308" y="950"/>
                </a:cubicBezTo>
                <a:cubicBezTo>
                  <a:pt x="2308" y="950"/>
                  <a:pt x="2308" y="950"/>
                  <a:pt x="2309" y="950"/>
                </a:cubicBezTo>
                <a:cubicBezTo>
                  <a:pt x="2309" y="950"/>
                  <a:pt x="2309" y="949"/>
                  <a:pt x="2310" y="949"/>
                </a:cubicBezTo>
                <a:cubicBezTo>
                  <a:pt x="2310" y="949"/>
                  <a:pt x="2311" y="949"/>
                  <a:pt x="2311" y="948"/>
                </a:cubicBezTo>
                <a:cubicBezTo>
                  <a:pt x="2311" y="947"/>
                  <a:pt x="2311" y="947"/>
                  <a:pt x="2311" y="947"/>
                </a:cubicBezTo>
                <a:cubicBezTo>
                  <a:pt x="2311" y="947"/>
                  <a:pt x="2311" y="946"/>
                  <a:pt x="2311" y="946"/>
                </a:cubicBezTo>
                <a:cubicBezTo>
                  <a:pt x="2311" y="946"/>
                  <a:pt x="2310" y="946"/>
                  <a:pt x="2310" y="946"/>
                </a:cubicBezTo>
                <a:cubicBezTo>
                  <a:pt x="2310" y="945"/>
                  <a:pt x="2310" y="945"/>
                  <a:pt x="2310" y="945"/>
                </a:cubicBezTo>
                <a:cubicBezTo>
                  <a:pt x="2310" y="945"/>
                  <a:pt x="2310" y="945"/>
                  <a:pt x="2309" y="945"/>
                </a:cubicBezTo>
                <a:cubicBezTo>
                  <a:pt x="2309" y="945"/>
                  <a:pt x="2309" y="945"/>
                  <a:pt x="2308" y="945"/>
                </a:cubicBezTo>
                <a:cubicBezTo>
                  <a:pt x="2308" y="946"/>
                  <a:pt x="2308" y="946"/>
                  <a:pt x="2307" y="945"/>
                </a:cubicBezTo>
                <a:cubicBezTo>
                  <a:pt x="2307" y="945"/>
                  <a:pt x="2307" y="945"/>
                  <a:pt x="2307" y="944"/>
                </a:cubicBezTo>
                <a:cubicBezTo>
                  <a:pt x="2307" y="944"/>
                  <a:pt x="2306" y="944"/>
                  <a:pt x="2307" y="944"/>
                </a:cubicBezTo>
                <a:cubicBezTo>
                  <a:pt x="2307" y="944"/>
                  <a:pt x="2307" y="944"/>
                  <a:pt x="2307" y="944"/>
                </a:cubicBezTo>
                <a:cubicBezTo>
                  <a:pt x="2307" y="944"/>
                  <a:pt x="2308" y="944"/>
                  <a:pt x="2308" y="944"/>
                </a:cubicBezTo>
                <a:cubicBezTo>
                  <a:pt x="2309" y="944"/>
                  <a:pt x="2309" y="944"/>
                  <a:pt x="2310" y="945"/>
                </a:cubicBezTo>
                <a:cubicBezTo>
                  <a:pt x="2310" y="945"/>
                  <a:pt x="2311" y="945"/>
                  <a:pt x="2311" y="945"/>
                </a:cubicBezTo>
                <a:cubicBezTo>
                  <a:pt x="2312" y="945"/>
                  <a:pt x="2312" y="945"/>
                  <a:pt x="2312" y="945"/>
                </a:cubicBezTo>
                <a:cubicBezTo>
                  <a:pt x="2313" y="945"/>
                  <a:pt x="2313" y="945"/>
                  <a:pt x="2314" y="945"/>
                </a:cubicBezTo>
                <a:cubicBezTo>
                  <a:pt x="2315" y="944"/>
                  <a:pt x="2316" y="945"/>
                  <a:pt x="2317" y="944"/>
                </a:cubicBezTo>
                <a:cubicBezTo>
                  <a:pt x="2317" y="944"/>
                  <a:pt x="2318" y="944"/>
                  <a:pt x="2318" y="943"/>
                </a:cubicBezTo>
                <a:cubicBezTo>
                  <a:pt x="2318" y="943"/>
                  <a:pt x="2318" y="942"/>
                  <a:pt x="2317" y="941"/>
                </a:cubicBezTo>
                <a:cubicBezTo>
                  <a:pt x="2317" y="941"/>
                  <a:pt x="2317" y="941"/>
                  <a:pt x="2317" y="940"/>
                </a:cubicBezTo>
                <a:cubicBezTo>
                  <a:pt x="2318" y="940"/>
                  <a:pt x="2318" y="940"/>
                  <a:pt x="2319" y="940"/>
                </a:cubicBezTo>
                <a:cubicBezTo>
                  <a:pt x="2319" y="940"/>
                  <a:pt x="2319" y="938"/>
                  <a:pt x="2320" y="938"/>
                </a:cubicBezTo>
                <a:cubicBezTo>
                  <a:pt x="2320" y="938"/>
                  <a:pt x="2321" y="938"/>
                  <a:pt x="2321" y="939"/>
                </a:cubicBezTo>
                <a:cubicBezTo>
                  <a:pt x="2321" y="939"/>
                  <a:pt x="2321" y="939"/>
                  <a:pt x="2321" y="939"/>
                </a:cubicBezTo>
                <a:cubicBezTo>
                  <a:pt x="2320" y="940"/>
                  <a:pt x="2319" y="940"/>
                  <a:pt x="2319" y="940"/>
                </a:cubicBezTo>
                <a:cubicBezTo>
                  <a:pt x="2319" y="941"/>
                  <a:pt x="2320" y="941"/>
                  <a:pt x="2320" y="941"/>
                </a:cubicBezTo>
                <a:cubicBezTo>
                  <a:pt x="2321" y="941"/>
                  <a:pt x="2321" y="941"/>
                  <a:pt x="2321" y="941"/>
                </a:cubicBezTo>
                <a:cubicBezTo>
                  <a:pt x="2322" y="942"/>
                  <a:pt x="2323" y="942"/>
                  <a:pt x="2324" y="942"/>
                </a:cubicBezTo>
                <a:cubicBezTo>
                  <a:pt x="2324" y="943"/>
                  <a:pt x="2324" y="944"/>
                  <a:pt x="2325" y="944"/>
                </a:cubicBezTo>
                <a:cubicBezTo>
                  <a:pt x="2325" y="945"/>
                  <a:pt x="2326" y="944"/>
                  <a:pt x="2326" y="944"/>
                </a:cubicBezTo>
                <a:cubicBezTo>
                  <a:pt x="2326" y="944"/>
                  <a:pt x="2327" y="944"/>
                  <a:pt x="2327" y="943"/>
                </a:cubicBezTo>
                <a:cubicBezTo>
                  <a:pt x="2327" y="943"/>
                  <a:pt x="2328" y="943"/>
                  <a:pt x="2328" y="943"/>
                </a:cubicBezTo>
                <a:cubicBezTo>
                  <a:pt x="2329" y="943"/>
                  <a:pt x="2329" y="943"/>
                  <a:pt x="2329" y="943"/>
                </a:cubicBezTo>
                <a:cubicBezTo>
                  <a:pt x="2330" y="943"/>
                  <a:pt x="2330" y="942"/>
                  <a:pt x="2330" y="942"/>
                </a:cubicBezTo>
                <a:cubicBezTo>
                  <a:pt x="2331" y="942"/>
                  <a:pt x="2331" y="943"/>
                  <a:pt x="2331" y="943"/>
                </a:cubicBezTo>
                <a:cubicBezTo>
                  <a:pt x="2331" y="943"/>
                  <a:pt x="2331" y="944"/>
                  <a:pt x="2332" y="944"/>
                </a:cubicBezTo>
                <a:cubicBezTo>
                  <a:pt x="2332" y="944"/>
                  <a:pt x="2332" y="944"/>
                  <a:pt x="2332" y="945"/>
                </a:cubicBezTo>
                <a:cubicBezTo>
                  <a:pt x="2333" y="945"/>
                  <a:pt x="2332" y="946"/>
                  <a:pt x="2333" y="947"/>
                </a:cubicBezTo>
                <a:cubicBezTo>
                  <a:pt x="2333" y="947"/>
                  <a:pt x="2334" y="947"/>
                  <a:pt x="2334" y="947"/>
                </a:cubicBezTo>
                <a:cubicBezTo>
                  <a:pt x="2334" y="948"/>
                  <a:pt x="2335" y="948"/>
                  <a:pt x="2335" y="948"/>
                </a:cubicBezTo>
                <a:cubicBezTo>
                  <a:pt x="2335" y="949"/>
                  <a:pt x="2335" y="949"/>
                  <a:pt x="2336" y="950"/>
                </a:cubicBezTo>
                <a:cubicBezTo>
                  <a:pt x="2337" y="950"/>
                  <a:pt x="2337" y="951"/>
                  <a:pt x="2337" y="952"/>
                </a:cubicBezTo>
                <a:cubicBezTo>
                  <a:pt x="2338" y="952"/>
                  <a:pt x="2338" y="953"/>
                  <a:pt x="2338" y="953"/>
                </a:cubicBezTo>
                <a:cubicBezTo>
                  <a:pt x="2338" y="954"/>
                  <a:pt x="2337" y="954"/>
                  <a:pt x="2337" y="955"/>
                </a:cubicBezTo>
                <a:cubicBezTo>
                  <a:pt x="2337" y="955"/>
                  <a:pt x="2338" y="955"/>
                  <a:pt x="2338" y="955"/>
                </a:cubicBezTo>
                <a:cubicBezTo>
                  <a:pt x="2338" y="955"/>
                  <a:pt x="2339" y="955"/>
                  <a:pt x="2339" y="955"/>
                </a:cubicBezTo>
                <a:cubicBezTo>
                  <a:pt x="2339" y="956"/>
                  <a:pt x="2340" y="956"/>
                  <a:pt x="2340" y="956"/>
                </a:cubicBezTo>
                <a:cubicBezTo>
                  <a:pt x="2341" y="957"/>
                  <a:pt x="2340" y="958"/>
                  <a:pt x="2340" y="959"/>
                </a:cubicBezTo>
                <a:cubicBezTo>
                  <a:pt x="2340" y="959"/>
                  <a:pt x="2341" y="959"/>
                  <a:pt x="2341" y="960"/>
                </a:cubicBezTo>
                <a:cubicBezTo>
                  <a:pt x="2341" y="960"/>
                  <a:pt x="2341" y="960"/>
                  <a:pt x="2341" y="961"/>
                </a:cubicBezTo>
                <a:cubicBezTo>
                  <a:pt x="2342" y="961"/>
                  <a:pt x="2342" y="961"/>
                  <a:pt x="2342" y="962"/>
                </a:cubicBezTo>
                <a:cubicBezTo>
                  <a:pt x="2342" y="962"/>
                  <a:pt x="2342" y="963"/>
                  <a:pt x="2342" y="963"/>
                </a:cubicBezTo>
                <a:cubicBezTo>
                  <a:pt x="2343" y="964"/>
                  <a:pt x="2343" y="965"/>
                  <a:pt x="2343" y="965"/>
                </a:cubicBezTo>
                <a:cubicBezTo>
                  <a:pt x="2343" y="966"/>
                  <a:pt x="2344" y="966"/>
                  <a:pt x="2344" y="967"/>
                </a:cubicBezTo>
                <a:cubicBezTo>
                  <a:pt x="2345" y="968"/>
                  <a:pt x="2346" y="970"/>
                  <a:pt x="2348" y="971"/>
                </a:cubicBezTo>
                <a:cubicBezTo>
                  <a:pt x="2349" y="971"/>
                  <a:pt x="2351" y="971"/>
                  <a:pt x="2353" y="971"/>
                </a:cubicBezTo>
                <a:cubicBezTo>
                  <a:pt x="2353" y="971"/>
                  <a:pt x="2353" y="972"/>
                  <a:pt x="2354" y="972"/>
                </a:cubicBezTo>
                <a:cubicBezTo>
                  <a:pt x="2354" y="972"/>
                  <a:pt x="2355" y="972"/>
                  <a:pt x="2355" y="972"/>
                </a:cubicBezTo>
                <a:cubicBezTo>
                  <a:pt x="2355" y="972"/>
                  <a:pt x="2355" y="973"/>
                  <a:pt x="2356" y="973"/>
                </a:cubicBezTo>
                <a:cubicBezTo>
                  <a:pt x="2356" y="973"/>
                  <a:pt x="2356" y="973"/>
                  <a:pt x="2357" y="973"/>
                </a:cubicBezTo>
                <a:cubicBezTo>
                  <a:pt x="2358" y="973"/>
                  <a:pt x="2358" y="974"/>
                  <a:pt x="2359" y="975"/>
                </a:cubicBezTo>
                <a:cubicBezTo>
                  <a:pt x="2359" y="975"/>
                  <a:pt x="2360" y="976"/>
                  <a:pt x="2360" y="976"/>
                </a:cubicBezTo>
                <a:cubicBezTo>
                  <a:pt x="2361" y="977"/>
                  <a:pt x="2361" y="978"/>
                  <a:pt x="2362" y="978"/>
                </a:cubicBezTo>
                <a:cubicBezTo>
                  <a:pt x="2362" y="979"/>
                  <a:pt x="2363" y="979"/>
                  <a:pt x="2364" y="980"/>
                </a:cubicBezTo>
                <a:cubicBezTo>
                  <a:pt x="2364" y="980"/>
                  <a:pt x="2365" y="980"/>
                  <a:pt x="2365" y="980"/>
                </a:cubicBezTo>
                <a:cubicBezTo>
                  <a:pt x="2366" y="981"/>
                  <a:pt x="2366" y="981"/>
                  <a:pt x="2366" y="981"/>
                </a:cubicBezTo>
                <a:cubicBezTo>
                  <a:pt x="2368" y="981"/>
                  <a:pt x="2369" y="981"/>
                  <a:pt x="2369" y="982"/>
                </a:cubicBezTo>
                <a:cubicBezTo>
                  <a:pt x="2370" y="983"/>
                  <a:pt x="2370" y="984"/>
                  <a:pt x="2371" y="984"/>
                </a:cubicBezTo>
                <a:cubicBezTo>
                  <a:pt x="2371" y="985"/>
                  <a:pt x="2372" y="985"/>
                  <a:pt x="2373" y="985"/>
                </a:cubicBezTo>
                <a:cubicBezTo>
                  <a:pt x="2374" y="986"/>
                  <a:pt x="2375" y="986"/>
                  <a:pt x="2375" y="986"/>
                </a:cubicBezTo>
                <a:cubicBezTo>
                  <a:pt x="2377" y="986"/>
                  <a:pt x="2379" y="986"/>
                  <a:pt x="2380" y="986"/>
                </a:cubicBezTo>
                <a:cubicBezTo>
                  <a:pt x="2381" y="986"/>
                  <a:pt x="2382" y="987"/>
                  <a:pt x="2382" y="987"/>
                </a:cubicBezTo>
                <a:cubicBezTo>
                  <a:pt x="2383" y="988"/>
                  <a:pt x="2384" y="988"/>
                  <a:pt x="2385" y="987"/>
                </a:cubicBezTo>
                <a:cubicBezTo>
                  <a:pt x="2385" y="987"/>
                  <a:pt x="2386" y="987"/>
                  <a:pt x="2387" y="987"/>
                </a:cubicBezTo>
                <a:cubicBezTo>
                  <a:pt x="2388" y="986"/>
                  <a:pt x="2388" y="986"/>
                  <a:pt x="2389" y="986"/>
                </a:cubicBezTo>
                <a:cubicBezTo>
                  <a:pt x="2389" y="985"/>
                  <a:pt x="2390" y="986"/>
                  <a:pt x="2390" y="985"/>
                </a:cubicBezTo>
                <a:cubicBezTo>
                  <a:pt x="2391" y="985"/>
                  <a:pt x="2391" y="985"/>
                  <a:pt x="2392" y="985"/>
                </a:cubicBezTo>
                <a:cubicBezTo>
                  <a:pt x="2392" y="984"/>
                  <a:pt x="2392" y="984"/>
                  <a:pt x="2392" y="984"/>
                </a:cubicBezTo>
                <a:cubicBezTo>
                  <a:pt x="2393" y="984"/>
                  <a:pt x="2393" y="985"/>
                  <a:pt x="2393" y="985"/>
                </a:cubicBezTo>
                <a:cubicBezTo>
                  <a:pt x="2392" y="985"/>
                  <a:pt x="2392" y="985"/>
                  <a:pt x="2392" y="985"/>
                </a:cubicBezTo>
                <a:cubicBezTo>
                  <a:pt x="2391" y="985"/>
                  <a:pt x="2391" y="986"/>
                  <a:pt x="2391" y="986"/>
                </a:cubicBezTo>
                <a:cubicBezTo>
                  <a:pt x="2391" y="986"/>
                  <a:pt x="2390" y="987"/>
                  <a:pt x="2390" y="988"/>
                </a:cubicBezTo>
                <a:cubicBezTo>
                  <a:pt x="2391" y="988"/>
                  <a:pt x="2391" y="986"/>
                  <a:pt x="2392" y="986"/>
                </a:cubicBezTo>
                <a:cubicBezTo>
                  <a:pt x="2393" y="986"/>
                  <a:pt x="2393" y="986"/>
                  <a:pt x="2393" y="986"/>
                </a:cubicBezTo>
                <a:cubicBezTo>
                  <a:pt x="2394" y="986"/>
                  <a:pt x="2394" y="986"/>
                  <a:pt x="2394" y="986"/>
                </a:cubicBezTo>
                <a:cubicBezTo>
                  <a:pt x="2395" y="985"/>
                  <a:pt x="2395" y="986"/>
                  <a:pt x="2395" y="985"/>
                </a:cubicBezTo>
                <a:cubicBezTo>
                  <a:pt x="2396" y="985"/>
                  <a:pt x="2396" y="985"/>
                  <a:pt x="2396" y="985"/>
                </a:cubicBezTo>
                <a:cubicBezTo>
                  <a:pt x="2397" y="985"/>
                  <a:pt x="2397" y="984"/>
                  <a:pt x="2397" y="984"/>
                </a:cubicBezTo>
                <a:cubicBezTo>
                  <a:pt x="2398" y="984"/>
                  <a:pt x="2397" y="985"/>
                  <a:pt x="2398" y="985"/>
                </a:cubicBezTo>
                <a:cubicBezTo>
                  <a:pt x="2398" y="985"/>
                  <a:pt x="2399" y="985"/>
                  <a:pt x="2399" y="985"/>
                </a:cubicBezTo>
                <a:cubicBezTo>
                  <a:pt x="2399" y="985"/>
                  <a:pt x="2399" y="984"/>
                  <a:pt x="2399" y="984"/>
                </a:cubicBezTo>
                <a:cubicBezTo>
                  <a:pt x="2400" y="983"/>
                  <a:pt x="2400" y="983"/>
                  <a:pt x="2401" y="982"/>
                </a:cubicBezTo>
                <a:cubicBezTo>
                  <a:pt x="2401" y="982"/>
                  <a:pt x="2402" y="982"/>
                  <a:pt x="2402" y="982"/>
                </a:cubicBezTo>
                <a:cubicBezTo>
                  <a:pt x="2401" y="982"/>
                  <a:pt x="2401" y="982"/>
                  <a:pt x="2401" y="982"/>
                </a:cubicBezTo>
                <a:cubicBezTo>
                  <a:pt x="2400" y="982"/>
                  <a:pt x="2400" y="982"/>
                  <a:pt x="2399" y="982"/>
                </a:cubicBezTo>
                <a:cubicBezTo>
                  <a:pt x="2399" y="982"/>
                  <a:pt x="2399" y="982"/>
                  <a:pt x="2398" y="982"/>
                </a:cubicBezTo>
                <a:cubicBezTo>
                  <a:pt x="2398" y="982"/>
                  <a:pt x="2397" y="982"/>
                  <a:pt x="2396" y="982"/>
                </a:cubicBezTo>
                <a:cubicBezTo>
                  <a:pt x="2395" y="982"/>
                  <a:pt x="2395" y="983"/>
                  <a:pt x="2395" y="984"/>
                </a:cubicBezTo>
                <a:cubicBezTo>
                  <a:pt x="2395" y="984"/>
                  <a:pt x="2394" y="984"/>
                  <a:pt x="2394" y="985"/>
                </a:cubicBezTo>
                <a:cubicBezTo>
                  <a:pt x="2393" y="985"/>
                  <a:pt x="2393" y="984"/>
                  <a:pt x="2393" y="984"/>
                </a:cubicBezTo>
                <a:cubicBezTo>
                  <a:pt x="2393" y="983"/>
                  <a:pt x="2394" y="983"/>
                  <a:pt x="2394" y="983"/>
                </a:cubicBezTo>
                <a:cubicBezTo>
                  <a:pt x="2394" y="982"/>
                  <a:pt x="2394" y="982"/>
                  <a:pt x="2394" y="982"/>
                </a:cubicBezTo>
                <a:cubicBezTo>
                  <a:pt x="2394" y="981"/>
                  <a:pt x="2395" y="982"/>
                  <a:pt x="2395" y="981"/>
                </a:cubicBezTo>
                <a:cubicBezTo>
                  <a:pt x="2396" y="981"/>
                  <a:pt x="2396" y="981"/>
                  <a:pt x="2396" y="981"/>
                </a:cubicBezTo>
                <a:cubicBezTo>
                  <a:pt x="2397" y="980"/>
                  <a:pt x="2398" y="980"/>
                  <a:pt x="2399" y="980"/>
                </a:cubicBezTo>
                <a:cubicBezTo>
                  <a:pt x="2399" y="980"/>
                  <a:pt x="2400" y="980"/>
                  <a:pt x="2401" y="980"/>
                </a:cubicBezTo>
                <a:cubicBezTo>
                  <a:pt x="2402" y="979"/>
                  <a:pt x="2403" y="979"/>
                  <a:pt x="2403" y="979"/>
                </a:cubicBezTo>
                <a:cubicBezTo>
                  <a:pt x="2404" y="979"/>
                  <a:pt x="2405" y="980"/>
                  <a:pt x="2406" y="980"/>
                </a:cubicBezTo>
                <a:cubicBezTo>
                  <a:pt x="2407" y="980"/>
                  <a:pt x="2407" y="980"/>
                  <a:pt x="2408" y="980"/>
                </a:cubicBezTo>
                <a:cubicBezTo>
                  <a:pt x="2410" y="981"/>
                  <a:pt x="2409" y="983"/>
                  <a:pt x="2410" y="984"/>
                </a:cubicBezTo>
                <a:cubicBezTo>
                  <a:pt x="2410" y="985"/>
                  <a:pt x="2410" y="985"/>
                  <a:pt x="2410" y="986"/>
                </a:cubicBezTo>
                <a:cubicBezTo>
                  <a:pt x="2411" y="987"/>
                  <a:pt x="2411" y="987"/>
                  <a:pt x="2411" y="988"/>
                </a:cubicBezTo>
                <a:cubicBezTo>
                  <a:pt x="2411" y="988"/>
                  <a:pt x="2411" y="989"/>
                  <a:pt x="2411" y="990"/>
                </a:cubicBezTo>
                <a:cubicBezTo>
                  <a:pt x="2411" y="991"/>
                  <a:pt x="2412" y="991"/>
                  <a:pt x="2412" y="992"/>
                </a:cubicBezTo>
                <a:cubicBezTo>
                  <a:pt x="2412" y="994"/>
                  <a:pt x="2412" y="996"/>
                  <a:pt x="2414" y="997"/>
                </a:cubicBezTo>
                <a:cubicBezTo>
                  <a:pt x="2414" y="997"/>
                  <a:pt x="2415" y="997"/>
                  <a:pt x="2416" y="997"/>
                </a:cubicBezTo>
                <a:cubicBezTo>
                  <a:pt x="2417" y="997"/>
                  <a:pt x="2418" y="997"/>
                  <a:pt x="2419" y="997"/>
                </a:cubicBezTo>
                <a:cubicBezTo>
                  <a:pt x="2420" y="998"/>
                  <a:pt x="2420" y="997"/>
                  <a:pt x="2421" y="997"/>
                </a:cubicBezTo>
                <a:cubicBezTo>
                  <a:pt x="2422" y="998"/>
                  <a:pt x="2423" y="998"/>
                  <a:pt x="2424" y="998"/>
                </a:cubicBezTo>
                <a:cubicBezTo>
                  <a:pt x="2425" y="998"/>
                  <a:pt x="2425" y="998"/>
                  <a:pt x="2426" y="999"/>
                </a:cubicBezTo>
                <a:cubicBezTo>
                  <a:pt x="2427" y="999"/>
                  <a:pt x="2428" y="999"/>
                  <a:pt x="2429" y="999"/>
                </a:cubicBezTo>
                <a:cubicBezTo>
                  <a:pt x="2430" y="999"/>
                  <a:pt x="2430" y="999"/>
                  <a:pt x="2431" y="1000"/>
                </a:cubicBezTo>
                <a:cubicBezTo>
                  <a:pt x="2432" y="1000"/>
                  <a:pt x="2432" y="1001"/>
                  <a:pt x="2433" y="1001"/>
                </a:cubicBezTo>
                <a:cubicBezTo>
                  <a:pt x="2434" y="1001"/>
                  <a:pt x="2435" y="1001"/>
                  <a:pt x="2435" y="1001"/>
                </a:cubicBezTo>
                <a:cubicBezTo>
                  <a:pt x="2436" y="1001"/>
                  <a:pt x="2437" y="1000"/>
                  <a:pt x="2438" y="1000"/>
                </a:cubicBezTo>
                <a:cubicBezTo>
                  <a:pt x="2440" y="1000"/>
                  <a:pt x="2441" y="1000"/>
                  <a:pt x="2443" y="1000"/>
                </a:cubicBezTo>
                <a:cubicBezTo>
                  <a:pt x="2445" y="1000"/>
                  <a:pt x="2446" y="1001"/>
                  <a:pt x="2448" y="1001"/>
                </a:cubicBezTo>
                <a:cubicBezTo>
                  <a:pt x="2449" y="1001"/>
                  <a:pt x="2449" y="1001"/>
                  <a:pt x="2450" y="1001"/>
                </a:cubicBezTo>
                <a:cubicBezTo>
                  <a:pt x="2450" y="1001"/>
                  <a:pt x="2451" y="1002"/>
                  <a:pt x="2451" y="1002"/>
                </a:cubicBezTo>
                <a:cubicBezTo>
                  <a:pt x="2451" y="1003"/>
                  <a:pt x="2452" y="1003"/>
                  <a:pt x="2453" y="1004"/>
                </a:cubicBezTo>
                <a:cubicBezTo>
                  <a:pt x="2454" y="1004"/>
                  <a:pt x="2455" y="1004"/>
                  <a:pt x="2456" y="1004"/>
                </a:cubicBezTo>
                <a:cubicBezTo>
                  <a:pt x="2457" y="1004"/>
                  <a:pt x="2458" y="1004"/>
                  <a:pt x="2458" y="1004"/>
                </a:cubicBezTo>
                <a:cubicBezTo>
                  <a:pt x="2459" y="1004"/>
                  <a:pt x="2460" y="1004"/>
                  <a:pt x="2461" y="1004"/>
                </a:cubicBezTo>
                <a:cubicBezTo>
                  <a:pt x="2462" y="1004"/>
                  <a:pt x="2462" y="1004"/>
                  <a:pt x="2463" y="1004"/>
                </a:cubicBezTo>
                <a:cubicBezTo>
                  <a:pt x="2464" y="1004"/>
                  <a:pt x="2464" y="1004"/>
                  <a:pt x="2464" y="1005"/>
                </a:cubicBezTo>
                <a:cubicBezTo>
                  <a:pt x="2464" y="1005"/>
                  <a:pt x="2464" y="1006"/>
                  <a:pt x="2465" y="1006"/>
                </a:cubicBezTo>
                <a:cubicBezTo>
                  <a:pt x="2465" y="1006"/>
                  <a:pt x="2466" y="1005"/>
                  <a:pt x="2466" y="1005"/>
                </a:cubicBezTo>
                <a:cubicBezTo>
                  <a:pt x="2466" y="1005"/>
                  <a:pt x="2467" y="1005"/>
                  <a:pt x="2467" y="1005"/>
                </a:cubicBezTo>
                <a:cubicBezTo>
                  <a:pt x="2468" y="1005"/>
                  <a:pt x="2468" y="1004"/>
                  <a:pt x="2469" y="1004"/>
                </a:cubicBezTo>
                <a:cubicBezTo>
                  <a:pt x="2469" y="1004"/>
                  <a:pt x="2470" y="1004"/>
                  <a:pt x="2470" y="1004"/>
                </a:cubicBezTo>
                <a:cubicBezTo>
                  <a:pt x="2470" y="1004"/>
                  <a:pt x="2470" y="1005"/>
                  <a:pt x="2471" y="1005"/>
                </a:cubicBezTo>
                <a:cubicBezTo>
                  <a:pt x="2471" y="1005"/>
                  <a:pt x="2472" y="1004"/>
                  <a:pt x="2472" y="1004"/>
                </a:cubicBezTo>
                <a:cubicBezTo>
                  <a:pt x="2473" y="1004"/>
                  <a:pt x="2473" y="1004"/>
                  <a:pt x="2473" y="1003"/>
                </a:cubicBezTo>
                <a:cubicBezTo>
                  <a:pt x="2474" y="1003"/>
                  <a:pt x="2474" y="1003"/>
                  <a:pt x="2474" y="1003"/>
                </a:cubicBezTo>
                <a:cubicBezTo>
                  <a:pt x="2476" y="1002"/>
                  <a:pt x="2478" y="1003"/>
                  <a:pt x="2479" y="1003"/>
                </a:cubicBezTo>
                <a:cubicBezTo>
                  <a:pt x="2480" y="1003"/>
                  <a:pt x="2481" y="1003"/>
                  <a:pt x="2482" y="1003"/>
                </a:cubicBezTo>
                <a:cubicBezTo>
                  <a:pt x="2482" y="1003"/>
                  <a:pt x="2482" y="1003"/>
                  <a:pt x="2483" y="1003"/>
                </a:cubicBezTo>
                <a:cubicBezTo>
                  <a:pt x="2483" y="1004"/>
                  <a:pt x="2484" y="1004"/>
                  <a:pt x="2484" y="1004"/>
                </a:cubicBezTo>
                <a:cubicBezTo>
                  <a:pt x="2484" y="1003"/>
                  <a:pt x="2484" y="1003"/>
                  <a:pt x="2485" y="1003"/>
                </a:cubicBezTo>
                <a:cubicBezTo>
                  <a:pt x="2485" y="1002"/>
                  <a:pt x="2485" y="1002"/>
                  <a:pt x="2486" y="1002"/>
                </a:cubicBezTo>
                <a:cubicBezTo>
                  <a:pt x="2486" y="1002"/>
                  <a:pt x="2487" y="1002"/>
                  <a:pt x="2487" y="1002"/>
                </a:cubicBezTo>
                <a:cubicBezTo>
                  <a:pt x="2487" y="1002"/>
                  <a:pt x="2488" y="1002"/>
                  <a:pt x="2488" y="1002"/>
                </a:cubicBezTo>
                <a:cubicBezTo>
                  <a:pt x="2489" y="1002"/>
                  <a:pt x="2490" y="1002"/>
                  <a:pt x="2491" y="1002"/>
                </a:cubicBezTo>
                <a:cubicBezTo>
                  <a:pt x="2492" y="1003"/>
                  <a:pt x="2493" y="1002"/>
                  <a:pt x="2494" y="1003"/>
                </a:cubicBezTo>
                <a:cubicBezTo>
                  <a:pt x="2495" y="1003"/>
                  <a:pt x="2495" y="1003"/>
                  <a:pt x="2496" y="1003"/>
                </a:cubicBezTo>
                <a:cubicBezTo>
                  <a:pt x="2496" y="1004"/>
                  <a:pt x="2497" y="1004"/>
                  <a:pt x="2497" y="1004"/>
                </a:cubicBezTo>
                <a:cubicBezTo>
                  <a:pt x="2498" y="1004"/>
                  <a:pt x="2498" y="1004"/>
                  <a:pt x="2498" y="1003"/>
                </a:cubicBezTo>
                <a:cubicBezTo>
                  <a:pt x="2499" y="1003"/>
                  <a:pt x="2499" y="1003"/>
                  <a:pt x="2500" y="1003"/>
                </a:cubicBezTo>
                <a:cubicBezTo>
                  <a:pt x="2501" y="1002"/>
                  <a:pt x="2502" y="1002"/>
                  <a:pt x="2503" y="1002"/>
                </a:cubicBezTo>
                <a:cubicBezTo>
                  <a:pt x="2505" y="1002"/>
                  <a:pt x="2506" y="1001"/>
                  <a:pt x="2508" y="1001"/>
                </a:cubicBezTo>
                <a:cubicBezTo>
                  <a:pt x="2509" y="1001"/>
                  <a:pt x="2510" y="1001"/>
                  <a:pt x="2510" y="1001"/>
                </a:cubicBezTo>
                <a:cubicBezTo>
                  <a:pt x="2511" y="1001"/>
                  <a:pt x="2512" y="1001"/>
                  <a:pt x="2513" y="1001"/>
                </a:cubicBezTo>
                <a:cubicBezTo>
                  <a:pt x="2514" y="1001"/>
                  <a:pt x="2514" y="1001"/>
                  <a:pt x="2515" y="1001"/>
                </a:cubicBezTo>
                <a:cubicBezTo>
                  <a:pt x="2516" y="1001"/>
                  <a:pt x="2517" y="1001"/>
                  <a:pt x="2518" y="1001"/>
                </a:cubicBezTo>
                <a:cubicBezTo>
                  <a:pt x="2518" y="1001"/>
                  <a:pt x="2519" y="1001"/>
                  <a:pt x="2518" y="1000"/>
                </a:cubicBezTo>
                <a:cubicBezTo>
                  <a:pt x="2518" y="1000"/>
                  <a:pt x="2517" y="1000"/>
                  <a:pt x="2517" y="999"/>
                </a:cubicBezTo>
                <a:cubicBezTo>
                  <a:pt x="2517" y="999"/>
                  <a:pt x="2517" y="999"/>
                  <a:pt x="2518" y="999"/>
                </a:cubicBezTo>
                <a:cubicBezTo>
                  <a:pt x="2518" y="1000"/>
                  <a:pt x="2518" y="1000"/>
                  <a:pt x="2519" y="1000"/>
                </a:cubicBezTo>
                <a:cubicBezTo>
                  <a:pt x="2519" y="1001"/>
                  <a:pt x="2518" y="1002"/>
                  <a:pt x="2519" y="1002"/>
                </a:cubicBezTo>
                <a:cubicBezTo>
                  <a:pt x="2519" y="1003"/>
                  <a:pt x="2520" y="1003"/>
                  <a:pt x="2520" y="1004"/>
                </a:cubicBezTo>
                <a:cubicBezTo>
                  <a:pt x="2521" y="1004"/>
                  <a:pt x="2520" y="1005"/>
                  <a:pt x="2520" y="1006"/>
                </a:cubicBezTo>
                <a:cubicBezTo>
                  <a:pt x="2520" y="1006"/>
                  <a:pt x="2520" y="1007"/>
                  <a:pt x="2520" y="1007"/>
                </a:cubicBezTo>
                <a:cubicBezTo>
                  <a:pt x="2520" y="1008"/>
                  <a:pt x="2521" y="1007"/>
                  <a:pt x="2521" y="1007"/>
                </a:cubicBezTo>
                <a:cubicBezTo>
                  <a:pt x="2522" y="1007"/>
                  <a:pt x="2523" y="1008"/>
                  <a:pt x="2524" y="1008"/>
                </a:cubicBezTo>
                <a:cubicBezTo>
                  <a:pt x="2525" y="1008"/>
                  <a:pt x="2525" y="1008"/>
                  <a:pt x="2526" y="1009"/>
                </a:cubicBezTo>
                <a:cubicBezTo>
                  <a:pt x="2526" y="1010"/>
                  <a:pt x="2526" y="1010"/>
                  <a:pt x="2526" y="1011"/>
                </a:cubicBezTo>
                <a:cubicBezTo>
                  <a:pt x="2526" y="1012"/>
                  <a:pt x="2527" y="1012"/>
                  <a:pt x="2527" y="1013"/>
                </a:cubicBezTo>
                <a:cubicBezTo>
                  <a:pt x="2527" y="1014"/>
                  <a:pt x="2527" y="1015"/>
                  <a:pt x="2527" y="1015"/>
                </a:cubicBezTo>
                <a:cubicBezTo>
                  <a:pt x="2527" y="1016"/>
                  <a:pt x="2528" y="1016"/>
                  <a:pt x="2528" y="1017"/>
                </a:cubicBezTo>
                <a:cubicBezTo>
                  <a:pt x="2528" y="1017"/>
                  <a:pt x="2528" y="1017"/>
                  <a:pt x="2529" y="1017"/>
                </a:cubicBezTo>
                <a:cubicBezTo>
                  <a:pt x="2530" y="1017"/>
                  <a:pt x="2529" y="1018"/>
                  <a:pt x="2529" y="1019"/>
                </a:cubicBezTo>
                <a:cubicBezTo>
                  <a:pt x="2529" y="1019"/>
                  <a:pt x="2530" y="1020"/>
                  <a:pt x="2531" y="1020"/>
                </a:cubicBezTo>
                <a:cubicBezTo>
                  <a:pt x="2531" y="1020"/>
                  <a:pt x="2531" y="1019"/>
                  <a:pt x="2531" y="1019"/>
                </a:cubicBezTo>
                <a:cubicBezTo>
                  <a:pt x="2531" y="1019"/>
                  <a:pt x="2531" y="1019"/>
                  <a:pt x="2531" y="1018"/>
                </a:cubicBezTo>
                <a:cubicBezTo>
                  <a:pt x="2532" y="1018"/>
                  <a:pt x="2531" y="1017"/>
                  <a:pt x="2532" y="1017"/>
                </a:cubicBezTo>
                <a:cubicBezTo>
                  <a:pt x="2532" y="1017"/>
                  <a:pt x="2533" y="1017"/>
                  <a:pt x="2533" y="1017"/>
                </a:cubicBezTo>
                <a:cubicBezTo>
                  <a:pt x="2533" y="1017"/>
                  <a:pt x="2534" y="1017"/>
                  <a:pt x="2534" y="1017"/>
                </a:cubicBezTo>
                <a:cubicBezTo>
                  <a:pt x="2534" y="1017"/>
                  <a:pt x="2535" y="1018"/>
                  <a:pt x="2534" y="1018"/>
                </a:cubicBezTo>
                <a:cubicBezTo>
                  <a:pt x="2534" y="1019"/>
                  <a:pt x="2534" y="1018"/>
                  <a:pt x="2534" y="1018"/>
                </a:cubicBezTo>
                <a:cubicBezTo>
                  <a:pt x="2533" y="1018"/>
                  <a:pt x="2533" y="1018"/>
                  <a:pt x="2532" y="1018"/>
                </a:cubicBezTo>
                <a:cubicBezTo>
                  <a:pt x="2532" y="1018"/>
                  <a:pt x="2532" y="1018"/>
                  <a:pt x="2532" y="1019"/>
                </a:cubicBezTo>
                <a:cubicBezTo>
                  <a:pt x="2532" y="1019"/>
                  <a:pt x="2532" y="1019"/>
                  <a:pt x="2532" y="1020"/>
                </a:cubicBezTo>
                <a:cubicBezTo>
                  <a:pt x="2532" y="1020"/>
                  <a:pt x="2532" y="1021"/>
                  <a:pt x="2533" y="1021"/>
                </a:cubicBezTo>
                <a:cubicBezTo>
                  <a:pt x="2533" y="1020"/>
                  <a:pt x="2533" y="1020"/>
                  <a:pt x="2533" y="1019"/>
                </a:cubicBezTo>
                <a:cubicBezTo>
                  <a:pt x="2534" y="1019"/>
                  <a:pt x="2534" y="1019"/>
                  <a:pt x="2534" y="1019"/>
                </a:cubicBezTo>
                <a:cubicBezTo>
                  <a:pt x="2534" y="1020"/>
                  <a:pt x="2534" y="1020"/>
                  <a:pt x="2534" y="1020"/>
                </a:cubicBezTo>
                <a:cubicBezTo>
                  <a:pt x="2534" y="1020"/>
                  <a:pt x="2534" y="1020"/>
                  <a:pt x="2534" y="1020"/>
                </a:cubicBezTo>
                <a:cubicBezTo>
                  <a:pt x="2535" y="1020"/>
                  <a:pt x="2535" y="1020"/>
                  <a:pt x="2535" y="1020"/>
                </a:cubicBezTo>
                <a:cubicBezTo>
                  <a:pt x="2535" y="1021"/>
                  <a:pt x="2535" y="1021"/>
                  <a:pt x="2535" y="1021"/>
                </a:cubicBezTo>
                <a:cubicBezTo>
                  <a:pt x="2536" y="1020"/>
                  <a:pt x="2535" y="1020"/>
                  <a:pt x="2535" y="1020"/>
                </a:cubicBezTo>
                <a:cubicBezTo>
                  <a:pt x="2535" y="1019"/>
                  <a:pt x="2535" y="1019"/>
                  <a:pt x="2536" y="1019"/>
                </a:cubicBezTo>
                <a:cubicBezTo>
                  <a:pt x="2536" y="1019"/>
                  <a:pt x="2536" y="1021"/>
                  <a:pt x="2536" y="1021"/>
                </a:cubicBezTo>
                <a:cubicBezTo>
                  <a:pt x="2536" y="1022"/>
                  <a:pt x="2536" y="1021"/>
                  <a:pt x="2537" y="1021"/>
                </a:cubicBezTo>
                <a:cubicBezTo>
                  <a:pt x="2537" y="1020"/>
                  <a:pt x="2538" y="1021"/>
                  <a:pt x="2537" y="1021"/>
                </a:cubicBezTo>
                <a:cubicBezTo>
                  <a:pt x="2537" y="1022"/>
                  <a:pt x="2537" y="1022"/>
                  <a:pt x="2537" y="1023"/>
                </a:cubicBezTo>
                <a:cubicBezTo>
                  <a:pt x="2537" y="1024"/>
                  <a:pt x="2539" y="1022"/>
                  <a:pt x="2539" y="1022"/>
                </a:cubicBezTo>
                <a:cubicBezTo>
                  <a:pt x="2540" y="1022"/>
                  <a:pt x="2540" y="1022"/>
                  <a:pt x="2540" y="1022"/>
                </a:cubicBezTo>
                <a:cubicBezTo>
                  <a:pt x="2541" y="1022"/>
                  <a:pt x="2541" y="1021"/>
                  <a:pt x="2541" y="1021"/>
                </a:cubicBezTo>
                <a:cubicBezTo>
                  <a:pt x="2542" y="1022"/>
                  <a:pt x="2540" y="1022"/>
                  <a:pt x="2540" y="1023"/>
                </a:cubicBezTo>
                <a:cubicBezTo>
                  <a:pt x="2541" y="1023"/>
                  <a:pt x="2541" y="1024"/>
                  <a:pt x="2541" y="1024"/>
                </a:cubicBezTo>
                <a:cubicBezTo>
                  <a:pt x="2541" y="1025"/>
                  <a:pt x="2541" y="1025"/>
                  <a:pt x="2541" y="1026"/>
                </a:cubicBezTo>
                <a:cubicBezTo>
                  <a:pt x="2542" y="1026"/>
                  <a:pt x="2542" y="1027"/>
                  <a:pt x="2542" y="1027"/>
                </a:cubicBezTo>
                <a:cubicBezTo>
                  <a:pt x="2542" y="1027"/>
                  <a:pt x="2543" y="1028"/>
                  <a:pt x="2543" y="1028"/>
                </a:cubicBezTo>
                <a:cubicBezTo>
                  <a:pt x="2543" y="1028"/>
                  <a:pt x="2544" y="1028"/>
                  <a:pt x="2544" y="1029"/>
                </a:cubicBezTo>
                <a:cubicBezTo>
                  <a:pt x="2544" y="1029"/>
                  <a:pt x="2545" y="1030"/>
                  <a:pt x="2545" y="1030"/>
                </a:cubicBezTo>
                <a:cubicBezTo>
                  <a:pt x="2546" y="1030"/>
                  <a:pt x="2546" y="1030"/>
                  <a:pt x="2546" y="1030"/>
                </a:cubicBezTo>
                <a:cubicBezTo>
                  <a:pt x="2547" y="1031"/>
                  <a:pt x="2547" y="1031"/>
                  <a:pt x="2547" y="1031"/>
                </a:cubicBezTo>
                <a:cubicBezTo>
                  <a:pt x="2549" y="1032"/>
                  <a:pt x="2550" y="1032"/>
                  <a:pt x="2552" y="1033"/>
                </a:cubicBezTo>
                <a:cubicBezTo>
                  <a:pt x="2552" y="1033"/>
                  <a:pt x="2553" y="1033"/>
                  <a:pt x="2554" y="1033"/>
                </a:cubicBezTo>
                <a:cubicBezTo>
                  <a:pt x="2555" y="1033"/>
                  <a:pt x="2556" y="1033"/>
                  <a:pt x="2556" y="1032"/>
                </a:cubicBezTo>
                <a:cubicBezTo>
                  <a:pt x="2557" y="1032"/>
                  <a:pt x="2557" y="1032"/>
                  <a:pt x="2557" y="1032"/>
                </a:cubicBezTo>
                <a:cubicBezTo>
                  <a:pt x="2558" y="1031"/>
                  <a:pt x="2558" y="1032"/>
                  <a:pt x="2559" y="1031"/>
                </a:cubicBezTo>
                <a:cubicBezTo>
                  <a:pt x="2559" y="1031"/>
                  <a:pt x="2559" y="1031"/>
                  <a:pt x="2560" y="1031"/>
                </a:cubicBezTo>
                <a:cubicBezTo>
                  <a:pt x="2560" y="1030"/>
                  <a:pt x="2560" y="1031"/>
                  <a:pt x="2561" y="1031"/>
                </a:cubicBezTo>
                <a:cubicBezTo>
                  <a:pt x="2561" y="1031"/>
                  <a:pt x="2561" y="1031"/>
                  <a:pt x="2562" y="1031"/>
                </a:cubicBezTo>
                <a:cubicBezTo>
                  <a:pt x="2562" y="1032"/>
                  <a:pt x="2562" y="1032"/>
                  <a:pt x="2562" y="1032"/>
                </a:cubicBezTo>
                <a:cubicBezTo>
                  <a:pt x="2562" y="1033"/>
                  <a:pt x="2561" y="1034"/>
                  <a:pt x="2560" y="1034"/>
                </a:cubicBezTo>
                <a:cubicBezTo>
                  <a:pt x="2560" y="1035"/>
                  <a:pt x="2560" y="1035"/>
                  <a:pt x="2560" y="1035"/>
                </a:cubicBezTo>
                <a:cubicBezTo>
                  <a:pt x="2559" y="1036"/>
                  <a:pt x="2559" y="1036"/>
                  <a:pt x="2559" y="1036"/>
                </a:cubicBezTo>
                <a:cubicBezTo>
                  <a:pt x="2558" y="1036"/>
                  <a:pt x="2558" y="1036"/>
                  <a:pt x="2557" y="1037"/>
                </a:cubicBezTo>
                <a:cubicBezTo>
                  <a:pt x="2557" y="1037"/>
                  <a:pt x="2556" y="1037"/>
                  <a:pt x="2556" y="1037"/>
                </a:cubicBezTo>
                <a:cubicBezTo>
                  <a:pt x="2554" y="1037"/>
                  <a:pt x="2553" y="1037"/>
                  <a:pt x="2551" y="1038"/>
                </a:cubicBezTo>
                <a:cubicBezTo>
                  <a:pt x="2551" y="1038"/>
                  <a:pt x="2550" y="1039"/>
                  <a:pt x="2549" y="1038"/>
                </a:cubicBezTo>
                <a:cubicBezTo>
                  <a:pt x="2548" y="1038"/>
                  <a:pt x="2550" y="1038"/>
                  <a:pt x="2549" y="1037"/>
                </a:cubicBezTo>
                <a:cubicBezTo>
                  <a:pt x="2549" y="1037"/>
                  <a:pt x="2548" y="1037"/>
                  <a:pt x="2547" y="1037"/>
                </a:cubicBezTo>
                <a:cubicBezTo>
                  <a:pt x="2546" y="1037"/>
                  <a:pt x="2545" y="1038"/>
                  <a:pt x="2546" y="1039"/>
                </a:cubicBezTo>
                <a:cubicBezTo>
                  <a:pt x="2547" y="1039"/>
                  <a:pt x="2547" y="1039"/>
                  <a:pt x="2547" y="1040"/>
                </a:cubicBezTo>
                <a:cubicBezTo>
                  <a:pt x="2547" y="1040"/>
                  <a:pt x="2547" y="1040"/>
                  <a:pt x="2548" y="1041"/>
                </a:cubicBezTo>
                <a:cubicBezTo>
                  <a:pt x="2548" y="1042"/>
                  <a:pt x="2549" y="1042"/>
                  <a:pt x="2550" y="1042"/>
                </a:cubicBezTo>
                <a:cubicBezTo>
                  <a:pt x="2551" y="1043"/>
                  <a:pt x="2552" y="1045"/>
                  <a:pt x="2553" y="1046"/>
                </a:cubicBezTo>
                <a:cubicBezTo>
                  <a:pt x="2555" y="1048"/>
                  <a:pt x="2557" y="1049"/>
                  <a:pt x="2558" y="1051"/>
                </a:cubicBezTo>
                <a:cubicBezTo>
                  <a:pt x="2559" y="1052"/>
                  <a:pt x="2559" y="1053"/>
                  <a:pt x="2560" y="1053"/>
                </a:cubicBezTo>
                <a:cubicBezTo>
                  <a:pt x="2560" y="1054"/>
                  <a:pt x="2561" y="1055"/>
                  <a:pt x="2562" y="1055"/>
                </a:cubicBezTo>
                <a:cubicBezTo>
                  <a:pt x="2562" y="1055"/>
                  <a:pt x="2563" y="1056"/>
                  <a:pt x="2564" y="1056"/>
                </a:cubicBezTo>
                <a:cubicBezTo>
                  <a:pt x="2564" y="1057"/>
                  <a:pt x="2565" y="1057"/>
                  <a:pt x="2566" y="1057"/>
                </a:cubicBezTo>
                <a:cubicBezTo>
                  <a:pt x="2567" y="1057"/>
                  <a:pt x="2567" y="1057"/>
                  <a:pt x="2567" y="1057"/>
                </a:cubicBezTo>
                <a:cubicBezTo>
                  <a:pt x="2568" y="1057"/>
                  <a:pt x="2568" y="1057"/>
                  <a:pt x="2568" y="1057"/>
                </a:cubicBezTo>
                <a:cubicBezTo>
                  <a:pt x="2570" y="1057"/>
                  <a:pt x="2570" y="1057"/>
                  <a:pt x="2571" y="1056"/>
                </a:cubicBezTo>
                <a:cubicBezTo>
                  <a:pt x="2572" y="1056"/>
                  <a:pt x="2573" y="1056"/>
                  <a:pt x="2574" y="1056"/>
                </a:cubicBezTo>
                <a:cubicBezTo>
                  <a:pt x="2574" y="1055"/>
                  <a:pt x="2575" y="1055"/>
                  <a:pt x="2576" y="1055"/>
                </a:cubicBezTo>
                <a:cubicBezTo>
                  <a:pt x="2577" y="1054"/>
                  <a:pt x="2577" y="1054"/>
                  <a:pt x="2578" y="1054"/>
                </a:cubicBezTo>
                <a:cubicBezTo>
                  <a:pt x="2579" y="1054"/>
                  <a:pt x="2579" y="1053"/>
                  <a:pt x="2580" y="1053"/>
                </a:cubicBezTo>
                <a:cubicBezTo>
                  <a:pt x="2581" y="1052"/>
                  <a:pt x="2582" y="1052"/>
                  <a:pt x="2582" y="1051"/>
                </a:cubicBezTo>
                <a:cubicBezTo>
                  <a:pt x="2583" y="1051"/>
                  <a:pt x="2583" y="1051"/>
                  <a:pt x="2583" y="1050"/>
                </a:cubicBezTo>
                <a:cubicBezTo>
                  <a:pt x="2583" y="1050"/>
                  <a:pt x="2583" y="1049"/>
                  <a:pt x="2583" y="1049"/>
                </a:cubicBezTo>
                <a:cubicBezTo>
                  <a:pt x="2584" y="1049"/>
                  <a:pt x="2584" y="1048"/>
                  <a:pt x="2584" y="1048"/>
                </a:cubicBezTo>
                <a:cubicBezTo>
                  <a:pt x="2584" y="1048"/>
                  <a:pt x="2584" y="1047"/>
                  <a:pt x="2584" y="1047"/>
                </a:cubicBezTo>
                <a:cubicBezTo>
                  <a:pt x="2584" y="1046"/>
                  <a:pt x="2584" y="1045"/>
                  <a:pt x="2583" y="1045"/>
                </a:cubicBezTo>
                <a:cubicBezTo>
                  <a:pt x="2583" y="1045"/>
                  <a:pt x="2581" y="1045"/>
                  <a:pt x="2581" y="1044"/>
                </a:cubicBezTo>
                <a:cubicBezTo>
                  <a:pt x="2582" y="1044"/>
                  <a:pt x="2582" y="1044"/>
                  <a:pt x="2582" y="1043"/>
                </a:cubicBezTo>
                <a:cubicBezTo>
                  <a:pt x="2583" y="1043"/>
                  <a:pt x="2582" y="1043"/>
                  <a:pt x="2582" y="1042"/>
                </a:cubicBezTo>
                <a:cubicBezTo>
                  <a:pt x="2582" y="1042"/>
                  <a:pt x="2584" y="1042"/>
                  <a:pt x="2584" y="1041"/>
                </a:cubicBezTo>
                <a:cubicBezTo>
                  <a:pt x="2584" y="1041"/>
                  <a:pt x="2584" y="1041"/>
                  <a:pt x="2585" y="1040"/>
                </a:cubicBezTo>
                <a:cubicBezTo>
                  <a:pt x="2585" y="1040"/>
                  <a:pt x="2585" y="1040"/>
                  <a:pt x="2584" y="1039"/>
                </a:cubicBezTo>
                <a:cubicBezTo>
                  <a:pt x="2584" y="1039"/>
                  <a:pt x="2584" y="1038"/>
                  <a:pt x="2584" y="1038"/>
                </a:cubicBezTo>
                <a:cubicBezTo>
                  <a:pt x="2585" y="1038"/>
                  <a:pt x="2585" y="1039"/>
                  <a:pt x="2586" y="1039"/>
                </a:cubicBezTo>
                <a:cubicBezTo>
                  <a:pt x="2587" y="1039"/>
                  <a:pt x="2588" y="1039"/>
                  <a:pt x="2589" y="1039"/>
                </a:cubicBezTo>
                <a:cubicBezTo>
                  <a:pt x="2590" y="1039"/>
                  <a:pt x="2590" y="1039"/>
                  <a:pt x="2590" y="1039"/>
                </a:cubicBezTo>
                <a:cubicBezTo>
                  <a:pt x="2590" y="1040"/>
                  <a:pt x="2589" y="1040"/>
                  <a:pt x="2589" y="1040"/>
                </a:cubicBezTo>
                <a:cubicBezTo>
                  <a:pt x="2589" y="1040"/>
                  <a:pt x="2588" y="1040"/>
                  <a:pt x="2588" y="1040"/>
                </a:cubicBezTo>
                <a:cubicBezTo>
                  <a:pt x="2587" y="1040"/>
                  <a:pt x="2587" y="1040"/>
                  <a:pt x="2587" y="1041"/>
                </a:cubicBezTo>
                <a:cubicBezTo>
                  <a:pt x="2587" y="1041"/>
                  <a:pt x="2587" y="1041"/>
                  <a:pt x="2586" y="1042"/>
                </a:cubicBezTo>
                <a:cubicBezTo>
                  <a:pt x="2586" y="1042"/>
                  <a:pt x="2586" y="1043"/>
                  <a:pt x="2586" y="1043"/>
                </a:cubicBezTo>
                <a:cubicBezTo>
                  <a:pt x="2586" y="1044"/>
                  <a:pt x="2586" y="1045"/>
                  <a:pt x="2587" y="1046"/>
                </a:cubicBezTo>
                <a:cubicBezTo>
                  <a:pt x="2587" y="1046"/>
                  <a:pt x="2587" y="1046"/>
                  <a:pt x="2588" y="1046"/>
                </a:cubicBezTo>
                <a:cubicBezTo>
                  <a:pt x="2588" y="1046"/>
                  <a:pt x="2588" y="1046"/>
                  <a:pt x="2588" y="1046"/>
                </a:cubicBezTo>
                <a:cubicBezTo>
                  <a:pt x="2589" y="1046"/>
                  <a:pt x="2589" y="1046"/>
                  <a:pt x="2590" y="1046"/>
                </a:cubicBezTo>
                <a:cubicBezTo>
                  <a:pt x="2590" y="1046"/>
                  <a:pt x="2590" y="1046"/>
                  <a:pt x="2591" y="1046"/>
                </a:cubicBezTo>
                <a:cubicBezTo>
                  <a:pt x="2591" y="1046"/>
                  <a:pt x="2592" y="1046"/>
                  <a:pt x="2591" y="1047"/>
                </a:cubicBezTo>
                <a:cubicBezTo>
                  <a:pt x="2591" y="1047"/>
                  <a:pt x="2590" y="1047"/>
                  <a:pt x="2590" y="1047"/>
                </a:cubicBezTo>
                <a:cubicBezTo>
                  <a:pt x="2589" y="1047"/>
                  <a:pt x="2589" y="1047"/>
                  <a:pt x="2588" y="1048"/>
                </a:cubicBezTo>
                <a:cubicBezTo>
                  <a:pt x="2588" y="1048"/>
                  <a:pt x="2588" y="1050"/>
                  <a:pt x="2587" y="1050"/>
                </a:cubicBezTo>
                <a:cubicBezTo>
                  <a:pt x="2587" y="1051"/>
                  <a:pt x="2587" y="1052"/>
                  <a:pt x="2588" y="1053"/>
                </a:cubicBezTo>
                <a:cubicBezTo>
                  <a:pt x="2589" y="1053"/>
                  <a:pt x="2589" y="1053"/>
                  <a:pt x="2590" y="1053"/>
                </a:cubicBezTo>
                <a:cubicBezTo>
                  <a:pt x="2591" y="1054"/>
                  <a:pt x="2591" y="1055"/>
                  <a:pt x="2591" y="1055"/>
                </a:cubicBezTo>
                <a:cubicBezTo>
                  <a:pt x="2591" y="1056"/>
                  <a:pt x="2591" y="1057"/>
                  <a:pt x="2591" y="1058"/>
                </a:cubicBezTo>
                <a:cubicBezTo>
                  <a:pt x="2590" y="1059"/>
                  <a:pt x="2590" y="1061"/>
                  <a:pt x="2590" y="1062"/>
                </a:cubicBezTo>
                <a:cubicBezTo>
                  <a:pt x="2590" y="1063"/>
                  <a:pt x="2589" y="1064"/>
                  <a:pt x="2589" y="1065"/>
                </a:cubicBezTo>
                <a:cubicBezTo>
                  <a:pt x="2588" y="1066"/>
                  <a:pt x="2588" y="1068"/>
                  <a:pt x="2589" y="1070"/>
                </a:cubicBezTo>
                <a:cubicBezTo>
                  <a:pt x="2589" y="1071"/>
                  <a:pt x="2590" y="1071"/>
                  <a:pt x="2590" y="1072"/>
                </a:cubicBezTo>
                <a:cubicBezTo>
                  <a:pt x="2590" y="1072"/>
                  <a:pt x="2589" y="1073"/>
                  <a:pt x="2589" y="1073"/>
                </a:cubicBezTo>
                <a:cubicBezTo>
                  <a:pt x="2590" y="1073"/>
                  <a:pt x="2590" y="1074"/>
                  <a:pt x="2590" y="1074"/>
                </a:cubicBezTo>
                <a:cubicBezTo>
                  <a:pt x="2590" y="1075"/>
                  <a:pt x="2590" y="1076"/>
                  <a:pt x="2590" y="1076"/>
                </a:cubicBezTo>
                <a:cubicBezTo>
                  <a:pt x="2590" y="1077"/>
                  <a:pt x="2590" y="1077"/>
                  <a:pt x="2591" y="1077"/>
                </a:cubicBezTo>
                <a:cubicBezTo>
                  <a:pt x="2591" y="1077"/>
                  <a:pt x="2591" y="1078"/>
                  <a:pt x="2591" y="1078"/>
                </a:cubicBezTo>
                <a:cubicBezTo>
                  <a:pt x="2592" y="1077"/>
                  <a:pt x="2592" y="1077"/>
                  <a:pt x="2592" y="1077"/>
                </a:cubicBezTo>
                <a:cubicBezTo>
                  <a:pt x="2592" y="1077"/>
                  <a:pt x="2592" y="1077"/>
                  <a:pt x="2592" y="1078"/>
                </a:cubicBezTo>
                <a:cubicBezTo>
                  <a:pt x="2592" y="1078"/>
                  <a:pt x="2592" y="1078"/>
                  <a:pt x="2591" y="1078"/>
                </a:cubicBezTo>
                <a:cubicBezTo>
                  <a:pt x="2591" y="1079"/>
                  <a:pt x="2591" y="1079"/>
                  <a:pt x="2591" y="1079"/>
                </a:cubicBezTo>
                <a:cubicBezTo>
                  <a:pt x="2591" y="1080"/>
                  <a:pt x="2591" y="1080"/>
                  <a:pt x="2591" y="1080"/>
                </a:cubicBezTo>
                <a:cubicBezTo>
                  <a:pt x="2591" y="1081"/>
                  <a:pt x="2590" y="1081"/>
                  <a:pt x="2591" y="1081"/>
                </a:cubicBezTo>
                <a:cubicBezTo>
                  <a:pt x="2591" y="1082"/>
                  <a:pt x="2592" y="1082"/>
                  <a:pt x="2592" y="1083"/>
                </a:cubicBezTo>
                <a:cubicBezTo>
                  <a:pt x="2591" y="1084"/>
                  <a:pt x="2591" y="1084"/>
                  <a:pt x="2591" y="1084"/>
                </a:cubicBezTo>
                <a:cubicBezTo>
                  <a:pt x="2591" y="1085"/>
                  <a:pt x="2592" y="1085"/>
                  <a:pt x="2592" y="1085"/>
                </a:cubicBezTo>
                <a:cubicBezTo>
                  <a:pt x="2592" y="1085"/>
                  <a:pt x="2593" y="1087"/>
                  <a:pt x="2592" y="1087"/>
                </a:cubicBezTo>
                <a:cubicBezTo>
                  <a:pt x="2592" y="1087"/>
                  <a:pt x="2592" y="1086"/>
                  <a:pt x="2591" y="1086"/>
                </a:cubicBezTo>
                <a:cubicBezTo>
                  <a:pt x="2591" y="1086"/>
                  <a:pt x="2591" y="1087"/>
                  <a:pt x="2591" y="1087"/>
                </a:cubicBezTo>
                <a:cubicBezTo>
                  <a:pt x="2592" y="1087"/>
                  <a:pt x="2592" y="1087"/>
                  <a:pt x="2592" y="1088"/>
                </a:cubicBezTo>
                <a:cubicBezTo>
                  <a:pt x="2592" y="1089"/>
                  <a:pt x="2592" y="1090"/>
                  <a:pt x="2592" y="1091"/>
                </a:cubicBezTo>
                <a:cubicBezTo>
                  <a:pt x="2593" y="1092"/>
                  <a:pt x="2593" y="1093"/>
                  <a:pt x="2593" y="1093"/>
                </a:cubicBezTo>
                <a:cubicBezTo>
                  <a:pt x="2593" y="1094"/>
                  <a:pt x="2593" y="1095"/>
                  <a:pt x="2593" y="1096"/>
                </a:cubicBezTo>
                <a:cubicBezTo>
                  <a:pt x="2594" y="1097"/>
                  <a:pt x="2594" y="1098"/>
                  <a:pt x="2594" y="1098"/>
                </a:cubicBezTo>
                <a:cubicBezTo>
                  <a:pt x="2594" y="1099"/>
                  <a:pt x="2595" y="1100"/>
                  <a:pt x="2595" y="1101"/>
                </a:cubicBezTo>
                <a:cubicBezTo>
                  <a:pt x="2595" y="1102"/>
                  <a:pt x="2595" y="1103"/>
                  <a:pt x="2596" y="1104"/>
                </a:cubicBezTo>
                <a:cubicBezTo>
                  <a:pt x="2596" y="1105"/>
                  <a:pt x="2596" y="1107"/>
                  <a:pt x="2596" y="1108"/>
                </a:cubicBezTo>
                <a:cubicBezTo>
                  <a:pt x="2596" y="1109"/>
                  <a:pt x="2596" y="1111"/>
                  <a:pt x="2597" y="1112"/>
                </a:cubicBezTo>
                <a:cubicBezTo>
                  <a:pt x="2598" y="1114"/>
                  <a:pt x="2600" y="1116"/>
                  <a:pt x="2601" y="1118"/>
                </a:cubicBezTo>
                <a:cubicBezTo>
                  <a:pt x="2602" y="1119"/>
                  <a:pt x="2603" y="1119"/>
                  <a:pt x="2603" y="1120"/>
                </a:cubicBezTo>
                <a:cubicBezTo>
                  <a:pt x="2603" y="1121"/>
                  <a:pt x="2601" y="1119"/>
                  <a:pt x="2601" y="1120"/>
                </a:cubicBezTo>
                <a:cubicBezTo>
                  <a:pt x="2601" y="1120"/>
                  <a:pt x="2601" y="1121"/>
                  <a:pt x="2602" y="1121"/>
                </a:cubicBezTo>
                <a:cubicBezTo>
                  <a:pt x="2602" y="1121"/>
                  <a:pt x="2602" y="1121"/>
                  <a:pt x="2602" y="1122"/>
                </a:cubicBezTo>
                <a:cubicBezTo>
                  <a:pt x="2603" y="1122"/>
                  <a:pt x="2603" y="1123"/>
                  <a:pt x="2603" y="1124"/>
                </a:cubicBezTo>
                <a:cubicBezTo>
                  <a:pt x="2603" y="1124"/>
                  <a:pt x="2604" y="1125"/>
                  <a:pt x="2604" y="1126"/>
                </a:cubicBezTo>
                <a:cubicBezTo>
                  <a:pt x="2605" y="1126"/>
                  <a:pt x="2605" y="1126"/>
                  <a:pt x="2605" y="1126"/>
                </a:cubicBezTo>
                <a:cubicBezTo>
                  <a:pt x="2605" y="1127"/>
                  <a:pt x="2604" y="1127"/>
                  <a:pt x="2604" y="1127"/>
                </a:cubicBezTo>
                <a:cubicBezTo>
                  <a:pt x="2604" y="1127"/>
                  <a:pt x="2605" y="1127"/>
                  <a:pt x="2605" y="1127"/>
                </a:cubicBezTo>
                <a:cubicBezTo>
                  <a:pt x="2605" y="1127"/>
                  <a:pt x="2606" y="1127"/>
                  <a:pt x="2606" y="1128"/>
                </a:cubicBezTo>
                <a:cubicBezTo>
                  <a:pt x="2606" y="1128"/>
                  <a:pt x="2607" y="1129"/>
                  <a:pt x="2607" y="1129"/>
                </a:cubicBezTo>
                <a:cubicBezTo>
                  <a:pt x="2607" y="1129"/>
                  <a:pt x="2608" y="1129"/>
                  <a:pt x="2608" y="1130"/>
                </a:cubicBezTo>
                <a:cubicBezTo>
                  <a:pt x="2608" y="1131"/>
                  <a:pt x="2609" y="1132"/>
                  <a:pt x="2609" y="1133"/>
                </a:cubicBezTo>
                <a:cubicBezTo>
                  <a:pt x="2609" y="1133"/>
                  <a:pt x="2609" y="1134"/>
                  <a:pt x="2609" y="1134"/>
                </a:cubicBezTo>
                <a:cubicBezTo>
                  <a:pt x="2609" y="1135"/>
                  <a:pt x="2609" y="1136"/>
                  <a:pt x="2610" y="1136"/>
                </a:cubicBezTo>
                <a:cubicBezTo>
                  <a:pt x="2610" y="1137"/>
                  <a:pt x="2610" y="1138"/>
                  <a:pt x="2610" y="1138"/>
                </a:cubicBezTo>
                <a:cubicBezTo>
                  <a:pt x="2611" y="1140"/>
                  <a:pt x="2612" y="1142"/>
                  <a:pt x="2612" y="1144"/>
                </a:cubicBezTo>
                <a:cubicBezTo>
                  <a:pt x="2612" y="1144"/>
                  <a:pt x="2613" y="1145"/>
                  <a:pt x="2613" y="1146"/>
                </a:cubicBezTo>
                <a:cubicBezTo>
                  <a:pt x="2613" y="1147"/>
                  <a:pt x="2614" y="1147"/>
                  <a:pt x="2614" y="1148"/>
                </a:cubicBezTo>
                <a:cubicBezTo>
                  <a:pt x="2614" y="1149"/>
                  <a:pt x="2613" y="1150"/>
                  <a:pt x="2613" y="1151"/>
                </a:cubicBezTo>
                <a:cubicBezTo>
                  <a:pt x="2614" y="1151"/>
                  <a:pt x="2614" y="1152"/>
                  <a:pt x="2615" y="1153"/>
                </a:cubicBezTo>
                <a:cubicBezTo>
                  <a:pt x="2615" y="1154"/>
                  <a:pt x="2616" y="1156"/>
                  <a:pt x="2617" y="1157"/>
                </a:cubicBezTo>
                <a:cubicBezTo>
                  <a:pt x="2617" y="1158"/>
                  <a:pt x="2618" y="1159"/>
                  <a:pt x="2618" y="1159"/>
                </a:cubicBezTo>
                <a:cubicBezTo>
                  <a:pt x="2619" y="1160"/>
                  <a:pt x="2619" y="1161"/>
                  <a:pt x="2620" y="1162"/>
                </a:cubicBezTo>
                <a:cubicBezTo>
                  <a:pt x="2620" y="1162"/>
                  <a:pt x="2621" y="1163"/>
                  <a:pt x="2621" y="1163"/>
                </a:cubicBezTo>
                <a:cubicBezTo>
                  <a:pt x="2622" y="1164"/>
                  <a:pt x="2622" y="1165"/>
                  <a:pt x="2623" y="1166"/>
                </a:cubicBezTo>
                <a:cubicBezTo>
                  <a:pt x="2623" y="1167"/>
                  <a:pt x="2623" y="1168"/>
                  <a:pt x="2624" y="1169"/>
                </a:cubicBezTo>
                <a:cubicBezTo>
                  <a:pt x="2624" y="1169"/>
                  <a:pt x="2625" y="1170"/>
                  <a:pt x="2625" y="1171"/>
                </a:cubicBezTo>
                <a:cubicBezTo>
                  <a:pt x="2625" y="1172"/>
                  <a:pt x="2625" y="1173"/>
                  <a:pt x="2625" y="1173"/>
                </a:cubicBezTo>
                <a:cubicBezTo>
                  <a:pt x="2626" y="1174"/>
                  <a:pt x="2626" y="1175"/>
                  <a:pt x="2626" y="1176"/>
                </a:cubicBezTo>
                <a:cubicBezTo>
                  <a:pt x="2627" y="1177"/>
                  <a:pt x="2628" y="1179"/>
                  <a:pt x="2629" y="1180"/>
                </a:cubicBezTo>
                <a:cubicBezTo>
                  <a:pt x="2629" y="1181"/>
                  <a:pt x="2629" y="1182"/>
                  <a:pt x="2630" y="1183"/>
                </a:cubicBezTo>
                <a:cubicBezTo>
                  <a:pt x="2630" y="1183"/>
                  <a:pt x="2630" y="1183"/>
                  <a:pt x="2630" y="1184"/>
                </a:cubicBezTo>
                <a:cubicBezTo>
                  <a:pt x="2630" y="1184"/>
                  <a:pt x="2631" y="1184"/>
                  <a:pt x="2631" y="1185"/>
                </a:cubicBezTo>
                <a:cubicBezTo>
                  <a:pt x="2631" y="1185"/>
                  <a:pt x="2631" y="1185"/>
                  <a:pt x="2631" y="1185"/>
                </a:cubicBezTo>
                <a:cubicBezTo>
                  <a:pt x="2631" y="1186"/>
                  <a:pt x="2631" y="1186"/>
                  <a:pt x="2632" y="1186"/>
                </a:cubicBezTo>
                <a:cubicBezTo>
                  <a:pt x="2632" y="1187"/>
                  <a:pt x="2632" y="1188"/>
                  <a:pt x="2631" y="1188"/>
                </a:cubicBezTo>
                <a:cubicBezTo>
                  <a:pt x="2631" y="1188"/>
                  <a:pt x="2631" y="1187"/>
                  <a:pt x="2631" y="1187"/>
                </a:cubicBezTo>
                <a:cubicBezTo>
                  <a:pt x="2631" y="1187"/>
                  <a:pt x="2631" y="1187"/>
                  <a:pt x="2631" y="1186"/>
                </a:cubicBezTo>
                <a:cubicBezTo>
                  <a:pt x="2630" y="1186"/>
                  <a:pt x="2630" y="1185"/>
                  <a:pt x="2630" y="1185"/>
                </a:cubicBezTo>
                <a:cubicBezTo>
                  <a:pt x="2630" y="1184"/>
                  <a:pt x="2630" y="1184"/>
                  <a:pt x="2629" y="1184"/>
                </a:cubicBezTo>
                <a:cubicBezTo>
                  <a:pt x="2629" y="1184"/>
                  <a:pt x="2630" y="1185"/>
                  <a:pt x="2630" y="1185"/>
                </a:cubicBezTo>
                <a:cubicBezTo>
                  <a:pt x="2630" y="1185"/>
                  <a:pt x="2629" y="1186"/>
                  <a:pt x="2630" y="1186"/>
                </a:cubicBezTo>
                <a:cubicBezTo>
                  <a:pt x="2630" y="1187"/>
                  <a:pt x="2630" y="1187"/>
                  <a:pt x="2630" y="1187"/>
                </a:cubicBezTo>
                <a:cubicBezTo>
                  <a:pt x="2630" y="1187"/>
                  <a:pt x="2630" y="1188"/>
                  <a:pt x="2630" y="1188"/>
                </a:cubicBezTo>
                <a:cubicBezTo>
                  <a:pt x="2630" y="1189"/>
                  <a:pt x="2631" y="1189"/>
                  <a:pt x="2631" y="1189"/>
                </a:cubicBezTo>
                <a:cubicBezTo>
                  <a:pt x="2631" y="1190"/>
                  <a:pt x="2631" y="1190"/>
                  <a:pt x="2631" y="1190"/>
                </a:cubicBezTo>
                <a:cubicBezTo>
                  <a:pt x="2631" y="1191"/>
                  <a:pt x="2631" y="1191"/>
                  <a:pt x="2631" y="1191"/>
                </a:cubicBezTo>
                <a:cubicBezTo>
                  <a:pt x="2632" y="1191"/>
                  <a:pt x="2632" y="1192"/>
                  <a:pt x="2632" y="1193"/>
                </a:cubicBezTo>
                <a:cubicBezTo>
                  <a:pt x="2633" y="1193"/>
                  <a:pt x="2633" y="1193"/>
                  <a:pt x="2634" y="1194"/>
                </a:cubicBezTo>
                <a:cubicBezTo>
                  <a:pt x="2634" y="1194"/>
                  <a:pt x="2633" y="1194"/>
                  <a:pt x="2633" y="1195"/>
                </a:cubicBezTo>
                <a:cubicBezTo>
                  <a:pt x="2633" y="1195"/>
                  <a:pt x="2633" y="1196"/>
                  <a:pt x="2634" y="1196"/>
                </a:cubicBezTo>
                <a:cubicBezTo>
                  <a:pt x="2634" y="1196"/>
                  <a:pt x="2634" y="1196"/>
                  <a:pt x="2634" y="1197"/>
                </a:cubicBezTo>
                <a:cubicBezTo>
                  <a:pt x="2635" y="1197"/>
                  <a:pt x="2635" y="1197"/>
                  <a:pt x="2635" y="1198"/>
                </a:cubicBezTo>
                <a:cubicBezTo>
                  <a:pt x="2636" y="1198"/>
                  <a:pt x="2636" y="1199"/>
                  <a:pt x="2636" y="1199"/>
                </a:cubicBezTo>
                <a:cubicBezTo>
                  <a:pt x="2637" y="1200"/>
                  <a:pt x="2637" y="1200"/>
                  <a:pt x="2638" y="1201"/>
                </a:cubicBezTo>
                <a:cubicBezTo>
                  <a:pt x="2638" y="1202"/>
                  <a:pt x="2639" y="1202"/>
                  <a:pt x="2640" y="1203"/>
                </a:cubicBezTo>
                <a:cubicBezTo>
                  <a:pt x="2640" y="1203"/>
                  <a:pt x="2641" y="1203"/>
                  <a:pt x="2642" y="1204"/>
                </a:cubicBezTo>
                <a:cubicBezTo>
                  <a:pt x="2642" y="1204"/>
                  <a:pt x="2643" y="1204"/>
                  <a:pt x="2643" y="1204"/>
                </a:cubicBezTo>
                <a:cubicBezTo>
                  <a:pt x="2644" y="1205"/>
                  <a:pt x="2645" y="1204"/>
                  <a:pt x="2645" y="1204"/>
                </a:cubicBezTo>
                <a:cubicBezTo>
                  <a:pt x="2646" y="1203"/>
                  <a:pt x="2646" y="1203"/>
                  <a:pt x="2647" y="1202"/>
                </a:cubicBezTo>
                <a:cubicBezTo>
                  <a:pt x="2648" y="1202"/>
                  <a:pt x="2648" y="1202"/>
                  <a:pt x="2648" y="1202"/>
                </a:cubicBezTo>
                <a:cubicBezTo>
                  <a:pt x="2649" y="1202"/>
                  <a:pt x="2649" y="1201"/>
                  <a:pt x="2649" y="1201"/>
                </a:cubicBezTo>
                <a:cubicBezTo>
                  <a:pt x="2650" y="1201"/>
                  <a:pt x="2651" y="1200"/>
                  <a:pt x="2651" y="1200"/>
                </a:cubicBezTo>
                <a:cubicBezTo>
                  <a:pt x="2651" y="1199"/>
                  <a:pt x="2651" y="1198"/>
                  <a:pt x="2651" y="1197"/>
                </a:cubicBezTo>
                <a:cubicBezTo>
                  <a:pt x="2651" y="1196"/>
                  <a:pt x="2652" y="1194"/>
                  <a:pt x="2654" y="1193"/>
                </a:cubicBezTo>
                <a:cubicBezTo>
                  <a:pt x="2654" y="1193"/>
                  <a:pt x="2655" y="1192"/>
                  <a:pt x="2656" y="1192"/>
                </a:cubicBezTo>
                <a:cubicBezTo>
                  <a:pt x="2656" y="1192"/>
                  <a:pt x="2657" y="1192"/>
                  <a:pt x="2658" y="1192"/>
                </a:cubicBezTo>
                <a:cubicBezTo>
                  <a:pt x="2659" y="1191"/>
                  <a:pt x="2659" y="1191"/>
                  <a:pt x="2660" y="1191"/>
                </a:cubicBezTo>
                <a:cubicBezTo>
                  <a:pt x="2660" y="1191"/>
                  <a:pt x="2662" y="1191"/>
                  <a:pt x="2662" y="1191"/>
                </a:cubicBezTo>
                <a:cubicBezTo>
                  <a:pt x="2662" y="1191"/>
                  <a:pt x="2661" y="1191"/>
                  <a:pt x="2661" y="1190"/>
                </a:cubicBezTo>
                <a:cubicBezTo>
                  <a:pt x="2661" y="1190"/>
                  <a:pt x="2661" y="1190"/>
                  <a:pt x="2660" y="1189"/>
                </a:cubicBezTo>
                <a:cubicBezTo>
                  <a:pt x="2660" y="1189"/>
                  <a:pt x="2660" y="1189"/>
                  <a:pt x="2660" y="1188"/>
                </a:cubicBezTo>
                <a:cubicBezTo>
                  <a:pt x="2660" y="1188"/>
                  <a:pt x="2660" y="1188"/>
                  <a:pt x="2660" y="1187"/>
                </a:cubicBezTo>
                <a:cubicBezTo>
                  <a:pt x="2661" y="1187"/>
                  <a:pt x="2661" y="1187"/>
                  <a:pt x="2661" y="1187"/>
                </a:cubicBezTo>
                <a:cubicBezTo>
                  <a:pt x="2661" y="1186"/>
                  <a:pt x="2661" y="1186"/>
                  <a:pt x="2661" y="1185"/>
                </a:cubicBezTo>
                <a:cubicBezTo>
                  <a:pt x="2662" y="1185"/>
                  <a:pt x="2663" y="1184"/>
                  <a:pt x="2663" y="1184"/>
                </a:cubicBezTo>
                <a:cubicBezTo>
                  <a:pt x="2663" y="1183"/>
                  <a:pt x="2663" y="1183"/>
                  <a:pt x="2663" y="1182"/>
                </a:cubicBezTo>
                <a:cubicBezTo>
                  <a:pt x="2663" y="1182"/>
                  <a:pt x="2663" y="1182"/>
                  <a:pt x="2663" y="1181"/>
                </a:cubicBezTo>
                <a:cubicBezTo>
                  <a:pt x="2664" y="1181"/>
                  <a:pt x="2664" y="1181"/>
                  <a:pt x="2664" y="1180"/>
                </a:cubicBezTo>
                <a:cubicBezTo>
                  <a:pt x="2664" y="1180"/>
                  <a:pt x="2665" y="1180"/>
                  <a:pt x="2665" y="1180"/>
                </a:cubicBezTo>
                <a:cubicBezTo>
                  <a:pt x="2665" y="1180"/>
                  <a:pt x="2665" y="1179"/>
                  <a:pt x="2666" y="1179"/>
                </a:cubicBezTo>
                <a:cubicBezTo>
                  <a:pt x="2666" y="1179"/>
                  <a:pt x="2667" y="1179"/>
                  <a:pt x="2668" y="1179"/>
                </a:cubicBezTo>
                <a:cubicBezTo>
                  <a:pt x="2669" y="1179"/>
                  <a:pt x="2669" y="1180"/>
                  <a:pt x="2670" y="1180"/>
                </a:cubicBezTo>
                <a:cubicBezTo>
                  <a:pt x="2670" y="1179"/>
                  <a:pt x="2670" y="1178"/>
                  <a:pt x="2670" y="1177"/>
                </a:cubicBezTo>
                <a:cubicBezTo>
                  <a:pt x="2671" y="1176"/>
                  <a:pt x="2671" y="1174"/>
                  <a:pt x="2671" y="1172"/>
                </a:cubicBezTo>
                <a:cubicBezTo>
                  <a:pt x="2670" y="1172"/>
                  <a:pt x="2670" y="1171"/>
                  <a:pt x="2670" y="1170"/>
                </a:cubicBezTo>
                <a:cubicBezTo>
                  <a:pt x="2670" y="1170"/>
                  <a:pt x="2670" y="1169"/>
                  <a:pt x="2670" y="1169"/>
                </a:cubicBezTo>
                <a:cubicBezTo>
                  <a:pt x="2669" y="1168"/>
                  <a:pt x="2668" y="1168"/>
                  <a:pt x="2669" y="1167"/>
                </a:cubicBezTo>
                <a:cubicBezTo>
                  <a:pt x="2669" y="1167"/>
                  <a:pt x="2670" y="1167"/>
                  <a:pt x="2670" y="1167"/>
                </a:cubicBezTo>
                <a:cubicBezTo>
                  <a:pt x="2670" y="1166"/>
                  <a:pt x="2670" y="1166"/>
                  <a:pt x="2670" y="1165"/>
                </a:cubicBezTo>
                <a:cubicBezTo>
                  <a:pt x="2669" y="1165"/>
                  <a:pt x="2669" y="1164"/>
                  <a:pt x="2669" y="1163"/>
                </a:cubicBezTo>
                <a:cubicBezTo>
                  <a:pt x="2670" y="1162"/>
                  <a:pt x="2670" y="1161"/>
                  <a:pt x="2670" y="1161"/>
                </a:cubicBezTo>
                <a:cubicBezTo>
                  <a:pt x="2671" y="1160"/>
                  <a:pt x="2671" y="1159"/>
                  <a:pt x="2671" y="1158"/>
                </a:cubicBezTo>
                <a:cubicBezTo>
                  <a:pt x="2672" y="1158"/>
                  <a:pt x="2672" y="1157"/>
                  <a:pt x="2672" y="1156"/>
                </a:cubicBezTo>
                <a:cubicBezTo>
                  <a:pt x="2673" y="1156"/>
                  <a:pt x="2673" y="1155"/>
                  <a:pt x="2673" y="1154"/>
                </a:cubicBezTo>
                <a:cubicBezTo>
                  <a:pt x="2674" y="1154"/>
                  <a:pt x="2674" y="1153"/>
                  <a:pt x="2675" y="1152"/>
                </a:cubicBezTo>
                <a:cubicBezTo>
                  <a:pt x="2675" y="1151"/>
                  <a:pt x="2675" y="1151"/>
                  <a:pt x="2675" y="1150"/>
                </a:cubicBezTo>
                <a:cubicBezTo>
                  <a:pt x="2675" y="1148"/>
                  <a:pt x="2675" y="1147"/>
                  <a:pt x="2675" y="1146"/>
                </a:cubicBezTo>
                <a:cubicBezTo>
                  <a:pt x="2675" y="1145"/>
                  <a:pt x="2675" y="1144"/>
                  <a:pt x="2675" y="1143"/>
                </a:cubicBezTo>
                <a:cubicBezTo>
                  <a:pt x="2675" y="1143"/>
                  <a:pt x="2675" y="1143"/>
                  <a:pt x="2675" y="1142"/>
                </a:cubicBezTo>
                <a:cubicBezTo>
                  <a:pt x="2674" y="1142"/>
                  <a:pt x="2674" y="1142"/>
                  <a:pt x="2674" y="1142"/>
                </a:cubicBezTo>
                <a:cubicBezTo>
                  <a:pt x="2673" y="1142"/>
                  <a:pt x="2673" y="1140"/>
                  <a:pt x="2673" y="1140"/>
                </a:cubicBezTo>
                <a:cubicBezTo>
                  <a:pt x="2674" y="1140"/>
                  <a:pt x="2674" y="1140"/>
                  <a:pt x="2674" y="1141"/>
                </a:cubicBezTo>
                <a:cubicBezTo>
                  <a:pt x="2674" y="1141"/>
                  <a:pt x="2674" y="1141"/>
                  <a:pt x="2675" y="1141"/>
                </a:cubicBezTo>
                <a:cubicBezTo>
                  <a:pt x="2675" y="1141"/>
                  <a:pt x="2675" y="1142"/>
                  <a:pt x="2675" y="1142"/>
                </a:cubicBezTo>
                <a:cubicBezTo>
                  <a:pt x="2676" y="1142"/>
                  <a:pt x="2675" y="1141"/>
                  <a:pt x="2675" y="1141"/>
                </a:cubicBezTo>
                <a:cubicBezTo>
                  <a:pt x="2675" y="1141"/>
                  <a:pt x="2675" y="1140"/>
                  <a:pt x="2675" y="1140"/>
                </a:cubicBezTo>
                <a:cubicBezTo>
                  <a:pt x="2675" y="1140"/>
                  <a:pt x="2675" y="1139"/>
                  <a:pt x="2675" y="1139"/>
                </a:cubicBezTo>
                <a:cubicBezTo>
                  <a:pt x="2675" y="1138"/>
                  <a:pt x="2674" y="1138"/>
                  <a:pt x="2674" y="1138"/>
                </a:cubicBezTo>
                <a:cubicBezTo>
                  <a:pt x="2674" y="1138"/>
                  <a:pt x="2674" y="1138"/>
                  <a:pt x="2674" y="1137"/>
                </a:cubicBezTo>
                <a:cubicBezTo>
                  <a:pt x="2674" y="1137"/>
                  <a:pt x="2674" y="1137"/>
                  <a:pt x="2674" y="1137"/>
                </a:cubicBezTo>
                <a:cubicBezTo>
                  <a:pt x="2673" y="1136"/>
                  <a:pt x="2673" y="1136"/>
                  <a:pt x="2673" y="1135"/>
                </a:cubicBezTo>
                <a:cubicBezTo>
                  <a:pt x="2673" y="1135"/>
                  <a:pt x="2673" y="1134"/>
                  <a:pt x="2673" y="1134"/>
                </a:cubicBezTo>
                <a:cubicBezTo>
                  <a:pt x="2673" y="1134"/>
                  <a:pt x="2673" y="1133"/>
                  <a:pt x="2673" y="1133"/>
                </a:cubicBezTo>
                <a:cubicBezTo>
                  <a:pt x="2673" y="1132"/>
                  <a:pt x="2673" y="1132"/>
                  <a:pt x="2673" y="1132"/>
                </a:cubicBezTo>
                <a:cubicBezTo>
                  <a:pt x="2673" y="1131"/>
                  <a:pt x="2673" y="1131"/>
                  <a:pt x="2673" y="1130"/>
                </a:cubicBezTo>
                <a:cubicBezTo>
                  <a:pt x="2673" y="1129"/>
                  <a:pt x="2673" y="1128"/>
                  <a:pt x="2673" y="1127"/>
                </a:cubicBezTo>
                <a:cubicBezTo>
                  <a:pt x="2672" y="1127"/>
                  <a:pt x="2672" y="1126"/>
                  <a:pt x="2672" y="1125"/>
                </a:cubicBezTo>
                <a:cubicBezTo>
                  <a:pt x="2673" y="1125"/>
                  <a:pt x="2673" y="1124"/>
                  <a:pt x="2673" y="1124"/>
                </a:cubicBezTo>
                <a:cubicBezTo>
                  <a:pt x="2673" y="1123"/>
                  <a:pt x="2673" y="1122"/>
                  <a:pt x="2673" y="1121"/>
                </a:cubicBezTo>
                <a:cubicBezTo>
                  <a:pt x="2673" y="1121"/>
                  <a:pt x="2674" y="1120"/>
                  <a:pt x="2674" y="1119"/>
                </a:cubicBezTo>
                <a:cubicBezTo>
                  <a:pt x="2675" y="1119"/>
                  <a:pt x="2675" y="1118"/>
                  <a:pt x="2676" y="1117"/>
                </a:cubicBezTo>
                <a:cubicBezTo>
                  <a:pt x="2677" y="1116"/>
                  <a:pt x="2678" y="1114"/>
                  <a:pt x="2680" y="1114"/>
                </a:cubicBezTo>
                <a:cubicBezTo>
                  <a:pt x="2680" y="1114"/>
                  <a:pt x="2681" y="1115"/>
                  <a:pt x="2681" y="1116"/>
                </a:cubicBezTo>
                <a:cubicBezTo>
                  <a:pt x="2682" y="1117"/>
                  <a:pt x="2682" y="1115"/>
                  <a:pt x="2682" y="1115"/>
                </a:cubicBezTo>
                <a:cubicBezTo>
                  <a:pt x="2683" y="1113"/>
                  <a:pt x="2683" y="1115"/>
                  <a:pt x="2684" y="1115"/>
                </a:cubicBezTo>
                <a:cubicBezTo>
                  <a:pt x="2684" y="1115"/>
                  <a:pt x="2684" y="1115"/>
                  <a:pt x="2684" y="1115"/>
                </a:cubicBezTo>
                <a:cubicBezTo>
                  <a:pt x="2684" y="1114"/>
                  <a:pt x="2684" y="1114"/>
                  <a:pt x="2684" y="1114"/>
                </a:cubicBezTo>
                <a:cubicBezTo>
                  <a:pt x="2685" y="1113"/>
                  <a:pt x="2685" y="1113"/>
                  <a:pt x="2686" y="1112"/>
                </a:cubicBezTo>
                <a:cubicBezTo>
                  <a:pt x="2686" y="1111"/>
                  <a:pt x="2686" y="1111"/>
                  <a:pt x="2686" y="1110"/>
                </a:cubicBezTo>
                <a:cubicBezTo>
                  <a:pt x="2688" y="1108"/>
                  <a:pt x="2690" y="1109"/>
                  <a:pt x="2691" y="1109"/>
                </a:cubicBezTo>
                <a:cubicBezTo>
                  <a:pt x="2693" y="1109"/>
                  <a:pt x="2694" y="1108"/>
                  <a:pt x="2695" y="1108"/>
                </a:cubicBezTo>
                <a:cubicBezTo>
                  <a:pt x="2696" y="1107"/>
                  <a:pt x="2697" y="1107"/>
                  <a:pt x="2698" y="1107"/>
                </a:cubicBezTo>
                <a:cubicBezTo>
                  <a:pt x="2698" y="1106"/>
                  <a:pt x="2698" y="1106"/>
                  <a:pt x="2698" y="1106"/>
                </a:cubicBezTo>
                <a:cubicBezTo>
                  <a:pt x="2698" y="1106"/>
                  <a:pt x="2699" y="1105"/>
                  <a:pt x="2699" y="1105"/>
                </a:cubicBezTo>
                <a:cubicBezTo>
                  <a:pt x="2699" y="1104"/>
                  <a:pt x="2699" y="1103"/>
                  <a:pt x="2699" y="1103"/>
                </a:cubicBezTo>
                <a:cubicBezTo>
                  <a:pt x="2698" y="1102"/>
                  <a:pt x="2698" y="1102"/>
                  <a:pt x="2699" y="1101"/>
                </a:cubicBezTo>
                <a:cubicBezTo>
                  <a:pt x="2699" y="1100"/>
                  <a:pt x="2700" y="1099"/>
                  <a:pt x="2700" y="1099"/>
                </a:cubicBezTo>
                <a:cubicBezTo>
                  <a:pt x="2701" y="1098"/>
                  <a:pt x="2702" y="1098"/>
                  <a:pt x="2703" y="1097"/>
                </a:cubicBezTo>
                <a:cubicBezTo>
                  <a:pt x="2704" y="1097"/>
                  <a:pt x="2704" y="1097"/>
                  <a:pt x="2705" y="1097"/>
                </a:cubicBezTo>
                <a:cubicBezTo>
                  <a:pt x="2706" y="1097"/>
                  <a:pt x="2706" y="1096"/>
                  <a:pt x="2707" y="1095"/>
                </a:cubicBezTo>
                <a:cubicBezTo>
                  <a:pt x="2708" y="1095"/>
                  <a:pt x="2709" y="1094"/>
                  <a:pt x="2709" y="1094"/>
                </a:cubicBezTo>
                <a:cubicBezTo>
                  <a:pt x="2710" y="1093"/>
                  <a:pt x="2711" y="1092"/>
                  <a:pt x="2711" y="1091"/>
                </a:cubicBezTo>
                <a:cubicBezTo>
                  <a:pt x="2712" y="1090"/>
                  <a:pt x="2713" y="1090"/>
                  <a:pt x="2714" y="1089"/>
                </a:cubicBezTo>
                <a:cubicBezTo>
                  <a:pt x="2715" y="1088"/>
                  <a:pt x="2716" y="1088"/>
                  <a:pt x="2717" y="1087"/>
                </a:cubicBezTo>
                <a:cubicBezTo>
                  <a:pt x="2717" y="1087"/>
                  <a:pt x="2718" y="1086"/>
                  <a:pt x="2719" y="1086"/>
                </a:cubicBezTo>
                <a:cubicBezTo>
                  <a:pt x="2720" y="1085"/>
                  <a:pt x="2722" y="1083"/>
                  <a:pt x="2723" y="1082"/>
                </a:cubicBezTo>
                <a:cubicBezTo>
                  <a:pt x="2723" y="1081"/>
                  <a:pt x="2724" y="1080"/>
                  <a:pt x="2724" y="1079"/>
                </a:cubicBezTo>
                <a:cubicBezTo>
                  <a:pt x="2726" y="1077"/>
                  <a:pt x="2728" y="1075"/>
                  <a:pt x="2730" y="1074"/>
                </a:cubicBezTo>
                <a:cubicBezTo>
                  <a:pt x="2731" y="1073"/>
                  <a:pt x="2733" y="1072"/>
                  <a:pt x="2734" y="1071"/>
                </a:cubicBezTo>
                <a:cubicBezTo>
                  <a:pt x="2735" y="1070"/>
                  <a:pt x="2735" y="1070"/>
                  <a:pt x="2736" y="1069"/>
                </a:cubicBezTo>
                <a:cubicBezTo>
                  <a:pt x="2738" y="1068"/>
                  <a:pt x="2739" y="1069"/>
                  <a:pt x="2741" y="1068"/>
                </a:cubicBezTo>
                <a:cubicBezTo>
                  <a:pt x="2741" y="1068"/>
                  <a:pt x="2742" y="1067"/>
                  <a:pt x="2742" y="1067"/>
                </a:cubicBezTo>
                <a:cubicBezTo>
                  <a:pt x="2743" y="1067"/>
                  <a:pt x="2743" y="1067"/>
                  <a:pt x="2744" y="1067"/>
                </a:cubicBezTo>
                <a:cubicBezTo>
                  <a:pt x="2744" y="1067"/>
                  <a:pt x="2745" y="1067"/>
                  <a:pt x="2745" y="1067"/>
                </a:cubicBezTo>
                <a:cubicBezTo>
                  <a:pt x="2745" y="1066"/>
                  <a:pt x="2744" y="1066"/>
                  <a:pt x="2744" y="1066"/>
                </a:cubicBezTo>
                <a:cubicBezTo>
                  <a:pt x="2744" y="1065"/>
                  <a:pt x="2745" y="1065"/>
                  <a:pt x="2745" y="1065"/>
                </a:cubicBezTo>
                <a:cubicBezTo>
                  <a:pt x="2746" y="1065"/>
                  <a:pt x="2747" y="1064"/>
                  <a:pt x="2747" y="1063"/>
                </a:cubicBezTo>
                <a:cubicBezTo>
                  <a:pt x="2748" y="1062"/>
                  <a:pt x="2749" y="1061"/>
                  <a:pt x="2751" y="1060"/>
                </a:cubicBezTo>
                <a:cubicBezTo>
                  <a:pt x="2751" y="1059"/>
                  <a:pt x="2752" y="1059"/>
                  <a:pt x="2752" y="1058"/>
                </a:cubicBezTo>
                <a:cubicBezTo>
                  <a:pt x="2752" y="1057"/>
                  <a:pt x="2752" y="1057"/>
                  <a:pt x="2751" y="1056"/>
                </a:cubicBezTo>
                <a:cubicBezTo>
                  <a:pt x="2751" y="1055"/>
                  <a:pt x="2751" y="1054"/>
                  <a:pt x="2751" y="1053"/>
                </a:cubicBezTo>
                <a:cubicBezTo>
                  <a:pt x="2751" y="1053"/>
                  <a:pt x="2750" y="1052"/>
                  <a:pt x="2751" y="1052"/>
                </a:cubicBezTo>
                <a:cubicBezTo>
                  <a:pt x="2751" y="1050"/>
                  <a:pt x="2752" y="1050"/>
                  <a:pt x="2752" y="1049"/>
                </a:cubicBezTo>
                <a:cubicBezTo>
                  <a:pt x="2753" y="1048"/>
                  <a:pt x="2754" y="1048"/>
                  <a:pt x="2754" y="1048"/>
                </a:cubicBezTo>
                <a:cubicBezTo>
                  <a:pt x="2755" y="1047"/>
                  <a:pt x="2756" y="1047"/>
                  <a:pt x="2757" y="1047"/>
                </a:cubicBezTo>
                <a:cubicBezTo>
                  <a:pt x="2758" y="1047"/>
                  <a:pt x="2758" y="1046"/>
                  <a:pt x="2759" y="1046"/>
                </a:cubicBezTo>
                <a:cubicBezTo>
                  <a:pt x="2760" y="1046"/>
                  <a:pt x="2761" y="1046"/>
                  <a:pt x="2762" y="1045"/>
                </a:cubicBezTo>
                <a:cubicBezTo>
                  <a:pt x="2762" y="1045"/>
                  <a:pt x="2762" y="1044"/>
                  <a:pt x="2763" y="1044"/>
                </a:cubicBezTo>
                <a:cubicBezTo>
                  <a:pt x="2763" y="1043"/>
                  <a:pt x="2764" y="1043"/>
                  <a:pt x="2764" y="1043"/>
                </a:cubicBezTo>
                <a:cubicBezTo>
                  <a:pt x="2765" y="1043"/>
                  <a:pt x="2765" y="1041"/>
                  <a:pt x="2765" y="1041"/>
                </a:cubicBezTo>
                <a:cubicBezTo>
                  <a:pt x="2766" y="1041"/>
                  <a:pt x="2766" y="1042"/>
                  <a:pt x="2765" y="1043"/>
                </a:cubicBezTo>
                <a:cubicBezTo>
                  <a:pt x="2765" y="1044"/>
                  <a:pt x="2764" y="1043"/>
                  <a:pt x="2764" y="1044"/>
                </a:cubicBezTo>
                <a:cubicBezTo>
                  <a:pt x="2764" y="1045"/>
                  <a:pt x="2764" y="1045"/>
                  <a:pt x="2764" y="1045"/>
                </a:cubicBezTo>
                <a:cubicBezTo>
                  <a:pt x="2764" y="1046"/>
                  <a:pt x="2763" y="1046"/>
                  <a:pt x="2764" y="1046"/>
                </a:cubicBezTo>
                <a:cubicBezTo>
                  <a:pt x="2764" y="1047"/>
                  <a:pt x="2764" y="1046"/>
                  <a:pt x="2764" y="1046"/>
                </a:cubicBezTo>
                <a:cubicBezTo>
                  <a:pt x="2765" y="1046"/>
                  <a:pt x="2764" y="1045"/>
                  <a:pt x="2764" y="1045"/>
                </a:cubicBezTo>
                <a:cubicBezTo>
                  <a:pt x="2765" y="1045"/>
                  <a:pt x="2765" y="1044"/>
                  <a:pt x="2765" y="1045"/>
                </a:cubicBezTo>
                <a:cubicBezTo>
                  <a:pt x="2766" y="1045"/>
                  <a:pt x="2765" y="1045"/>
                  <a:pt x="2765" y="1046"/>
                </a:cubicBezTo>
                <a:cubicBezTo>
                  <a:pt x="2765" y="1046"/>
                  <a:pt x="2765" y="1046"/>
                  <a:pt x="2766" y="1047"/>
                </a:cubicBezTo>
                <a:cubicBezTo>
                  <a:pt x="2766" y="1047"/>
                  <a:pt x="2766" y="1047"/>
                  <a:pt x="2766" y="1048"/>
                </a:cubicBezTo>
                <a:cubicBezTo>
                  <a:pt x="2766" y="1048"/>
                  <a:pt x="2767" y="1048"/>
                  <a:pt x="2767" y="1047"/>
                </a:cubicBezTo>
                <a:cubicBezTo>
                  <a:pt x="2767" y="1047"/>
                  <a:pt x="2767" y="1047"/>
                  <a:pt x="2768" y="1047"/>
                </a:cubicBezTo>
                <a:cubicBezTo>
                  <a:pt x="2768" y="1046"/>
                  <a:pt x="2768" y="1046"/>
                  <a:pt x="2768" y="1046"/>
                </a:cubicBezTo>
                <a:cubicBezTo>
                  <a:pt x="2769" y="1046"/>
                  <a:pt x="2768" y="1046"/>
                  <a:pt x="2769" y="1046"/>
                </a:cubicBezTo>
                <a:cubicBezTo>
                  <a:pt x="2769" y="1046"/>
                  <a:pt x="2769" y="1047"/>
                  <a:pt x="2769" y="1047"/>
                </a:cubicBezTo>
                <a:cubicBezTo>
                  <a:pt x="2769" y="1048"/>
                  <a:pt x="2770" y="1048"/>
                  <a:pt x="2770" y="1047"/>
                </a:cubicBezTo>
                <a:cubicBezTo>
                  <a:pt x="2770" y="1047"/>
                  <a:pt x="2770" y="1046"/>
                  <a:pt x="2770" y="1046"/>
                </a:cubicBezTo>
                <a:cubicBezTo>
                  <a:pt x="2771" y="1046"/>
                  <a:pt x="2771" y="1046"/>
                  <a:pt x="2771" y="1045"/>
                </a:cubicBezTo>
                <a:cubicBezTo>
                  <a:pt x="2771" y="1045"/>
                  <a:pt x="2769" y="1045"/>
                  <a:pt x="2770" y="1044"/>
                </a:cubicBezTo>
                <a:cubicBezTo>
                  <a:pt x="2770" y="1043"/>
                  <a:pt x="2770" y="1043"/>
                  <a:pt x="2770" y="1043"/>
                </a:cubicBezTo>
                <a:cubicBezTo>
                  <a:pt x="2770" y="1042"/>
                  <a:pt x="2770" y="1042"/>
                  <a:pt x="2770" y="1042"/>
                </a:cubicBezTo>
                <a:cubicBezTo>
                  <a:pt x="2770" y="1041"/>
                  <a:pt x="2770" y="1041"/>
                  <a:pt x="2771" y="1042"/>
                </a:cubicBezTo>
                <a:cubicBezTo>
                  <a:pt x="2771" y="1042"/>
                  <a:pt x="2771" y="1043"/>
                  <a:pt x="2771" y="1043"/>
                </a:cubicBezTo>
                <a:cubicBezTo>
                  <a:pt x="2771" y="1043"/>
                  <a:pt x="2771" y="1042"/>
                  <a:pt x="2772" y="1042"/>
                </a:cubicBezTo>
                <a:cubicBezTo>
                  <a:pt x="2772" y="1042"/>
                  <a:pt x="2772" y="1043"/>
                  <a:pt x="2771" y="1043"/>
                </a:cubicBezTo>
                <a:cubicBezTo>
                  <a:pt x="2771" y="1044"/>
                  <a:pt x="2771" y="1044"/>
                  <a:pt x="2771" y="1044"/>
                </a:cubicBezTo>
                <a:cubicBezTo>
                  <a:pt x="2771" y="1044"/>
                  <a:pt x="2771" y="1044"/>
                  <a:pt x="2771" y="1045"/>
                </a:cubicBezTo>
                <a:cubicBezTo>
                  <a:pt x="2771" y="1045"/>
                  <a:pt x="2772" y="1045"/>
                  <a:pt x="2772" y="1045"/>
                </a:cubicBezTo>
                <a:cubicBezTo>
                  <a:pt x="2771" y="1046"/>
                  <a:pt x="2771" y="1046"/>
                  <a:pt x="2771" y="1047"/>
                </a:cubicBezTo>
                <a:cubicBezTo>
                  <a:pt x="2772" y="1047"/>
                  <a:pt x="2772" y="1047"/>
                  <a:pt x="2772" y="1047"/>
                </a:cubicBezTo>
                <a:cubicBezTo>
                  <a:pt x="2772" y="1047"/>
                  <a:pt x="2772" y="1048"/>
                  <a:pt x="2772" y="1048"/>
                </a:cubicBezTo>
                <a:cubicBezTo>
                  <a:pt x="2773" y="1047"/>
                  <a:pt x="2772" y="1047"/>
                  <a:pt x="2773" y="1047"/>
                </a:cubicBezTo>
                <a:cubicBezTo>
                  <a:pt x="2773" y="1046"/>
                  <a:pt x="2773" y="1047"/>
                  <a:pt x="2774" y="1047"/>
                </a:cubicBezTo>
                <a:cubicBezTo>
                  <a:pt x="2774" y="1047"/>
                  <a:pt x="2774" y="1047"/>
                  <a:pt x="2775" y="1047"/>
                </a:cubicBezTo>
                <a:cubicBezTo>
                  <a:pt x="2775" y="1047"/>
                  <a:pt x="2776" y="1047"/>
                  <a:pt x="2776" y="1046"/>
                </a:cubicBezTo>
                <a:cubicBezTo>
                  <a:pt x="2776" y="1046"/>
                  <a:pt x="2776" y="1046"/>
                  <a:pt x="2776" y="1045"/>
                </a:cubicBezTo>
                <a:cubicBezTo>
                  <a:pt x="2775" y="1044"/>
                  <a:pt x="2776" y="1044"/>
                  <a:pt x="2776" y="1045"/>
                </a:cubicBezTo>
                <a:cubicBezTo>
                  <a:pt x="2776" y="1045"/>
                  <a:pt x="2776" y="1045"/>
                  <a:pt x="2776" y="1046"/>
                </a:cubicBezTo>
                <a:cubicBezTo>
                  <a:pt x="2777" y="1046"/>
                  <a:pt x="2777" y="1046"/>
                  <a:pt x="2777" y="1046"/>
                </a:cubicBezTo>
                <a:cubicBezTo>
                  <a:pt x="2777" y="1046"/>
                  <a:pt x="2777" y="1046"/>
                  <a:pt x="2777" y="1046"/>
                </a:cubicBezTo>
                <a:cubicBezTo>
                  <a:pt x="2778" y="1047"/>
                  <a:pt x="2778" y="1045"/>
                  <a:pt x="2778" y="1045"/>
                </a:cubicBezTo>
                <a:cubicBezTo>
                  <a:pt x="2778" y="1044"/>
                  <a:pt x="2778" y="1044"/>
                  <a:pt x="2778" y="1044"/>
                </a:cubicBezTo>
                <a:cubicBezTo>
                  <a:pt x="2779" y="1044"/>
                  <a:pt x="2779" y="1046"/>
                  <a:pt x="2780" y="1045"/>
                </a:cubicBezTo>
                <a:cubicBezTo>
                  <a:pt x="2780" y="1045"/>
                  <a:pt x="2780" y="1044"/>
                  <a:pt x="2781" y="1044"/>
                </a:cubicBezTo>
                <a:cubicBezTo>
                  <a:pt x="2781" y="1043"/>
                  <a:pt x="2781" y="1046"/>
                  <a:pt x="2782" y="1045"/>
                </a:cubicBezTo>
                <a:cubicBezTo>
                  <a:pt x="2782" y="1044"/>
                  <a:pt x="2782" y="1044"/>
                  <a:pt x="2782" y="1044"/>
                </a:cubicBezTo>
                <a:cubicBezTo>
                  <a:pt x="2782" y="1043"/>
                  <a:pt x="2783" y="1044"/>
                  <a:pt x="2783" y="1044"/>
                </a:cubicBezTo>
                <a:cubicBezTo>
                  <a:pt x="2784" y="1044"/>
                  <a:pt x="2785" y="1044"/>
                  <a:pt x="2785" y="1043"/>
                </a:cubicBezTo>
                <a:cubicBezTo>
                  <a:pt x="2785" y="1042"/>
                  <a:pt x="2785" y="1041"/>
                  <a:pt x="2785" y="1041"/>
                </a:cubicBezTo>
                <a:cubicBezTo>
                  <a:pt x="2785" y="1041"/>
                  <a:pt x="2785" y="1043"/>
                  <a:pt x="2786" y="1042"/>
                </a:cubicBezTo>
                <a:cubicBezTo>
                  <a:pt x="2786" y="1042"/>
                  <a:pt x="2786" y="1041"/>
                  <a:pt x="2787" y="1041"/>
                </a:cubicBezTo>
                <a:cubicBezTo>
                  <a:pt x="2787" y="1041"/>
                  <a:pt x="2787" y="1042"/>
                  <a:pt x="2787" y="1042"/>
                </a:cubicBezTo>
                <a:cubicBezTo>
                  <a:pt x="2787" y="1042"/>
                  <a:pt x="2787" y="1042"/>
                  <a:pt x="2787" y="1042"/>
                </a:cubicBezTo>
                <a:cubicBezTo>
                  <a:pt x="2788" y="1042"/>
                  <a:pt x="2787" y="1043"/>
                  <a:pt x="2788" y="1044"/>
                </a:cubicBezTo>
                <a:cubicBezTo>
                  <a:pt x="2788" y="1044"/>
                  <a:pt x="2789" y="1044"/>
                  <a:pt x="2789" y="1044"/>
                </a:cubicBezTo>
                <a:cubicBezTo>
                  <a:pt x="2789" y="1044"/>
                  <a:pt x="2789" y="1043"/>
                  <a:pt x="2790" y="1043"/>
                </a:cubicBezTo>
                <a:cubicBezTo>
                  <a:pt x="2790" y="1042"/>
                  <a:pt x="2790" y="1042"/>
                  <a:pt x="2790" y="1041"/>
                </a:cubicBezTo>
                <a:cubicBezTo>
                  <a:pt x="2790" y="1041"/>
                  <a:pt x="2790" y="1040"/>
                  <a:pt x="2790" y="1040"/>
                </a:cubicBezTo>
                <a:cubicBezTo>
                  <a:pt x="2791" y="1039"/>
                  <a:pt x="2791" y="1040"/>
                  <a:pt x="2791" y="1040"/>
                </a:cubicBezTo>
                <a:cubicBezTo>
                  <a:pt x="2792" y="1040"/>
                  <a:pt x="2792" y="1040"/>
                  <a:pt x="2792" y="1040"/>
                </a:cubicBezTo>
                <a:cubicBezTo>
                  <a:pt x="2793" y="1040"/>
                  <a:pt x="2793" y="1039"/>
                  <a:pt x="2793" y="1039"/>
                </a:cubicBezTo>
                <a:cubicBezTo>
                  <a:pt x="2793" y="1038"/>
                  <a:pt x="2793" y="1037"/>
                  <a:pt x="2793" y="1036"/>
                </a:cubicBezTo>
                <a:cubicBezTo>
                  <a:pt x="2793" y="1036"/>
                  <a:pt x="2793" y="1036"/>
                  <a:pt x="2792" y="1036"/>
                </a:cubicBezTo>
                <a:cubicBezTo>
                  <a:pt x="2792" y="1035"/>
                  <a:pt x="2792" y="1035"/>
                  <a:pt x="2792" y="1035"/>
                </a:cubicBezTo>
                <a:cubicBezTo>
                  <a:pt x="2791" y="1034"/>
                  <a:pt x="2792" y="1034"/>
                  <a:pt x="2791" y="1034"/>
                </a:cubicBezTo>
                <a:cubicBezTo>
                  <a:pt x="2791" y="1033"/>
                  <a:pt x="2790" y="1033"/>
                  <a:pt x="2791" y="1033"/>
                </a:cubicBezTo>
                <a:cubicBezTo>
                  <a:pt x="2791" y="1033"/>
                  <a:pt x="2791" y="1032"/>
                  <a:pt x="2792" y="1032"/>
                </a:cubicBezTo>
                <a:cubicBezTo>
                  <a:pt x="2792" y="1032"/>
                  <a:pt x="2792" y="1032"/>
                  <a:pt x="2792" y="1031"/>
                </a:cubicBezTo>
                <a:cubicBezTo>
                  <a:pt x="2793" y="1030"/>
                  <a:pt x="2791" y="1030"/>
                  <a:pt x="2792" y="1030"/>
                </a:cubicBezTo>
                <a:cubicBezTo>
                  <a:pt x="2792" y="1029"/>
                  <a:pt x="2792" y="1029"/>
                  <a:pt x="2792" y="1029"/>
                </a:cubicBezTo>
                <a:cubicBezTo>
                  <a:pt x="2793" y="1028"/>
                  <a:pt x="2793" y="1028"/>
                  <a:pt x="2793" y="1028"/>
                </a:cubicBezTo>
                <a:cubicBezTo>
                  <a:pt x="2793" y="1027"/>
                  <a:pt x="2792" y="1026"/>
                  <a:pt x="2791" y="1026"/>
                </a:cubicBezTo>
                <a:cubicBezTo>
                  <a:pt x="2791" y="1026"/>
                  <a:pt x="2789" y="1025"/>
                  <a:pt x="2790" y="1025"/>
                </a:cubicBezTo>
                <a:cubicBezTo>
                  <a:pt x="2791" y="1025"/>
                  <a:pt x="2791" y="1025"/>
                  <a:pt x="2791" y="1025"/>
                </a:cubicBezTo>
                <a:cubicBezTo>
                  <a:pt x="2792" y="1025"/>
                  <a:pt x="2792" y="1025"/>
                  <a:pt x="2792" y="1024"/>
                </a:cubicBezTo>
                <a:cubicBezTo>
                  <a:pt x="2792" y="1024"/>
                  <a:pt x="2792" y="1024"/>
                  <a:pt x="2792" y="1023"/>
                </a:cubicBezTo>
                <a:cubicBezTo>
                  <a:pt x="2792" y="1023"/>
                  <a:pt x="2793" y="1023"/>
                  <a:pt x="2793" y="1023"/>
                </a:cubicBezTo>
                <a:cubicBezTo>
                  <a:pt x="2793" y="1023"/>
                  <a:pt x="2793" y="1023"/>
                  <a:pt x="2793" y="1024"/>
                </a:cubicBezTo>
                <a:cubicBezTo>
                  <a:pt x="2793" y="1024"/>
                  <a:pt x="2793" y="1024"/>
                  <a:pt x="2793" y="1024"/>
                </a:cubicBezTo>
                <a:cubicBezTo>
                  <a:pt x="2794" y="1024"/>
                  <a:pt x="2794" y="1024"/>
                  <a:pt x="2794" y="1024"/>
                </a:cubicBezTo>
                <a:cubicBezTo>
                  <a:pt x="2794" y="1025"/>
                  <a:pt x="2794" y="1024"/>
                  <a:pt x="2793" y="1025"/>
                </a:cubicBezTo>
                <a:cubicBezTo>
                  <a:pt x="2793" y="1025"/>
                  <a:pt x="2793" y="1025"/>
                  <a:pt x="2793" y="1025"/>
                </a:cubicBezTo>
                <a:cubicBezTo>
                  <a:pt x="2792" y="1026"/>
                  <a:pt x="2793" y="1026"/>
                  <a:pt x="2793" y="1027"/>
                </a:cubicBezTo>
                <a:cubicBezTo>
                  <a:pt x="2794" y="1028"/>
                  <a:pt x="2793" y="1029"/>
                  <a:pt x="2793" y="1029"/>
                </a:cubicBezTo>
                <a:cubicBezTo>
                  <a:pt x="2793" y="1030"/>
                  <a:pt x="2793" y="1030"/>
                  <a:pt x="2793" y="1031"/>
                </a:cubicBezTo>
                <a:cubicBezTo>
                  <a:pt x="2794" y="1031"/>
                  <a:pt x="2794" y="1031"/>
                  <a:pt x="2794" y="1031"/>
                </a:cubicBezTo>
                <a:cubicBezTo>
                  <a:pt x="2795" y="1032"/>
                  <a:pt x="2795" y="1032"/>
                  <a:pt x="2795" y="1032"/>
                </a:cubicBezTo>
                <a:cubicBezTo>
                  <a:pt x="2796" y="1032"/>
                  <a:pt x="2797" y="1032"/>
                  <a:pt x="2797" y="1032"/>
                </a:cubicBezTo>
                <a:cubicBezTo>
                  <a:pt x="2798" y="1032"/>
                  <a:pt x="2798" y="1032"/>
                  <a:pt x="2799" y="1032"/>
                </a:cubicBezTo>
                <a:cubicBezTo>
                  <a:pt x="2799" y="1033"/>
                  <a:pt x="2800" y="1033"/>
                  <a:pt x="2800" y="1034"/>
                </a:cubicBezTo>
                <a:cubicBezTo>
                  <a:pt x="2800" y="1034"/>
                  <a:pt x="2801" y="1034"/>
                  <a:pt x="2801" y="1034"/>
                </a:cubicBezTo>
                <a:cubicBezTo>
                  <a:pt x="2801" y="1034"/>
                  <a:pt x="2802" y="1035"/>
                  <a:pt x="2802" y="1035"/>
                </a:cubicBezTo>
                <a:cubicBezTo>
                  <a:pt x="2803" y="1034"/>
                  <a:pt x="2802" y="1033"/>
                  <a:pt x="2803" y="1032"/>
                </a:cubicBezTo>
                <a:cubicBezTo>
                  <a:pt x="2803" y="1032"/>
                  <a:pt x="2803" y="1032"/>
                  <a:pt x="2803" y="1032"/>
                </a:cubicBezTo>
                <a:cubicBezTo>
                  <a:pt x="2804" y="1033"/>
                  <a:pt x="2803" y="1033"/>
                  <a:pt x="2803" y="1033"/>
                </a:cubicBezTo>
                <a:cubicBezTo>
                  <a:pt x="2803" y="1034"/>
                  <a:pt x="2804" y="1034"/>
                  <a:pt x="2804" y="1035"/>
                </a:cubicBezTo>
                <a:cubicBezTo>
                  <a:pt x="2805" y="1035"/>
                  <a:pt x="2805" y="1036"/>
                  <a:pt x="2805" y="1036"/>
                </a:cubicBezTo>
                <a:cubicBezTo>
                  <a:pt x="2805" y="1037"/>
                  <a:pt x="2806" y="1037"/>
                  <a:pt x="2806" y="1038"/>
                </a:cubicBezTo>
                <a:cubicBezTo>
                  <a:pt x="2806" y="1038"/>
                  <a:pt x="2806" y="1039"/>
                  <a:pt x="2807" y="1040"/>
                </a:cubicBezTo>
                <a:cubicBezTo>
                  <a:pt x="2807" y="1040"/>
                  <a:pt x="2808" y="1041"/>
                  <a:pt x="2807" y="1043"/>
                </a:cubicBezTo>
                <a:cubicBezTo>
                  <a:pt x="2807" y="1043"/>
                  <a:pt x="2807" y="1044"/>
                  <a:pt x="2807" y="1044"/>
                </a:cubicBezTo>
                <a:cubicBezTo>
                  <a:pt x="2808" y="1044"/>
                  <a:pt x="2808" y="1044"/>
                  <a:pt x="2808" y="1044"/>
                </a:cubicBezTo>
                <a:cubicBezTo>
                  <a:pt x="2808" y="1044"/>
                  <a:pt x="2808" y="1045"/>
                  <a:pt x="2808" y="1045"/>
                </a:cubicBezTo>
                <a:cubicBezTo>
                  <a:pt x="2808" y="1045"/>
                  <a:pt x="2808" y="1046"/>
                  <a:pt x="2807" y="1046"/>
                </a:cubicBezTo>
                <a:cubicBezTo>
                  <a:pt x="2807" y="1047"/>
                  <a:pt x="2808" y="1048"/>
                  <a:pt x="2808" y="1048"/>
                </a:cubicBezTo>
                <a:cubicBezTo>
                  <a:pt x="2809" y="1049"/>
                  <a:pt x="2809" y="1049"/>
                  <a:pt x="2809" y="1049"/>
                </a:cubicBezTo>
                <a:cubicBezTo>
                  <a:pt x="2809" y="1050"/>
                  <a:pt x="2809" y="1050"/>
                  <a:pt x="2809" y="1051"/>
                </a:cubicBezTo>
                <a:cubicBezTo>
                  <a:pt x="2809" y="1051"/>
                  <a:pt x="2810" y="1051"/>
                  <a:pt x="2810" y="1052"/>
                </a:cubicBezTo>
                <a:cubicBezTo>
                  <a:pt x="2810" y="1052"/>
                  <a:pt x="2810" y="1053"/>
                  <a:pt x="2810" y="1054"/>
                </a:cubicBezTo>
                <a:cubicBezTo>
                  <a:pt x="2811" y="1054"/>
                  <a:pt x="2811" y="1055"/>
                  <a:pt x="2812" y="1056"/>
                </a:cubicBezTo>
                <a:cubicBezTo>
                  <a:pt x="2812" y="1056"/>
                  <a:pt x="2812" y="1057"/>
                  <a:pt x="2813" y="1057"/>
                </a:cubicBezTo>
                <a:cubicBezTo>
                  <a:pt x="2813" y="1057"/>
                  <a:pt x="2813" y="1057"/>
                  <a:pt x="2812" y="1056"/>
                </a:cubicBezTo>
                <a:cubicBezTo>
                  <a:pt x="2812" y="1056"/>
                  <a:pt x="2812" y="1056"/>
                  <a:pt x="2812" y="1055"/>
                </a:cubicBezTo>
                <a:cubicBezTo>
                  <a:pt x="2812" y="1055"/>
                  <a:pt x="2811" y="1054"/>
                  <a:pt x="2811" y="1053"/>
                </a:cubicBezTo>
                <a:cubicBezTo>
                  <a:pt x="2812" y="1053"/>
                  <a:pt x="2812" y="1054"/>
                  <a:pt x="2812" y="1054"/>
                </a:cubicBezTo>
                <a:cubicBezTo>
                  <a:pt x="2812" y="1054"/>
                  <a:pt x="2812" y="1054"/>
                  <a:pt x="2813" y="1055"/>
                </a:cubicBezTo>
                <a:cubicBezTo>
                  <a:pt x="2813" y="1055"/>
                  <a:pt x="2813" y="1055"/>
                  <a:pt x="2813" y="1056"/>
                </a:cubicBezTo>
                <a:cubicBezTo>
                  <a:pt x="2813" y="1056"/>
                  <a:pt x="2813" y="1056"/>
                  <a:pt x="2814" y="1057"/>
                </a:cubicBezTo>
                <a:cubicBezTo>
                  <a:pt x="2814" y="1057"/>
                  <a:pt x="2814" y="1057"/>
                  <a:pt x="2814" y="1058"/>
                </a:cubicBezTo>
                <a:cubicBezTo>
                  <a:pt x="2814" y="1058"/>
                  <a:pt x="2814" y="1058"/>
                  <a:pt x="2815" y="1059"/>
                </a:cubicBezTo>
                <a:cubicBezTo>
                  <a:pt x="2815" y="1059"/>
                  <a:pt x="2816" y="1060"/>
                  <a:pt x="2816" y="1060"/>
                </a:cubicBezTo>
                <a:cubicBezTo>
                  <a:pt x="2816" y="1061"/>
                  <a:pt x="2816" y="1062"/>
                  <a:pt x="2817" y="1062"/>
                </a:cubicBezTo>
                <a:cubicBezTo>
                  <a:pt x="2817" y="1062"/>
                  <a:pt x="2817" y="1061"/>
                  <a:pt x="2817" y="1060"/>
                </a:cubicBezTo>
                <a:cubicBezTo>
                  <a:pt x="2817" y="1060"/>
                  <a:pt x="2816" y="1060"/>
                  <a:pt x="2817" y="1059"/>
                </a:cubicBezTo>
                <a:cubicBezTo>
                  <a:pt x="2817" y="1059"/>
                  <a:pt x="2817" y="1060"/>
                  <a:pt x="2817" y="1060"/>
                </a:cubicBezTo>
                <a:cubicBezTo>
                  <a:pt x="2818" y="1061"/>
                  <a:pt x="2819" y="1061"/>
                  <a:pt x="2819" y="1062"/>
                </a:cubicBezTo>
                <a:cubicBezTo>
                  <a:pt x="2819" y="1062"/>
                  <a:pt x="2818" y="1064"/>
                  <a:pt x="2819" y="1064"/>
                </a:cubicBezTo>
                <a:cubicBezTo>
                  <a:pt x="2819" y="1064"/>
                  <a:pt x="2820" y="1063"/>
                  <a:pt x="2820" y="1063"/>
                </a:cubicBezTo>
                <a:cubicBezTo>
                  <a:pt x="2820" y="1062"/>
                  <a:pt x="2820" y="1062"/>
                  <a:pt x="2820" y="1062"/>
                </a:cubicBezTo>
                <a:cubicBezTo>
                  <a:pt x="2820" y="1062"/>
                  <a:pt x="2821" y="1061"/>
                  <a:pt x="2821" y="1061"/>
                </a:cubicBezTo>
                <a:cubicBezTo>
                  <a:pt x="2821" y="1061"/>
                  <a:pt x="2821" y="1062"/>
                  <a:pt x="2821" y="1063"/>
                </a:cubicBezTo>
                <a:cubicBezTo>
                  <a:pt x="2821" y="1063"/>
                  <a:pt x="2820" y="1063"/>
                  <a:pt x="2820" y="1063"/>
                </a:cubicBezTo>
                <a:cubicBezTo>
                  <a:pt x="2820" y="1064"/>
                  <a:pt x="2820" y="1064"/>
                  <a:pt x="2820" y="1065"/>
                </a:cubicBezTo>
                <a:cubicBezTo>
                  <a:pt x="2820" y="1065"/>
                  <a:pt x="2820" y="1065"/>
                  <a:pt x="2820" y="1066"/>
                </a:cubicBezTo>
                <a:cubicBezTo>
                  <a:pt x="2819" y="1066"/>
                  <a:pt x="2820" y="1066"/>
                  <a:pt x="2820" y="1067"/>
                </a:cubicBezTo>
                <a:cubicBezTo>
                  <a:pt x="2820" y="1067"/>
                  <a:pt x="2820" y="1068"/>
                  <a:pt x="2820" y="1068"/>
                </a:cubicBezTo>
                <a:cubicBezTo>
                  <a:pt x="2821" y="1068"/>
                  <a:pt x="2821" y="1068"/>
                  <a:pt x="2821" y="1068"/>
                </a:cubicBezTo>
                <a:cubicBezTo>
                  <a:pt x="2821" y="1067"/>
                  <a:pt x="2821" y="1066"/>
                  <a:pt x="2821" y="1066"/>
                </a:cubicBezTo>
                <a:cubicBezTo>
                  <a:pt x="2822" y="1067"/>
                  <a:pt x="2821" y="1068"/>
                  <a:pt x="2822" y="1068"/>
                </a:cubicBezTo>
                <a:cubicBezTo>
                  <a:pt x="2822" y="1067"/>
                  <a:pt x="2822" y="1066"/>
                  <a:pt x="2822" y="1066"/>
                </a:cubicBezTo>
                <a:cubicBezTo>
                  <a:pt x="2822" y="1065"/>
                  <a:pt x="2823" y="1066"/>
                  <a:pt x="2823" y="1066"/>
                </a:cubicBezTo>
                <a:cubicBezTo>
                  <a:pt x="2824" y="1066"/>
                  <a:pt x="2824" y="1066"/>
                  <a:pt x="2824" y="1066"/>
                </a:cubicBezTo>
                <a:cubicBezTo>
                  <a:pt x="2825" y="1066"/>
                  <a:pt x="2826" y="1066"/>
                  <a:pt x="2826" y="1066"/>
                </a:cubicBezTo>
                <a:cubicBezTo>
                  <a:pt x="2827" y="1066"/>
                  <a:pt x="2829" y="1066"/>
                  <a:pt x="2828" y="1067"/>
                </a:cubicBezTo>
                <a:cubicBezTo>
                  <a:pt x="2828" y="1067"/>
                  <a:pt x="2827" y="1068"/>
                  <a:pt x="2827" y="1068"/>
                </a:cubicBezTo>
                <a:cubicBezTo>
                  <a:pt x="2827" y="1069"/>
                  <a:pt x="2828" y="1069"/>
                  <a:pt x="2828" y="1069"/>
                </a:cubicBezTo>
                <a:cubicBezTo>
                  <a:pt x="2829" y="1069"/>
                  <a:pt x="2829" y="1071"/>
                  <a:pt x="2829" y="1071"/>
                </a:cubicBezTo>
                <a:cubicBezTo>
                  <a:pt x="2830" y="1072"/>
                  <a:pt x="2830" y="1072"/>
                  <a:pt x="2831" y="1073"/>
                </a:cubicBezTo>
                <a:cubicBezTo>
                  <a:pt x="2831" y="1073"/>
                  <a:pt x="2831" y="1074"/>
                  <a:pt x="2830" y="1074"/>
                </a:cubicBezTo>
                <a:cubicBezTo>
                  <a:pt x="2830" y="1075"/>
                  <a:pt x="2830" y="1075"/>
                  <a:pt x="2829" y="1074"/>
                </a:cubicBezTo>
                <a:cubicBezTo>
                  <a:pt x="2829" y="1074"/>
                  <a:pt x="2829" y="1074"/>
                  <a:pt x="2828" y="1074"/>
                </a:cubicBezTo>
                <a:cubicBezTo>
                  <a:pt x="2828" y="1074"/>
                  <a:pt x="2828" y="1073"/>
                  <a:pt x="2827" y="1073"/>
                </a:cubicBezTo>
                <a:cubicBezTo>
                  <a:pt x="2827" y="1072"/>
                  <a:pt x="2826" y="1072"/>
                  <a:pt x="2826" y="1073"/>
                </a:cubicBezTo>
                <a:cubicBezTo>
                  <a:pt x="2827" y="1074"/>
                  <a:pt x="2827" y="1074"/>
                  <a:pt x="2827" y="1074"/>
                </a:cubicBezTo>
                <a:cubicBezTo>
                  <a:pt x="2827" y="1075"/>
                  <a:pt x="2827" y="1075"/>
                  <a:pt x="2827" y="1075"/>
                </a:cubicBezTo>
                <a:cubicBezTo>
                  <a:pt x="2827" y="1076"/>
                  <a:pt x="2828" y="1076"/>
                  <a:pt x="2828" y="1076"/>
                </a:cubicBezTo>
                <a:cubicBezTo>
                  <a:pt x="2828" y="1076"/>
                  <a:pt x="2828" y="1077"/>
                  <a:pt x="2829" y="1077"/>
                </a:cubicBezTo>
                <a:cubicBezTo>
                  <a:pt x="2829" y="1078"/>
                  <a:pt x="2829" y="1078"/>
                  <a:pt x="2830" y="1079"/>
                </a:cubicBezTo>
                <a:cubicBezTo>
                  <a:pt x="2830" y="1079"/>
                  <a:pt x="2831" y="1080"/>
                  <a:pt x="2831" y="1079"/>
                </a:cubicBezTo>
                <a:cubicBezTo>
                  <a:pt x="2831" y="1079"/>
                  <a:pt x="2831" y="1078"/>
                  <a:pt x="2831" y="1078"/>
                </a:cubicBezTo>
                <a:cubicBezTo>
                  <a:pt x="2831" y="1078"/>
                  <a:pt x="2831" y="1077"/>
                  <a:pt x="2831" y="1077"/>
                </a:cubicBezTo>
                <a:cubicBezTo>
                  <a:pt x="2831" y="1077"/>
                  <a:pt x="2831" y="1076"/>
                  <a:pt x="2831" y="1076"/>
                </a:cubicBezTo>
                <a:cubicBezTo>
                  <a:pt x="2831" y="1075"/>
                  <a:pt x="2831" y="1075"/>
                  <a:pt x="2831" y="1075"/>
                </a:cubicBezTo>
                <a:cubicBezTo>
                  <a:pt x="2832" y="1075"/>
                  <a:pt x="2832" y="1074"/>
                  <a:pt x="2832" y="1074"/>
                </a:cubicBezTo>
                <a:cubicBezTo>
                  <a:pt x="2833" y="1075"/>
                  <a:pt x="2832" y="1076"/>
                  <a:pt x="2832" y="1076"/>
                </a:cubicBezTo>
                <a:cubicBezTo>
                  <a:pt x="2832" y="1077"/>
                  <a:pt x="2832" y="1078"/>
                  <a:pt x="2832" y="1078"/>
                </a:cubicBezTo>
                <a:cubicBezTo>
                  <a:pt x="2832" y="1079"/>
                  <a:pt x="2832" y="1080"/>
                  <a:pt x="2833" y="1080"/>
                </a:cubicBezTo>
                <a:cubicBezTo>
                  <a:pt x="2834" y="1081"/>
                  <a:pt x="2834" y="1081"/>
                  <a:pt x="2834" y="1082"/>
                </a:cubicBezTo>
                <a:cubicBezTo>
                  <a:pt x="2834" y="1082"/>
                  <a:pt x="2835" y="1083"/>
                  <a:pt x="2835" y="1084"/>
                </a:cubicBezTo>
                <a:cubicBezTo>
                  <a:pt x="2835" y="1084"/>
                  <a:pt x="2835" y="1084"/>
                  <a:pt x="2835" y="1085"/>
                </a:cubicBezTo>
                <a:cubicBezTo>
                  <a:pt x="2836" y="1085"/>
                  <a:pt x="2836" y="1085"/>
                  <a:pt x="2836" y="1086"/>
                </a:cubicBezTo>
                <a:cubicBezTo>
                  <a:pt x="2837" y="1087"/>
                  <a:pt x="2837" y="1089"/>
                  <a:pt x="2837" y="1091"/>
                </a:cubicBezTo>
                <a:cubicBezTo>
                  <a:pt x="2838" y="1093"/>
                  <a:pt x="2839" y="1095"/>
                  <a:pt x="2838" y="1097"/>
                </a:cubicBezTo>
                <a:cubicBezTo>
                  <a:pt x="2837" y="1098"/>
                  <a:pt x="2837" y="1099"/>
                  <a:pt x="2837" y="1100"/>
                </a:cubicBezTo>
                <a:cubicBezTo>
                  <a:pt x="2836" y="1101"/>
                  <a:pt x="2836" y="1103"/>
                  <a:pt x="2836" y="1105"/>
                </a:cubicBezTo>
                <a:cubicBezTo>
                  <a:pt x="2836" y="1106"/>
                  <a:pt x="2836" y="1107"/>
                  <a:pt x="2835" y="1107"/>
                </a:cubicBezTo>
                <a:cubicBezTo>
                  <a:pt x="2835" y="1108"/>
                  <a:pt x="2835" y="1109"/>
                  <a:pt x="2835" y="1110"/>
                </a:cubicBezTo>
                <a:cubicBezTo>
                  <a:pt x="2835" y="1111"/>
                  <a:pt x="2835" y="1112"/>
                  <a:pt x="2835" y="1113"/>
                </a:cubicBezTo>
                <a:cubicBezTo>
                  <a:pt x="2835" y="1113"/>
                  <a:pt x="2835" y="1114"/>
                  <a:pt x="2835" y="1114"/>
                </a:cubicBezTo>
                <a:cubicBezTo>
                  <a:pt x="2835" y="1114"/>
                  <a:pt x="2836" y="1113"/>
                  <a:pt x="2836" y="1113"/>
                </a:cubicBezTo>
                <a:cubicBezTo>
                  <a:pt x="2836" y="1112"/>
                  <a:pt x="2837" y="1112"/>
                  <a:pt x="2837" y="1111"/>
                </a:cubicBezTo>
                <a:cubicBezTo>
                  <a:pt x="2838" y="1111"/>
                  <a:pt x="2838" y="1110"/>
                  <a:pt x="2839" y="1110"/>
                </a:cubicBezTo>
                <a:cubicBezTo>
                  <a:pt x="2839" y="1109"/>
                  <a:pt x="2839" y="1110"/>
                  <a:pt x="2839" y="1110"/>
                </a:cubicBezTo>
                <a:cubicBezTo>
                  <a:pt x="2839" y="1111"/>
                  <a:pt x="2839" y="1111"/>
                  <a:pt x="2839" y="1111"/>
                </a:cubicBezTo>
                <a:cubicBezTo>
                  <a:pt x="2838" y="1112"/>
                  <a:pt x="2839" y="1112"/>
                  <a:pt x="2839" y="1112"/>
                </a:cubicBezTo>
                <a:cubicBezTo>
                  <a:pt x="2839" y="1113"/>
                  <a:pt x="2838" y="1113"/>
                  <a:pt x="2838" y="1113"/>
                </a:cubicBezTo>
                <a:cubicBezTo>
                  <a:pt x="2838" y="1114"/>
                  <a:pt x="2839" y="1114"/>
                  <a:pt x="2839" y="1114"/>
                </a:cubicBezTo>
                <a:cubicBezTo>
                  <a:pt x="2839" y="1113"/>
                  <a:pt x="2839" y="1113"/>
                  <a:pt x="2839" y="1113"/>
                </a:cubicBezTo>
                <a:cubicBezTo>
                  <a:pt x="2840" y="1112"/>
                  <a:pt x="2840" y="1112"/>
                  <a:pt x="2840" y="1112"/>
                </a:cubicBezTo>
                <a:cubicBezTo>
                  <a:pt x="2841" y="1112"/>
                  <a:pt x="2840" y="1113"/>
                  <a:pt x="2840" y="1113"/>
                </a:cubicBezTo>
                <a:cubicBezTo>
                  <a:pt x="2840" y="1113"/>
                  <a:pt x="2840" y="1114"/>
                  <a:pt x="2840" y="1114"/>
                </a:cubicBezTo>
                <a:cubicBezTo>
                  <a:pt x="2840" y="1115"/>
                  <a:pt x="2841" y="1115"/>
                  <a:pt x="2841" y="1114"/>
                </a:cubicBezTo>
                <a:cubicBezTo>
                  <a:pt x="2841" y="1114"/>
                  <a:pt x="2841" y="1112"/>
                  <a:pt x="2842" y="1113"/>
                </a:cubicBezTo>
                <a:cubicBezTo>
                  <a:pt x="2842" y="1113"/>
                  <a:pt x="2842" y="1113"/>
                  <a:pt x="2842" y="1114"/>
                </a:cubicBezTo>
                <a:cubicBezTo>
                  <a:pt x="2842" y="1114"/>
                  <a:pt x="2842" y="1114"/>
                  <a:pt x="2843" y="1115"/>
                </a:cubicBezTo>
                <a:cubicBezTo>
                  <a:pt x="2843" y="1115"/>
                  <a:pt x="2843" y="1116"/>
                  <a:pt x="2843" y="1116"/>
                </a:cubicBezTo>
                <a:cubicBezTo>
                  <a:pt x="2843" y="1116"/>
                  <a:pt x="2844" y="1116"/>
                  <a:pt x="2844" y="1115"/>
                </a:cubicBezTo>
                <a:cubicBezTo>
                  <a:pt x="2844" y="1115"/>
                  <a:pt x="2844" y="1114"/>
                  <a:pt x="2844" y="1114"/>
                </a:cubicBezTo>
                <a:cubicBezTo>
                  <a:pt x="2844" y="1114"/>
                  <a:pt x="2844" y="1114"/>
                  <a:pt x="2844" y="1113"/>
                </a:cubicBezTo>
                <a:cubicBezTo>
                  <a:pt x="2844" y="1113"/>
                  <a:pt x="2844" y="1112"/>
                  <a:pt x="2845" y="1112"/>
                </a:cubicBezTo>
                <a:cubicBezTo>
                  <a:pt x="2845" y="1112"/>
                  <a:pt x="2845" y="1113"/>
                  <a:pt x="2845" y="1113"/>
                </a:cubicBezTo>
                <a:cubicBezTo>
                  <a:pt x="2845" y="1114"/>
                  <a:pt x="2844" y="1115"/>
                  <a:pt x="2845" y="1115"/>
                </a:cubicBezTo>
                <a:cubicBezTo>
                  <a:pt x="2845" y="1115"/>
                  <a:pt x="2845" y="1116"/>
                  <a:pt x="2845" y="1116"/>
                </a:cubicBezTo>
                <a:cubicBezTo>
                  <a:pt x="2845" y="1116"/>
                  <a:pt x="2845" y="1115"/>
                  <a:pt x="2846" y="1115"/>
                </a:cubicBezTo>
                <a:cubicBezTo>
                  <a:pt x="2846" y="1115"/>
                  <a:pt x="2846" y="1115"/>
                  <a:pt x="2846" y="1115"/>
                </a:cubicBezTo>
                <a:cubicBezTo>
                  <a:pt x="2846" y="1114"/>
                  <a:pt x="2846" y="1114"/>
                  <a:pt x="2847" y="1114"/>
                </a:cubicBezTo>
                <a:cubicBezTo>
                  <a:pt x="2847" y="1114"/>
                  <a:pt x="2847" y="1115"/>
                  <a:pt x="2847" y="1116"/>
                </a:cubicBezTo>
                <a:cubicBezTo>
                  <a:pt x="2846" y="1116"/>
                  <a:pt x="2847" y="1117"/>
                  <a:pt x="2847" y="1117"/>
                </a:cubicBezTo>
                <a:cubicBezTo>
                  <a:pt x="2848" y="1117"/>
                  <a:pt x="2848" y="1116"/>
                  <a:pt x="2848" y="1116"/>
                </a:cubicBezTo>
                <a:cubicBezTo>
                  <a:pt x="2849" y="1116"/>
                  <a:pt x="2849" y="1116"/>
                  <a:pt x="2849" y="1115"/>
                </a:cubicBezTo>
                <a:cubicBezTo>
                  <a:pt x="2850" y="1115"/>
                  <a:pt x="2850" y="1115"/>
                  <a:pt x="2850" y="1114"/>
                </a:cubicBezTo>
                <a:cubicBezTo>
                  <a:pt x="2850" y="1113"/>
                  <a:pt x="2851" y="1113"/>
                  <a:pt x="2851" y="1112"/>
                </a:cubicBezTo>
                <a:cubicBezTo>
                  <a:pt x="2851" y="1111"/>
                  <a:pt x="2851" y="1110"/>
                  <a:pt x="2852" y="1110"/>
                </a:cubicBezTo>
                <a:cubicBezTo>
                  <a:pt x="2853" y="1110"/>
                  <a:pt x="2853" y="1111"/>
                  <a:pt x="2854" y="1111"/>
                </a:cubicBezTo>
                <a:cubicBezTo>
                  <a:pt x="2854" y="1111"/>
                  <a:pt x="2854" y="1110"/>
                  <a:pt x="2855" y="1110"/>
                </a:cubicBezTo>
                <a:cubicBezTo>
                  <a:pt x="2855" y="1110"/>
                  <a:pt x="2855" y="1109"/>
                  <a:pt x="2855" y="1109"/>
                </a:cubicBezTo>
                <a:cubicBezTo>
                  <a:pt x="2855" y="1109"/>
                  <a:pt x="2854" y="1109"/>
                  <a:pt x="2855" y="1108"/>
                </a:cubicBezTo>
                <a:cubicBezTo>
                  <a:pt x="2855" y="1108"/>
                  <a:pt x="2856" y="1108"/>
                  <a:pt x="2856" y="1108"/>
                </a:cubicBezTo>
                <a:cubicBezTo>
                  <a:pt x="2857" y="1109"/>
                  <a:pt x="2857" y="1108"/>
                  <a:pt x="2857" y="1108"/>
                </a:cubicBezTo>
                <a:cubicBezTo>
                  <a:pt x="2858" y="1108"/>
                  <a:pt x="2858" y="1108"/>
                  <a:pt x="2858" y="1108"/>
                </a:cubicBezTo>
                <a:cubicBezTo>
                  <a:pt x="2859" y="1108"/>
                  <a:pt x="2858" y="1108"/>
                  <a:pt x="2858" y="1107"/>
                </a:cubicBezTo>
                <a:cubicBezTo>
                  <a:pt x="2858" y="1107"/>
                  <a:pt x="2858" y="1107"/>
                  <a:pt x="2858" y="1106"/>
                </a:cubicBezTo>
                <a:cubicBezTo>
                  <a:pt x="2858" y="1106"/>
                  <a:pt x="2857" y="1105"/>
                  <a:pt x="2858" y="1105"/>
                </a:cubicBezTo>
                <a:cubicBezTo>
                  <a:pt x="2858" y="1105"/>
                  <a:pt x="2858" y="1106"/>
                  <a:pt x="2858" y="1106"/>
                </a:cubicBezTo>
                <a:cubicBezTo>
                  <a:pt x="2858" y="1106"/>
                  <a:pt x="2858" y="1107"/>
                  <a:pt x="2859" y="1107"/>
                </a:cubicBezTo>
                <a:cubicBezTo>
                  <a:pt x="2859" y="1108"/>
                  <a:pt x="2860" y="1107"/>
                  <a:pt x="2861" y="1107"/>
                </a:cubicBezTo>
                <a:cubicBezTo>
                  <a:pt x="2862" y="1107"/>
                  <a:pt x="2862" y="1106"/>
                  <a:pt x="2862" y="1105"/>
                </a:cubicBezTo>
                <a:cubicBezTo>
                  <a:pt x="2863" y="1105"/>
                  <a:pt x="2864" y="1105"/>
                  <a:pt x="2864" y="1104"/>
                </a:cubicBezTo>
                <a:cubicBezTo>
                  <a:pt x="2864" y="1103"/>
                  <a:pt x="2864" y="1102"/>
                  <a:pt x="2864" y="1101"/>
                </a:cubicBezTo>
                <a:cubicBezTo>
                  <a:pt x="2864" y="1101"/>
                  <a:pt x="2865" y="1101"/>
                  <a:pt x="2865" y="1100"/>
                </a:cubicBezTo>
                <a:cubicBezTo>
                  <a:pt x="2865" y="1100"/>
                  <a:pt x="2865" y="1099"/>
                  <a:pt x="2865" y="1099"/>
                </a:cubicBezTo>
                <a:cubicBezTo>
                  <a:pt x="2865" y="1098"/>
                  <a:pt x="2865" y="1097"/>
                  <a:pt x="2865" y="1097"/>
                </a:cubicBezTo>
                <a:cubicBezTo>
                  <a:pt x="2866" y="1097"/>
                  <a:pt x="2866" y="1097"/>
                  <a:pt x="2866" y="1098"/>
                </a:cubicBezTo>
                <a:cubicBezTo>
                  <a:pt x="2866" y="1098"/>
                  <a:pt x="2866" y="1098"/>
                  <a:pt x="2866" y="1099"/>
                </a:cubicBezTo>
                <a:cubicBezTo>
                  <a:pt x="2867" y="1099"/>
                  <a:pt x="2867" y="1099"/>
                  <a:pt x="2868" y="1100"/>
                </a:cubicBezTo>
                <a:cubicBezTo>
                  <a:pt x="2868" y="1101"/>
                  <a:pt x="2868" y="1102"/>
                  <a:pt x="2868" y="1103"/>
                </a:cubicBezTo>
                <a:cubicBezTo>
                  <a:pt x="2869" y="1103"/>
                  <a:pt x="2869" y="1104"/>
                  <a:pt x="2869" y="1105"/>
                </a:cubicBezTo>
                <a:cubicBezTo>
                  <a:pt x="2869" y="1106"/>
                  <a:pt x="2870" y="1107"/>
                  <a:pt x="2870" y="1107"/>
                </a:cubicBezTo>
                <a:cubicBezTo>
                  <a:pt x="2871" y="1107"/>
                  <a:pt x="2871" y="1107"/>
                  <a:pt x="2871" y="1107"/>
                </a:cubicBezTo>
                <a:cubicBezTo>
                  <a:pt x="2872" y="1106"/>
                  <a:pt x="2872" y="1107"/>
                  <a:pt x="2873" y="1107"/>
                </a:cubicBezTo>
                <a:cubicBezTo>
                  <a:pt x="2873" y="1107"/>
                  <a:pt x="2873" y="1106"/>
                  <a:pt x="2873" y="1107"/>
                </a:cubicBezTo>
                <a:cubicBezTo>
                  <a:pt x="2874" y="1107"/>
                  <a:pt x="2873" y="1108"/>
                  <a:pt x="2873" y="1108"/>
                </a:cubicBezTo>
                <a:cubicBezTo>
                  <a:pt x="2873" y="1108"/>
                  <a:pt x="2873" y="1109"/>
                  <a:pt x="2873" y="1109"/>
                </a:cubicBezTo>
                <a:cubicBezTo>
                  <a:pt x="2873" y="1110"/>
                  <a:pt x="2873" y="1111"/>
                  <a:pt x="2873" y="1111"/>
                </a:cubicBezTo>
                <a:cubicBezTo>
                  <a:pt x="2873" y="1112"/>
                  <a:pt x="2873" y="1113"/>
                  <a:pt x="2873" y="1114"/>
                </a:cubicBezTo>
                <a:cubicBezTo>
                  <a:pt x="2873" y="1115"/>
                  <a:pt x="2874" y="1115"/>
                  <a:pt x="2874" y="1116"/>
                </a:cubicBezTo>
                <a:cubicBezTo>
                  <a:pt x="2874" y="1116"/>
                  <a:pt x="2874" y="1117"/>
                  <a:pt x="2874" y="1118"/>
                </a:cubicBezTo>
                <a:cubicBezTo>
                  <a:pt x="2874" y="1118"/>
                  <a:pt x="2874" y="1118"/>
                  <a:pt x="2874" y="1119"/>
                </a:cubicBezTo>
                <a:cubicBezTo>
                  <a:pt x="2874" y="1120"/>
                  <a:pt x="2874" y="1121"/>
                  <a:pt x="2875" y="1121"/>
                </a:cubicBezTo>
                <a:cubicBezTo>
                  <a:pt x="2875" y="1123"/>
                  <a:pt x="2874" y="1125"/>
                  <a:pt x="2875" y="1126"/>
                </a:cubicBezTo>
                <a:cubicBezTo>
                  <a:pt x="2876" y="1127"/>
                  <a:pt x="2876" y="1127"/>
                  <a:pt x="2877" y="1128"/>
                </a:cubicBezTo>
                <a:cubicBezTo>
                  <a:pt x="2877" y="1128"/>
                  <a:pt x="2877" y="1129"/>
                  <a:pt x="2877" y="1129"/>
                </a:cubicBezTo>
                <a:cubicBezTo>
                  <a:pt x="2878" y="1131"/>
                  <a:pt x="2877" y="1133"/>
                  <a:pt x="2878" y="1135"/>
                </a:cubicBezTo>
                <a:cubicBezTo>
                  <a:pt x="2878" y="1136"/>
                  <a:pt x="2878" y="1137"/>
                  <a:pt x="2878" y="1137"/>
                </a:cubicBezTo>
                <a:cubicBezTo>
                  <a:pt x="2878" y="1138"/>
                  <a:pt x="2878" y="1138"/>
                  <a:pt x="2878" y="1139"/>
                </a:cubicBezTo>
                <a:cubicBezTo>
                  <a:pt x="2878" y="1139"/>
                  <a:pt x="2879" y="1139"/>
                  <a:pt x="2879" y="1139"/>
                </a:cubicBezTo>
                <a:cubicBezTo>
                  <a:pt x="2879" y="1140"/>
                  <a:pt x="2879" y="1141"/>
                  <a:pt x="2879" y="1141"/>
                </a:cubicBezTo>
                <a:cubicBezTo>
                  <a:pt x="2880" y="1141"/>
                  <a:pt x="2879" y="1140"/>
                  <a:pt x="2879" y="1139"/>
                </a:cubicBezTo>
                <a:cubicBezTo>
                  <a:pt x="2879" y="1138"/>
                  <a:pt x="2879" y="1137"/>
                  <a:pt x="2879" y="1137"/>
                </a:cubicBezTo>
                <a:cubicBezTo>
                  <a:pt x="2880" y="1135"/>
                  <a:pt x="2880" y="1137"/>
                  <a:pt x="2880" y="1138"/>
                </a:cubicBezTo>
                <a:cubicBezTo>
                  <a:pt x="2880" y="1138"/>
                  <a:pt x="2880" y="1138"/>
                  <a:pt x="2881" y="1139"/>
                </a:cubicBezTo>
                <a:cubicBezTo>
                  <a:pt x="2881" y="1139"/>
                  <a:pt x="2881" y="1139"/>
                  <a:pt x="2881" y="1140"/>
                </a:cubicBezTo>
                <a:cubicBezTo>
                  <a:pt x="2882" y="1140"/>
                  <a:pt x="2882" y="1141"/>
                  <a:pt x="2882" y="1142"/>
                </a:cubicBezTo>
                <a:cubicBezTo>
                  <a:pt x="2882" y="1143"/>
                  <a:pt x="2883" y="1144"/>
                  <a:pt x="2883" y="1145"/>
                </a:cubicBezTo>
                <a:cubicBezTo>
                  <a:pt x="2883" y="1146"/>
                  <a:pt x="2884" y="1146"/>
                  <a:pt x="2884" y="1147"/>
                </a:cubicBezTo>
                <a:cubicBezTo>
                  <a:pt x="2884" y="1148"/>
                  <a:pt x="2885" y="1149"/>
                  <a:pt x="2885" y="1149"/>
                </a:cubicBezTo>
                <a:cubicBezTo>
                  <a:pt x="2885" y="1150"/>
                  <a:pt x="2885" y="1151"/>
                  <a:pt x="2885" y="1153"/>
                </a:cubicBezTo>
                <a:cubicBezTo>
                  <a:pt x="2885" y="1153"/>
                  <a:pt x="2884" y="1154"/>
                  <a:pt x="2884" y="1154"/>
                </a:cubicBezTo>
                <a:cubicBezTo>
                  <a:pt x="2884" y="1155"/>
                  <a:pt x="2884" y="1155"/>
                  <a:pt x="2884" y="1156"/>
                </a:cubicBezTo>
                <a:cubicBezTo>
                  <a:pt x="2883" y="1156"/>
                  <a:pt x="2883" y="1157"/>
                  <a:pt x="2884" y="1157"/>
                </a:cubicBezTo>
                <a:cubicBezTo>
                  <a:pt x="2885" y="1157"/>
                  <a:pt x="2886" y="1157"/>
                  <a:pt x="2885" y="1158"/>
                </a:cubicBezTo>
                <a:cubicBezTo>
                  <a:pt x="2884" y="1158"/>
                  <a:pt x="2885" y="1160"/>
                  <a:pt x="2884" y="1160"/>
                </a:cubicBezTo>
                <a:cubicBezTo>
                  <a:pt x="2884" y="1159"/>
                  <a:pt x="2883" y="1158"/>
                  <a:pt x="2882" y="1159"/>
                </a:cubicBezTo>
                <a:cubicBezTo>
                  <a:pt x="2882" y="1160"/>
                  <a:pt x="2883" y="1160"/>
                  <a:pt x="2884" y="1161"/>
                </a:cubicBezTo>
                <a:cubicBezTo>
                  <a:pt x="2885" y="1161"/>
                  <a:pt x="2884" y="1162"/>
                  <a:pt x="2884" y="1163"/>
                </a:cubicBezTo>
                <a:cubicBezTo>
                  <a:pt x="2884" y="1164"/>
                  <a:pt x="2885" y="1163"/>
                  <a:pt x="2886" y="1163"/>
                </a:cubicBezTo>
                <a:cubicBezTo>
                  <a:pt x="2886" y="1162"/>
                  <a:pt x="2886" y="1162"/>
                  <a:pt x="2886" y="1162"/>
                </a:cubicBezTo>
                <a:cubicBezTo>
                  <a:pt x="2887" y="1161"/>
                  <a:pt x="2887" y="1162"/>
                  <a:pt x="2887" y="1162"/>
                </a:cubicBezTo>
                <a:cubicBezTo>
                  <a:pt x="2887" y="1163"/>
                  <a:pt x="2886" y="1163"/>
                  <a:pt x="2886" y="1163"/>
                </a:cubicBezTo>
                <a:cubicBezTo>
                  <a:pt x="2886" y="1163"/>
                  <a:pt x="2886" y="1163"/>
                  <a:pt x="2885" y="1164"/>
                </a:cubicBezTo>
                <a:cubicBezTo>
                  <a:pt x="2885" y="1164"/>
                  <a:pt x="2886" y="1165"/>
                  <a:pt x="2886" y="1166"/>
                </a:cubicBezTo>
                <a:cubicBezTo>
                  <a:pt x="2886" y="1167"/>
                  <a:pt x="2886" y="1168"/>
                  <a:pt x="2886" y="1169"/>
                </a:cubicBezTo>
                <a:cubicBezTo>
                  <a:pt x="2886" y="1170"/>
                  <a:pt x="2885" y="1170"/>
                  <a:pt x="2885" y="1171"/>
                </a:cubicBezTo>
                <a:cubicBezTo>
                  <a:pt x="2885" y="1172"/>
                  <a:pt x="2884" y="1173"/>
                  <a:pt x="2884" y="1173"/>
                </a:cubicBezTo>
                <a:cubicBezTo>
                  <a:pt x="2883" y="1174"/>
                  <a:pt x="2883" y="1174"/>
                  <a:pt x="2882" y="1175"/>
                </a:cubicBezTo>
                <a:cubicBezTo>
                  <a:pt x="2882" y="1176"/>
                  <a:pt x="2883" y="1176"/>
                  <a:pt x="2883" y="1177"/>
                </a:cubicBezTo>
                <a:cubicBezTo>
                  <a:pt x="2884" y="1178"/>
                  <a:pt x="2884" y="1179"/>
                  <a:pt x="2883" y="1180"/>
                </a:cubicBezTo>
                <a:cubicBezTo>
                  <a:pt x="2883" y="1181"/>
                  <a:pt x="2883" y="1182"/>
                  <a:pt x="2883" y="1182"/>
                </a:cubicBezTo>
                <a:cubicBezTo>
                  <a:pt x="2883" y="1183"/>
                  <a:pt x="2884" y="1182"/>
                  <a:pt x="2884" y="1181"/>
                </a:cubicBezTo>
                <a:cubicBezTo>
                  <a:pt x="2885" y="1181"/>
                  <a:pt x="2884" y="1183"/>
                  <a:pt x="2884" y="1183"/>
                </a:cubicBezTo>
                <a:cubicBezTo>
                  <a:pt x="2884" y="1184"/>
                  <a:pt x="2884" y="1185"/>
                  <a:pt x="2883" y="1186"/>
                </a:cubicBezTo>
                <a:cubicBezTo>
                  <a:pt x="2883" y="1187"/>
                  <a:pt x="2882" y="1187"/>
                  <a:pt x="2882" y="1188"/>
                </a:cubicBezTo>
                <a:cubicBezTo>
                  <a:pt x="2882" y="1189"/>
                  <a:pt x="2882" y="1190"/>
                  <a:pt x="2881" y="1191"/>
                </a:cubicBezTo>
                <a:cubicBezTo>
                  <a:pt x="2881" y="1191"/>
                  <a:pt x="2880" y="1192"/>
                  <a:pt x="2880" y="1192"/>
                </a:cubicBezTo>
                <a:cubicBezTo>
                  <a:pt x="2880" y="1193"/>
                  <a:pt x="2881" y="1193"/>
                  <a:pt x="2881" y="1193"/>
                </a:cubicBezTo>
                <a:cubicBezTo>
                  <a:pt x="2881" y="1193"/>
                  <a:pt x="2881" y="1194"/>
                  <a:pt x="2881" y="1194"/>
                </a:cubicBezTo>
                <a:cubicBezTo>
                  <a:pt x="2881" y="1194"/>
                  <a:pt x="2881" y="1195"/>
                  <a:pt x="2881" y="1195"/>
                </a:cubicBezTo>
                <a:cubicBezTo>
                  <a:pt x="2880" y="1195"/>
                  <a:pt x="2880" y="1195"/>
                  <a:pt x="2880" y="1196"/>
                </a:cubicBezTo>
                <a:cubicBezTo>
                  <a:pt x="2880" y="1196"/>
                  <a:pt x="2880" y="1196"/>
                  <a:pt x="2880" y="1197"/>
                </a:cubicBezTo>
                <a:cubicBezTo>
                  <a:pt x="2880" y="1197"/>
                  <a:pt x="2880" y="1198"/>
                  <a:pt x="2880" y="1199"/>
                </a:cubicBezTo>
                <a:cubicBezTo>
                  <a:pt x="2880" y="1200"/>
                  <a:pt x="2880" y="1200"/>
                  <a:pt x="2880" y="1201"/>
                </a:cubicBezTo>
                <a:cubicBezTo>
                  <a:pt x="2880" y="1201"/>
                  <a:pt x="2880" y="1201"/>
                  <a:pt x="2880" y="1202"/>
                </a:cubicBezTo>
                <a:cubicBezTo>
                  <a:pt x="2881" y="1202"/>
                  <a:pt x="2880" y="1203"/>
                  <a:pt x="2880" y="1203"/>
                </a:cubicBezTo>
                <a:cubicBezTo>
                  <a:pt x="2881" y="1203"/>
                  <a:pt x="2881" y="1203"/>
                  <a:pt x="2881" y="1203"/>
                </a:cubicBezTo>
                <a:cubicBezTo>
                  <a:pt x="2881" y="1203"/>
                  <a:pt x="2882" y="1204"/>
                  <a:pt x="2881" y="1204"/>
                </a:cubicBezTo>
                <a:cubicBezTo>
                  <a:pt x="2881" y="1204"/>
                  <a:pt x="2881" y="1204"/>
                  <a:pt x="2880" y="1205"/>
                </a:cubicBezTo>
                <a:cubicBezTo>
                  <a:pt x="2880" y="1205"/>
                  <a:pt x="2880" y="1206"/>
                  <a:pt x="2880" y="1206"/>
                </a:cubicBezTo>
                <a:cubicBezTo>
                  <a:pt x="2880" y="1207"/>
                  <a:pt x="2880" y="1208"/>
                  <a:pt x="2880" y="1208"/>
                </a:cubicBezTo>
                <a:cubicBezTo>
                  <a:pt x="2881" y="1209"/>
                  <a:pt x="2881" y="1207"/>
                  <a:pt x="2882" y="1207"/>
                </a:cubicBezTo>
                <a:cubicBezTo>
                  <a:pt x="2882" y="1207"/>
                  <a:pt x="2883" y="1207"/>
                  <a:pt x="2883" y="1206"/>
                </a:cubicBezTo>
                <a:cubicBezTo>
                  <a:pt x="2882" y="1206"/>
                  <a:pt x="2882" y="1206"/>
                  <a:pt x="2882" y="1205"/>
                </a:cubicBezTo>
                <a:cubicBezTo>
                  <a:pt x="2882" y="1205"/>
                  <a:pt x="2882" y="1205"/>
                  <a:pt x="2882" y="1205"/>
                </a:cubicBezTo>
                <a:cubicBezTo>
                  <a:pt x="2882" y="1205"/>
                  <a:pt x="2881" y="1204"/>
                  <a:pt x="2882" y="1204"/>
                </a:cubicBezTo>
                <a:cubicBezTo>
                  <a:pt x="2882" y="1204"/>
                  <a:pt x="2882" y="1204"/>
                  <a:pt x="2882" y="1204"/>
                </a:cubicBezTo>
                <a:cubicBezTo>
                  <a:pt x="2882" y="1203"/>
                  <a:pt x="2883" y="1203"/>
                  <a:pt x="2883" y="1203"/>
                </a:cubicBezTo>
                <a:cubicBezTo>
                  <a:pt x="2883" y="1202"/>
                  <a:pt x="2882" y="1203"/>
                  <a:pt x="2882" y="1202"/>
                </a:cubicBezTo>
                <a:cubicBezTo>
                  <a:pt x="2882" y="1202"/>
                  <a:pt x="2883" y="1202"/>
                  <a:pt x="2883" y="1202"/>
                </a:cubicBezTo>
                <a:cubicBezTo>
                  <a:pt x="2883" y="1202"/>
                  <a:pt x="2883" y="1202"/>
                  <a:pt x="2884" y="1202"/>
                </a:cubicBezTo>
                <a:cubicBezTo>
                  <a:pt x="2885" y="1201"/>
                  <a:pt x="2885" y="1202"/>
                  <a:pt x="2886" y="1203"/>
                </a:cubicBezTo>
                <a:cubicBezTo>
                  <a:pt x="2887" y="1203"/>
                  <a:pt x="2886" y="1204"/>
                  <a:pt x="2887" y="1204"/>
                </a:cubicBezTo>
                <a:cubicBezTo>
                  <a:pt x="2887" y="1205"/>
                  <a:pt x="2888" y="1205"/>
                  <a:pt x="2888" y="1206"/>
                </a:cubicBezTo>
                <a:cubicBezTo>
                  <a:pt x="2889" y="1206"/>
                  <a:pt x="2890" y="1207"/>
                  <a:pt x="2889" y="1208"/>
                </a:cubicBezTo>
                <a:cubicBezTo>
                  <a:pt x="2889" y="1208"/>
                  <a:pt x="2889" y="1208"/>
                  <a:pt x="2889" y="1209"/>
                </a:cubicBezTo>
                <a:cubicBezTo>
                  <a:pt x="2889" y="1209"/>
                  <a:pt x="2889" y="1209"/>
                  <a:pt x="2889" y="1210"/>
                </a:cubicBezTo>
                <a:cubicBezTo>
                  <a:pt x="2889" y="1210"/>
                  <a:pt x="2889" y="1211"/>
                  <a:pt x="2889" y="1211"/>
                </a:cubicBezTo>
                <a:cubicBezTo>
                  <a:pt x="2889" y="1211"/>
                  <a:pt x="2890" y="1212"/>
                  <a:pt x="2890" y="1212"/>
                </a:cubicBezTo>
                <a:cubicBezTo>
                  <a:pt x="2890" y="1212"/>
                  <a:pt x="2890" y="1211"/>
                  <a:pt x="2890" y="1211"/>
                </a:cubicBezTo>
                <a:cubicBezTo>
                  <a:pt x="2890" y="1211"/>
                  <a:pt x="2890" y="1210"/>
                  <a:pt x="2890" y="1210"/>
                </a:cubicBezTo>
                <a:cubicBezTo>
                  <a:pt x="2890" y="1210"/>
                  <a:pt x="2889" y="1209"/>
                  <a:pt x="2889" y="1209"/>
                </a:cubicBezTo>
                <a:cubicBezTo>
                  <a:pt x="2889" y="1209"/>
                  <a:pt x="2890" y="1209"/>
                  <a:pt x="2890" y="1209"/>
                </a:cubicBezTo>
                <a:cubicBezTo>
                  <a:pt x="2890" y="1209"/>
                  <a:pt x="2890" y="1209"/>
                  <a:pt x="2890" y="1209"/>
                </a:cubicBezTo>
                <a:cubicBezTo>
                  <a:pt x="2890" y="1209"/>
                  <a:pt x="2890" y="1209"/>
                  <a:pt x="2891" y="1209"/>
                </a:cubicBezTo>
                <a:cubicBezTo>
                  <a:pt x="2891" y="1209"/>
                  <a:pt x="2891" y="1210"/>
                  <a:pt x="2891" y="1210"/>
                </a:cubicBezTo>
                <a:cubicBezTo>
                  <a:pt x="2892" y="1210"/>
                  <a:pt x="2892" y="1211"/>
                  <a:pt x="2892" y="1212"/>
                </a:cubicBezTo>
                <a:cubicBezTo>
                  <a:pt x="2892" y="1213"/>
                  <a:pt x="2893" y="1213"/>
                  <a:pt x="2894" y="1213"/>
                </a:cubicBezTo>
                <a:cubicBezTo>
                  <a:pt x="2894" y="1213"/>
                  <a:pt x="2895" y="1213"/>
                  <a:pt x="2895" y="1213"/>
                </a:cubicBezTo>
                <a:cubicBezTo>
                  <a:pt x="2895" y="1213"/>
                  <a:pt x="2895" y="1213"/>
                  <a:pt x="2895" y="1214"/>
                </a:cubicBezTo>
                <a:cubicBezTo>
                  <a:pt x="2895" y="1214"/>
                  <a:pt x="2895" y="1214"/>
                  <a:pt x="2895" y="1215"/>
                </a:cubicBezTo>
                <a:cubicBezTo>
                  <a:pt x="2895" y="1215"/>
                  <a:pt x="2895" y="1215"/>
                  <a:pt x="2896" y="1215"/>
                </a:cubicBezTo>
                <a:cubicBezTo>
                  <a:pt x="2896" y="1216"/>
                  <a:pt x="2897" y="1215"/>
                  <a:pt x="2897" y="1216"/>
                </a:cubicBezTo>
                <a:cubicBezTo>
                  <a:pt x="2897" y="1216"/>
                  <a:pt x="2897" y="1216"/>
                  <a:pt x="2897" y="1217"/>
                </a:cubicBezTo>
                <a:cubicBezTo>
                  <a:pt x="2896" y="1217"/>
                  <a:pt x="2896" y="1217"/>
                  <a:pt x="2897" y="1218"/>
                </a:cubicBezTo>
                <a:cubicBezTo>
                  <a:pt x="2897" y="1218"/>
                  <a:pt x="2897" y="1219"/>
                  <a:pt x="2897" y="1219"/>
                </a:cubicBezTo>
                <a:cubicBezTo>
                  <a:pt x="2898" y="1220"/>
                  <a:pt x="2898" y="1220"/>
                  <a:pt x="2898" y="1221"/>
                </a:cubicBezTo>
                <a:cubicBezTo>
                  <a:pt x="2899" y="1221"/>
                  <a:pt x="2899" y="1222"/>
                  <a:pt x="2900" y="1222"/>
                </a:cubicBezTo>
                <a:cubicBezTo>
                  <a:pt x="2900" y="1222"/>
                  <a:pt x="2900" y="1223"/>
                  <a:pt x="2901" y="1223"/>
                </a:cubicBezTo>
                <a:cubicBezTo>
                  <a:pt x="2901" y="1223"/>
                  <a:pt x="2901" y="1223"/>
                  <a:pt x="2901" y="1224"/>
                </a:cubicBezTo>
                <a:cubicBezTo>
                  <a:pt x="2902" y="1224"/>
                  <a:pt x="2902" y="1225"/>
                  <a:pt x="2902" y="1226"/>
                </a:cubicBezTo>
                <a:cubicBezTo>
                  <a:pt x="2903" y="1227"/>
                  <a:pt x="2903" y="1227"/>
                  <a:pt x="2904" y="1228"/>
                </a:cubicBezTo>
                <a:cubicBezTo>
                  <a:pt x="2904" y="1228"/>
                  <a:pt x="2904" y="1229"/>
                  <a:pt x="2904" y="1230"/>
                </a:cubicBezTo>
                <a:cubicBezTo>
                  <a:pt x="2904" y="1231"/>
                  <a:pt x="2904" y="1232"/>
                  <a:pt x="2904" y="1232"/>
                </a:cubicBezTo>
                <a:cubicBezTo>
                  <a:pt x="2904" y="1233"/>
                  <a:pt x="2905" y="1234"/>
                  <a:pt x="2904" y="1235"/>
                </a:cubicBezTo>
                <a:cubicBezTo>
                  <a:pt x="2904" y="1235"/>
                  <a:pt x="2904" y="1235"/>
                  <a:pt x="2903" y="1235"/>
                </a:cubicBezTo>
                <a:cubicBezTo>
                  <a:pt x="2903" y="1235"/>
                  <a:pt x="2903" y="1235"/>
                  <a:pt x="2903" y="1235"/>
                </a:cubicBezTo>
                <a:cubicBezTo>
                  <a:pt x="2903" y="1235"/>
                  <a:pt x="2902" y="1236"/>
                  <a:pt x="2902" y="1236"/>
                </a:cubicBezTo>
                <a:cubicBezTo>
                  <a:pt x="2903" y="1236"/>
                  <a:pt x="2904" y="1236"/>
                  <a:pt x="2904" y="1236"/>
                </a:cubicBezTo>
                <a:cubicBezTo>
                  <a:pt x="2905" y="1236"/>
                  <a:pt x="2904" y="1237"/>
                  <a:pt x="2904" y="1238"/>
                </a:cubicBezTo>
                <a:cubicBezTo>
                  <a:pt x="2904" y="1238"/>
                  <a:pt x="2905" y="1239"/>
                  <a:pt x="2905" y="1239"/>
                </a:cubicBezTo>
                <a:cubicBezTo>
                  <a:pt x="2905" y="1240"/>
                  <a:pt x="2905" y="1241"/>
                  <a:pt x="2906" y="1242"/>
                </a:cubicBezTo>
                <a:cubicBezTo>
                  <a:pt x="2907" y="1243"/>
                  <a:pt x="2907" y="1244"/>
                  <a:pt x="2907" y="1244"/>
                </a:cubicBezTo>
                <a:cubicBezTo>
                  <a:pt x="2907" y="1245"/>
                  <a:pt x="2907" y="1246"/>
                  <a:pt x="2907" y="1247"/>
                </a:cubicBezTo>
                <a:cubicBezTo>
                  <a:pt x="2907" y="1247"/>
                  <a:pt x="2907" y="1248"/>
                  <a:pt x="2907" y="1248"/>
                </a:cubicBezTo>
                <a:cubicBezTo>
                  <a:pt x="2907" y="1249"/>
                  <a:pt x="2907" y="1249"/>
                  <a:pt x="2908" y="1249"/>
                </a:cubicBezTo>
                <a:cubicBezTo>
                  <a:pt x="2908" y="1249"/>
                  <a:pt x="2908" y="1249"/>
                  <a:pt x="2908" y="1250"/>
                </a:cubicBezTo>
                <a:cubicBezTo>
                  <a:pt x="2908" y="1250"/>
                  <a:pt x="2909" y="1250"/>
                  <a:pt x="2909" y="1251"/>
                </a:cubicBezTo>
                <a:cubicBezTo>
                  <a:pt x="2909" y="1252"/>
                  <a:pt x="2908" y="1251"/>
                  <a:pt x="2908" y="1252"/>
                </a:cubicBezTo>
                <a:cubicBezTo>
                  <a:pt x="2908" y="1253"/>
                  <a:pt x="2909" y="1253"/>
                  <a:pt x="2910" y="1253"/>
                </a:cubicBezTo>
                <a:cubicBezTo>
                  <a:pt x="2911" y="1254"/>
                  <a:pt x="2911" y="1255"/>
                  <a:pt x="2911" y="1256"/>
                </a:cubicBezTo>
                <a:cubicBezTo>
                  <a:pt x="2912" y="1256"/>
                  <a:pt x="2912" y="1256"/>
                  <a:pt x="2912" y="1257"/>
                </a:cubicBezTo>
                <a:cubicBezTo>
                  <a:pt x="2913" y="1257"/>
                  <a:pt x="2913" y="1258"/>
                  <a:pt x="2913" y="1258"/>
                </a:cubicBezTo>
                <a:cubicBezTo>
                  <a:pt x="2914" y="1259"/>
                  <a:pt x="2914" y="1259"/>
                  <a:pt x="2914" y="1259"/>
                </a:cubicBezTo>
                <a:cubicBezTo>
                  <a:pt x="2915" y="1260"/>
                  <a:pt x="2915" y="1261"/>
                  <a:pt x="2915" y="1262"/>
                </a:cubicBezTo>
                <a:cubicBezTo>
                  <a:pt x="2915" y="1263"/>
                  <a:pt x="2915" y="1264"/>
                  <a:pt x="2916" y="1265"/>
                </a:cubicBezTo>
                <a:cubicBezTo>
                  <a:pt x="2916" y="1265"/>
                  <a:pt x="2917" y="1266"/>
                  <a:pt x="2918" y="1266"/>
                </a:cubicBezTo>
                <a:cubicBezTo>
                  <a:pt x="2919" y="1267"/>
                  <a:pt x="2919" y="1268"/>
                  <a:pt x="2920" y="1268"/>
                </a:cubicBezTo>
                <a:cubicBezTo>
                  <a:pt x="2921" y="1269"/>
                  <a:pt x="2923" y="1270"/>
                  <a:pt x="2925" y="1271"/>
                </a:cubicBezTo>
                <a:cubicBezTo>
                  <a:pt x="2926" y="1271"/>
                  <a:pt x="2926" y="1272"/>
                  <a:pt x="2927" y="1273"/>
                </a:cubicBezTo>
                <a:cubicBezTo>
                  <a:pt x="2928" y="1273"/>
                  <a:pt x="2929" y="1273"/>
                  <a:pt x="2930" y="1274"/>
                </a:cubicBezTo>
                <a:cubicBezTo>
                  <a:pt x="2931" y="1275"/>
                  <a:pt x="2932" y="1276"/>
                  <a:pt x="2934" y="1277"/>
                </a:cubicBezTo>
                <a:cubicBezTo>
                  <a:pt x="2935" y="1277"/>
                  <a:pt x="2936" y="1278"/>
                  <a:pt x="2937" y="1279"/>
                </a:cubicBezTo>
                <a:cubicBezTo>
                  <a:pt x="2937" y="1279"/>
                  <a:pt x="2938" y="1280"/>
                  <a:pt x="2939" y="1281"/>
                </a:cubicBezTo>
                <a:cubicBezTo>
                  <a:pt x="2939" y="1281"/>
                  <a:pt x="2939" y="1281"/>
                  <a:pt x="2940" y="1282"/>
                </a:cubicBezTo>
                <a:cubicBezTo>
                  <a:pt x="2940" y="1282"/>
                  <a:pt x="2941" y="1283"/>
                  <a:pt x="2941" y="1282"/>
                </a:cubicBezTo>
                <a:cubicBezTo>
                  <a:pt x="2941" y="1282"/>
                  <a:pt x="2941" y="1282"/>
                  <a:pt x="2942" y="1281"/>
                </a:cubicBezTo>
                <a:cubicBezTo>
                  <a:pt x="2942" y="1281"/>
                  <a:pt x="2942" y="1281"/>
                  <a:pt x="2943" y="1281"/>
                </a:cubicBezTo>
                <a:cubicBezTo>
                  <a:pt x="2943" y="1280"/>
                  <a:pt x="2944" y="1280"/>
                  <a:pt x="2944" y="1280"/>
                </a:cubicBezTo>
                <a:cubicBezTo>
                  <a:pt x="2945" y="1281"/>
                  <a:pt x="2945" y="1281"/>
                  <a:pt x="2946" y="1281"/>
                </a:cubicBezTo>
                <a:cubicBezTo>
                  <a:pt x="2946" y="1280"/>
                  <a:pt x="2946" y="1280"/>
                  <a:pt x="2946" y="1280"/>
                </a:cubicBezTo>
                <a:cubicBezTo>
                  <a:pt x="2946" y="1280"/>
                  <a:pt x="2946" y="1280"/>
                  <a:pt x="2946" y="1280"/>
                </a:cubicBezTo>
                <a:cubicBezTo>
                  <a:pt x="2947" y="1280"/>
                  <a:pt x="2947" y="1280"/>
                  <a:pt x="2947" y="1280"/>
                </a:cubicBezTo>
                <a:cubicBezTo>
                  <a:pt x="2947" y="1281"/>
                  <a:pt x="2947" y="1281"/>
                  <a:pt x="2947" y="1281"/>
                </a:cubicBezTo>
                <a:cubicBezTo>
                  <a:pt x="2947" y="1281"/>
                  <a:pt x="2947" y="1281"/>
                  <a:pt x="2947" y="1282"/>
                </a:cubicBezTo>
                <a:cubicBezTo>
                  <a:pt x="2947" y="1282"/>
                  <a:pt x="2947" y="1282"/>
                  <a:pt x="2947" y="1282"/>
                </a:cubicBezTo>
                <a:cubicBezTo>
                  <a:pt x="2947" y="1282"/>
                  <a:pt x="2947" y="1282"/>
                  <a:pt x="2948" y="1282"/>
                </a:cubicBezTo>
                <a:cubicBezTo>
                  <a:pt x="2948" y="1282"/>
                  <a:pt x="2948" y="1281"/>
                  <a:pt x="2948" y="1281"/>
                </a:cubicBezTo>
                <a:cubicBezTo>
                  <a:pt x="2949" y="1281"/>
                  <a:pt x="2949" y="1281"/>
                  <a:pt x="2949" y="1281"/>
                </a:cubicBezTo>
                <a:cubicBezTo>
                  <a:pt x="2949" y="1280"/>
                  <a:pt x="2949" y="1278"/>
                  <a:pt x="2949" y="1278"/>
                </a:cubicBezTo>
                <a:cubicBezTo>
                  <a:pt x="2948" y="1277"/>
                  <a:pt x="2948" y="1277"/>
                  <a:pt x="2948" y="1276"/>
                </a:cubicBezTo>
                <a:cubicBezTo>
                  <a:pt x="2947" y="1276"/>
                  <a:pt x="2947" y="1275"/>
                  <a:pt x="2947" y="1274"/>
                </a:cubicBezTo>
                <a:cubicBezTo>
                  <a:pt x="2947" y="1274"/>
                  <a:pt x="2947" y="1274"/>
                  <a:pt x="2947" y="1273"/>
                </a:cubicBezTo>
                <a:cubicBezTo>
                  <a:pt x="2946" y="1272"/>
                  <a:pt x="2946" y="1272"/>
                  <a:pt x="2945" y="1271"/>
                </a:cubicBezTo>
                <a:cubicBezTo>
                  <a:pt x="2945" y="1271"/>
                  <a:pt x="2944" y="1270"/>
                  <a:pt x="2944" y="1269"/>
                </a:cubicBezTo>
                <a:cubicBezTo>
                  <a:pt x="2943" y="1269"/>
                  <a:pt x="2943" y="1268"/>
                  <a:pt x="2942" y="1267"/>
                </a:cubicBezTo>
                <a:cubicBezTo>
                  <a:pt x="2942" y="1267"/>
                  <a:pt x="2941" y="1266"/>
                  <a:pt x="2941" y="1265"/>
                </a:cubicBezTo>
                <a:cubicBezTo>
                  <a:pt x="2940" y="1265"/>
                  <a:pt x="2940" y="1264"/>
                  <a:pt x="2939" y="1263"/>
                </a:cubicBezTo>
                <a:cubicBezTo>
                  <a:pt x="2939" y="1262"/>
                  <a:pt x="2939" y="1262"/>
                  <a:pt x="2939" y="1261"/>
                </a:cubicBezTo>
                <a:cubicBezTo>
                  <a:pt x="2940" y="1260"/>
                  <a:pt x="2939" y="1259"/>
                  <a:pt x="2939" y="1258"/>
                </a:cubicBezTo>
                <a:cubicBezTo>
                  <a:pt x="2939" y="1256"/>
                  <a:pt x="2939" y="1255"/>
                  <a:pt x="2939" y="1253"/>
                </a:cubicBezTo>
                <a:cubicBezTo>
                  <a:pt x="2939" y="1251"/>
                  <a:pt x="2940" y="1250"/>
                  <a:pt x="2940" y="1248"/>
                </a:cubicBezTo>
                <a:cubicBezTo>
                  <a:pt x="2940" y="1247"/>
                  <a:pt x="2940" y="1246"/>
                  <a:pt x="2940" y="1246"/>
                </a:cubicBezTo>
                <a:cubicBezTo>
                  <a:pt x="2940" y="1245"/>
                  <a:pt x="2940" y="1244"/>
                  <a:pt x="2939" y="1244"/>
                </a:cubicBezTo>
                <a:cubicBezTo>
                  <a:pt x="2939" y="1243"/>
                  <a:pt x="2939" y="1243"/>
                  <a:pt x="2939" y="1242"/>
                </a:cubicBezTo>
                <a:cubicBezTo>
                  <a:pt x="2939" y="1241"/>
                  <a:pt x="2939" y="1240"/>
                  <a:pt x="2938" y="1240"/>
                </a:cubicBezTo>
                <a:cubicBezTo>
                  <a:pt x="2938" y="1239"/>
                  <a:pt x="2937" y="1238"/>
                  <a:pt x="2937" y="1237"/>
                </a:cubicBezTo>
                <a:cubicBezTo>
                  <a:pt x="2937" y="1237"/>
                  <a:pt x="2936" y="1236"/>
                  <a:pt x="2935" y="1235"/>
                </a:cubicBezTo>
                <a:cubicBezTo>
                  <a:pt x="2935" y="1234"/>
                  <a:pt x="2934" y="1234"/>
                  <a:pt x="2933" y="1233"/>
                </a:cubicBezTo>
                <a:cubicBezTo>
                  <a:pt x="2932" y="1233"/>
                  <a:pt x="2931" y="1232"/>
                  <a:pt x="2931" y="1231"/>
                </a:cubicBezTo>
                <a:cubicBezTo>
                  <a:pt x="2930" y="1231"/>
                  <a:pt x="2929" y="1230"/>
                  <a:pt x="2929" y="1230"/>
                </a:cubicBezTo>
                <a:cubicBezTo>
                  <a:pt x="2928" y="1229"/>
                  <a:pt x="2928" y="1228"/>
                  <a:pt x="2927" y="1227"/>
                </a:cubicBezTo>
                <a:cubicBezTo>
                  <a:pt x="2927" y="1227"/>
                  <a:pt x="2926" y="1226"/>
                  <a:pt x="2925" y="1226"/>
                </a:cubicBezTo>
                <a:cubicBezTo>
                  <a:pt x="2925" y="1226"/>
                  <a:pt x="2924" y="1225"/>
                  <a:pt x="2923" y="1225"/>
                </a:cubicBezTo>
                <a:cubicBezTo>
                  <a:pt x="2923" y="1224"/>
                  <a:pt x="2922" y="1224"/>
                  <a:pt x="2921" y="1223"/>
                </a:cubicBezTo>
                <a:cubicBezTo>
                  <a:pt x="2921" y="1223"/>
                  <a:pt x="2921" y="1222"/>
                  <a:pt x="2921" y="1222"/>
                </a:cubicBezTo>
                <a:cubicBezTo>
                  <a:pt x="2920" y="1222"/>
                  <a:pt x="2920" y="1222"/>
                  <a:pt x="2920" y="1221"/>
                </a:cubicBezTo>
                <a:cubicBezTo>
                  <a:pt x="2919" y="1221"/>
                  <a:pt x="2919" y="1221"/>
                  <a:pt x="2919" y="1220"/>
                </a:cubicBezTo>
                <a:cubicBezTo>
                  <a:pt x="2919" y="1220"/>
                  <a:pt x="2918" y="1219"/>
                  <a:pt x="2918" y="1219"/>
                </a:cubicBezTo>
                <a:cubicBezTo>
                  <a:pt x="2918" y="1219"/>
                  <a:pt x="2917" y="1218"/>
                  <a:pt x="2917" y="1218"/>
                </a:cubicBezTo>
                <a:cubicBezTo>
                  <a:pt x="2916" y="1218"/>
                  <a:pt x="2916" y="1217"/>
                  <a:pt x="2915" y="1217"/>
                </a:cubicBezTo>
                <a:cubicBezTo>
                  <a:pt x="2915" y="1217"/>
                  <a:pt x="2915" y="1218"/>
                  <a:pt x="2914" y="1218"/>
                </a:cubicBezTo>
                <a:cubicBezTo>
                  <a:pt x="2913" y="1219"/>
                  <a:pt x="2912" y="1219"/>
                  <a:pt x="2911" y="1218"/>
                </a:cubicBezTo>
                <a:cubicBezTo>
                  <a:pt x="2911" y="1217"/>
                  <a:pt x="2910" y="1217"/>
                  <a:pt x="2910" y="1216"/>
                </a:cubicBezTo>
                <a:cubicBezTo>
                  <a:pt x="2909" y="1216"/>
                  <a:pt x="2909" y="1215"/>
                  <a:pt x="2908" y="1215"/>
                </a:cubicBezTo>
                <a:cubicBezTo>
                  <a:pt x="2907" y="1214"/>
                  <a:pt x="2906" y="1214"/>
                  <a:pt x="2906" y="1213"/>
                </a:cubicBezTo>
                <a:cubicBezTo>
                  <a:pt x="2906" y="1213"/>
                  <a:pt x="2906" y="1212"/>
                  <a:pt x="2906" y="1211"/>
                </a:cubicBezTo>
                <a:cubicBezTo>
                  <a:pt x="2905" y="1210"/>
                  <a:pt x="2905" y="1210"/>
                  <a:pt x="2905" y="1209"/>
                </a:cubicBezTo>
                <a:cubicBezTo>
                  <a:pt x="2905" y="1208"/>
                  <a:pt x="2905" y="1208"/>
                  <a:pt x="2904" y="1207"/>
                </a:cubicBezTo>
                <a:cubicBezTo>
                  <a:pt x="2904" y="1206"/>
                  <a:pt x="2904" y="1206"/>
                  <a:pt x="2904" y="1206"/>
                </a:cubicBezTo>
                <a:cubicBezTo>
                  <a:pt x="2904" y="1205"/>
                  <a:pt x="2904" y="1205"/>
                  <a:pt x="2903" y="1204"/>
                </a:cubicBezTo>
                <a:cubicBezTo>
                  <a:pt x="2903" y="1203"/>
                  <a:pt x="2903" y="1203"/>
                  <a:pt x="2902" y="1202"/>
                </a:cubicBezTo>
                <a:cubicBezTo>
                  <a:pt x="2902" y="1201"/>
                  <a:pt x="2902" y="1201"/>
                  <a:pt x="2902" y="1201"/>
                </a:cubicBezTo>
                <a:cubicBezTo>
                  <a:pt x="2902" y="1200"/>
                  <a:pt x="2902" y="1200"/>
                  <a:pt x="2901" y="1200"/>
                </a:cubicBezTo>
                <a:cubicBezTo>
                  <a:pt x="2901" y="1199"/>
                  <a:pt x="2901" y="1198"/>
                  <a:pt x="2901" y="1197"/>
                </a:cubicBezTo>
                <a:cubicBezTo>
                  <a:pt x="2900" y="1196"/>
                  <a:pt x="2899" y="1194"/>
                  <a:pt x="2898" y="1193"/>
                </a:cubicBezTo>
                <a:cubicBezTo>
                  <a:pt x="2898" y="1193"/>
                  <a:pt x="2898" y="1192"/>
                  <a:pt x="2898" y="1192"/>
                </a:cubicBezTo>
                <a:cubicBezTo>
                  <a:pt x="2898" y="1191"/>
                  <a:pt x="2898" y="1191"/>
                  <a:pt x="2898" y="1191"/>
                </a:cubicBezTo>
                <a:cubicBezTo>
                  <a:pt x="2897" y="1190"/>
                  <a:pt x="2897" y="1190"/>
                  <a:pt x="2896" y="1190"/>
                </a:cubicBezTo>
                <a:cubicBezTo>
                  <a:pt x="2896" y="1190"/>
                  <a:pt x="2895" y="1191"/>
                  <a:pt x="2895" y="1191"/>
                </a:cubicBezTo>
                <a:cubicBezTo>
                  <a:pt x="2895" y="1191"/>
                  <a:pt x="2894" y="1191"/>
                  <a:pt x="2894" y="1191"/>
                </a:cubicBezTo>
                <a:cubicBezTo>
                  <a:pt x="2894" y="1191"/>
                  <a:pt x="2893" y="1191"/>
                  <a:pt x="2893" y="1191"/>
                </a:cubicBezTo>
                <a:cubicBezTo>
                  <a:pt x="2892" y="1191"/>
                  <a:pt x="2892" y="1191"/>
                  <a:pt x="2892" y="1191"/>
                </a:cubicBezTo>
                <a:cubicBezTo>
                  <a:pt x="2891" y="1191"/>
                  <a:pt x="2891" y="1191"/>
                  <a:pt x="2891" y="1190"/>
                </a:cubicBezTo>
                <a:cubicBezTo>
                  <a:pt x="2892" y="1190"/>
                  <a:pt x="2892" y="1190"/>
                  <a:pt x="2892" y="1190"/>
                </a:cubicBezTo>
                <a:cubicBezTo>
                  <a:pt x="2893" y="1189"/>
                  <a:pt x="2892" y="1188"/>
                  <a:pt x="2891" y="1188"/>
                </a:cubicBezTo>
                <a:cubicBezTo>
                  <a:pt x="2891" y="1187"/>
                  <a:pt x="2891" y="1187"/>
                  <a:pt x="2891" y="1186"/>
                </a:cubicBezTo>
                <a:cubicBezTo>
                  <a:pt x="2891" y="1186"/>
                  <a:pt x="2891" y="1186"/>
                  <a:pt x="2891" y="1186"/>
                </a:cubicBezTo>
                <a:cubicBezTo>
                  <a:pt x="2890" y="1185"/>
                  <a:pt x="2891" y="1184"/>
                  <a:pt x="2891" y="1183"/>
                </a:cubicBezTo>
                <a:cubicBezTo>
                  <a:pt x="2891" y="1182"/>
                  <a:pt x="2891" y="1181"/>
                  <a:pt x="2891" y="1179"/>
                </a:cubicBezTo>
                <a:cubicBezTo>
                  <a:pt x="2891" y="1179"/>
                  <a:pt x="2891" y="1179"/>
                  <a:pt x="2891" y="1178"/>
                </a:cubicBezTo>
                <a:cubicBezTo>
                  <a:pt x="2891" y="1178"/>
                  <a:pt x="2891" y="1177"/>
                  <a:pt x="2892" y="1177"/>
                </a:cubicBezTo>
                <a:cubicBezTo>
                  <a:pt x="2892" y="1176"/>
                  <a:pt x="2892" y="1176"/>
                  <a:pt x="2892" y="1175"/>
                </a:cubicBezTo>
                <a:cubicBezTo>
                  <a:pt x="2893" y="1174"/>
                  <a:pt x="2893" y="1174"/>
                  <a:pt x="2893" y="1173"/>
                </a:cubicBezTo>
                <a:cubicBezTo>
                  <a:pt x="2894" y="1173"/>
                  <a:pt x="2894" y="1172"/>
                  <a:pt x="2894" y="1172"/>
                </a:cubicBezTo>
                <a:cubicBezTo>
                  <a:pt x="2894" y="1171"/>
                  <a:pt x="2894" y="1171"/>
                  <a:pt x="2895" y="1170"/>
                </a:cubicBezTo>
                <a:cubicBezTo>
                  <a:pt x="2895" y="1170"/>
                  <a:pt x="2895" y="1169"/>
                  <a:pt x="2896" y="1168"/>
                </a:cubicBezTo>
                <a:cubicBezTo>
                  <a:pt x="2896" y="1168"/>
                  <a:pt x="2896" y="1167"/>
                  <a:pt x="2896" y="1166"/>
                </a:cubicBezTo>
                <a:cubicBezTo>
                  <a:pt x="2897" y="1165"/>
                  <a:pt x="2898" y="1165"/>
                  <a:pt x="2898" y="1164"/>
                </a:cubicBezTo>
                <a:cubicBezTo>
                  <a:pt x="2898" y="1163"/>
                  <a:pt x="2898" y="1162"/>
                  <a:pt x="2899" y="1161"/>
                </a:cubicBezTo>
                <a:cubicBezTo>
                  <a:pt x="2899" y="1161"/>
                  <a:pt x="2899" y="1160"/>
                  <a:pt x="2900" y="1159"/>
                </a:cubicBezTo>
                <a:cubicBezTo>
                  <a:pt x="2900" y="1159"/>
                  <a:pt x="2900" y="1158"/>
                  <a:pt x="2900" y="1157"/>
                </a:cubicBezTo>
                <a:cubicBezTo>
                  <a:pt x="2901" y="1157"/>
                  <a:pt x="2900" y="1156"/>
                  <a:pt x="2900" y="1155"/>
                </a:cubicBezTo>
                <a:cubicBezTo>
                  <a:pt x="2900" y="1155"/>
                  <a:pt x="2900" y="1154"/>
                  <a:pt x="2900" y="1154"/>
                </a:cubicBezTo>
                <a:cubicBezTo>
                  <a:pt x="2900" y="1154"/>
                  <a:pt x="2900" y="1153"/>
                  <a:pt x="2900" y="1153"/>
                </a:cubicBezTo>
                <a:cubicBezTo>
                  <a:pt x="2899" y="1152"/>
                  <a:pt x="2900" y="1151"/>
                  <a:pt x="2900" y="1151"/>
                </a:cubicBezTo>
                <a:cubicBezTo>
                  <a:pt x="2900" y="1150"/>
                  <a:pt x="2900" y="1150"/>
                  <a:pt x="2901" y="1149"/>
                </a:cubicBezTo>
                <a:cubicBezTo>
                  <a:pt x="2901" y="1149"/>
                  <a:pt x="2901" y="1149"/>
                  <a:pt x="2901" y="1148"/>
                </a:cubicBezTo>
                <a:cubicBezTo>
                  <a:pt x="2901" y="1148"/>
                  <a:pt x="2901" y="1147"/>
                  <a:pt x="2901" y="1147"/>
                </a:cubicBezTo>
                <a:cubicBezTo>
                  <a:pt x="2901" y="1146"/>
                  <a:pt x="2900" y="1146"/>
                  <a:pt x="2900" y="1145"/>
                </a:cubicBezTo>
                <a:cubicBezTo>
                  <a:pt x="2900" y="1145"/>
                  <a:pt x="2900" y="1144"/>
                  <a:pt x="2900" y="1144"/>
                </a:cubicBezTo>
                <a:cubicBezTo>
                  <a:pt x="2900" y="1144"/>
                  <a:pt x="2901" y="1144"/>
                  <a:pt x="2901" y="1144"/>
                </a:cubicBezTo>
                <a:cubicBezTo>
                  <a:pt x="2902" y="1143"/>
                  <a:pt x="2902" y="1143"/>
                  <a:pt x="2902" y="1143"/>
                </a:cubicBezTo>
                <a:cubicBezTo>
                  <a:pt x="2903" y="1142"/>
                  <a:pt x="2904" y="1143"/>
                  <a:pt x="2904" y="1143"/>
                </a:cubicBezTo>
                <a:cubicBezTo>
                  <a:pt x="2905" y="1142"/>
                  <a:pt x="2906" y="1142"/>
                  <a:pt x="2906" y="1141"/>
                </a:cubicBezTo>
                <a:cubicBezTo>
                  <a:pt x="2907" y="1141"/>
                  <a:pt x="2907" y="1141"/>
                  <a:pt x="2907" y="1141"/>
                </a:cubicBezTo>
                <a:cubicBezTo>
                  <a:pt x="2908" y="1141"/>
                  <a:pt x="2908" y="1142"/>
                  <a:pt x="2908" y="1142"/>
                </a:cubicBezTo>
                <a:cubicBezTo>
                  <a:pt x="2908" y="1142"/>
                  <a:pt x="2909" y="1142"/>
                  <a:pt x="2909" y="1142"/>
                </a:cubicBezTo>
                <a:cubicBezTo>
                  <a:pt x="2910" y="1142"/>
                  <a:pt x="2910" y="1142"/>
                  <a:pt x="2910" y="1143"/>
                </a:cubicBezTo>
                <a:cubicBezTo>
                  <a:pt x="2911" y="1143"/>
                  <a:pt x="2911" y="1143"/>
                  <a:pt x="2911" y="1143"/>
                </a:cubicBezTo>
                <a:cubicBezTo>
                  <a:pt x="2911" y="1143"/>
                  <a:pt x="2911" y="1144"/>
                  <a:pt x="2911" y="1144"/>
                </a:cubicBezTo>
                <a:cubicBezTo>
                  <a:pt x="2911" y="1145"/>
                  <a:pt x="2910" y="1146"/>
                  <a:pt x="2910" y="1146"/>
                </a:cubicBezTo>
                <a:cubicBezTo>
                  <a:pt x="2910" y="1147"/>
                  <a:pt x="2910" y="1148"/>
                  <a:pt x="2910" y="1149"/>
                </a:cubicBezTo>
                <a:cubicBezTo>
                  <a:pt x="2910" y="1150"/>
                  <a:pt x="2910" y="1150"/>
                  <a:pt x="2910" y="1151"/>
                </a:cubicBezTo>
                <a:cubicBezTo>
                  <a:pt x="2910" y="1152"/>
                  <a:pt x="2911" y="1152"/>
                  <a:pt x="2912" y="1152"/>
                </a:cubicBezTo>
                <a:cubicBezTo>
                  <a:pt x="2913" y="1152"/>
                  <a:pt x="2915" y="1152"/>
                  <a:pt x="2917" y="1152"/>
                </a:cubicBezTo>
                <a:cubicBezTo>
                  <a:pt x="2917" y="1152"/>
                  <a:pt x="2918" y="1152"/>
                  <a:pt x="2919" y="1152"/>
                </a:cubicBezTo>
                <a:cubicBezTo>
                  <a:pt x="2920" y="1151"/>
                  <a:pt x="2920" y="1151"/>
                  <a:pt x="2921" y="1152"/>
                </a:cubicBezTo>
                <a:cubicBezTo>
                  <a:pt x="2921" y="1152"/>
                  <a:pt x="2922" y="1153"/>
                  <a:pt x="2922" y="1153"/>
                </a:cubicBezTo>
                <a:cubicBezTo>
                  <a:pt x="2923" y="1154"/>
                  <a:pt x="2924" y="1154"/>
                  <a:pt x="2924" y="1155"/>
                </a:cubicBezTo>
                <a:cubicBezTo>
                  <a:pt x="2924" y="1155"/>
                  <a:pt x="2925" y="1155"/>
                  <a:pt x="2925" y="1155"/>
                </a:cubicBezTo>
                <a:cubicBezTo>
                  <a:pt x="2925" y="1155"/>
                  <a:pt x="2926" y="1155"/>
                  <a:pt x="2926" y="1156"/>
                </a:cubicBezTo>
                <a:cubicBezTo>
                  <a:pt x="2927" y="1156"/>
                  <a:pt x="2925" y="1157"/>
                  <a:pt x="2926" y="1157"/>
                </a:cubicBezTo>
                <a:cubicBezTo>
                  <a:pt x="2927" y="1158"/>
                  <a:pt x="2927" y="1157"/>
                  <a:pt x="2928" y="1158"/>
                </a:cubicBezTo>
                <a:cubicBezTo>
                  <a:pt x="2928" y="1158"/>
                  <a:pt x="2929" y="1158"/>
                  <a:pt x="2929" y="1159"/>
                </a:cubicBezTo>
                <a:cubicBezTo>
                  <a:pt x="2930" y="1159"/>
                  <a:pt x="2931" y="1159"/>
                  <a:pt x="2931" y="1159"/>
                </a:cubicBezTo>
                <a:cubicBezTo>
                  <a:pt x="2932" y="1160"/>
                  <a:pt x="2932" y="1160"/>
                  <a:pt x="2932" y="1161"/>
                </a:cubicBezTo>
                <a:cubicBezTo>
                  <a:pt x="2932" y="1161"/>
                  <a:pt x="2932" y="1162"/>
                  <a:pt x="2933" y="1162"/>
                </a:cubicBezTo>
                <a:cubicBezTo>
                  <a:pt x="2933" y="1163"/>
                  <a:pt x="2933" y="1163"/>
                  <a:pt x="2933" y="1164"/>
                </a:cubicBezTo>
                <a:cubicBezTo>
                  <a:pt x="2933" y="1164"/>
                  <a:pt x="2934" y="1163"/>
                  <a:pt x="2934" y="1164"/>
                </a:cubicBezTo>
                <a:cubicBezTo>
                  <a:pt x="2934" y="1165"/>
                  <a:pt x="2936" y="1166"/>
                  <a:pt x="2935" y="1167"/>
                </a:cubicBezTo>
                <a:cubicBezTo>
                  <a:pt x="2935" y="1167"/>
                  <a:pt x="2935" y="1167"/>
                  <a:pt x="2934" y="1167"/>
                </a:cubicBezTo>
                <a:cubicBezTo>
                  <a:pt x="2933" y="1167"/>
                  <a:pt x="2934" y="1167"/>
                  <a:pt x="2934" y="1168"/>
                </a:cubicBezTo>
                <a:cubicBezTo>
                  <a:pt x="2935" y="1168"/>
                  <a:pt x="2935" y="1169"/>
                  <a:pt x="2935" y="1170"/>
                </a:cubicBezTo>
                <a:cubicBezTo>
                  <a:pt x="2935" y="1170"/>
                  <a:pt x="2935" y="1170"/>
                  <a:pt x="2935" y="1171"/>
                </a:cubicBezTo>
                <a:cubicBezTo>
                  <a:pt x="2936" y="1171"/>
                  <a:pt x="2936" y="1171"/>
                  <a:pt x="2936" y="1172"/>
                </a:cubicBezTo>
                <a:cubicBezTo>
                  <a:pt x="2936" y="1172"/>
                  <a:pt x="2937" y="1172"/>
                  <a:pt x="2937" y="1172"/>
                </a:cubicBezTo>
                <a:cubicBezTo>
                  <a:pt x="2938" y="1173"/>
                  <a:pt x="2940" y="1172"/>
                  <a:pt x="2940" y="1170"/>
                </a:cubicBezTo>
                <a:cubicBezTo>
                  <a:pt x="2940" y="1170"/>
                  <a:pt x="2941" y="1170"/>
                  <a:pt x="2941" y="1170"/>
                </a:cubicBezTo>
                <a:cubicBezTo>
                  <a:pt x="2942" y="1170"/>
                  <a:pt x="2941" y="1171"/>
                  <a:pt x="2941" y="1172"/>
                </a:cubicBezTo>
                <a:cubicBezTo>
                  <a:pt x="2941" y="1172"/>
                  <a:pt x="2942" y="1173"/>
                  <a:pt x="2942" y="1173"/>
                </a:cubicBezTo>
                <a:cubicBezTo>
                  <a:pt x="2942" y="1174"/>
                  <a:pt x="2941" y="1174"/>
                  <a:pt x="2941" y="1174"/>
                </a:cubicBezTo>
                <a:cubicBezTo>
                  <a:pt x="2941" y="1175"/>
                  <a:pt x="2941" y="1175"/>
                  <a:pt x="2941" y="1175"/>
                </a:cubicBezTo>
                <a:cubicBezTo>
                  <a:pt x="2941" y="1176"/>
                  <a:pt x="2942" y="1176"/>
                  <a:pt x="2943" y="1176"/>
                </a:cubicBezTo>
                <a:cubicBezTo>
                  <a:pt x="2944" y="1176"/>
                  <a:pt x="2946" y="1175"/>
                  <a:pt x="2947" y="1176"/>
                </a:cubicBezTo>
                <a:cubicBezTo>
                  <a:pt x="2948" y="1176"/>
                  <a:pt x="2948" y="1176"/>
                  <a:pt x="2949" y="1177"/>
                </a:cubicBezTo>
                <a:cubicBezTo>
                  <a:pt x="2950" y="1177"/>
                  <a:pt x="2950" y="1177"/>
                  <a:pt x="2950" y="1177"/>
                </a:cubicBezTo>
                <a:cubicBezTo>
                  <a:pt x="2950" y="1178"/>
                  <a:pt x="2951" y="1178"/>
                  <a:pt x="2951" y="1178"/>
                </a:cubicBezTo>
                <a:cubicBezTo>
                  <a:pt x="2951" y="1179"/>
                  <a:pt x="2951" y="1179"/>
                  <a:pt x="2952" y="1180"/>
                </a:cubicBezTo>
                <a:cubicBezTo>
                  <a:pt x="2952" y="1181"/>
                  <a:pt x="2953" y="1181"/>
                  <a:pt x="2954" y="1181"/>
                </a:cubicBezTo>
                <a:cubicBezTo>
                  <a:pt x="2954" y="1181"/>
                  <a:pt x="2958" y="1182"/>
                  <a:pt x="2958" y="1183"/>
                </a:cubicBezTo>
                <a:cubicBezTo>
                  <a:pt x="2957" y="1184"/>
                  <a:pt x="2957" y="1184"/>
                  <a:pt x="2957" y="1184"/>
                </a:cubicBezTo>
                <a:cubicBezTo>
                  <a:pt x="2956" y="1184"/>
                  <a:pt x="2956" y="1185"/>
                  <a:pt x="2956" y="1185"/>
                </a:cubicBezTo>
                <a:cubicBezTo>
                  <a:pt x="2956" y="1185"/>
                  <a:pt x="2955" y="1186"/>
                  <a:pt x="2955" y="1186"/>
                </a:cubicBezTo>
                <a:cubicBezTo>
                  <a:pt x="2954" y="1188"/>
                  <a:pt x="2955" y="1190"/>
                  <a:pt x="2955" y="1192"/>
                </a:cubicBezTo>
                <a:cubicBezTo>
                  <a:pt x="2955" y="1193"/>
                  <a:pt x="2955" y="1194"/>
                  <a:pt x="2955" y="1195"/>
                </a:cubicBezTo>
                <a:cubicBezTo>
                  <a:pt x="2955" y="1195"/>
                  <a:pt x="2955" y="1196"/>
                  <a:pt x="2955" y="1196"/>
                </a:cubicBezTo>
                <a:cubicBezTo>
                  <a:pt x="2955" y="1196"/>
                  <a:pt x="2955" y="1197"/>
                  <a:pt x="2955" y="1197"/>
                </a:cubicBezTo>
                <a:cubicBezTo>
                  <a:pt x="2956" y="1198"/>
                  <a:pt x="2954" y="1198"/>
                  <a:pt x="2954" y="1199"/>
                </a:cubicBezTo>
                <a:cubicBezTo>
                  <a:pt x="2954" y="1199"/>
                  <a:pt x="2956" y="1199"/>
                  <a:pt x="2956" y="1198"/>
                </a:cubicBezTo>
                <a:cubicBezTo>
                  <a:pt x="2957" y="1198"/>
                  <a:pt x="2958" y="1198"/>
                  <a:pt x="2959" y="1198"/>
                </a:cubicBezTo>
                <a:cubicBezTo>
                  <a:pt x="2960" y="1198"/>
                  <a:pt x="2960" y="1197"/>
                  <a:pt x="2961" y="1196"/>
                </a:cubicBezTo>
                <a:cubicBezTo>
                  <a:pt x="2962" y="1195"/>
                  <a:pt x="2962" y="1194"/>
                  <a:pt x="2963" y="1194"/>
                </a:cubicBezTo>
                <a:cubicBezTo>
                  <a:pt x="2963" y="1193"/>
                  <a:pt x="2963" y="1193"/>
                  <a:pt x="2964" y="1192"/>
                </a:cubicBezTo>
                <a:cubicBezTo>
                  <a:pt x="2965" y="1192"/>
                  <a:pt x="2967" y="1192"/>
                  <a:pt x="2968" y="1191"/>
                </a:cubicBezTo>
                <a:cubicBezTo>
                  <a:pt x="2968" y="1191"/>
                  <a:pt x="2968" y="1190"/>
                  <a:pt x="2969" y="1190"/>
                </a:cubicBezTo>
                <a:cubicBezTo>
                  <a:pt x="2969" y="1190"/>
                  <a:pt x="2969" y="1190"/>
                  <a:pt x="2970" y="1190"/>
                </a:cubicBezTo>
                <a:cubicBezTo>
                  <a:pt x="2970" y="1190"/>
                  <a:pt x="2970" y="1189"/>
                  <a:pt x="2970" y="1189"/>
                </a:cubicBezTo>
                <a:cubicBezTo>
                  <a:pt x="2970" y="1188"/>
                  <a:pt x="2970" y="1188"/>
                  <a:pt x="2970" y="1188"/>
                </a:cubicBezTo>
                <a:cubicBezTo>
                  <a:pt x="2969" y="1187"/>
                  <a:pt x="2969" y="1186"/>
                  <a:pt x="2969" y="1186"/>
                </a:cubicBezTo>
                <a:cubicBezTo>
                  <a:pt x="2969" y="1185"/>
                  <a:pt x="2967" y="1184"/>
                  <a:pt x="2968" y="1184"/>
                </a:cubicBezTo>
                <a:cubicBezTo>
                  <a:pt x="2969" y="1184"/>
                  <a:pt x="2969" y="1185"/>
                  <a:pt x="2970" y="1185"/>
                </a:cubicBezTo>
                <a:cubicBezTo>
                  <a:pt x="2970" y="1186"/>
                  <a:pt x="2970" y="1186"/>
                  <a:pt x="2971" y="1186"/>
                </a:cubicBezTo>
                <a:cubicBezTo>
                  <a:pt x="2971" y="1186"/>
                  <a:pt x="2971" y="1186"/>
                  <a:pt x="2971" y="1187"/>
                </a:cubicBezTo>
                <a:cubicBezTo>
                  <a:pt x="2972" y="1187"/>
                  <a:pt x="2972" y="1188"/>
                  <a:pt x="2973" y="1188"/>
                </a:cubicBezTo>
                <a:cubicBezTo>
                  <a:pt x="2974" y="1187"/>
                  <a:pt x="2975" y="1188"/>
                  <a:pt x="2975" y="1187"/>
                </a:cubicBezTo>
                <a:cubicBezTo>
                  <a:pt x="2976" y="1187"/>
                  <a:pt x="2976" y="1186"/>
                  <a:pt x="2975" y="1186"/>
                </a:cubicBezTo>
                <a:cubicBezTo>
                  <a:pt x="2975" y="1185"/>
                  <a:pt x="2974" y="1184"/>
                  <a:pt x="2974" y="1184"/>
                </a:cubicBezTo>
                <a:cubicBezTo>
                  <a:pt x="2975" y="1184"/>
                  <a:pt x="2975" y="1185"/>
                  <a:pt x="2976" y="1185"/>
                </a:cubicBezTo>
                <a:cubicBezTo>
                  <a:pt x="2976" y="1185"/>
                  <a:pt x="2976" y="1185"/>
                  <a:pt x="2976" y="1185"/>
                </a:cubicBezTo>
                <a:cubicBezTo>
                  <a:pt x="2976" y="1185"/>
                  <a:pt x="2976" y="1185"/>
                  <a:pt x="2976" y="1184"/>
                </a:cubicBezTo>
                <a:cubicBezTo>
                  <a:pt x="2977" y="1184"/>
                  <a:pt x="2977" y="1184"/>
                  <a:pt x="2977" y="1184"/>
                </a:cubicBezTo>
                <a:cubicBezTo>
                  <a:pt x="2976" y="1183"/>
                  <a:pt x="2976" y="1183"/>
                  <a:pt x="2976" y="1182"/>
                </a:cubicBezTo>
                <a:cubicBezTo>
                  <a:pt x="2976" y="1181"/>
                  <a:pt x="2976" y="1181"/>
                  <a:pt x="2977" y="1181"/>
                </a:cubicBezTo>
                <a:cubicBezTo>
                  <a:pt x="2977" y="1181"/>
                  <a:pt x="2977" y="1180"/>
                  <a:pt x="2977" y="1180"/>
                </a:cubicBezTo>
                <a:cubicBezTo>
                  <a:pt x="2977" y="1180"/>
                  <a:pt x="2976" y="1180"/>
                  <a:pt x="2976" y="1180"/>
                </a:cubicBezTo>
                <a:cubicBezTo>
                  <a:pt x="2975" y="1180"/>
                  <a:pt x="2976" y="1179"/>
                  <a:pt x="2976" y="1179"/>
                </a:cubicBezTo>
                <a:cubicBezTo>
                  <a:pt x="2977" y="1179"/>
                  <a:pt x="2978" y="1180"/>
                  <a:pt x="2978" y="1179"/>
                </a:cubicBezTo>
                <a:cubicBezTo>
                  <a:pt x="2977" y="1179"/>
                  <a:pt x="2977" y="1178"/>
                  <a:pt x="2977" y="1178"/>
                </a:cubicBezTo>
                <a:cubicBezTo>
                  <a:pt x="2977" y="1178"/>
                  <a:pt x="2976" y="1178"/>
                  <a:pt x="2976" y="1178"/>
                </a:cubicBezTo>
                <a:cubicBezTo>
                  <a:pt x="2976" y="1177"/>
                  <a:pt x="2977" y="1176"/>
                  <a:pt x="2978" y="1176"/>
                </a:cubicBezTo>
                <a:cubicBezTo>
                  <a:pt x="2978" y="1177"/>
                  <a:pt x="2978" y="1179"/>
                  <a:pt x="2979" y="1178"/>
                </a:cubicBezTo>
                <a:cubicBezTo>
                  <a:pt x="2979" y="1178"/>
                  <a:pt x="2978" y="1176"/>
                  <a:pt x="2979" y="1176"/>
                </a:cubicBezTo>
                <a:cubicBezTo>
                  <a:pt x="2980" y="1176"/>
                  <a:pt x="2979" y="1176"/>
                  <a:pt x="2980" y="1177"/>
                </a:cubicBezTo>
                <a:cubicBezTo>
                  <a:pt x="2980" y="1177"/>
                  <a:pt x="2980" y="1177"/>
                  <a:pt x="2981" y="1177"/>
                </a:cubicBezTo>
                <a:cubicBezTo>
                  <a:pt x="2981" y="1178"/>
                  <a:pt x="2981" y="1179"/>
                  <a:pt x="2982" y="1179"/>
                </a:cubicBezTo>
                <a:cubicBezTo>
                  <a:pt x="2983" y="1179"/>
                  <a:pt x="2983" y="1178"/>
                  <a:pt x="2984" y="1178"/>
                </a:cubicBezTo>
                <a:cubicBezTo>
                  <a:pt x="2985" y="1177"/>
                  <a:pt x="2986" y="1177"/>
                  <a:pt x="2986" y="1176"/>
                </a:cubicBezTo>
                <a:cubicBezTo>
                  <a:pt x="2987" y="1176"/>
                  <a:pt x="2988" y="1175"/>
                  <a:pt x="2989" y="1175"/>
                </a:cubicBezTo>
                <a:cubicBezTo>
                  <a:pt x="2990" y="1174"/>
                  <a:pt x="2990" y="1174"/>
                  <a:pt x="2991" y="1174"/>
                </a:cubicBezTo>
                <a:cubicBezTo>
                  <a:pt x="2992" y="1173"/>
                  <a:pt x="2993" y="1172"/>
                  <a:pt x="2994" y="1172"/>
                </a:cubicBezTo>
                <a:cubicBezTo>
                  <a:pt x="2995" y="1171"/>
                  <a:pt x="2996" y="1171"/>
                  <a:pt x="2997" y="1170"/>
                </a:cubicBezTo>
                <a:cubicBezTo>
                  <a:pt x="2998" y="1170"/>
                  <a:pt x="2998" y="1170"/>
                  <a:pt x="2999" y="1169"/>
                </a:cubicBezTo>
                <a:cubicBezTo>
                  <a:pt x="2999" y="1169"/>
                  <a:pt x="3000" y="1169"/>
                  <a:pt x="3001" y="1169"/>
                </a:cubicBezTo>
                <a:cubicBezTo>
                  <a:pt x="3001" y="1168"/>
                  <a:pt x="3002" y="1168"/>
                  <a:pt x="3002" y="1167"/>
                </a:cubicBezTo>
                <a:cubicBezTo>
                  <a:pt x="3002" y="1166"/>
                  <a:pt x="3003" y="1165"/>
                  <a:pt x="3003" y="1165"/>
                </a:cubicBezTo>
                <a:cubicBezTo>
                  <a:pt x="3004" y="1164"/>
                  <a:pt x="3005" y="1164"/>
                  <a:pt x="3005" y="1163"/>
                </a:cubicBezTo>
                <a:cubicBezTo>
                  <a:pt x="3006" y="1162"/>
                  <a:pt x="3005" y="1162"/>
                  <a:pt x="3005" y="1161"/>
                </a:cubicBezTo>
                <a:cubicBezTo>
                  <a:pt x="3004" y="1161"/>
                  <a:pt x="3004" y="1159"/>
                  <a:pt x="3004" y="1159"/>
                </a:cubicBezTo>
                <a:cubicBezTo>
                  <a:pt x="3005" y="1159"/>
                  <a:pt x="3005" y="1159"/>
                  <a:pt x="3005" y="1160"/>
                </a:cubicBezTo>
                <a:cubicBezTo>
                  <a:pt x="3005" y="1160"/>
                  <a:pt x="3005" y="1160"/>
                  <a:pt x="3005" y="1160"/>
                </a:cubicBezTo>
                <a:cubicBezTo>
                  <a:pt x="3006" y="1160"/>
                  <a:pt x="3006" y="1160"/>
                  <a:pt x="3006" y="1160"/>
                </a:cubicBezTo>
                <a:cubicBezTo>
                  <a:pt x="3006" y="1160"/>
                  <a:pt x="3006" y="1161"/>
                  <a:pt x="3006" y="1161"/>
                </a:cubicBezTo>
                <a:cubicBezTo>
                  <a:pt x="3006" y="1161"/>
                  <a:pt x="3006" y="1161"/>
                  <a:pt x="3006" y="1160"/>
                </a:cubicBezTo>
                <a:cubicBezTo>
                  <a:pt x="3006" y="1159"/>
                  <a:pt x="3005" y="1159"/>
                  <a:pt x="3005" y="1158"/>
                </a:cubicBezTo>
                <a:cubicBezTo>
                  <a:pt x="3006" y="1157"/>
                  <a:pt x="3006" y="1157"/>
                  <a:pt x="3005" y="1156"/>
                </a:cubicBezTo>
                <a:cubicBezTo>
                  <a:pt x="3005" y="1155"/>
                  <a:pt x="3005" y="1155"/>
                  <a:pt x="3005" y="1155"/>
                </a:cubicBezTo>
                <a:cubicBezTo>
                  <a:pt x="3005" y="1154"/>
                  <a:pt x="3006" y="1155"/>
                  <a:pt x="3006" y="1155"/>
                </a:cubicBezTo>
                <a:cubicBezTo>
                  <a:pt x="3006" y="1155"/>
                  <a:pt x="3007" y="1155"/>
                  <a:pt x="3006" y="1154"/>
                </a:cubicBezTo>
                <a:cubicBezTo>
                  <a:pt x="3006" y="1154"/>
                  <a:pt x="3006" y="1154"/>
                  <a:pt x="3006" y="1154"/>
                </a:cubicBezTo>
                <a:cubicBezTo>
                  <a:pt x="3006" y="1154"/>
                  <a:pt x="3006" y="1154"/>
                  <a:pt x="3006" y="1153"/>
                </a:cubicBezTo>
                <a:cubicBezTo>
                  <a:pt x="3006" y="1153"/>
                  <a:pt x="3005" y="1152"/>
                  <a:pt x="3006" y="1151"/>
                </a:cubicBezTo>
                <a:cubicBezTo>
                  <a:pt x="3006" y="1151"/>
                  <a:pt x="3006" y="1151"/>
                  <a:pt x="3006" y="1151"/>
                </a:cubicBezTo>
                <a:cubicBezTo>
                  <a:pt x="3007" y="1151"/>
                  <a:pt x="3007" y="1151"/>
                  <a:pt x="3007" y="1152"/>
                </a:cubicBezTo>
                <a:cubicBezTo>
                  <a:pt x="3007" y="1152"/>
                  <a:pt x="3007" y="1152"/>
                  <a:pt x="3008" y="1153"/>
                </a:cubicBezTo>
                <a:cubicBezTo>
                  <a:pt x="3008" y="1153"/>
                  <a:pt x="3008" y="1153"/>
                  <a:pt x="3008" y="1153"/>
                </a:cubicBezTo>
                <a:cubicBezTo>
                  <a:pt x="3008" y="1152"/>
                  <a:pt x="3007" y="1151"/>
                  <a:pt x="3007" y="1150"/>
                </a:cubicBezTo>
                <a:cubicBezTo>
                  <a:pt x="3007" y="1149"/>
                  <a:pt x="3009" y="1150"/>
                  <a:pt x="3008" y="1148"/>
                </a:cubicBezTo>
                <a:cubicBezTo>
                  <a:pt x="3008" y="1148"/>
                  <a:pt x="3008" y="1148"/>
                  <a:pt x="3008" y="1148"/>
                </a:cubicBezTo>
                <a:cubicBezTo>
                  <a:pt x="3008" y="1147"/>
                  <a:pt x="3008" y="1147"/>
                  <a:pt x="3007" y="1146"/>
                </a:cubicBezTo>
                <a:cubicBezTo>
                  <a:pt x="3007" y="1146"/>
                  <a:pt x="3007" y="1145"/>
                  <a:pt x="3007" y="1145"/>
                </a:cubicBezTo>
                <a:cubicBezTo>
                  <a:pt x="3006" y="1144"/>
                  <a:pt x="3007" y="1143"/>
                  <a:pt x="3006" y="1143"/>
                </a:cubicBezTo>
                <a:cubicBezTo>
                  <a:pt x="3006" y="1142"/>
                  <a:pt x="3005" y="1141"/>
                  <a:pt x="3005" y="1140"/>
                </a:cubicBezTo>
                <a:cubicBezTo>
                  <a:pt x="3005" y="1139"/>
                  <a:pt x="3006" y="1139"/>
                  <a:pt x="3006" y="1138"/>
                </a:cubicBezTo>
                <a:cubicBezTo>
                  <a:pt x="3006" y="1137"/>
                  <a:pt x="3006" y="1136"/>
                  <a:pt x="3006" y="1136"/>
                </a:cubicBezTo>
                <a:cubicBezTo>
                  <a:pt x="3006" y="1135"/>
                  <a:pt x="3006" y="1135"/>
                  <a:pt x="3005" y="1134"/>
                </a:cubicBezTo>
                <a:cubicBezTo>
                  <a:pt x="3005" y="1134"/>
                  <a:pt x="3005" y="1133"/>
                  <a:pt x="3005" y="1133"/>
                </a:cubicBezTo>
                <a:cubicBezTo>
                  <a:pt x="3005" y="1132"/>
                  <a:pt x="3005" y="1131"/>
                  <a:pt x="3004" y="1130"/>
                </a:cubicBezTo>
                <a:cubicBezTo>
                  <a:pt x="3004" y="1129"/>
                  <a:pt x="3004" y="1129"/>
                  <a:pt x="3003" y="1128"/>
                </a:cubicBezTo>
                <a:cubicBezTo>
                  <a:pt x="3003" y="1127"/>
                  <a:pt x="3003" y="1127"/>
                  <a:pt x="3003" y="1126"/>
                </a:cubicBezTo>
                <a:cubicBezTo>
                  <a:pt x="3003" y="1126"/>
                  <a:pt x="3003" y="1126"/>
                  <a:pt x="3002" y="1125"/>
                </a:cubicBezTo>
                <a:cubicBezTo>
                  <a:pt x="3002" y="1125"/>
                  <a:pt x="3002" y="1124"/>
                  <a:pt x="3002" y="1123"/>
                </a:cubicBezTo>
                <a:cubicBezTo>
                  <a:pt x="3002" y="1123"/>
                  <a:pt x="3002" y="1122"/>
                  <a:pt x="3002" y="1122"/>
                </a:cubicBezTo>
                <a:cubicBezTo>
                  <a:pt x="3001" y="1121"/>
                  <a:pt x="3001" y="1120"/>
                  <a:pt x="3000" y="1120"/>
                </a:cubicBezTo>
                <a:cubicBezTo>
                  <a:pt x="3000" y="1120"/>
                  <a:pt x="3000" y="1120"/>
                  <a:pt x="3000" y="1119"/>
                </a:cubicBezTo>
                <a:cubicBezTo>
                  <a:pt x="3000" y="1119"/>
                  <a:pt x="2999" y="1119"/>
                  <a:pt x="2999" y="1119"/>
                </a:cubicBezTo>
                <a:cubicBezTo>
                  <a:pt x="2999" y="1118"/>
                  <a:pt x="2998" y="1118"/>
                  <a:pt x="2998" y="1117"/>
                </a:cubicBezTo>
                <a:cubicBezTo>
                  <a:pt x="2997" y="1117"/>
                  <a:pt x="2997" y="1116"/>
                  <a:pt x="2997" y="1116"/>
                </a:cubicBezTo>
                <a:cubicBezTo>
                  <a:pt x="2997" y="1116"/>
                  <a:pt x="2997" y="1115"/>
                  <a:pt x="2996" y="1115"/>
                </a:cubicBezTo>
                <a:cubicBezTo>
                  <a:pt x="2996" y="1114"/>
                  <a:pt x="2996" y="1114"/>
                  <a:pt x="2995" y="1114"/>
                </a:cubicBezTo>
                <a:cubicBezTo>
                  <a:pt x="2995" y="1114"/>
                  <a:pt x="2995" y="1112"/>
                  <a:pt x="2995" y="1112"/>
                </a:cubicBezTo>
                <a:cubicBezTo>
                  <a:pt x="2995" y="1111"/>
                  <a:pt x="2996" y="1111"/>
                  <a:pt x="2995" y="1111"/>
                </a:cubicBezTo>
                <a:cubicBezTo>
                  <a:pt x="2995" y="1110"/>
                  <a:pt x="2994" y="1111"/>
                  <a:pt x="2994" y="1111"/>
                </a:cubicBezTo>
                <a:cubicBezTo>
                  <a:pt x="2994" y="1111"/>
                  <a:pt x="2993" y="1112"/>
                  <a:pt x="2993" y="1111"/>
                </a:cubicBezTo>
                <a:cubicBezTo>
                  <a:pt x="2993" y="1111"/>
                  <a:pt x="2994" y="1111"/>
                  <a:pt x="2994" y="1110"/>
                </a:cubicBezTo>
                <a:cubicBezTo>
                  <a:pt x="2994" y="1110"/>
                  <a:pt x="2993" y="1110"/>
                  <a:pt x="2993" y="1110"/>
                </a:cubicBezTo>
                <a:cubicBezTo>
                  <a:pt x="2992" y="1110"/>
                  <a:pt x="2992" y="1109"/>
                  <a:pt x="2991" y="1109"/>
                </a:cubicBezTo>
                <a:cubicBezTo>
                  <a:pt x="2991" y="1109"/>
                  <a:pt x="2990" y="1109"/>
                  <a:pt x="2990" y="1108"/>
                </a:cubicBezTo>
                <a:cubicBezTo>
                  <a:pt x="2989" y="1108"/>
                  <a:pt x="2989" y="1108"/>
                  <a:pt x="2988" y="1107"/>
                </a:cubicBezTo>
                <a:cubicBezTo>
                  <a:pt x="2987" y="1105"/>
                  <a:pt x="2985" y="1104"/>
                  <a:pt x="2983" y="1103"/>
                </a:cubicBezTo>
                <a:cubicBezTo>
                  <a:pt x="2983" y="1103"/>
                  <a:pt x="2982" y="1102"/>
                  <a:pt x="2981" y="1102"/>
                </a:cubicBezTo>
                <a:cubicBezTo>
                  <a:pt x="2981" y="1101"/>
                  <a:pt x="2981" y="1100"/>
                  <a:pt x="2980" y="1099"/>
                </a:cubicBezTo>
                <a:cubicBezTo>
                  <a:pt x="2980" y="1098"/>
                  <a:pt x="2978" y="1097"/>
                  <a:pt x="2977" y="1096"/>
                </a:cubicBezTo>
                <a:cubicBezTo>
                  <a:pt x="2976" y="1096"/>
                  <a:pt x="2976" y="1095"/>
                  <a:pt x="2975" y="1095"/>
                </a:cubicBezTo>
                <a:cubicBezTo>
                  <a:pt x="2975" y="1094"/>
                  <a:pt x="2974" y="1094"/>
                  <a:pt x="2973" y="1094"/>
                </a:cubicBezTo>
                <a:cubicBezTo>
                  <a:pt x="2973" y="1093"/>
                  <a:pt x="2973" y="1093"/>
                  <a:pt x="2973" y="1093"/>
                </a:cubicBezTo>
                <a:cubicBezTo>
                  <a:pt x="2972" y="1093"/>
                  <a:pt x="2973" y="1092"/>
                  <a:pt x="2973" y="1093"/>
                </a:cubicBezTo>
                <a:cubicBezTo>
                  <a:pt x="2973" y="1093"/>
                  <a:pt x="2974" y="1093"/>
                  <a:pt x="2974" y="1093"/>
                </a:cubicBezTo>
                <a:cubicBezTo>
                  <a:pt x="2974" y="1093"/>
                  <a:pt x="2974" y="1092"/>
                  <a:pt x="2974" y="1092"/>
                </a:cubicBezTo>
                <a:cubicBezTo>
                  <a:pt x="2974" y="1091"/>
                  <a:pt x="2974" y="1091"/>
                  <a:pt x="2974" y="1091"/>
                </a:cubicBezTo>
                <a:cubicBezTo>
                  <a:pt x="2974" y="1090"/>
                  <a:pt x="2974" y="1090"/>
                  <a:pt x="2974" y="1089"/>
                </a:cubicBezTo>
                <a:cubicBezTo>
                  <a:pt x="2973" y="1089"/>
                  <a:pt x="2973" y="1089"/>
                  <a:pt x="2973" y="1089"/>
                </a:cubicBezTo>
                <a:cubicBezTo>
                  <a:pt x="2972" y="1088"/>
                  <a:pt x="2972" y="1088"/>
                  <a:pt x="2972" y="1087"/>
                </a:cubicBezTo>
                <a:cubicBezTo>
                  <a:pt x="2971" y="1086"/>
                  <a:pt x="2969" y="1085"/>
                  <a:pt x="2968" y="1084"/>
                </a:cubicBezTo>
                <a:cubicBezTo>
                  <a:pt x="2968" y="1083"/>
                  <a:pt x="2968" y="1083"/>
                  <a:pt x="2967" y="1082"/>
                </a:cubicBezTo>
                <a:cubicBezTo>
                  <a:pt x="2967" y="1082"/>
                  <a:pt x="2966" y="1082"/>
                  <a:pt x="2966" y="1081"/>
                </a:cubicBezTo>
                <a:cubicBezTo>
                  <a:pt x="2965" y="1081"/>
                  <a:pt x="2965" y="1080"/>
                  <a:pt x="2965" y="1080"/>
                </a:cubicBezTo>
                <a:cubicBezTo>
                  <a:pt x="2965" y="1079"/>
                  <a:pt x="2964" y="1079"/>
                  <a:pt x="2964" y="1078"/>
                </a:cubicBezTo>
                <a:cubicBezTo>
                  <a:pt x="2964" y="1078"/>
                  <a:pt x="2965" y="1078"/>
                  <a:pt x="2965" y="1077"/>
                </a:cubicBezTo>
                <a:cubicBezTo>
                  <a:pt x="2965" y="1076"/>
                  <a:pt x="2966" y="1076"/>
                  <a:pt x="2966" y="1075"/>
                </a:cubicBezTo>
                <a:cubicBezTo>
                  <a:pt x="2966" y="1074"/>
                  <a:pt x="2967" y="1074"/>
                  <a:pt x="2967" y="1073"/>
                </a:cubicBezTo>
                <a:cubicBezTo>
                  <a:pt x="2967" y="1073"/>
                  <a:pt x="2966" y="1072"/>
                  <a:pt x="2966" y="1071"/>
                </a:cubicBezTo>
                <a:cubicBezTo>
                  <a:pt x="2966" y="1070"/>
                  <a:pt x="2967" y="1070"/>
                  <a:pt x="2967" y="1069"/>
                </a:cubicBezTo>
                <a:cubicBezTo>
                  <a:pt x="2968" y="1069"/>
                  <a:pt x="2968" y="1068"/>
                  <a:pt x="2968" y="1068"/>
                </a:cubicBezTo>
                <a:cubicBezTo>
                  <a:pt x="2968" y="1067"/>
                  <a:pt x="2968" y="1067"/>
                  <a:pt x="2969" y="1066"/>
                </a:cubicBezTo>
                <a:cubicBezTo>
                  <a:pt x="2970" y="1065"/>
                  <a:pt x="2971" y="1065"/>
                  <a:pt x="2972" y="1064"/>
                </a:cubicBezTo>
                <a:cubicBezTo>
                  <a:pt x="2973" y="1063"/>
                  <a:pt x="2974" y="1063"/>
                  <a:pt x="2974" y="1063"/>
                </a:cubicBezTo>
                <a:cubicBezTo>
                  <a:pt x="2976" y="1062"/>
                  <a:pt x="2975" y="1060"/>
                  <a:pt x="2975" y="1060"/>
                </a:cubicBezTo>
                <a:cubicBezTo>
                  <a:pt x="2975" y="1059"/>
                  <a:pt x="2975" y="1058"/>
                  <a:pt x="2976" y="1058"/>
                </a:cubicBezTo>
                <a:cubicBezTo>
                  <a:pt x="2976" y="1058"/>
                  <a:pt x="2978" y="1058"/>
                  <a:pt x="2978" y="1057"/>
                </a:cubicBezTo>
                <a:cubicBezTo>
                  <a:pt x="2977" y="1057"/>
                  <a:pt x="2977" y="1057"/>
                  <a:pt x="2977" y="1057"/>
                </a:cubicBezTo>
                <a:cubicBezTo>
                  <a:pt x="2977" y="1056"/>
                  <a:pt x="2977" y="1056"/>
                  <a:pt x="2977" y="1056"/>
                </a:cubicBezTo>
                <a:cubicBezTo>
                  <a:pt x="2977" y="1055"/>
                  <a:pt x="2978" y="1055"/>
                  <a:pt x="2978" y="1055"/>
                </a:cubicBezTo>
                <a:cubicBezTo>
                  <a:pt x="2979" y="1055"/>
                  <a:pt x="2979" y="1055"/>
                  <a:pt x="2980" y="1055"/>
                </a:cubicBezTo>
                <a:cubicBezTo>
                  <a:pt x="2981" y="1055"/>
                  <a:pt x="2981" y="1055"/>
                  <a:pt x="2982" y="1055"/>
                </a:cubicBezTo>
                <a:cubicBezTo>
                  <a:pt x="2983" y="1055"/>
                  <a:pt x="2983" y="1054"/>
                  <a:pt x="2984" y="1054"/>
                </a:cubicBezTo>
                <a:cubicBezTo>
                  <a:pt x="2984" y="1054"/>
                  <a:pt x="2985" y="1053"/>
                  <a:pt x="2985" y="1053"/>
                </a:cubicBezTo>
                <a:cubicBezTo>
                  <a:pt x="2986" y="1052"/>
                  <a:pt x="2986" y="1052"/>
                  <a:pt x="2987" y="1052"/>
                </a:cubicBezTo>
                <a:cubicBezTo>
                  <a:pt x="2988" y="1051"/>
                  <a:pt x="2986" y="1052"/>
                  <a:pt x="2986" y="1051"/>
                </a:cubicBezTo>
                <a:cubicBezTo>
                  <a:pt x="2986" y="1051"/>
                  <a:pt x="2987" y="1050"/>
                  <a:pt x="2987" y="1050"/>
                </a:cubicBezTo>
                <a:cubicBezTo>
                  <a:pt x="2988" y="1050"/>
                  <a:pt x="2988" y="1050"/>
                  <a:pt x="2989" y="1049"/>
                </a:cubicBezTo>
                <a:cubicBezTo>
                  <a:pt x="2989" y="1049"/>
                  <a:pt x="2989" y="1049"/>
                  <a:pt x="2989" y="1049"/>
                </a:cubicBezTo>
                <a:cubicBezTo>
                  <a:pt x="2990" y="1048"/>
                  <a:pt x="2991" y="1048"/>
                  <a:pt x="2991" y="1048"/>
                </a:cubicBezTo>
                <a:cubicBezTo>
                  <a:pt x="2992" y="1047"/>
                  <a:pt x="2992" y="1047"/>
                  <a:pt x="2992" y="1047"/>
                </a:cubicBezTo>
                <a:cubicBezTo>
                  <a:pt x="2993" y="1047"/>
                  <a:pt x="2993" y="1047"/>
                  <a:pt x="2993" y="1047"/>
                </a:cubicBezTo>
                <a:cubicBezTo>
                  <a:pt x="2994" y="1047"/>
                  <a:pt x="2994" y="1047"/>
                  <a:pt x="2994" y="1047"/>
                </a:cubicBezTo>
                <a:cubicBezTo>
                  <a:pt x="2994" y="1048"/>
                  <a:pt x="2994" y="1048"/>
                  <a:pt x="2994" y="1048"/>
                </a:cubicBezTo>
                <a:cubicBezTo>
                  <a:pt x="2994" y="1048"/>
                  <a:pt x="2995" y="1047"/>
                  <a:pt x="2995" y="1046"/>
                </a:cubicBezTo>
                <a:cubicBezTo>
                  <a:pt x="2995" y="1046"/>
                  <a:pt x="2995" y="1045"/>
                  <a:pt x="2996" y="1046"/>
                </a:cubicBezTo>
                <a:cubicBezTo>
                  <a:pt x="2996" y="1046"/>
                  <a:pt x="2996" y="1046"/>
                  <a:pt x="2996" y="1046"/>
                </a:cubicBezTo>
                <a:cubicBezTo>
                  <a:pt x="2996" y="1047"/>
                  <a:pt x="2996" y="1047"/>
                  <a:pt x="2997" y="1047"/>
                </a:cubicBezTo>
                <a:cubicBezTo>
                  <a:pt x="2997" y="1047"/>
                  <a:pt x="2997" y="1047"/>
                  <a:pt x="2997" y="1047"/>
                </a:cubicBezTo>
                <a:cubicBezTo>
                  <a:pt x="2997" y="1047"/>
                  <a:pt x="2997" y="1047"/>
                  <a:pt x="2997" y="1047"/>
                </a:cubicBezTo>
                <a:cubicBezTo>
                  <a:pt x="2998" y="1047"/>
                  <a:pt x="2998" y="1047"/>
                  <a:pt x="2998" y="1047"/>
                </a:cubicBezTo>
                <a:cubicBezTo>
                  <a:pt x="2998" y="1046"/>
                  <a:pt x="2998" y="1046"/>
                  <a:pt x="2998" y="1046"/>
                </a:cubicBezTo>
                <a:cubicBezTo>
                  <a:pt x="2999" y="1045"/>
                  <a:pt x="2997" y="1046"/>
                  <a:pt x="2997" y="1045"/>
                </a:cubicBezTo>
                <a:cubicBezTo>
                  <a:pt x="2997" y="1045"/>
                  <a:pt x="2997" y="1044"/>
                  <a:pt x="2997" y="1044"/>
                </a:cubicBezTo>
                <a:cubicBezTo>
                  <a:pt x="2997" y="1043"/>
                  <a:pt x="2997" y="1043"/>
                  <a:pt x="2997" y="1043"/>
                </a:cubicBezTo>
                <a:cubicBezTo>
                  <a:pt x="2998" y="1043"/>
                  <a:pt x="2998" y="1043"/>
                  <a:pt x="2998" y="1044"/>
                </a:cubicBezTo>
                <a:cubicBezTo>
                  <a:pt x="2998" y="1044"/>
                  <a:pt x="2997" y="1044"/>
                  <a:pt x="2998" y="1045"/>
                </a:cubicBezTo>
                <a:cubicBezTo>
                  <a:pt x="2998" y="1045"/>
                  <a:pt x="2998" y="1045"/>
                  <a:pt x="2999" y="1045"/>
                </a:cubicBezTo>
                <a:cubicBezTo>
                  <a:pt x="2999" y="1045"/>
                  <a:pt x="2999" y="1045"/>
                  <a:pt x="2999" y="1045"/>
                </a:cubicBezTo>
                <a:cubicBezTo>
                  <a:pt x="2999" y="1045"/>
                  <a:pt x="2999" y="1045"/>
                  <a:pt x="2999" y="1045"/>
                </a:cubicBezTo>
                <a:cubicBezTo>
                  <a:pt x="2999" y="1046"/>
                  <a:pt x="3000" y="1045"/>
                  <a:pt x="3000" y="1046"/>
                </a:cubicBezTo>
                <a:cubicBezTo>
                  <a:pt x="3000" y="1046"/>
                  <a:pt x="3000" y="1048"/>
                  <a:pt x="3001" y="1047"/>
                </a:cubicBezTo>
                <a:cubicBezTo>
                  <a:pt x="3001" y="1046"/>
                  <a:pt x="3001" y="1045"/>
                  <a:pt x="3002" y="1046"/>
                </a:cubicBezTo>
                <a:cubicBezTo>
                  <a:pt x="3002" y="1047"/>
                  <a:pt x="3002" y="1047"/>
                  <a:pt x="3002" y="1047"/>
                </a:cubicBezTo>
                <a:cubicBezTo>
                  <a:pt x="3003" y="1047"/>
                  <a:pt x="3004" y="1047"/>
                  <a:pt x="3004" y="1048"/>
                </a:cubicBezTo>
                <a:cubicBezTo>
                  <a:pt x="3004" y="1048"/>
                  <a:pt x="3004" y="1048"/>
                  <a:pt x="3004" y="1048"/>
                </a:cubicBezTo>
                <a:cubicBezTo>
                  <a:pt x="3004" y="1048"/>
                  <a:pt x="3004" y="1048"/>
                  <a:pt x="3004" y="1048"/>
                </a:cubicBezTo>
                <a:cubicBezTo>
                  <a:pt x="3005" y="1049"/>
                  <a:pt x="3004" y="1049"/>
                  <a:pt x="3005" y="1049"/>
                </a:cubicBezTo>
                <a:cubicBezTo>
                  <a:pt x="3005" y="1050"/>
                  <a:pt x="3006" y="1049"/>
                  <a:pt x="3006" y="1049"/>
                </a:cubicBezTo>
                <a:cubicBezTo>
                  <a:pt x="3007" y="1048"/>
                  <a:pt x="3007" y="1049"/>
                  <a:pt x="3008" y="1049"/>
                </a:cubicBezTo>
                <a:cubicBezTo>
                  <a:pt x="3009" y="1048"/>
                  <a:pt x="3009" y="1048"/>
                  <a:pt x="3009" y="1047"/>
                </a:cubicBezTo>
                <a:cubicBezTo>
                  <a:pt x="3009" y="1047"/>
                  <a:pt x="3009" y="1046"/>
                  <a:pt x="3009" y="1046"/>
                </a:cubicBezTo>
                <a:cubicBezTo>
                  <a:pt x="3009" y="1045"/>
                  <a:pt x="3010" y="1046"/>
                  <a:pt x="3010" y="1046"/>
                </a:cubicBezTo>
                <a:cubicBezTo>
                  <a:pt x="3010" y="1047"/>
                  <a:pt x="3010" y="1047"/>
                  <a:pt x="3010" y="1047"/>
                </a:cubicBezTo>
                <a:cubicBezTo>
                  <a:pt x="3011" y="1047"/>
                  <a:pt x="3011" y="1048"/>
                  <a:pt x="3011" y="1048"/>
                </a:cubicBezTo>
                <a:cubicBezTo>
                  <a:pt x="3011" y="1049"/>
                  <a:pt x="3012" y="1047"/>
                  <a:pt x="3012" y="1048"/>
                </a:cubicBezTo>
                <a:cubicBezTo>
                  <a:pt x="3012" y="1048"/>
                  <a:pt x="3012" y="1048"/>
                  <a:pt x="3012" y="1048"/>
                </a:cubicBezTo>
                <a:cubicBezTo>
                  <a:pt x="3013" y="1048"/>
                  <a:pt x="3013" y="1048"/>
                  <a:pt x="3013" y="1048"/>
                </a:cubicBezTo>
                <a:cubicBezTo>
                  <a:pt x="3013" y="1049"/>
                  <a:pt x="3013" y="1049"/>
                  <a:pt x="3013" y="1049"/>
                </a:cubicBezTo>
                <a:cubicBezTo>
                  <a:pt x="3012" y="1050"/>
                  <a:pt x="3012" y="1050"/>
                  <a:pt x="3012" y="1050"/>
                </a:cubicBezTo>
                <a:cubicBezTo>
                  <a:pt x="3011" y="1050"/>
                  <a:pt x="3011" y="1051"/>
                  <a:pt x="3011" y="1051"/>
                </a:cubicBezTo>
                <a:cubicBezTo>
                  <a:pt x="3011" y="1052"/>
                  <a:pt x="3011" y="1052"/>
                  <a:pt x="3011" y="1052"/>
                </a:cubicBezTo>
                <a:cubicBezTo>
                  <a:pt x="3010" y="1053"/>
                  <a:pt x="3010" y="1054"/>
                  <a:pt x="3010" y="1055"/>
                </a:cubicBezTo>
                <a:cubicBezTo>
                  <a:pt x="3011" y="1056"/>
                  <a:pt x="3011" y="1057"/>
                  <a:pt x="3011" y="1057"/>
                </a:cubicBezTo>
                <a:cubicBezTo>
                  <a:pt x="3011" y="1058"/>
                  <a:pt x="3012" y="1059"/>
                  <a:pt x="3012" y="1060"/>
                </a:cubicBezTo>
                <a:cubicBezTo>
                  <a:pt x="3012" y="1061"/>
                  <a:pt x="3013" y="1061"/>
                  <a:pt x="3013" y="1062"/>
                </a:cubicBezTo>
                <a:cubicBezTo>
                  <a:pt x="3013" y="1063"/>
                  <a:pt x="3014" y="1063"/>
                  <a:pt x="3015" y="1064"/>
                </a:cubicBezTo>
                <a:cubicBezTo>
                  <a:pt x="3016" y="1064"/>
                  <a:pt x="3016" y="1063"/>
                  <a:pt x="3017" y="1063"/>
                </a:cubicBezTo>
                <a:cubicBezTo>
                  <a:pt x="3018" y="1062"/>
                  <a:pt x="3019" y="1062"/>
                  <a:pt x="3019" y="1062"/>
                </a:cubicBezTo>
                <a:cubicBezTo>
                  <a:pt x="3020" y="1061"/>
                  <a:pt x="3020" y="1060"/>
                  <a:pt x="3019" y="1060"/>
                </a:cubicBezTo>
                <a:cubicBezTo>
                  <a:pt x="3019" y="1059"/>
                  <a:pt x="3018" y="1059"/>
                  <a:pt x="3018" y="1058"/>
                </a:cubicBezTo>
                <a:cubicBezTo>
                  <a:pt x="3018" y="1058"/>
                  <a:pt x="3018" y="1057"/>
                  <a:pt x="3018" y="1057"/>
                </a:cubicBezTo>
                <a:cubicBezTo>
                  <a:pt x="3018" y="1057"/>
                  <a:pt x="3018" y="1057"/>
                  <a:pt x="3018" y="1057"/>
                </a:cubicBezTo>
                <a:cubicBezTo>
                  <a:pt x="3019" y="1057"/>
                  <a:pt x="3019" y="1057"/>
                  <a:pt x="3018" y="1056"/>
                </a:cubicBezTo>
                <a:cubicBezTo>
                  <a:pt x="3018" y="1055"/>
                  <a:pt x="3017" y="1056"/>
                  <a:pt x="3016" y="1055"/>
                </a:cubicBezTo>
                <a:cubicBezTo>
                  <a:pt x="3015" y="1055"/>
                  <a:pt x="3016" y="1054"/>
                  <a:pt x="3017" y="1053"/>
                </a:cubicBezTo>
                <a:cubicBezTo>
                  <a:pt x="3017" y="1053"/>
                  <a:pt x="3018" y="1052"/>
                  <a:pt x="3018" y="1052"/>
                </a:cubicBezTo>
                <a:cubicBezTo>
                  <a:pt x="3019" y="1051"/>
                  <a:pt x="3019" y="1051"/>
                  <a:pt x="3019" y="1052"/>
                </a:cubicBezTo>
                <a:cubicBezTo>
                  <a:pt x="3019" y="1052"/>
                  <a:pt x="3019" y="1052"/>
                  <a:pt x="3019" y="1052"/>
                </a:cubicBezTo>
                <a:cubicBezTo>
                  <a:pt x="3019" y="1052"/>
                  <a:pt x="3020" y="1052"/>
                  <a:pt x="3020" y="1052"/>
                </a:cubicBezTo>
                <a:cubicBezTo>
                  <a:pt x="3020" y="1053"/>
                  <a:pt x="3020" y="1053"/>
                  <a:pt x="3020" y="1053"/>
                </a:cubicBezTo>
                <a:cubicBezTo>
                  <a:pt x="3021" y="1053"/>
                  <a:pt x="3021" y="1052"/>
                  <a:pt x="3021" y="1052"/>
                </a:cubicBezTo>
                <a:cubicBezTo>
                  <a:pt x="3020" y="1051"/>
                  <a:pt x="3022" y="1051"/>
                  <a:pt x="3022" y="1051"/>
                </a:cubicBezTo>
                <a:cubicBezTo>
                  <a:pt x="3023" y="1051"/>
                  <a:pt x="3023" y="1050"/>
                  <a:pt x="3023" y="1050"/>
                </a:cubicBezTo>
                <a:cubicBezTo>
                  <a:pt x="3024" y="1050"/>
                  <a:pt x="3024" y="1050"/>
                  <a:pt x="3025" y="1050"/>
                </a:cubicBezTo>
                <a:cubicBezTo>
                  <a:pt x="3025" y="1049"/>
                  <a:pt x="3026" y="1049"/>
                  <a:pt x="3026" y="1049"/>
                </a:cubicBezTo>
                <a:cubicBezTo>
                  <a:pt x="3027" y="1049"/>
                  <a:pt x="3027" y="1049"/>
                  <a:pt x="3027" y="1049"/>
                </a:cubicBezTo>
                <a:cubicBezTo>
                  <a:pt x="3028" y="1049"/>
                  <a:pt x="3028" y="1048"/>
                  <a:pt x="3029" y="1048"/>
                </a:cubicBezTo>
                <a:cubicBezTo>
                  <a:pt x="3030" y="1047"/>
                  <a:pt x="3032" y="1048"/>
                  <a:pt x="3034" y="1047"/>
                </a:cubicBezTo>
                <a:cubicBezTo>
                  <a:pt x="3034" y="1047"/>
                  <a:pt x="3035" y="1046"/>
                  <a:pt x="3036" y="1046"/>
                </a:cubicBezTo>
                <a:cubicBezTo>
                  <a:pt x="3036" y="1046"/>
                  <a:pt x="3037" y="1045"/>
                  <a:pt x="3037" y="1045"/>
                </a:cubicBezTo>
                <a:cubicBezTo>
                  <a:pt x="3036" y="1044"/>
                  <a:pt x="3036" y="1044"/>
                  <a:pt x="3036" y="1043"/>
                </a:cubicBezTo>
                <a:cubicBezTo>
                  <a:pt x="3037" y="1043"/>
                  <a:pt x="3037" y="1043"/>
                  <a:pt x="3037" y="1043"/>
                </a:cubicBezTo>
                <a:cubicBezTo>
                  <a:pt x="3038" y="1044"/>
                  <a:pt x="3038" y="1044"/>
                  <a:pt x="3038" y="1044"/>
                </a:cubicBezTo>
                <a:cubicBezTo>
                  <a:pt x="3038" y="1044"/>
                  <a:pt x="3039" y="1044"/>
                  <a:pt x="3039" y="1044"/>
                </a:cubicBezTo>
                <a:cubicBezTo>
                  <a:pt x="3040" y="1045"/>
                  <a:pt x="3040" y="1046"/>
                  <a:pt x="3041" y="1045"/>
                </a:cubicBezTo>
                <a:cubicBezTo>
                  <a:pt x="3041" y="1045"/>
                  <a:pt x="3041" y="1044"/>
                  <a:pt x="3041" y="1043"/>
                </a:cubicBezTo>
                <a:cubicBezTo>
                  <a:pt x="3042" y="1042"/>
                  <a:pt x="3042" y="1044"/>
                  <a:pt x="3043" y="1044"/>
                </a:cubicBezTo>
                <a:cubicBezTo>
                  <a:pt x="3044" y="1043"/>
                  <a:pt x="3045" y="1043"/>
                  <a:pt x="3046" y="1043"/>
                </a:cubicBezTo>
                <a:cubicBezTo>
                  <a:pt x="3046" y="1043"/>
                  <a:pt x="3047" y="1042"/>
                  <a:pt x="3047" y="1043"/>
                </a:cubicBezTo>
                <a:cubicBezTo>
                  <a:pt x="3047" y="1043"/>
                  <a:pt x="3047" y="1043"/>
                  <a:pt x="3048" y="1043"/>
                </a:cubicBezTo>
                <a:cubicBezTo>
                  <a:pt x="3049" y="1043"/>
                  <a:pt x="3048" y="1042"/>
                  <a:pt x="3049" y="1041"/>
                </a:cubicBezTo>
                <a:cubicBezTo>
                  <a:pt x="3049" y="1041"/>
                  <a:pt x="3050" y="1040"/>
                  <a:pt x="3050" y="1040"/>
                </a:cubicBezTo>
                <a:cubicBezTo>
                  <a:pt x="3050" y="1041"/>
                  <a:pt x="3050" y="1041"/>
                  <a:pt x="3051" y="1042"/>
                </a:cubicBezTo>
                <a:cubicBezTo>
                  <a:pt x="3051" y="1042"/>
                  <a:pt x="3051" y="1041"/>
                  <a:pt x="3052" y="1041"/>
                </a:cubicBezTo>
                <a:cubicBezTo>
                  <a:pt x="3052" y="1041"/>
                  <a:pt x="3052" y="1039"/>
                  <a:pt x="3053" y="1040"/>
                </a:cubicBezTo>
                <a:cubicBezTo>
                  <a:pt x="3053" y="1040"/>
                  <a:pt x="3053" y="1040"/>
                  <a:pt x="3054" y="1040"/>
                </a:cubicBezTo>
                <a:cubicBezTo>
                  <a:pt x="3055" y="1040"/>
                  <a:pt x="3055" y="1038"/>
                  <a:pt x="3055" y="1037"/>
                </a:cubicBezTo>
                <a:cubicBezTo>
                  <a:pt x="3054" y="1036"/>
                  <a:pt x="3054" y="1036"/>
                  <a:pt x="3053" y="1035"/>
                </a:cubicBezTo>
                <a:cubicBezTo>
                  <a:pt x="3053" y="1034"/>
                  <a:pt x="3053" y="1033"/>
                  <a:pt x="3053" y="1032"/>
                </a:cubicBezTo>
                <a:cubicBezTo>
                  <a:pt x="3053" y="1032"/>
                  <a:pt x="3052" y="1032"/>
                  <a:pt x="3053" y="1031"/>
                </a:cubicBezTo>
                <a:cubicBezTo>
                  <a:pt x="3053" y="1031"/>
                  <a:pt x="3053" y="1031"/>
                  <a:pt x="3053" y="1031"/>
                </a:cubicBezTo>
                <a:cubicBezTo>
                  <a:pt x="3054" y="1030"/>
                  <a:pt x="3055" y="1028"/>
                  <a:pt x="3055" y="1030"/>
                </a:cubicBezTo>
                <a:cubicBezTo>
                  <a:pt x="3055" y="1030"/>
                  <a:pt x="3055" y="1031"/>
                  <a:pt x="3055" y="1031"/>
                </a:cubicBezTo>
                <a:cubicBezTo>
                  <a:pt x="3055" y="1031"/>
                  <a:pt x="3055" y="1032"/>
                  <a:pt x="3056" y="1032"/>
                </a:cubicBezTo>
                <a:cubicBezTo>
                  <a:pt x="3056" y="1032"/>
                  <a:pt x="3056" y="1033"/>
                  <a:pt x="3056" y="1033"/>
                </a:cubicBezTo>
                <a:cubicBezTo>
                  <a:pt x="3057" y="1033"/>
                  <a:pt x="3057" y="1033"/>
                  <a:pt x="3057" y="1033"/>
                </a:cubicBezTo>
                <a:cubicBezTo>
                  <a:pt x="3058" y="1034"/>
                  <a:pt x="3057" y="1035"/>
                  <a:pt x="3058" y="1036"/>
                </a:cubicBezTo>
                <a:cubicBezTo>
                  <a:pt x="3058" y="1036"/>
                  <a:pt x="3059" y="1036"/>
                  <a:pt x="3059" y="1037"/>
                </a:cubicBezTo>
                <a:cubicBezTo>
                  <a:pt x="3059" y="1037"/>
                  <a:pt x="3059" y="1038"/>
                  <a:pt x="3059" y="1038"/>
                </a:cubicBezTo>
                <a:cubicBezTo>
                  <a:pt x="3060" y="1038"/>
                  <a:pt x="3060" y="1038"/>
                  <a:pt x="3061" y="1038"/>
                </a:cubicBezTo>
                <a:cubicBezTo>
                  <a:pt x="3061" y="1038"/>
                  <a:pt x="3062" y="1039"/>
                  <a:pt x="3062" y="1039"/>
                </a:cubicBezTo>
                <a:cubicBezTo>
                  <a:pt x="3063" y="1039"/>
                  <a:pt x="3064" y="1038"/>
                  <a:pt x="3064" y="1038"/>
                </a:cubicBezTo>
                <a:cubicBezTo>
                  <a:pt x="3064" y="1037"/>
                  <a:pt x="3065" y="1037"/>
                  <a:pt x="3064" y="1037"/>
                </a:cubicBezTo>
                <a:cubicBezTo>
                  <a:pt x="3064" y="1037"/>
                  <a:pt x="3063" y="1037"/>
                  <a:pt x="3063" y="1037"/>
                </a:cubicBezTo>
                <a:cubicBezTo>
                  <a:pt x="3062" y="1037"/>
                  <a:pt x="3061" y="1036"/>
                  <a:pt x="3062" y="1036"/>
                </a:cubicBezTo>
                <a:cubicBezTo>
                  <a:pt x="3063" y="1035"/>
                  <a:pt x="3064" y="1034"/>
                  <a:pt x="3064" y="1035"/>
                </a:cubicBezTo>
                <a:cubicBezTo>
                  <a:pt x="3065" y="1036"/>
                  <a:pt x="3065" y="1037"/>
                  <a:pt x="3066" y="1037"/>
                </a:cubicBezTo>
                <a:cubicBezTo>
                  <a:pt x="3066" y="1037"/>
                  <a:pt x="3067" y="1036"/>
                  <a:pt x="3067" y="1036"/>
                </a:cubicBezTo>
                <a:cubicBezTo>
                  <a:pt x="3067" y="1035"/>
                  <a:pt x="3066" y="1035"/>
                  <a:pt x="3066" y="1034"/>
                </a:cubicBezTo>
                <a:cubicBezTo>
                  <a:pt x="3066" y="1034"/>
                  <a:pt x="3067" y="1034"/>
                  <a:pt x="3067" y="1033"/>
                </a:cubicBezTo>
                <a:cubicBezTo>
                  <a:pt x="3068" y="1033"/>
                  <a:pt x="3068" y="1032"/>
                  <a:pt x="3069" y="1032"/>
                </a:cubicBezTo>
                <a:cubicBezTo>
                  <a:pt x="3069" y="1033"/>
                  <a:pt x="3068" y="1033"/>
                  <a:pt x="3068" y="1034"/>
                </a:cubicBezTo>
                <a:cubicBezTo>
                  <a:pt x="3068" y="1035"/>
                  <a:pt x="3069" y="1034"/>
                  <a:pt x="3069" y="1035"/>
                </a:cubicBezTo>
                <a:cubicBezTo>
                  <a:pt x="3069" y="1035"/>
                  <a:pt x="3069" y="1035"/>
                  <a:pt x="3069" y="1036"/>
                </a:cubicBezTo>
                <a:cubicBezTo>
                  <a:pt x="3070" y="1036"/>
                  <a:pt x="3071" y="1035"/>
                  <a:pt x="3071" y="1034"/>
                </a:cubicBezTo>
                <a:cubicBezTo>
                  <a:pt x="3071" y="1034"/>
                  <a:pt x="3072" y="1033"/>
                  <a:pt x="3072" y="1033"/>
                </a:cubicBezTo>
                <a:cubicBezTo>
                  <a:pt x="3072" y="1033"/>
                  <a:pt x="3073" y="1033"/>
                  <a:pt x="3073" y="1033"/>
                </a:cubicBezTo>
                <a:cubicBezTo>
                  <a:pt x="3074" y="1032"/>
                  <a:pt x="3075" y="1031"/>
                  <a:pt x="3075" y="1032"/>
                </a:cubicBezTo>
                <a:cubicBezTo>
                  <a:pt x="3075" y="1033"/>
                  <a:pt x="3075" y="1033"/>
                  <a:pt x="3075" y="1033"/>
                </a:cubicBezTo>
                <a:cubicBezTo>
                  <a:pt x="3076" y="1033"/>
                  <a:pt x="3076" y="1033"/>
                  <a:pt x="3077" y="1033"/>
                </a:cubicBezTo>
                <a:cubicBezTo>
                  <a:pt x="3077" y="1033"/>
                  <a:pt x="3077" y="1034"/>
                  <a:pt x="3077" y="1034"/>
                </a:cubicBezTo>
                <a:cubicBezTo>
                  <a:pt x="3078" y="1034"/>
                  <a:pt x="3078" y="1034"/>
                  <a:pt x="3078" y="1033"/>
                </a:cubicBezTo>
                <a:cubicBezTo>
                  <a:pt x="3078" y="1033"/>
                  <a:pt x="3077" y="1033"/>
                  <a:pt x="3077" y="1032"/>
                </a:cubicBezTo>
                <a:cubicBezTo>
                  <a:pt x="3077" y="1032"/>
                  <a:pt x="3078" y="1032"/>
                  <a:pt x="3077" y="1032"/>
                </a:cubicBezTo>
                <a:cubicBezTo>
                  <a:pt x="3077" y="1032"/>
                  <a:pt x="3077" y="1032"/>
                  <a:pt x="3077" y="1031"/>
                </a:cubicBezTo>
                <a:cubicBezTo>
                  <a:pt x="3077" y="1030"/>
                  <a:pt x="3078" y="1031"/>
                  <a:pt x="3079" y="1031"/>
                </a:cubicBezTo>
                <a:cubicBezTo>
                  <a:pt x="3079" y="1032"/>
                  <a:pt x="3079" y="1032"/>
                  <a:pt x="3079" y="1032"/>
                </a:cubicBezTo>
                <a:cubicBezTo>
                  <a:pt x="3080" y="1033"/>
                  <a:pt x="3081" y="1033"/>
                  <a:pt x="3081" y="1033"/>
                </a:cubicBezTo>
                <a:cubicBezTo>
                  <a:pt x="3082" y="1033"/>
                  <a:pt x="3082" y="1031"/>
                  <a:pt x="3083" y="1031"/>
                </a:cubicBezTo>
                <a:cubicBezTo>
                  <a:pt x="3084" y="1031"/>
                  <a:pt x="3084" y="1031"/>
                  <a:pt x="3084" y="1031"/>
                </a:cubicBezTo>
                <a:cubicBezTo>
                  <a:pt x="3085" y="1032"/>
                  <a:pt x="3085" y="1032"/>
                  <a:pt x="3085" y="1031"/>
                </a:cubicBezTo>
                <a:cubicBezTo>
                  <a:pt x="3086" y="1031"/>
                  <a:pt x="3087" y="1031"/>
                  <a:pt x="3088" y="1031"/>
                </a:cubicBezTo>
                <a:cubicBezTo>
                  <a:pt x="3089" y="1031"/>
                  <a:pt x="3089" y="1030"/>
                  <a:pt x="3089" y="1029"/>
                </a:cubicBezTo>
                <a:cubicBezTo>
                  <a:pt x="3089" y="1028"/>
                  <a:pt x="3088" y="1028"/>
                  <a:pt x="3089" y="1027"/>
                </a:cubicBezTo>
                <a:cubicBezTo>
                  <a:pt x="3090" y="1027"/>
                  <a:pt x="3090" y="1027"/>
                  <a:pt x="3091" y="1027"/>
                </a:cubicBezTo>
                <a:cubicBezTo>
                  <a:pt x="3091" y="1027"/>
                  <a:pt x="3091" y="1027"/>
                  <a:pt x="3092" y="1027"/>
                </a:cubicBezTo>
                <a:cubicBezTo>
                  <a:pt x="3092" y="1027"/>
                  <a:pt x="3091" y="1026"/>
                  <a:pt x="3091" y="1026"/>
                </a:cubicBezTo>
                <a:cubicBezTo>
                  <a:pt x="3090" y="1026"/>
                  <a:pt x="3090" y="1026"/>
                  <a:pt x="3089" y="1026"/>
                </a:cubicBezTo>
                <a:cubicBezTo>
                  <a:pt x="3089" y="1025"/>
                  <a:pt x="3091" y="1026"/>
                  <a:pt x="3091" y="1026"/>
                </a:cubicBezTo>
                <a:cubicBezTo>
                  <a:pt x="3092" y="1025"/>
                  <a:pt x="3092" y="1024"/>
                  <a:pt x="3092" y="1024"/>
                </a:cubicBezTo>
                <a:cubicBezTo>
                  <a:pt x="3093" y="1023"/>
                  <a:pt x="3093" y="1022"/>
                  <a:pt x="3094" y="1023"/>
                </a:cubicBezTo>
                <a:cubicBezTo>
                  <a:pt x="3095" y="1023"/>
                  <a:pt x="3095" y="1024"/>
                  <a:pt x="3096" y="1023"/>
                </a:cubicBezTo>
                <a:cubicBezTo>
                  <a:pt x="3097" y="1023"/>
                  <a:pt x="3097" y="1022"/>
                  <a:pt x="3098" y="1022"/>
                </a:cubicBezTo>
                <a:cubicBezTo>
                  <a:pt x="3099" y="1021"/>
                  <a:pt x="3099" y="1021"/>
                  <a:pt x="3099" y="1020"/>
                </a:cubicBezTo>
                <a:cubicBezTo>
                  <a:pt x="3099" y="1020"/>
                  <a:pt x="3099" y="1019"/>
                  <a:pt x="3100" y="1019"/>
                </a:cubicBezTo>
                <a:cubicBezTo>
                  <a:pt x="3100" y="1019"/>
                  <a:pt x="3100" y="1019"/>
                  <a:pt x="3100" y="1020"/>
                </a:cubicBezTo>
                <a:cubicBezTo>
                  <a:pt x="3101" y="1020"/>
                  <a:pt x="3101" y="1020"/>
                  <a:pt x="3101" y="1021"/>
                </a:cubicBezTo>
                <a:cubicBezTo>
                  <a:pt x="3101" y="1021"/>
                  <a:pt x="3101" y="1022"/>
                  <a:pt x="3101" y="1021"/>
                </a:cubicBezTo>
                <a:cubicBezTo>
                  <a:pt x="3102" y="1021"/>
                  <a:pt x="3102" y="1020"/>
                  <a:pt x="3102" y="1020"/>
                </a:cubicBezTo>
                <a:cubicBezTo>
                  <a:pt x="3102" y="1019"/>
                  <a:pt x="3103" y="1019"/>
                  <a:pt x="3103" y="1019"/>
                </a:cubicBezTo>
                <a:cubicBezTo>
                  <a:pt x="3104" y="1018"/>
                  <a:pt x="3105" y="1018"/>
                  <a:pt x="3105" y="1017"/>
                </a:cubicBezTo>
                <a:cubicBezTo>
                  <a:pt x="3105" y="1017"/>
                  <a:pt x="3105" y="1017"/>
                  <a:pt x="3105" y="1016"/>
                </a:cubicBezTo>
                <a:cubicBezTo>
                  <a:pt x="3106" y="1016"/>
                  <a:pt x="3107" y="1015"/>
                  <a:pt x="3107" y="1014"/>
                </a:cubicBezTo>
                <a:cubicBezTo>
                  <a:pt x="3107" y="1014"/>
                  <a:pt x="3106" y="1014"/>
                  <a:pt x="3106" y="1013"/>
                </a:cubicBezTo>
                <a:cubicBezTo>
                  <a:pt x="3106" y="1013"/>
                  <a:pt x="3106" y="1013"/>
                  <a:pt x="3106" y="1013"/>
                </a:cubicBezTo>
                <a:cubicBezTo>
                  <a:pt x="3105" y="1013"/>
                  <a:pt x="3105" y="1013"/>
                  <a:pt x="3105" y="1013"/>
                </a:cubicBezTo>
                <a:cubicBezTo>
                  <a:pt x="3104" y="1013"/>
                  <a:pt x="3104" y="1013"/>
                  <a:pt x="3104" y="1013"/>
                </a:cubicBezTo>
                <a:cubicBezTo>
                  <a:pt x="3104" y="1013"/>
                  <a:pt x="3104" y="1012"/>
                  <a:pt x="3104" y="1012"/>
                </a:cubicBezTo>
                <a:cubicBezTo>
                  <a:pt x="3104" y="1013"/>
                  <a:pt x="3104" y="1013"/>
                  <a:pt x="3105" y="1013"/>
                </a:cubicBezTo>
                <a:cubicBezTo>
                  <a:pt x="3105" y="1012"/>
                  <a:pt x="3105" y="1012"/>
                  <a:pt x="3105" y="1012"/>
                </a:cubicBezTo>
                <a:cubicBezTo>
                  <a:pt x="3106" y="1012"/>
                  <a:pt x="3106" y="1011"/>
                  <a:pt x="3107" y="1012"/>
                </a:cubicBezTo>
                <a:cubicBezTo>
                  <a:pt x="3107" y="1012"/>
                  <a:pt x="3107" y="1014"/>
                  <a:pt x="3108" y="1013"/>
                </a:cubicBezTo>
                <a:cubicBezTo>
                  <a:pt x="3108" y="1012"/>
                  <a:pt x="3108" y="1012"/>
                  <a:pt x="3108" y="1012"/>
                </a:cubicBezTo>
                <a:cubicBezTo>
                  <a:pt x="3108" y="1011"/>
                  <a:pt x="3107" y="1011"/>
                  <a:pt x="3107" y="1011"/>
                </a:cubicBezTo>
                <a:cubicBezTo>
                  <a:pt x="3106" y="1011"/>
                  <a:pt x="3106" y="1011"/>
                  <a:pt x="3107" y="1011"/>
                </a:cubicBezTo>
                <a:cubicBezTo>
                  <a:pt x="3107" y="1011"/>
                  <a:pt x="3107" y="1011"/>
                  <a:pt x="3107" y="1011"/>
                </a:cubicBezTo>
                <a:cubicBezTo>
                  <a:pt x="3107" y="1011"/>
                  <a:pt x="3107" y="1011"/>
                  <a:pt x="3108" y="1010"/>
                </a:cubicBezTo>
                <a:cubicBezTo>
                  <a:pt x="3108" y="1010"/>
                  <a:pt x="3108" y="1010"/>
                  <a:pt x="3108" y="1011"/>
                </a:cubicBezTo>
                <a:cubicBezTo>
                  <a:pt x="3109" y="1011"/>
                  <a:pt x="3109" y="1011"/>
                  <a:pt x="3109" y="1011"/>
                </a:cubicBezTo>
                <a:cubicBezTo>
                  <a:pt x="3109" y="1011"/>
                  <a:pt x="3110" y="1011"/>
                  <a:pt x="3110" y="1011"/>
                </a:cubicBezTo>
                <a:cubicBezTo>
                  <a:pt x="3110" y="1011"/>
                  <a:pt x="3110" y="1010"/>
                  <a:pt x="3110" y="1010"/>
                </a:cubicBezTo>
                <a:cubicBezTo>
                  <a:pt x="3111" y="1009"/>
                  <a:pt x="3111" y="1010"/>
                  <a:pt x="3111" y="1010"/>
                </a:cubicBezTo>
                <a:cubicBezTo>
                  <a:pt x="3111" y="1010"/>
                  <a:pt x="3111" y="1011"/>
                  <a:pt x="3112" y="1011"/>
                </a:cubicBezTo>
                <a:cubicBezTo>
                  <a:pt x="3112" y="1011"/>
                  <a:pt x="3112" y="1011"/>
                  <a:pt x="3112" y="1011"/>
                </a:cubicBezTo>
                <a:cubicBezTo>
                  <a:pt x="3112" y="1012"/>
                  <a:pt x="3113" y="1011"/>
                  <a:pt x="3113" y="1010"/>
                </a:cubicBezTo>
                <a:cubicBezTo>
                  <a:pt x="3113" y="1010"/>
                  <a:pt x="3115" y="1009"/>
                  <a:pt x="3114" y="1009"/>
                </a:cubicBezTo>
                <a:cubicBezTo>
                  <a:pt x="3114" y="1009"/>
                  <a:pt x="3114" y="1009"/>
                  <a:pt x="3113" y="1009"/>
                </a:cubicBezTo>
                <a:cubicBezTo>
                  <a:pt x="3113" y="1009"/>
                  <a:pt x="3113" y="1009"/>
                  <a:pt x="3114" y="1008"/>
                </a:cubicBezTo>
                <a:cubicBezTo>
                  <a:pt x="3114" y="1008"/>
                  <a:pt x="3114" y="1008"/>
                  <a:pt x="3115" y="1008"/>
                </a:cubicBezTo>
                <a:cubicBezTo>
                  <a:pt x="3115" y="1008"/>
                  <a:pt x="3115" y="1008"/>
                  <a:pt x="3115" y="1008"/>
                </a:cubicBezTo>
                <a:cubicBezTo>
                  <a:pt x="3115" y="1008"/>
                  <a:pt x="3115" y="1007"/>
                  <a:pt x="3116" y="1007"/>
                </a:cubicBezTo>
                <a:cubicBezTo>
                  <a:pt x="3116" y="1007"/>
                  <a:pt x="3116" y="1008"/>
                  <a:pt x="3116" y="1008"/>
                </a:cubicBezTo>
                <a:cubicBezTo>
                  <a:pt x="3117" y="1007"/>
                  <a:pt x="3117" y="1007"/>
                  <a:pt x="3116" y="1007"/>
                </a:cubicBezTo>
                <a:cubicBezTo>
                  <a:pt x="3116" y="1006"/>
                  <a:pt x="3116" y="1006"/>
                  <a:pt x="3116" y="1006"/>
                </a:cubicBezTo>
                <a:cubicBezTo>
                  <a:pt x="3116" y="1005"/>
                  <a:pt x="3116" y="1005"/>
                  <a:pt x="3116" y="1005"/>
                </a:cubicBezTo>
                <a:cubicBezTo>
                  <a:pt x="3116" y="1004"/>
                  <a:pt x="3116" y="1004"/>
                  <a:pt x="3117" y="1003"/>
                </a:cubicBezTo>
                <a:cubicBezTo>
                  <a:pt x="3117" y="1003"/>
                  <a:pt x="3118" y="1004"/>
                  <a:pt x="3118" y="1004"/>
                </a:cubicBezTo>
                <a:cubicBezTo>
                  <a:pt x="3119" y="1004"/>
                  <a:pt x="3119" y="1004"/>
                  <a:pt x="3120" y="1003"/>
                </a:cubicBezTo>
                <a:cubicBezTo>
                  <a:pt x="3120" y="1003"/>
                  <a:pt x="3121" y="1003"/>
                  <a:pt x="3121" y="1003"/>
                </a:cubicBezTo>
                <a:cubicBezTo>
                  <a:pt x="3121" y="1002"/>
                  <a:pt x="3121" y="1002"/>
                  <a:pt x="3120" y="1002"/>
                </a:cubicBezTo>
                <a:cubicBezTo>
                  <a:pt x="3120" y="1002"/>
                  <a:pt x="3120" y="1002"/>
                  <a:pt x="3119" y="1002"/>
                </a:cubicBezTo>
                <a:cubicBezTo>
                  <a:pt x="3119" y="1002"/>
                  <a:pt x="3119" y="1002"/>
                  <a:pt x="3119" y="1001"/>
                </a:cubicBezTo>
                <a:cubicBezTo>
                  <a:pt x="3120" y="1001"/>
                  <a:pt x="3120" y="1001"/>
                  <a:pt x="3120" y="1000"/>
                </a:cubicBezTo>
                <a:cubicBezTo>
                  <a:pt x="3120" y="1000"/>
                  <a:pt x="3120" y="999"/>
                  <a:pt x="3120" y="999"/>
                </a:cubicBezTo>
                <a:cubicBezTo>
                  <a:pt x="3121" y="998"/>
                  <a:pt x="3121" y="999"/>
                  <a:pt x="3122" y="1000"/>
                </a:cubicBezTo>
                <a:cubicBezTo>
                  <a:pt x="3122" y="1000"/>
                  <a:pt x="3122" y="1000"/>
                  <a:pt x="3123" y="1000"/>
                </a:cubicBezTo>
                <a:cubicBezTo>
                  <a:pt x="3123" y="1001"/>
                  <a:pt x="3123" y="1001"/>
                  <a:pt x="3123" y="1001"/>
                </a:cubicBezTo>
                <a:cubicBezTo>
                  <a:pt x="3124" y="1002"/>
                  <a:pt x="3124" y="1001"/>
                  <a:pt x="3125" y="1001"/>
                </a:cubicBezTo>
                <a:cubicBezTo>
                  <a:pt x="3125" y="1000"/>
                  <a:pt x="3127" y="1000"/>
                  <a:pt x="3127" y="999"/>
                </a:cubicBezTo>
                <a:cubicBezTo>
                  <a:pt x="3127" y="999"/>
                  <a:pt x="3126" y="999"/>
                  <a:pt x="3126" y="998"/>
                </a:cubicBezTo>
                <a:cubicBezTo>
                  <a:pt x="3126" y="998"/>
                  <a:pt x="3126" y="998"/>
                  <a:pt x="3125" y="998"/>
                </a:cubicBezTo>
                <a:cubicBezTo>
                  <a:pt x="3125" y="998"/>
                  <a:pt x="3125" y="998"/>
                  <a:pt x="3125" y="999"/>
                </a:cubicBezTo>
                <a:cubicBezTo>
                  <a:pt x="3125" y="999"/>
                  <a:pt x="3125" y="999"/>
                  <a:pt x="3125" y="1000"/>
                </a:cubicBezTo>
                <a:cubicBezTo>
                  <a:pt x="3125" y="1000"/>
                  <a:pt x="3124" y="1001"/>
                  <a:pt x="3124" y="1001"/>
                </a:cubicBezTo>
                <a:cubicBezTo>
                  <a:pt x="3123" y="1000"/>
                  <a:pt x="3124" y="1000"/>
                  <a:pt x="3124" y="999"/>
                </a:cubicBezTo>
                <a:cubicBezTo>
                  <a:pt x="3124" y="999"/>
                  <a:pt x="3123" y="999"/>
                  <a:pt x="3123" y="999"/>
                </a:cubicBezTo>
                <a:cubicBezTo>
                  <a:pt x="3122" y="998"/>
                  <a:pt x="3124" y="997"/>
                  <a:pt x="3124" y="997"/>
                </a:cubicBezTo>
                <a:cubicBezTo>
                  <a:pt x="3124" y="996"/>
                  <a:pt x="3124" y="996"/>
                  <a:pt x="3124" y="995"/>
                </a:cubicBezTo>
                <a:cubicBezTo>
                  <a:pt x="3124" y="995"/>
                  <a:pt x="3124" y="995"/>
                  <a:pt x="3124" y="995"/>
                </a:cubicBezTo>
                <a:cubicBezTo>
                  <a:pt x="3125" y="995"/>
                  <a:pt x="3125" y="994"/>
                  <a:pt x="3125" y="994"/>
                </a:cubicBezTo>
                <a:cubicBezTo>
                  <a:pt x="3125" y="993"/>
                  <a:pt x="3124" y="994"/>
                  <a:pt x="3124" y="994"/>
                </a:cubicBezTo>
                <a:cubicBezTo>
                  <a:pt x="3123" y="994"/>
                  <a:pt x="3123" y="994"/>
                  <a:pt x="3122" y="994"/>
                </a:cubicBezTo>
                <a:cubicBezTo>
                  <a:pt x="3122" y="994"/>
                  <a:pt x="3121" y="995"/>
                  <a:pt x="3121" y="994"/>
                </a:cubicBezTo>
                <a:cubicBezTo>
                  <a:pt x="3121" y="994"/>
                  <a:pt x="3122" y="994"/>
                  <a:pt x="3123" y="993"/>
                </a:cubicBezTo>
                <a:cubicBezTo>
                  <a:pt x="3123" y="993"/>
                  <a:pt x="3123" y="993"/>
                  <a:pt x="3123" y="992"/>
                </a:cubicBezTo>
                <a:cubicBezTo>
                  <a:pt x="3123" y="992"/>
                  <a:pt x="3124" y="992"/>
                  <a:pt x="3124" y="992"/>
                </a:cubicBezTo>
                <a:cubicBezTo>
                  <a:pt x="3124" y="991"/>
                  <a:pt x="3124" y="991"/>
                  <a:pt x="3125" y="991"/>
                </a:cubicBezTo>
                <a:cubicBezTo>
                  <a:pt x="3125" y="990"/>
                  <a:pt x="3125" y="990"/>
                  <a:pt x="3126" y="990"/>
                </a:cubicBezTo>
                <a:cubicBezTo>
                  <a:pt x="3126" y="990"/>
                  <a:pt x="3126" y="990"/>
                  <a:pt x="3126" y="989"/>
                </a:cubicBezTo>
                <a:cubicBezTo>
                  <a:pt x="3127" y="989"/>
                  <a:pt x="3127" y="990"/>
                  <a:pt x="3127" y="989"/>
                </a:cubicBezTo>
                <a:cubicBezTo>
                  <a:pt x="3127" y="989"/>
                  <a:pt x="3127" y="989"/>
                  <a:pt x="3127" y="989"/>
                </a:cubicBezTo>
                <a:cubicBezTo>
                  <a:pt x="3126" y="989"/>
                  <a:pt x="3126" y="988"/>
                  <a:pt x="3126" y="988"/>
                </a:cubicBezTo>
                <a:cubicBezTo>
                  <a:pt x="3125" y="988"/>
                  <a:pt x="3125" y="989"/>
                  <a:pt x="3125" y="989"/>
                </a:cubicBezTo>
                <a:cubicBezTo>
                  <a:pt x="3125" y="990"/>
                  <a:pt x="3125" y="990"/>
                  <a:pt x="3124" y="989"/>
                </a:cubicBezTo>
                <a:cubicBezTo>
                  <a:pt x="3124" y="989"/>
                  <a:pt x="3124" y="989"/>
                  <a:pt x="3124" y="989"/>
                </a:cubicBezTo>
                <a:cubicBezTo>
                  <a:pt x="3124" y="989"/>
                  <a:pt x="3124" y="989"/>
                  <a:pt x="3124" y="988"/>
                </a:cubicBezTo>
                <a:cubicBezTo>
                  <a:pt x="3124" y="988"/>
                  <a:pt x="3124" y="988"/>
                  <a:pt x="3124" y="988"/>
                </a:cubicBezTo>
                <a:cubicBezTo>
                  <a:pt x="3124" y="988"/>
                  <a:pt x="3125" y="988"/>
                  <a:pt x="3125" y="987"/>
                </a:cubicBezTo>
                <a:cubicBezTo>
                  <a:pt x="3126" y="987"/>
                  <a:pt x="3125" y="987"/>
                  <a:pt x="3124" y="987"/>
                </a:cubicBezTo>
                <a:cubicBezTo>
                  <a:pt x="3124" y="987"/>
                  <a:pt x="3124" y="986"/>
                  <a:pt x="3124" y="986"/>
                </a:cubicBezTo>
                <a:cubicBezTo>
                  <a:pt x="3123" y="986"/>
                  <a:pt x="3123" y="986"/>
                  <a:pt x="3123" y="985"/>
                </a:cubicBezTo>
                <a:cubicBezTo>
                  <a:pt x="3123" y="984"/>
                  <a:pt x="3124" y="985"/>
                  <a:pt x="3125" y="984"/>
                </a:cubicBezTo>
                <a:cubicBezTo>
                  <a:pt x="3125" y="984"/>
                  <a:pt x="3125" y="984"/>
                  <a:pt x="3126" y="984"/>
                </a:cubicBezTo>
                <a:cubicBezTo>
                  <a:pt x="3126" y="984"/>
                  <a:pt x="3126" y="984"/>
                  <a:pt x="3127" y="985"/>
                </a:cubicBezTo>
                <a:cubicBezTo>
                  <a:pt x="3127" y="985"/>
                  <a:pt x="3128" y="984"/>
                  <a:pt x="3129" y="984"/>
                </a:cubicBezTo>
                <a:cubicBezTo>
                  <a:pt x="3129" y="984"/>
                  <a:pt x="3129" y="986"/>
                  <a:pt x="3130" y="985"/>
                </a:cubicBezTo>
                <a:cubicBezTo>
                  <a:pt x="3130" y="985"/>
                  <a:pt x="3130" y="985"/>
                  <a:pt x="3129" y="985"/>
                </a:cubicBezTo>
                <a:cubicBezTo>
                  <a:pt x="3129" y="984"/>
                  <a:pt x="3129" y="984"/>
                  <a:pt x="3130" y="983"/>
                </a:cubicBezTo>
                <a:cubicBezTo>
                  <a:pt x="3130" y="983"/>
                  <a:pt x="3130" y="983"/>
                  <a:pt x="3130" y="983"/>
                </a:cubicBezTo>
                <a:cubicBezTo>
                  <a:pt x="3131" y="983"/>
                  <a:pt x="3131" y="982"/>
                  <a:pt x="3131" y="982"/>
                </a:cubicBezTo>
                <a:cubicBezTo>
                  <a:pt x="3131" y="981"/>
                  <a:pt x="3131" y="981"/>
                  <a:pt x="3132" y="981"/>
                </a:cubicBezTo>
                <a:cubicBezTo>
                  <a:pt x="3132" y="980"/>
                  <a:pt x="3132" y="980"/>
                  <a:pt x="3133" y="980"/>
                </a:cubicBezTo>
                <a:cubicBezTo>
                  <a:pt x="3133" y="979"/>
                  <a:pt x="3133" y="979"/>
                  <a:pt x="3134" y="979"/>
                </a:cubicBezTo>
                <a:cubicBezTo>
                  <a:pt x="3134" y="978"/>
                  <a:pt x="3134" y="978"/>
                  <a:pt x="3135" y="978"/>
                </a:cubicBezTo>
                <a:cubicBezTo>
                  <a:pt x="3135" y="977"/>
                  <a:pt x="3135" y="977"/>
                  <a:pt x="3135" y="977"/>
                </a:cubicBezTo>
                <a:cubicBezTo>
                  <a:pt x="3136" y="976"/>
                  <a:pt x="3136" y="975"/>
                  <a:pt x="3136" y="974"/>
                </a:cubicBezTo>
                <a:cubicBezTo>
                  <a:pt x="3136" y="974"/>
                  <a:pt x="3136" y="973"/>
                  <a:pt x="3137" y="972"/>
                </a:cubicBezTo>
                <a:cubicBezTo>
                  <a:pt x="3137" y="972"/>
                  <a:pt x="3138" y="971"/>
                  <a:pt x="3138" y="971"/>
                </a:cubicBezTo>
                <a:cubicBezTo>
                  <a:pt x="3138" y="970"/>
                  <a:pt x="3138" y="969"/>
                  <a:pt x="3138" y="969"/>
                </a:cubicBezTo>
                <a:cubicBezTo>
                  <a:pt x="3138" y="969"/>
                  <a:pt x="3139" y="969"/>
                  <a:pt x="3139" y="968"/>
                </a:cubicBezTo>
                <a:cubicBezTo>
                  <a:pt x="3140" y="968"/>
                  <a:pt x="3140" y="967"/>
                  <a:pt x="3141" y="967"/>
                </a:cubicBezTo>
                <a:cubicBezTo>
                  <a:pt x="3141" y="966"/>
                  <a:pt x="3141" y="964"/>
                  <a:pt x="3142" y="965"/>
                </a:cubicBezTo>
                <a:cubicBezTo>
                  <a:pt x="3142" y="965"/>
                  <a:pt x="3142" y="965"/>
                  <a:pt x="3142" y="966"/>
                </a:cubicBezTo>
                <a:cubicBezTo>
                  <a:pt x="3143" y="966"/>
                  <a:pt x="3143" y="966"/>
                  <a:pt x="3143" y="966"/>
                </a:cubicBezTo>
                <a:cubicBezTo>
                  <a:pt x="3143" y="967"/>
                  <a:pt x="3143" y="968"/>
                  <a:pt x="3144" y="968"/>
                </a:cubicBezTo>
                <a:cubicBezTo>
                  <a:pt x="3145" y="967"/>
                  <a:pt x="3144" y="966"/>
                  <a:pt x="3145" y="966"/>
                </a:cubicBezTo>
                <a:cubicBezTo>
                  <a:pt x="3146" y="966"/>
                  <a:pt x="3146" y="966"/>
                  <a:pt x="3147" y="965"/>
                </a:cubicBezTo>
                <a:cubicBezTo>
                  <a:pt x="3147" y="965"/>
                  <a:pt x="3147" y="965"/>
                  <a:pt x="3146" y="964"/>
                </a:cubicBezTo>
                <a:cubicBezTo>
                  <a:pt x="3146" y="964"/>
                  <a:pt x="3146" y="964"/>
                  <a:pt x="3146" y="963"/>
                </a:cubicBezTo>
                <a:cubicBezTo>
                  <a:pt x="3146" y="963"/>
                  <a:pt x="3146" y="962"/>
                  <a:pt x="3146" y="962"/>
                </a:cubicBezTo>
                <a:cubicBezTo>
                  <a:pt x="3146" y="961"/>
                  <a:pt x="3146" y="962"/>
                  <a:pt x="3145" y="961"/>
                </a:cubicBezTo>
                <a:cubicBezTo>
                  <a:pt x="3144" y="960"/>
                  <a:pt x="3146" y="960"/>
                  <a:pt x="3147" y="960"/>
                </a:cubicBezTo>
                <a:cubicBezTo>
                  <a:pt x="3147" y="959"/>
                  <a:pt x="3147" y="959"/>
                  <a:pt x="3147" y="959"/>
                </a:cubicBezTo>
                <a:cubicBezTo>
                  <a:pt x="3147" y="958"/>
                  <a:pt x="3146" y="958"/>
                  <a:pt x="3146" y="958"/>
                </a:cubicBezTo>
                <a:cubicBezTo>
                  <a:pt x="3146" y="957"/>
                  <a:pt x="3147" y="958"/>
                  <a:pt x="3147" y="958"/>
                </a:cubicBezTo>
                <a:cubicBezTo>
                  <a:pt x="3148" y="957"/>
                  <a:pt x="3147" y="957"/>
                  <a:pt x="3147" y="957"/>
                </a:cubicBezTo>
                <a:cubicBezTo>
                  <a:pt x="3147" y="956"/>
                  <a:pt x="3147" y="956"/>
                  <a:pt x="3146" y="955"/>
                </a:cubicBezTo>
                <a:cubicBezTo>
                  <a:pt x="3146" y="955"/>
                  <a:pt x="3145" y="955"/>
                  <a:pt x="3145" y="955"/>
                </a:cubicBezTo>
                <a:cubicBezTo>
                  <a:pt x="3145" y="954"/>
                  <a:pt x="3145" y="954"/>
                  <a:pt x="3145" y="954"/>
                </a:cubicBezTo>
                <a:cubicBezTo>
                  <a:pt x="3145" y="954"/>
                  <a:pt x="3146" y="954"/>
                  <a:pt x="3146" y="954"/>
                </a:cubicBezTo>
                <a:cubicBezTo>
                  <a:pt x="3146" y="954"/>
                  <a:pt x="3146" y="953"/>
                  <a:pt x="3146" y="953"/>
                </a:cubicBezTo>
                <a:cubicBezTo>
                  <a:pt x="3147" y="953"/>
                  <a:pt x="3147" y="953"/>
                  <a:pt x="3147" y="954"/>
                </a:cubicBezTo>
                <a:cubicBezTo>
                  <a:pt x="3148" y="954"/>
                  <a:pt x="3148" y="954"/>
                  <a:pt x="3149" y="953"/>
                </a:cubicBezTo>
                <a:cubicBezTo>
                  <a:pt x="3149" y="953"/>
                  <a:pt x="3149" y="953"/>
                  <a:pt x="3149" y="953"/>
                </a:cubicBezTo>
                <a:cubicBezTo>
                  <a:pt x="3150" y="953"/>
                  <a:pt x="3150" y="953"/>
                  <a:pt x="3150" y="953"/>
                </a:cubicBezTo>
                <a:cubicBezTo>
                  <a:pt x="3150" y="952"/>
                  <a:pt x="3151" y="952"/>
                  <a:pt x="3151" y="952"/>
                </a:cubicBezTo>
                <a:cubicBezTo>
                  <a:pt x="3151" y="951"/>
                  <a:pt x="3151" y="950"/>
                  <a:pt x="3151" y="949"/>
                </a:cubicBezTo>
                <a:cubicBezTo>
                  <a:pt x="3151" y="948"/>
                  <a:pt x="3149" y="949"/>
                  <a:pt x="3149" y="949"/>
                </a:cubicBezTo>
                <a:cubicBezTo>
                  <a:pt x="3148" y="949"/>
                  <a:pt x="3148" y="949"/>
                  <a:pt x="3148" y="950"/>
                </a:cubicBezTo>
                <a:cubicBezTo>
                  <a:pt x="3148" y="950"/>
                  <a:pt x="3149" y="951"/>
                  <a:pt x="3148" y="951"/>
                </a:cubicBezTo>
                <a:cubicBezTo>
                  <a:pt x="3148" y="951"/>
                  <a:pt x="3148" y="950"/>
                  <a:pt x="3147" y="950"/>
                </a:cubicBezTo>
                <a:cubicBezTo>
                  <a:pt x="3147" y="950"/>
                  <a:pt x="3147" y="951"/>
                  <a:pt x="3146" y="951"/>
                </a:cubicBezTo>
                <a:cubicBezTo>
                  <a:pt x="3146" y="951"/>
                  <a:pt x="3146" y="950"/>
                  <a:pt x="3146" y="950"/>
                </a:cubicBezTo>
                <a:cubicBezTo>
                  <a:pt x="3147" y="950"/>
                  <a:pt x="3147" y="950"/>
                  <a:pt x="3147" y="950"/>
                </a:cubicBezTo>
                <a:cubicBezTo>
                  <a:pt x="3148" y="949"/>
                  <a:pt x="3148" y="949"/>
                  <a:pt x="3149" y="949"/>
                </a:cubicBezTo>
                <a:cubicBezTo>
                  <a:pt x="3150" y="948"/>
                  <a:pt x="3150" y="948"/>
                  <a:pt x="3151" y="947"/>
                </a:cubicBezTo>
                <a:cubicBezTo>
                  <a:pt x="3151" y="947"/>
                  <a:pt x="3152" y="947"/>
                  <a:pt x="3152" y="946"/>
                </a:cubicBezTo>
                <a:cubicBezTo>
                  <a:pt x="3153" y="945"/>
                  <a:pt x="3152" y="946"/>
                  <a:pt x="3151" y="946"/>
                </a:cubicBezTo>
                <a:cubicBezTo>
                  <a:pt x="3151" y="946"/>
                  <a:pt x="3150" y="946"/>
                  <a:pt x="3150" y="946"/>
                </a:cubicBezTo>
                <a:cubicBezTo>
                  <a:pt x="3150" y="946"/>
                  <a:pt x="3149" y="945"/>
                  <a:pt x="3149" y="945"/>
                </a:cubicBezTo>
                <a:cubicBezTo>
                  <a:pt x="3149" y="945"/>
                  <a:pt x="3149" y="945"/>
                  <a:pt x="3148" y="944"/>
                </a:cubicBezTo>
                <a:cubicBezTo>
                  <a:pt x="3147" y="944"/>
                  <a:pt x="3147" y="944"/>
                  <a:pt x="3146" y="944"/>
                </a:cubicBezTo>
                <a:cubicBezTo>
                  <a:pt x="3146" y="943"/>
                  <a:pt x="3146" y="943"/>
                  <a:pt x="3145" y="942"/>
                </a:cubicBezTo>
                <a:cubicBezTo>
                  <a:pt x="3145" y="942"/>
                  <a:pt x="3144" y="942"/>
                  <a:pt x="3144" y="941"/>
                </a:cubicBezTo>
                <a:cubicBezTo>
                  <a:pt x="3143" y="941"/>
                  <a:pt x="3143" y="940"/>
                  <a:pt x="3142" y="940"/>
                </a:cubicBezTo>
                <a:cubicBezTo>
                  <a:pt x="3142" y="940"/>
                  <a:pt x="3141" y="940"/>
                  <a:pt x="3141" y="941"/>
                </a:cubicBezTo>
                <a:cubicBezTo>
                  <a:pt x="3140" y="941"/>
                  <a:pt x="3140" y="941"/>
                  <a:pt x="3140" y="942"/>
                </a:cubicBezTo>
                <a:cubicBezTo>
                  <a:pt x="3140" y="942"/>
                  <a:pt x="3139" y="942"/>
                  <a:pt x="3139" y="942"/>
                </a:cubicBezTo>
                <a:cubicBezTo>
                  <a:pt x="3139" y="942"/>
                  <a:pt x="3138" y="942"/>
                  <a:pt x="3138" y="942"/>
                </a:cubicBezTo>
                <a:cubicBezTo>
                  <a:pt x="3137" y="942"/>
                  <a:pt x="3137" y="943"/>
                  <a:pt x="3136" y="943"/>
                </a:cubicBezTo>
                <a:cubicBezTo>
                  <a:pt x="3135" y="943"/>
                  <a:pt x="3135" y="941"/>
                  <a:pt x="3135" y="941"/>
                </a:cubicBezTo>
                <a:cubicBezTo>
                  <a:pt x="3134" y="941"/>
                  <a:pt x="3134" y="940"/>
                  <a:pt x="3134" y="940"/>
                </a:cubicBezTo>
                <a:cubicBezTo>
                  <a:pt x="3133" y="940"/>
                  <a:pt x="3133" y="941"/>
                  <a:pt x="3132" y="941"/>
                </a:cubicBezTo>
                <a:cubicBezTo>
                  <a:pt x="3132" y="941"/>
                  <a:pt x="3133" y="940"/>
                  <a:pt x="3134" y="940"/>
                </a:cubicBezTo>
                <a:cubicBezTo>
                  <a:pt x="3134" y="940"/>
                  <a:pt x="3134" y="940"/>
                  <a:pt x="3135" y="940"/>
                </a:cubicBezTo>
                <a:cubicBezTo>
                  <a:pt x="3135" y="940"/>
                  <a:pt x="3135" y="940"/>
                  <a:pt x="3135" y="940"/>
                </a:cubicBezTo>
                <a:cubicBezTo>
                  <a:pt x="3136" y="940"/>
                  <a:pt x="3137" y="941"/>
                  <a:pt x="3138" y="940"/>
                </a:cubicBezTo>
                <a:cubicBezTo>
                  <a:pt x="3139" y="940"/>
                  <a:pt x="3139" y="939"/>
                  <a:pt x="3140" y="938"/>
                </a:cubicBezTo>
                <a:cubicBezTo>
                  <a:pt x="3140" y="938"/>
                  <a:pt x="3141" y="938"/>
                  <a:pt x="3141" y="938"/>
                </a:cubicBezTo>
                <a:cubicBezTo>
                  <a:pt x="3141" y="937"/>
                  <a:pt x="3142" y="937"/>
                  <a:pt x="3142" y="937"/>
                </a:cubicBezTo>
                <a:cubicBezTo>
                  <a:pt x="3142" y="936"/>
                  <a:pt x="3143" y="935"/>
                  <a:pt x="3144" y="935"/>
                </a:cubicBezTo>
                <a:cubicBezTo>
                  <a:pt x="3145" y="935"/>
                  <a:pt x="3146" y="934"/>
                  <a:pt x="3146" y="934"/>
                </a:cubicBezTo>
                <a:cubicBezTo>
                  <a:pt x="3148" y="934"/>
                  <a:pt x="3150" y="934"/>
                  <a:pt x="3150" y="932"/>
                </a:cubicBezTo>
                <a:cubicBezTo>
                  <a:pt x="3150" y="930"/>
                  <a:pt x="3149" y="930"/>
                  <a:pt x="3148" y="928"/>
                </a:cubicBezTo>
                <a:cubicBezTo>
                  <a:pt x="3147" y="928"/>
                  <a:pt x="3147" y="928"/>
                  <a:pt x="3147" y="927"/>
                </a:cubicBezTo>
                <a:cubicBezTo>
                  <a:pt x="3146" y="927"/>
                  <a:pt x="3145" y="926"/>
                  <a:pt x="3144" y="926"/>
                </a:cubicBezTo>
                <a:cubicBezTo>
                  <a:pt x="3144" y="925"/>
                  <a:pt x="3143" y="925"/>
                  <a:pt x="3142" y="924"/>
                </a:cubicBezTo>
                <a:cubicBezTo>
                  <a:pt x="3142" y="923"/>
                  <a:pt x="3141" y="923"/>
                  <a:pt x="3141" y="923"/>
                </a:cubicBezTo>
                <a:cubicBezTo>
                  <a:pt x="3140" y="922"/>
                  <a:pt x="3139" y="923"/>
                  <a:pt x="3138" y="922"/>
                </a:cubicBezTo>
                <a:cubicBezTo>
                  <a:pt x="3138" y="922"/>
                  <a:pt x="3137" y="921"/>
                  <a:pt x="3137" y="921"/>
                </a:cubicBezTo>
                <a:cubicBezTo>
                  <a:pt x="3136" y="920"/>
                  <a:pt x="3136" y="919"/>
                  <a:pt x="3135" y="919"/>
                </a:cubicBezTo>
                <a:cubicBezTo>
                  <a:pt x="3134" y="919"/>
                  <a:pt x="3134" y="919"/>
                  <a:pt x="3133" y="919"/>
                </a:cubicBezTo>
                <a:cubicBezTo>
                  <a:pt x="3132" y="920"/>
                  <a:pt x="3132" y="920"/>
                  <a:pt x="3131" y="920"/>
                </a:cubicBezTo>
                <a:cubicBezTo>
                  <a:pt x="3130" y="920"/>
                  <a:pt x="3130" y="920"/>
                  <a:pt x="3129" y="920"/>
                </a:cubicBezTo>
                <a:cubicBezTo>
                  <a:pt x="3128" y="920"/>
                  <a:pt x="3127" y="919"/>
                  <a:pt x="3127" y="918"/>
                </a:cubicBezTo>
                <a:cubicBezTo>
                  <a:pt x="3126" y="917"/>
                  <a:pt x="3125" y="917"/>
                  <a:pt x="3125" y="917"/>
                </a:cubicBezTo>
                <a:cubicBezTo>
                  <a:pt x="3124" y="917"/>
                  <a:pt x="3124" y="917"/>
                  <a:pt x="3124" y="916"/>
                </a:cubicBezTo>
                <a:cubicBezTo>
                  <a:pt x="3125" y="916"/>
                  <a:pt x="3125" y="915"/>
                  <a:pt x="3125" y="915"/>
                </a:cubicBezTo>
                <a:cubicBezTo>
                  <a:pt x="3125" y="915"/>
                  <a:pt x="3125" y="915"/>
                  <a:pt x="3125" y="915"/>
                </a:cubicBezTo>
                <a:cubicBezTo>
                  <a:pt x="3125" y="915"/>
                  <a:pt x="3125" y="916"/>
                  <a:pt x="3125" y="916"/>
                </a:cubicBezTo>
                <a:cubicBezTo>
                  <a:pt x="3126" y="916"/>
                  <a:pt x="3126" y="916"/>
                  <a:pt x="3126" y="916"/>
                </a:cubicBezTo>
                <a:cubicBezTo>
                  <a:pt x="3127" y="916"/>
                  <a:pt x="3127" y="917"/>
                  <a:pt x="3127" y="918"/>
                </a:cubicBezTo>
                <a:cubicBezTo>
                  <a:pt x="3127" y="919"/>
                  <a:pt x="3128" y="919"/>
                  <a:pt x="3129" y="919"/>
                </a:cubicBezTo>
                <a:cubicBezTo>
                  <a:pt x="3129" y="919"/>
                  <a:pt x="3129" y="919"/>
                  <a:pt x="3130" y="919"/>
                </a:cubicBezTo>
                <a:cubicBezTo>
                  <a:pt x="3130" y="920"/>
                  <a:pt x="3131" y="920"/>
                  <a:pt x="3131" y="920"/>
                </a:cubicBezTo>
                <a:cubicBezTo>
                  <a:pt x="3133" y="920"/>
                  <a:pt x="3133" y="917"/>
                  <a:pt x="3135" y="918"/>
                </a:cubicBezTo>
                <a:cubicBezTo>
                  <a:pt x="3135" y="918"/>
                  <a:pt x="3135" y="919"/>
                  <a:pt x="3136" y="919"/>
                </a:cubicBezTo>
                <a:cubicBezTo>
                  <a:pt x="3136" y="919"/>
                  <a:pt x="3136" y="919"/>
                  <a:pt x="3137" y="919"/>
                </a:cubicBezTo>
                <a:cubicBezTo>
                  <a:pt x="3137" y="919"/>
                  <a:pt x="3138" y="920"/>
                  <a:pt x="3138" y="920"/>
                </a:cubicBezTo>
                <a:cubicBezTo>
                  <a:pt x="3139" y="921"/>
                  <a:pt x="3139" y="921"/>
                  <a:pt x="3140" y="922"/>
                </a:cubicBezTo>
                <a:cubicBezTo>
                  <a:pt x="3141" y="922"/>
                  <a:pt x="3141" y="921"/>
                  <a:pt x="3142" y="921"/>
                </a:cubicBezTo>
                <a:cubicBezTo>
                  <a:pt x="3143" y="921"/>
                  <a:pt x="3143" y="922"/>
                  <a:pt x="3143" y="922"/>
                </a:cubicBezTo>
                <a:cubicBezTo>
                  <a:pt x="3144" y="921"/>
                  <a:pt x="3144" y="921"/>
                  <a:pt x="3145" y="921"/>
                </a:cubicBezTo>
                <a:cubicBezTo>
                  <a:pt x="3145" y="922"/>
                  <a:pt x="3145" y="922"/>
                  <a:pt x="3146" y="922"/>
                </a:cubicBezTo>
                <a:cubicBezTo>
                  <a:pt x="3146" y="922"/>
                  <a:pt x="3147" y="922"/>
                  <a:pt x="3147" y="922"/>
                </a:cubicBezTo>
                <a:cubicBezTo>
                  <a:pt x="3148" y="922"/>
                  <a:pt x="3149" y="923"/>
                  <a:pt x="3150" y="923"/>
                </a:cubicBezTo>
                <a:cubicBezTo>
                  <a:pt x="3150" y="923"/>
                  <a:pt x="3150" y="922"/>
                  <a:pt x="3150" y="922"/>
                </a:cubicBezTo>
                <a:cubicBezTo>
                  <a:pt x="3149" y="922"/>
                  <a:pt x="3150" y="921"/>
                  <a:pt x="3149" y="921"/>
                </a:cubicBezTo>
                <a:cubicBezTo>
                  <a:pt x="3149" y="921"/>
                  <a:pt x="3149" y="920"/>
                  <a:pt x="3149" y="920"/>
                </a:cubicBezTo>
                <a:cubicBezTo>
                  <a:pt x="3149" y="920"/>
                  <a:pt x="3149" y="919"/>
                  <a:pt x="3149" y="919"/>
                </a:cubicBezTo>
                <a:cubicBezTo>
                  <a:pt x="3148" y="919"/>
                  <a:pt x="3148" y="919"/>
                  <a:pt x="3147" y="919"/>
                </a:cubicBezTo>
                <a:cubicBezTo>
                  <a:pt x="3147" y="918"/>
                  <a:pt x="3146" y="918"/>
                  <a:pt x="3146" y="918"/>
                </a:cubicBezTo>
                <a:cubicBezTo>
                  <a:pt x="3145" y="918"/>
                  <a:pt x="3144" y="917"/>
                  <a:pt x="3144" y="917"/>
                </a:cubicBezTo>
                <a:cubicBezTo>
                  <a:pt x="3143" y="916"/>
                  <a:pt x="3144" y="915"/>
                  <a:pt x="3143" y="914"/>
                </a:cubicBezTo>
                <a:cubicBezTo>
                  <a:pt x="3143" y="914"/>
                  <a:pt x="3143" y="913"/>
                  <a:pt x="3142" y="913"/>
                </a:cubicBezTo>
                <a:cubicBezTo>
                  <a:pt x="3141" y="913"/>
                  <a:pt x="3139" y="912"/>
                  <a:pt x="3139" y="911"/>
                </a:cubicBezTo>
                <a:cubicBezTo>
                  <a:pt x="3138" y="910"/>
                  <a:pt x="3139" y="909"/>
                  <a:pt x="3139" y="909"/>
                </a:cubicBezTo>
                <a:cubicBezTo>
                  <a:pt x="3139" y="907"/>
                  <a:pt x="3139" y="906"/>
                  <a:pt x="3138" y="905"/>
                </a:cubicBezTo>
                <a:cubicBezTo>
                  <a:pt x="3138" y="905"/>
                  <a:pt x="3137" y="905"/>
                  <a:pt x="3137" y="904"/>
                </a:cubicBezTo>
                <a:cubicBezTo>
                  <a:pt x="3137" y="904"/>
                  <a:pt x="3137" y="903"/>
                  <a:pt x="3136" y="902"/>
                </a:cubicBezTo>
                <a:cubicBezTo>
                  <a:pt x="3136" y="901"/>
                  <a:pt x="3136" y="900"/>
                  <a:pt x="3135" y="899"/>
                </a:cubicBezTo>
                <a:cubicBezTo>
                  <a:pt x="3135" y="897"/>
                  <a:pt x="3134" y="896"/>
                  <a:pt x="3133" y="894"/>
                </a:cubicBezTo>
                <a:cubicBezTo>
                  <a:pt x="3133" y="892"/>
                  <a:pt x="3132" y="890"/>
                  <a:pt x="3131" y="889"/>
                </a:cubicBezTo>
                <a:cubicBezTo>
                  <a:pt x="3130" y="889"/>
                  <a:pt x="3129" y="889"/>
                  <a:pt x="3128" y="888"/>
                </a:cubicBezTo>
                <a:cubicBezTo>
                  <a:pt x="3128" y="888"/>
                  <a:pt x="3127" y="888"/>
                  <a:pt x="3126" y="888"/>
                </a:cubicBezTo>
                <a:cubicBezTo>
                  <a:pt x="3126" y="887"/>
                  <a:pt x="3125" y="886"/>
                  <a:pt x="3125" y="886"/>
                </a:cubicBezTo>
                <a:cubicBezTo>
                  <a:pt x="3124" y="885"/>
                  <a:pt x="3124" y="885"/>
                  <a:pt x="3123" y="884"/>
                </a:cubicBezTo>
                <a:cubicBezTo>
                  <a:pt x="3122" y="884"/>
                  <a:pt x="3122" y="884"/>
                  <a:pt x="3121" y="884"/>
                </a:cubicBezTo>
                <a:cubicBezTo>
                  <a:pt x="3121" y="884"/>
                  <a:pt x="3120" y="884"/>
                  <a:pt x="3120" y="884"/>
                </a:cubicBezTo>
                <a:cubicBezTo>
                  <a:pt x="3120" y="884"/>
                  <a:pt x="3119" y="884"/>
                  <a:pt x="3119" y="884"/>
                </a:cubicBezTo>
                <a:cubicBezTo>
                  <a:pt x="3118" y="884"/>
                  <a:pt x="3119" y="883"/>
                  <a:pt x="3119" y="882"/>
                </a:cubicBezTo>
                <a:cubicBezTo>
                  <a:pt x="3119" y="882"/>
                  <a:pt x="3119" y="881"/>
                  <a:pt x="3119" y="881"/>
                </a:cubicBezTo>
                <a:cubicBezTo>
                  <a:pt x="3120" y="881"/>
                  <a:pt x="3120" y="880"/>
                  <a:pt x="3120" y="880"/>
                </a:cubicBezTo>
                <a:cubicBezTo>
                  <a:pt x="3121" y="880"/>
                  <a:pt x="3121" y="879"/>
                  <a:pt x="3121" y="879"/>
                </a:cubicBezTo>
                <a:cubicBezTo>
                  <a:pt x="3121" y="878"/>
                  <a:pt x="3122" y="877"/>
                  <a:pt x="3122" y="876"/>
                </a:cubicBezTo>
                <a:cubicBezTo>
                  <a:pt x="3123" y="875"/>
                  <a:pt x="3124" y="874"/>
                  <a:pt x="3125" y="874"/>
                </a:cubicBezTo>
                <a:cubicBezTo>
                  <a:pt x="3125" y="873"/>
                  <a:pt x="3126" y="874"/>
                  <a:pt x="3127" y="873"/>
                </a:cubicBezTo>
                <a:cubicBezTo>
                  <a:pt x="3128" y="873"/>
                  <a:pt x="3128" y="872"/>
                  <a:pt x="3129" y="871"/>
                </a:cubicBezTo>
                <a:cubicBezTo>
                  <a:pt x="3129" y="870"/>
                  <a:pt x="3130" y="870"/>
                  <a:pt x="3131" y="869"/>
                </a:cubicBezTo>
                <a:cubicBezTo>
                  <a:pt x="3131" y="869"/>
                  <a:pt x="3132" y="869"/>
                  <a:pt x="3132" y="868"/>
                </a:cubicBezTo>
                <a:cubicBezTo>
                  <a:pt x="3132" y="868"/>
                  <a:pt x="3131" y="868"/>
                  <a:pt x="3131" y="867"/>
                </a:cubicBezTo>
                <a:cubicBezTo>
                  <a:pt x="3131" y="867"/>
                  <a:pt x="3130" y="867"/>
                  <a:pt x="3130" y="867"/>
                </a:cubicBezTo>
                <a:cubicBezTo>
                  <a:pt x="3130" y="866"/>
                  <a:pt x="3129" y="866"/>
                  <a:pt x="3129" y="866"/>
                </a:cubicBezTo>
                <a:cubicBezTo>
                  <a:pt x="3129" y="865"/>
                  <a:pt x="3130" y="865"/>
                  <a:pt x="3130" y="865"/>
                </a:cubicBezTo>
                <a:cubicBezTo>
                  <a:pt x="3130" y="865"/>
                  <a:pt x="3130" y="865"/>
                  <a:pt x="3131" y="865"/>
                </a:cubicBezTo>
                <a:cubicBezTo>
                  <a:pt x="3131" y="865"/>
                  <a:pt x="3131" y="865"/>
                  <a:pt x="3131" y="865"/>
                </a:cubicBezTo>
                <a:cubicBezTo>
                  <a:pt x="3132" y="864"/>
                  <a:pt x="3132" y="866"/>
                  <a:pt x="3132" y="866"/>
                </a:cubicBezTo>
                <a:cubicBezTo>
                  <a:pt x="3132" y="867"/>
                  <a:pt x="3132" y="867"/>
                  <a:pt x="3132" y="867"/>
                </a:cubicBezTo>
                <a:cubicBezTo>
                  <a:pt x="3133" y="868"/>
                  <a:pt x="3133" y="867"/>
                  <a:pt x="3134" y="867"/>
                </a:cubicBezTo>
                <a:cubicBezTo>
                  <a:pt x="3134" y="867"/>
                  <a:pt x="3135" y="867"/>
                  <a:pt x="3136" y="866"/>
                </a:cubicBezTo>
                <a:cubicBezTo>
                  <a:pt x="3137" y="865"/>
                  <a:pt x="3135" y="865"/>
                  <a:pt x="3136" y="864"/>
                </a:cubicBezTo>
                <a:cubicBezTo>
                  <a:pt x="3136" y="863"/>
                  <a:pt x="3137" y="863"/>
                  <a:pt x="3138" y="863"/>
                </a:cubicBezTo>
                <a:cubicBezTo>
                  <a:pt x="3139" y="862"/>
                  <a:pt x="3139" y="862"/>
                  <a:pt x="3139" y="861"/>
                </a:cubicBezTo>
                <a:cubicBezTo>
                  <a:pt x="3138" y="861"/>
                  <a:pt x="3138" y="861"/>
                  <a:pt x="3138" y="860"/>
                </a:cubicBezTo>
                <a:cubicBezTo>
                  <a:pt x="3138" y="860"/>
                  <a:pt x="3138" y="859"/>
                  <a:pt x="3138" y="859"/>
                </a:cubicBezTo>
                <a:cubicBezTo>
                  <a:pt x="3139" y="860"/>
                  <a:pt x="3138" y="860"/>
                  <a:pt x="3139" y="860"/>
                </a:cubicBezTo>
                <a:cubicBezTo>
                  <a:pt x="3139" y="860"/>
                  <a:pt x="3140" y="860"/>
                  <a:pt x="3140" y="860"/>
                </a:cubicBezTo>
                <a:cubicBezTo>
                  <a:pt x="3142" y="859"/>
                  <a:pt x="3144" y="858"/>
                  <a:pt x="3146" y="857"/>
                </a:cubicBezTo>
                <a:cubicBezTo>
                  <a:pt x="3147" y="857"/>
                  <a:pt x="3147" y="857"/>
                  <a:pt x="3148" y="856"/>
                </a:cubicBezTo>
                <a:cubicBezTo>
                  <a:pt x="3149" y="856"/>
                  <a:pt x="3150" y="856"/>
                  <a:pt x="3151" y="855"/>
                </a:cubicBezTo>
                <a:cubicBezTo>
                  <a:pt x="3152" y="855"/>
                  <a:pt x="3153" y="855"/>
                  <a:pt x="3153" y="856"/>
                </a:cubicBezTo>
                <a:cubicBezTo>
                  <a:pt x="3153" y="856"/>
                  <a:pt x="3153" y="856"/>
                  <a:pt x="3153" y="857"/>
                </a:cubicBezTo>
                <a:cubicBezTo>
                  <a:pt x="3153" y="857"/>
                  <a:pt x="3154" y="857"/>
                  <a:pt x="3154" y="857"/>
                </a:cubicBezTo>
                <a:cubicBezTo>
                  <a:pt x="3155" y="857"/>
                  <a:pt x="3156" y="857"/>
                  <a:pt x="3156" y="856"/>
                </a:cubicBezTo>
                <a:cubicBezTo>
                  <a:pt x="3157" y="856"/>
                  <a:pt x="3158" y="855"/>
                  <a:pt x="3158" y="854"/>
                </a:cubicBezTo>
                <a:cubicBezTo>
                  <a:pt x="3157" y="854"/>
                  <a:pt x="3157" y="855"/>
                  <a:pt x="3157" y="855"/>
                </a:cubicBezTo>
                <a:cubicBezTo>
                  <a:pt x="3156" y="854"/>
                  <a:pt x="3157" y="854"/>
                  <a:pt x="3157" y="854"/>
                </a:cubicBezTo>
                <a:cubicBezTo>
                  <a:pt x="3157" y="853"/>
                  <a:pt x="3158" y="853"/>
                  <a:pt x="3158" y="852"/>
                </a:cubicBezTo>
                <a:cubicBezTo>
                  <a:pt x="3158" y="852"/>
                  <a:pt x="3159" y="851"/>
                  <a:pt x="3159" y="851"/>
                </a:cubicBezTo>
                <a:cubicBezTo>
                  <a:pt x="3159" y="851"/>
                  <a:pt x="3159" y="850"/>
                  <a:pt x="3159" y="850"/>
                </a:cubicBezTo>
                <a:cubicBezTo>
                  <a:pt x="3159" y="849"/>
                  <a:pt x="3159" y="849"/>
                  <a:pt x="3158" y="849"/>
                </a:cubicBezTo>
                <a:cubicBezTo>
                  <a:pt x="3158" y="849"/>
                  <a:pt x="3158" y="849"/>
                  <a:pt x="3158" y="849"/>
                </a:cubicBezTo>
                <a:cubicBezTo>
                  <a:pt x="3156" y="849"/>
                  <a:pt x="3155" y="849"/>
                  <a:pt x="3154" y="849"/>
                </a:cubicBezTo>
                <a:cubicBezTo>
                  <a:pt x="3154" y="849"/>
                  <a:pt x="3153" y="849"/>
                  <a:pt x="3153" y="848"/>
                </a:cubicBezTo>
                <a:cubicBezTo>
                  <a:pt x="3153" y="848"/>
                  <a:pt x="3152" y="848"/>
                  <a:pt x="3152" y="848"/>
                </a:cubicBezTo>
                <a:cubicBezTo>
                  <a:pt x="3152" y="847"/>
                  <a:pt x="3151" y="847"/>
                  <a:pt x="3151" y="848"/>
                </a:cubicBezTo>
                <a:cubicBezTo>
                  <a:pt x="3151" y="848"/>
                  <a:pt x="3151" y="849"/>
                  <a:pt x="3150" y="849"/>
                </a:cubicBezTo>
                <a:cubicBezTo>
                  <a:pt x="3150" y="849"/>
                  <a:pt x="3149" y="849"/>
                  <a:pt x="3148" y="849"/>
                </a:cubicBezTo>
                <a:cubicBezTo>
                  <a:pt x="3147" y="849"/>
                  <a:pt x="3146" y="849"/>
                  <a:pt x="3145" y="849"/>
                </a:cubicBezTo>
                <a:cubicBezTo>
                  <a:pt x="3144" y="849"/>
                  <a:pt x="3144" y="848"/>
                  <a:pt x="3143" y="848"/>
                </a:cubicBezTo>
                <a:cubicBezTo>
                  <a:pt x="3142" y="848"/>
                  <a:pt x="3142" y="847"/>
                  <a:pt x="3141" y="847"/>
                </a:cubicBezTo>
                <a:cubicBezTo>
                  <a:pt x="3140" y="846"/>
                  <a:pt x="3140" y="846"/>
                  <a:pt x="3139" y="846"/>
                </a:cubicBezTo>
                <a:cubicBezTo>
                  <a:pt x="3138" y="845"/>
                  <a:pt x="3138" y="844"/>
                  <a:pt x="3137" y="844"/>
                </a:cubicBezTo>
                <a:cubicBezTo>
                  <a:pt x="3136" y="844"/>
                  <a:pt x="3135" y="844"/>
                  <a:pt x="3135" y="845"/>
                </a:cubicBezTo>
                <a:cubicBezTo>
                  <a:pt x="3134" y="845"/>
                  <a:pt x="3133" y="845"/>
                  <a:pt x="3132" y="845"/>
                </a:cubicBezTo>
                <a:cubicBezTo>
                  <a:pt x="3131" y="846"/>
                  <a:pt x="3131" y="846"/>
                  <a:pt x="3131" y="847"/>
                </a:cubicBezTo>
                <a:cubicBezTo>
                  <a:pt x="3130" y="849"/>
                  <a:pt x="3128" y="850"/>
                  <a:pt x="3127" y="851"/>
                </a:cubicBezTo>
                <a:cubicBezTo>
                  <a:pt x="3125" y="852"/>
                  <a:pt x="3124" y="854"/>
                  <a:pt x="3122" y="853"/>
                </a:cubicBezTo>
                <a:cubicBezTo>
                  <a:pt x="3122" y="853"/>
                  <a:pt x="3122" y="853"/>
                  <a:pt x="3122" y="853"/>
                </a:cubicBezTo>
                <a:cubicBezTo>
                  <a:pt x="3121" y="853"/>
                  <a:pt x="3121" y="853"/>
                  <a:pt x="3121" y="853"/>
                </a:cubicBezTo>
                <a:cubicBezTo>
                  <a:pt x="3120" y="853"/>
                  <a:pt x="3120" y="852"/>
                  <a:pt x="3119" y="852"/>
                </a:cubicBezTo>
                <a:cubicBezTo>
                  <a:pt x="3119" y="851"/>
                  <a:pt x="3118" y="852"/>
                  <a:pt x="3117" y="851"/>
                </a:cubicBezTo>
                <a:cubicBezTo>
                  <a:pt x="3116" y="851"/>
                  <a:pt x="3117" y="850"/>
                  <a:pt x="3117" y="849"/>
                </a:cubicBezTo>
                <a:cubicBezTo>
                  <a:pt x="3117" y="848"/>
                  <a:pt x="3117" y="847"/>
                  <a:pt x="3117" y="847"/>
                </a:cubicBezTo>
                <a:cubicBezTo>
                  <a:pt x="3118" y="846"/>
                  <a:pt x="3118" y="846"/>
                  <a:pt x="3118" y="846"/>
                </a:cubicBezTo>
                <a:cubicBezTo>
                  <a:pt x="3118" y="845"/>
                  <a:pt x="3118" y="845"/>
                  <a:pt x="3118" y="844"/>
                </a:cubicBezTo>
                <a:cubicBezTo>
                  <a:pt x="3118" y="843"/>
                  <a:pt x="3118" y="843"/>
                  <a:pt x="3117" y="842"/>
                </a:cubicBezTo>
                <a:cubicBezTo>
                  <a:pt x="3117" y="841"/>
                  <a:pt x="3117" y="840"/>
                  <a:pt x="3116" y="840"/>
                </a:cubicBezTo>
                <a:cubicBezTo>
                  <a:pt x="3115" y="839"/>
                  <a:pt x="3114" y="839"/>
                  <a:pt x="3114" y="839"/>
                </a:cubicBezTo>
                <a:cubicBezTo>
                  <a:pt x="3113" y="839"/>
                  <a:pt x="3113" y="839"/>
                  <a:pt x="3113" y="840"/>
                </a:cubicBezTo>
                <a:cubicBezTo>
                  <a:pt x="3113" y="841"/>
                  <a:pt x="3112" y="842"/>
                  <a:pt x="3112" y="841"/>
                </a:cubicBezTo>
                <a:cubicBezTo>
                  <a:pt x="3111" y="840"/>
                  <a:pt x="3111" y="840"/>
                  <a:pt x="3110" y="840"/>
                </a:cubicBezTo>
                <a:cubicBezTo>
                  <a:pt x="3110" y="840"/>
                  <a:pt x="3109" y="840"/>
                  <a:pt x="3109" y="840"/>
                </a:cubicBezTo>
                <a:cubicBezTo>
                  <a:pt x="3108" y="840"/>
                  <a:pt x="3107" y="840"/>
                  <a:pt x="3106" y="839"/>
                </a:cubicBezTo>
                <a:cubicBezTo>
                  <a:pt x="3105" y="838"/>
                  <a:pt x="3103" y="838"/>
                  <a:pt x="3102" y="836"/>
                </a:cubicBezTo>
                <a:cubicBezTo>
                  <a:pt x="3101" y="835"/>
                  <a:pt x="3100" y="833"/>
                  <a:pt x="3101" y="832"/>
                </a:cubicBezTo>
                <a:cubicBezTo>
                  <a:pt x="3101" y="831"/>
                  <a:pt x="3101" y="830"/>
                  <a:pt x="3102" y="829"/>
                </a:cubicBezTo>
                <a:cubicBezTo>
                  <a:pt x="3102" y="828"/>
                  <a:pt x="3102" y="828"/>
                  <a:pt x="3103" y="827"/>
                </a:cubicBezTo>
                <a:cubicBezTo>
                  <a:pt x="3103" y="826"/>
                  <a:pt x="3104" y="826"/>
                  <a:pt x="3105" y="826"/>
                </a:cubicBezTo>
                <a:cubicBezTo>
                  <a:pt x="3107" y="827"/>
                  <a:pt x="3108" y="828"/>
                  <a:pt x="3109" y="828"/>
                </a:cubicBezTo>
                <a:cubicBezTo>
                  <a:pt x="3110" y="828"/>
                  <a:pt x="3111" y="828"/>
                  <a:pt x="3112" y="827"/>
                </a:cubicBezTo>
                <a:cubicBezTo>
                  <a:pt x="3113" y="827"/>
                  <a:pt x="3113" y="827"/>
                  <a:pt x="3114" y="827"/>
                </a:cubicBezTo>
                <a:cubicBezTo>
                  <a:pt x="3116" y="827"/>
                  <a:pt x="3118" y="826"/>
                  <a:pt x="3119" y="824"/>
                </a:cubicBezTo>
                <a:cubicBezTo>
                  <a:pt x="3119" y="824"/>
                  <a:pt x="3119" y="823"/>
                  <a:pt x="3120" y="823"/>
                </a:cubicBezTo>
                <a:cubicBezTo>
                  <a:pt x="3120" y="822"/>
                  <a:pt x="3120" y="821"/>
                  <a:pt x="3121" y="820"/>
                </a:cubicBezTo>
                <a:cubicBezTo>
                  <a:pt x="3121" y="820"/>
                  <a:pt x="3121" y="819"/>
                  <a:pt x="3122" y="818"/>
                </a:cubicBezTo>
                <a:cubicBezTo>
                  <a:pt x="3122" y="818"/>
                  <a:pt x="3123" y="817"/>
                  <a:pt x="3124" y="816"/>
                </a:cubicBezTo>
                <a:cubicBezTo>
                  <a:pt x="3125" y="816"/>
                  <a:pt x="3126" y="816"/>
                  <a:pt x="3127" y="815"/>
                </a:cubicBezTo>
                <a:cubicBezTo>
                  <a:pt x="3128" y="815"/>
                  <a:pt x="3129" y="814"/>
                  <a:pt x="3130" y="814"/>
                </a:cubicBezTo>
                <a:cubicBezTo>
                  <a:pt x="3130" y="813"/>
                  <a:pt x="3131" y="813"/>
                  <a:pt x="3132" y="812"/>
                </a:cubicBezTo>
                <a:cubicBezTo>
                  <a:pt x="3133" y="812"/>
                  <a:pt x="3133" y="812"/>
                  <a:pt x="3134" y="811"/>
                </a:cubicBezTo>
                <a:cubicBezTo>
                  <a:pt x="3135" y="811"/>
                  <a:pt x="3135" y="810"/>
                  <a:pt x="3136" y="809"/>
                </a:cubicBezTo>
                <a:cubicBezTo>
                  <a:pt x="3137" y="808"/>
                  <a:pt x="3137" y="807"/>
                  <a:pt x="3138" y="806"/>
                </a:cubicBezTo>
                <a:cubicBezTo>
                  <a:pt x="3139" y="806"/>
                  <a:pt x="3139" y="805"/>
                  <a:pt x="3140" y="804"/>
                </a:cubicBezTo>
                <a:cubicBezTo>
                  <a:pt x="3140" y="804"/>
                  <a:pt x="3141" y="804"/>
                  <a:pt x="3142" y="804"/>
                </a:cubicBezTo>
                <a:cubicBezTo>
                  <a:pt x="3143" y="804"/>
                  <a:pt x="3144" y="804"/>
                  <a:pt x="3144" y="804"/>
                </a:cubicBezTo>
                <a:cubicBezTo>
                  <a:pt x="3145" y="804"/>
                  <a:pt x="3146" y="804"/>
                  <a:pt x="3147" y="804"/>
                </a:cubicBezTo>
                <a:cubicBezTo>
                  <a:pt x="3147" y="803"/>
                  <a:pt x="3148" y="803"/>
                  <a:pt x="3148" y="803"/>
                </a:cubicBezTo>
                <a:cubicBezTo>
                  <a:pt x="3148" y="803"/>
                  <a:pt x="3149" y="802"/>
                  <a:pt x="3149" y="802"/>
                </a:cubicBezTo>
                <a:cubicBezTo>
                  <a:pt x="3149" y="803"/>
                  <a:pt x="3148" y="803"/>
                  <a:pt x="3149" y="804"/>
                </a:cubicBezTo>
                <a:cubicBezTo>
                  <a:pt x="3149" y="804"/>
                  <a:pt x="3150" y="804"/>
                  <a:pt x="3150" y="804"/>
                </a:cubicBezTo>
                <a:cubicBezTo>
                  <a:pt x="3151" y="805"/>
                  <a:pt x="3151" y="805"/>
                  <a:pt x="3151" y="805"/>
                </a:cubicBezTo>
                <a:cubicBezTo>
                  <a:pt x="3152" y="806"/>
                  <a:pt x="3152" y="806"/>
                  <a:pt x="3153" y="806"/>
                </a:cubicBezTo>
                <a:cubicBezTo>
                  <a:pt x="3153" y="807"/>
                  <a:pt x="3154" y="807"/>
                  <a:pt x="3154" y="808"/>
                </a:cubicBezTo>
                <a:cubicBezTo>
                  <a:pt x="3154" y="809"/>
                  <a:pt x="3154" y="809"/>
                  <a:pt x="3153" y="810"/>
                </a:cubicBezTo>
                <a:cubicBezTo>
                  <a:pt x="3152" y="810"/>
                  <a:pt x="3152" y="811"/>
                  <a:pt x="3151" y="812"/>
                </a:cubicBezTo>
                <a:cubicBezTo>
                  <a:pt x="3151" y="813"/>
                  <a:pt x="3150" y="813"/>
                  <a:pt x="3150" y="814"/>
                </a:cubicBezTo>
                <a:cubicBezTo>
                  <a:pt x="3149" y="814"/>
                  <a:pt x="3149" y="815"/>
                  <a:pt x="3148" y="816"/>
                </a:cubicBezTo>
                <a:cubicBezTo>
                  <a:pt x="3148" y="816"/>
                  <a:pt x="3147" y="816"/>
                  <a:pt x="3146" y="816"/>
                </a:cubicBezTo>
                <a:cubicBezTo>
                  <a:pt x="3145" y="817"/>
                  <a:pt x="3145" y="817"/>
                  <a:pt x="3145" y="817"/>
                </a:cubicBezTo>
                <a:cubicBezTo>
                  <a:pt x="3145" y="817"/>
                  <a:pt x="3145" y="818"/>
                  <a:pt x="3144" y="818"/>
                </a:cubicBezTo>
                <a:cubicBezTo>
                  <a:pt x="3144" y="819"/>
                  <a:pt x="3145" y="820"/>
                  <a:pt x="3144" y="820"/>
                </a:cubicBezTo>
                <a:cubicBezTo>
                  <a:pt x="3144" y="820"/>
                  <a:pt x="3142" y="820"/>
                  <a:pt x="3142" y="821"/>
                </a:cubicBezTo>
                <a:cubicBezTo>
                  <a:pt x="3142" y="822"/>
                  <a:pt x="3144" y="822"/>
                  <a:pt x="3144" y="822"/>
                </a:cubicBezTo>
                <a:cubicBezTo>
                  <a:pt x="3145" y="823"/>
                  <a:pt x="3145" y="823"/>
                  <a:pt x="3146" y="823"/>
                </a:cubicBezTo>
                <a:cubicBezTo>
                  <a:pt x="3146" y="823"/>
                  <a:pt x="3148" y="823"/>
                  <a:pt x="3148" y="824"/>
                </a:cubicBezTo>
                <a:cubicBezTo>
                  <a:pt x="3147" y="824"/>
                  <a:pt x="3146" y="824"/>
                  <a:pt x="3147" y="825"/>
                </a:cubicBezTo>
                <a:cubicBezTo>
                  <a:pt x="3147" y="826"/>
                  <a:pt x="3147" y="826"/>
                  <a:pt x="3147" y="827"/>
                </a:cubicBezTo>
                <a:cubicBezTo>
                  <a:pt x="3147" y="827"/>
                  <a:pt x="3146" y="827"/>
                  <a:pt x="3146" y="827"/>
                </a:cubicBezTo>
                <a:cubicBezTo>
                  <a:pt x="3145" y="827"/>
                  <a:pt x="3144" y="828"/>
                  <a:pt x="3144" y="828"/>
                </a:cubicBezTo>
                <a:cubicBezTo>
                  <a:pt x="3143" y="829"/>
                  <a:pt x="3142" y="829"/>
                  <a:pt x="3142" y="829"/>
                </a:cubicBezTo>
                <a:cubicBezTo>
                  <a:pt x="3141" y="829"/>
                  <a:pt x="3141" y="829"/>
                  <a:pt x="3141" y="829"/>
                </a:cubicBezTo>
                <a:cubicBezTo>
                  <a:pt x="3140" y="830"/>
                  <a:pt x="3141" y="830"/>
                  <a:pt x="3141" y="830"/>
                </a:cubicBezTo>
                <a:cubicBezTo>
                  <a:pt x="3142" y="831"/>
                  <a:pt x="3142" y="832"/>
                  <a:pt x="3142" y="832"/>
                </a:cubicBezTo>
                <a:cubicBezTo>
                  <a:pt x="3143" y="832"/>
                  <a:pt x="3144" y="831"/>
                  <a:pt x="3145" y="830"/>
                </a:cubicBezTo>
                <a:cubicBezTo>
                  <a:pt x="3146" y="829"/>
                  <a:pt x="3148" y="828"/>
                  <a:pt x="3150" y="827"/>
                </a:cubicBezTo>
                <a:cubicBezTo>
                  <a:pt x="3151" y="826"/>
                  <a:pt x="3152" y="825"/>
                  <a:pt x="3153" y="825"/>
                </a:cubicBezTo>
                <a:cubicBezTo>
                  <a:pt x="3154" y="824"/>
                  <a:pt x="3155" y="824"/>
                  <a:pt x="3156" y="823"/>
                </a:cubicBezTo>
                <a:cubicBezTo>
                  <a:pt x="3158" y="822"/>
                  <a:pt x="3159" y="821"/>
                  <a:pt x="3161" y="820"/>
                </a:cubicBezTo>
                <a:cubicBezTo>
                  <a:pt x="3162" y="820"/>
                  <a:pt x="3162" y="819"/>
                  <a:pt x="3163" y="819"/>
                </a:cubicBezTo>
                <a:cubicBezTo>
                  <a:pt x="3163" y="819"/>
                  <a:pt x="3164" y="818"/>
                  <a:pt x="3164" y="818"/>
                </a:cubicBezTo>
                <a:cubicBezTo>
                  <a:pt x="3165" y="818"/>
                  <a:pt x="3166" y="818"/>
                  <a:pt x="3167" y="818"/>
                </a:cubicBezTo>
                <a:cubicBezTo>
                  <a:pt x="3168" y="818"/>
                  <a:pt x="3169" y="817"/>
                  <a:pt x="3170" y="817"/>
                </a:cubicBezTo>
                <a:cubicBezTo>
                  <a:pt x="3171" y="817"/>
                  <a:pt x="3172" y="817"/>
                  <a:pt x="3173" y="818"/>
                </a:cubicBezTo>
                <a:cubicBezTo>
                  <a:pt x="3174" y="818"/>
                  <a:pt x="3175" y="818"/>
                  <a:pt x="3175" y="817"/>
                </a:cubicBezTo>
                <a:cubicBezTo>
                  <a:pt x="3176" y="817"/>
                  <a:pt x="3176" y="816"/>
                  <a:pt x="3176" y="816"/>
                </a:cubicBezTo>
                <a:cubicBezTo>
                  <a:pt x="3177" y="815"/>
                  <a:pt x="3178" y="815"/>
                  <a:pt x="3178" y="815"/>
                </a:cubicBezTo>
                <a:cubicBezTo>
                  <a:pt x="3178" y="816"/>
                  <a:pt x="3176" y="816"/>
                  <a:pt x="3177" y="817"/>
                </a:cubicBezTo>
                <a:cubicBezTo>
                  <a:pt x="3177" y="817"/>
                  <a:pt x="3177" y="817"/>
                  <a:pt x="3178" y="817"/>
                </a:cubicBezTo>
                <a:cubicBezTo>
                  <a:pt x="3178" y="817"/>
                  <a:pt x="3178" y="817"/>
                  <a:pt x="3179" y="818"/>
                </a:cubicBezTo>
                <a:cubicBezTo>
                  <a:pt x="3179" y="818"/>
                  <a:pt x="3180" y="818"/>
                  <a:pt x="3180" y="819"/>
                </a:cubicBezTo>
                <a:cubicBezTo>
                  <a:pt x="3180" y="819"/>
                  <a:pt x="3181" y="819"/>
                  <a:pt x="3181" y="819"/>
                </a:cubicBezTo>
                <a:cubicBezTo>
                  <a:pt x="3181" y="820"/>
                  <a:pt x="3181" y="820"/>
                  <a:pt x="3181" y="820"/>
                </a:cubicBezTo>
                <a:cubicBezTo>
                  <a:pt x="3182" y="821"/>
                  <a:pt x="3182" y="820"/>
                  <a:pt x="3182" y="820"/>
                </a:cubicBezTo>
                <a:cubicBezTo>
                  <a:pt x="3182" y="819"/>
                  <a:pt x="3182" y="819"/>
                  <a:pt x="3183" y="819"/>
                </a:cubicBezTo>
                <a:cubicBezTo>
                  <a:pt x="3183" y="819"/>
                  <a:pt x="3183" y="818"/>
                  <a:pt x="3183" y="818"/>
                </a:cubicBezTo>
                <a:cubicBezTo>
                  <a:pt x="3184" y="819"/>
                  <a:pt x="3183" y="819"/>
                  <a:pt x="3184" y="819"/>
                </a:cubicBezTo>
                <a:cubicBezTo>
                  <a:pt x="3184" y="820"/>
                  <a:pt x="3184" y="820"/>
                  <a:pt x="3185" y="820"/>
                </a:cubicBezTo>
                <a:cubicBezTo>
                  <a:pt x="3185" y="820"/>
                  <a:pt x="3185" y="820"/>
                  <a:pt x="3186" y="820"/>
                </a:cubicBezTo>
                <a:cubicBezTo>
                  <a:pt x="3186" y="821"/>
                  <a:pt x="3187" y="821"/>
                  <a:pt x="3188" y="821"/>
                </a:cubicBezTo>
                <a:cubicBezTo>
                  <a:pt x="3188" y="821"/>
                  <a:pt x="3190" y="821"/>
                  <a:pt x="3190" y="821"/>
                </a:cubicBezTo>
                <a:cubicBezTo>
                  <a:pt x="3190" y="822"/>
                  <a:pt x="3189" y="823"/>
                  <a:pt x="3189" y="824"/>
                </a:cubicBezTo>
                <a:cubicBezTo>
                  <a:pt x="3189" y="824"/>
                  <a:pt x="3189" y="825"/>
                  <a:pt x="3189" y="826"/>
                </a:cubicBezTo>
                <a:cubicBezTo>
                  <a:pt x="3189" y="827"/>
                  <a:pt x="3188" y="827"/>
                  <a:pt x="3187" y="828"/>
                </a:cubicBezTo>
                <a:cubicBezTo>
                  <a:pt x="3187" y="828"/>
                  <a:pt x="3187" y="829"/>
                  <a:pt x="3187" y="829"/>
                </a:cubicBezTo>
                <a:cubicBezTo>
                  <a:pt x="3187" y="830"/>
                  <a:pt x="3187" y="830"/>
                  <a:pt x="3187" y="830"/>
                </a:cubicBezTo>
                <a:cubicBezTo>
                  <a:pt x="3187" y="831"/>
                  <a:pt x="3187" y="831"/>
                  <a:pt x="3188" y="831"/>
                </a:cubicBezTo>
                <a:cubicBezTo>
                  <a:pt x="3188" y="831"/>
                  <a:pt x="3188" y="831"/>
                  <a:pt x="3188" y="831"/>
                </a:cubicBezTo>
                <a:cubicBezTo>
                  <a:pt x="3188" y="831"/>
                  <a:pt x="3188" y="831"/>
                  <a:pt x="3188" y="831"/>
                </a:cubicBezTo>
                <a:cubicBezTo>
                  <a:pt x="3189" y="832"/>
                  <a:pt x="3189" y="832"/>
                  <a:pt x="3189" y="832"/>
                </a:cubicBezTo>
                <a:cubicBezTo>
                  <a:pt x="3190" y="832"/>
                  <a:pt x="3190" y="832"/>
                  <a:pt x="3189" y="832"/>
                </a:cubicBezTo>
                <a:cubicBezTo>
                  <a:pt x="3189" y="832"/>
                  <a:pt x="3189" y="832"/>
                  <a:pt x="3188" y="832"/>
                </a:cubicBezTo>
                <a:cubicBezTo>
                  <a:pt x="3188" y="832"/>
                  <a:pt x="3188" y="833"/>
                  <a:pt x="3188" y="833"/>
                </a:cubicBezTo>
                <a:cubicBezTo>
                  <a:pt x="3187" y="833"/>
                  <a:pt x="3187" y="833"/>
                  <a:pt x="3187" y="833"/>
                </a:cubicBezTo>
                <a:cubicBezTo>
                  <a:pt x="3186" y="834"/>
                  <a:pt x="3186" y="834"/>
                  <a:pt x="3185" y="834"/>
                </a:cubicBezTo>
                <a:cubicBezTo>
                  <a:pt x="3185" y="835"/>
                  <a:pt x="3185" y="836"/>
                  <a:pt x="3185" y="836"/>
                </a:cubicBezTo>
                <a:cubicBezTo>
                  <a:pt x="3185" y="836"/>
                  <a:pt x="3185" y="837"/>
                  <a:pt x="3184" y="837"/>
                </a:cubicBezTo>
                <a:cubicBezTo>
                  <a:pt x="3184" y="837"/>
                  <a:pt x="3184" y="838"/>
                  <a:pt x="3184" y="838"/>
                </a:cubicBezTo>
                <a:cubicBezTo>
                  <a:pt x="3184" y="839"/>
                  <a:pt x="3183" y="839"/>
                  <a:pt x="3182" y="839"/>
                </a:cubicBezTo>
                <a:cubicBezTo>
                  <a:pt x="3182" y="840"/>
                  <a:pt x="3181" y="840"/>
                  <a:pt x="3182" y="840"/>
                </a:cubicBezTo>
                <a:cubicBezTo>
                  <a:pt x="3182" y="841"/>
                  <a:pt x="3182" y="840"/>
                  <a:pt x="3183" y="840"/>
                </a:cubicBezTo>
                <a:cubicBezTo>
                  <a:pt x="3183" y="841"/>
                  <a:pt x="3183" y="841"/>
                  <a:pt x="3184" y="841"/>
                </a:cubicBezTo>
                <a:cubicBezTo>
                  <a:pt x="3184" y="841"/>
                  <a:pt x="3184" y="841"/>
                  <a:pt x="3185" y="841"/>
                </a:cubicBezTo>
                <a:cubicBezTo>
                  <a:pt x="3185" y="841"/>
                  <a:pt x="3185" y="842"/>
                  <a:pt x="3185" y="842"/>
                </a:cubicBezTo>
                <a:cubicBezTo>
                  <a:pt x="3185" y="842"/>
                  <a:pt x="3185" y="843"/>
                  <a:pt x="3185" y="843"/>
                </a:cubicBezTo>
                <a:cubicBezTo>
                  <a:pt x="3186" y="843"/>
                  <a:pt x="3186" y="843"/>
                  <a:pt x="3186" y="843"/>
                </a:cubicBezTo>
                <a:cubicBezTo>
                  <a:pt x="3187" y="843"/>
                  <a:pt x="3187" y="844"/>
                  <a:pt x="3188" y="844"/>
                </a:cubicBezTo>
                <a:cubicBezTo>
                  <a:pt x="3189" y="845"/>
                  <a:pt x="3189" y="843"/>
                  <a:pt x="3190" y="843"/>
                </a:cubicBezTo>
                <a:cubicBezTo>
                  <a:pt x="3191" y="844"/>
                  <a:pt x="3191" y="844"/>
                  <a:pt x="3190" y="844"/>
                </a:cubicBezTo>
                <a:cubicBezTo>
                  <a:pt x="3190" y="844"/>
                  <a:pt x="3190" y="845"/>
                  <a:pt x="3189" y="845"/>
                </a:cubicBezTo>
                <a:cubicBezTo>
                  <a:pt x="3189" y="845"/>
                  <a:pt x="3189" y="845"/>
                  <a:pt x="3189" y="845"/>
                </a:cubicBezTo>
                <a:cubicBezTo>
                  <a:pt x="3189" y="845"/>
                  <a:pt x="3189" y="845"/>
                  <a:pt x="3189" y="846"/>
                </a:cubicBezTo>
                <a:cubicBezTo>
                  <a:pt x="3188" y="847"/>
                  <a:pt x="3190" y="845"/>
                  <a:pt x="3190" y="845"/>
                </a:cubicBezTo>
                <a:cubicBezTo>
                  <a:pt x="3191" y="845"/>
                  <a:pt x="3191" y="845"/>
                  <a:pt x="3192" y="845"/>
                </a:cubicBezTo>
                <a:cubicBezTo>
                  <a:pt x="3192" y="844"/>
                  <a:pt x="3192" y="844"/>
                  <a:pt x="3192" y="844"/>
                </a:cubicBezTo>
                <a:cubicBezTo>
                  <a:pt x="3193" y="843"/>
                  <a:pt x="3193" y="842"/>
                  <a:pt x="3193" y="842"/>
                </a:cubicBezTo>
                <a:cubicBezTo>
                  <a:pt x="3194" y="842"/>
                  <a:pt x="3194" y="842"/>
                  <a:pt x="3194" y="842"/>
                </a:cubicBezTo>
                <a:cubicBezTo>
                  <a:pt x="3194" y="843"/>
                  <a:pt x="3194" y="843"/>
                  <a:pt x="3195" y="843"/>
                </a:cubicBezTo>
                <a:cubicBezTo>
                  <a:pt x="3196" y="843"/>
                  <a:pt x="3196" y="843"/>
                  <a:pt x="3197" y="844"/>
                </a:cubicBezTo>
                <a:cubicBezTo>
                  <a:pt x="3197" y="844"/>
                  <a:pt x="3197" y="845"/>
                  <a:pt x="3197" y="845"/>
                </a:cubicBezTo>
                <a:cubicBezTo>
                  <a:pt x="3198" y="846"/>
                  <a:pt x="3199" y="845"/>
                  <a:pt x="3200" y="844"/>
                </a:cubicBezTo>
                <a:cubicBezTo>
                  <a:pt x="3200" y="844"/>
                  <a:pt x="3200" y="844"/>
                  <a:pt x="3201" y="844"/>
                </a:cubicBezTo>
                <a:cubicBezTo>
                  <a:pt x="3201" y="844"/>
                  <a:pt x="3201" y="843"/>
                  <a:pt x="3202" y="844"/>
                </a:cubicBezTo>
                <a:cubicBezTo>
                  <a:pt x="3202" y="844"/>
                  <a:pt x="3202" y="844"/>
                  <a:pt x="3202" y="844"/>
                </a:cubicBezTo>
                <a:cubicBezTo>
                  <a:pt x="3203" y="844"/>
                  <a:pt x="3203" y="844"/>
                  <a:pt x="3204" y="844"/>
                </a:cubicBezTo>
                <a:cubicBezTo>
                  <a:pt x="3204" y="844"/>
                  <a:pt x="3205" y="845"/>
                  <a:pt x="3205" y="845"/>
                </a:cubicBezTo>
                <a:cubicBezTo>
                  <a:pt x="3205" y="846"/>
                  <a:pt x="3205" y="846"/>
                  <a:pt x="3204" y="846"/>
                </a:cubicBezTo>
                <a:cubicBezTo>
                  <a:pt x="3204" y="846"/>
                  <a:pt x="3204" y="846"/>
                  <a:pt x="3204" y="846"/>
                </a:cubicBezTo>
                <a:cubicBezTo>
                  <a:pt x="3204" y="846"/>
                  <a:pt x="3204" y="846"/>
                  <a:pt x="3204" y="845"/>
                </a:cubicBezTo>
                <a:cubicBezTo>
                  <a:pt x="3204" y="845"/>
                  <a:pt x="3203" y="845"/>
                  <a:pt x="3203" y="845"/>
                </a:cubicBezTo>
                <a:cubicBezTo>
                  <a:pt x="3203" y="845"/>
                  <a:pt x="3203" y="845"/>
                  <a:pt x="3203" y="845"/>
                </a:cubicBezTo>
                <a:cubicBezTo>
                  <a:pt x="3203" y="845"/>
                  <a:pt x="3203" y="845"/>
                  <a:pt x="3202" y="845"/>
                </a:cubicBezTo>
                <a:cubicBezTo>
                  <a:pt x="3202" y="845"/>
                  <a:pt x="3202" y="844"/>
                  <a:pt x="3202" y="844"/>
                </a:cubicBezTo>
                <a:cubicBezTo>
                  <a:pt x="3201" y="844"/>
                  <a:pt x="3201" y="844"/>
                  <a:pt x="3201" y="845"/>
                </a:cubicBezTo>
                <a:cubicBezTo>
                  <a:pt x="3201" y="845"/>
                  <a:pt x="3201" y="845"/>
                  <a:pt x="3201" y="845"/>
                </a:cubicBezTo>
                <a:cubicBezTo>
                  <a:pt x="3201" y="845"/>
                  <a:pt x="3201" y="845"/>
                  <a:pt x="3201" y="845"/>
                </a:cubicBezTo>
                <a:cubicBezTo>
                  <a:pt x="3200" y="846"/>
                  <a:pt x="3201" y="846"/>
                  <a:pt x="3201" y="846"/>
                </a:cubicBezTo>
                <a:cubicBezTo>
                  <a:pt x="3201" y="847"/>
                  <a:pt x="3201" y="846"/>
                  <a:pt x="3201" y="847"/>
                </a:cubicBezTo>
                <a:cubicBezTo>
                  <a:pt x="3201" y="847"/>
                  <a:pt x="3201" y="847"/>
                  <a:pt x="3201" y="847"/>
                </a:cubicBezTo>
                <a:cubicBezTo>
                  <a:pt x="3202" y="847"/>
                  <a:pt x="3202" y="847"/>
                  <a:pt x="3202" y="847"/>
                </a:cubicBezTo>
                <a:cubicBezTo>
                  <a:pt x="3203" y="847"/>
                  <a:pt x="3202" y="846"/>
                  <a:pt x="3203" y="846"/>
                </a:cubicBezTo>
                <a:cubicBezTo>
                  <a:pt x="3203" y="846"/>
                  <a:pt x="3203" y="847"/>
                  <a:pt x="3203" y="847"/>
                </a:cubicBezTo>
                <a:cubicBezTo>
                  <a:pt x="3203" y="847"/>
                  <a:pt x="3204" y="847"/>
                  <a:pt x="3204" y="847"/>
                </a:cubicBezTo>
                <a:cubicBezTo>
                  <a:pt x="3205" y="848"/>
                  <a:pt x="3204" y="848"/>
                  <a:pt x="3204" y="848"/>
                </a:cubicBezTo>
                <a:cubicBezTo>
                  <a:pt x="3204" y="849"/>
                  <a:pt x="3204" y="849"/>
                  <a:pt x="3205" y="849"/>
                </a:cubicBezTo>
                <a:cubicBezTo>
                  <a:pt x="3205" y="850"/>
                  <a:pt x="3205" y="850"/>
                  <a:pt x="3205" y="850"/>
                </a:cubicBezTo>
                <a:cubicBezTo>
                  <a:pt x="3206" y="851"/>
                  <a:pt x="3206" y="851"/>
                  <a:pt x="3206" y="851"/>
                </a:cubicBezTo>
                <a:cubicBezTo>
                  <a:pt x="3206" y="852"/>
                  <a:pt x="3205" y="852"/>
                  <a:pt x="3205" y="852"/>
                </a:cubicBezTo>
                <a:cubicBezTo>
                  <a:pt x="3205" y="852"/>
                  <a:pt x="3204" y="852"/>
                  <a:pt x="3204" y="853"/>
                </a:cubicBezTo>
                <a:cubicBezTo>
                  <a:pt x="3204" y="854"/>
                  <a:pt x="3205" y="853"/>
                  <a:pt x="3205" y="853"/>
                </a:cubicBezTo>
                <a:cubicBezTo>
                  <a:pt x="3206" y="853"/>
                  <a:pt x="3206" y="853"/>
                  <a:pt x="3206" y="853"/>
                </a:cubicBezTo>
                <a:cubicBezTo>
                  <a:pt x="3206" y="854"/>
                  <a:pt x="3206" y="853"/>
                  <a:pt x="3205" y="854"/>
                </a:cubicBezTo>
                <a:cubicBezTo>
                  <a:pt x="3205" y="854"/>
                  <a:pt x="3205" y="854"/>
                  <a:pt x="3206" y="855"/>
                </a:cubicBezTo>
                <a:cubicBezTo>
                  <a:pt x="3206" y="855"/>
                  <a:pt x="3206" y="855"/>
                  <a:pt x="3206" y="855"/>
                </a:cubicBezTo>
                <a:cubicBezTo>
                  <a:pt x="3206" y="856"/>
                  <a:pt x="3207" y="856"/>
                  <a:pt x="3207" y="857"/>
                </a:cubicBezTo>
                <a:cubicBezTo>
                  <a:pt x="3206" y="857"/>
                  <a:pt x="3206" y="856"/>
                  <a:pt x="3206" y="856"/>
                </a:cubicBezTo>
                <a:cubicBezTo>
                  <a:pt x="3206" y="856"/>
                  <a:pt x="3206" y="855"/>
                  <a:pt x="3205" y="855"/>
                </a:cubicBezTo>
                <a:cubicBezTo>
                  <a:pt x="3205" y="855"/>
                  <a:pt x="3204" y="856"/>
                  <a:pt x="3204" y="855"/>
                </a:cubicBezTo>
                <a:cubicBezTo>
                  <a:pt x="3203" y="855"/>
                  <a:pt x="3203" y="854"/>
                  <a:pt x="3203" y="854"/>
                </a:cubicBezTo>
                <a:cubicBezTo>
                  <a:pt x="3203" y="854"/>
                  <a:pt x="3202" y="854"/>
                  <a:pt x="3202" y="854"/>
                </a:cubicBezTo>
                <a:cubicBezTo>
                  <a:pt x="3202" y="855"/>
                  <a:pt x="3202" y="855"/>
                  <a:pt x="3202" y="855"/>
                </a:cubicBezTo>
                <a:cubicBezTo>
                  <a:pt x="3202" y="856"/>
                  <a:pt x="3202" y="855"/>
                  <a:pt x="3202" y="855"/>
                </a:cubicBezTo>
                <a:cubicBezTo>
                  <a:pt x="3201" y="854"/>
                  <a:pt x="3200" y="856"/>
                  <a:pt x="3199" y="856"/>
                </a:cubicBezTo>
                <a:cubicBezTo>
                  <a:pt x="3199" y="857"/>
                  <a:pt x="3198" y="857"/>
                  <a:pt x="3198" y="858"/>
                </a:cubicBezTo>
                <a:cubicBezTo>
                  <a:pt x="3198" y="858"/>
                  <a:pt x="3199" y="858"/>
                  <a:pt x="3199" y="858"/>
                </a:cubicBezTo>
                <a:cubicBezTo>
                  <a:pt x="3200" y="858"/>
                  <a:pt x="3200" y="858"/>
                  <a:pt x="3201" y="858"/>
                </a:cubicBezTo>
                <a:cubicBezTo>
                  <a:pt x="3201" y="858"/>
                  <a:pt x="3201" y="859"/>
                  <a:pt x="3201" y="859"/>
                </a:cubicBezTo>
                <a:cubicBezTo>
                  <a:pt x="3202" y="859"/>
                  <a:pt x="3202" y="859"/>
                  <a:pt x="3202" y="859"/>
                </a:cubicBezTo>
                <a:cubicBezTo>
                  <a:pt x="3203" y="860"/>
                  <a:pt x="3202" y="860"/>
                  <a:pt x="3202" y="860"/>
                </a:cubicBezTo>
                <a:cubicBezTo>
                  <a:pt x="3202" y="861"/>
                  <a:pt x="3202" y="861"/>
                  <a:pt x="3202" y="862"/>
                </a:cubicBezTo>
                <a:cubicBezTo>
                  <a:pt x="3202" y="862"/>
                  <a:pt x="3202" y="862"/>
                  <a:pt x="3202" y="863"/>
                </a:cubicBezTo>
                <a:cubicBezTo>
                  <a:pt x="3202" y="863"/>
                  <a:pt x="3202" y="863"/>
                  <a:pt x="3202" y="863"/>
                </a:cubicBezTo>
                <a:cubicBezTo>
                  <a:pt x="3203" y="864"/>
                  <a:pt x="3203" y="864"/>
                  <a:pt x="3203" y="865"/>
                </a:cubicBezTo>
                <a:cubicBezTo>
                  <a:pt x="3202" y="865"/>
                  <a:pt x="3202" y="866"/>
                  <a:pt x="3202" y="866"/>
                </a:cubicBezTo>
                <a:cubicBezTo>
                  <a:pt x="3202" y="867"/>
                  <a:pt x="3203" y="866"/>
                  <a:pt x="3203" y="866"/>
                </a:cubicBezTo>
                <a:cubicBezTo>
                  <a:pt x="3203" y="866"/>
                  <a:pt x="3204" y="867"/>
                  <a:pt x="3204" y="867"/>
                </a:cubicBezTo>
                <a:cubicBezTo>
                  <a:pt x="3205" y="867"/>
                  <a:pt x="3207" y="867"/>
                  <a:pt x="3206" y="868"/>
                </a:cubicBezTo>
                <a:cubicBezTo>
                  <a:pt x="3205" y="868"/>
                  <a:pt x="3205" y="868"/>
                  <a:pt x="3204" y="868"/>
                </a:cubicBezTo>
                <a:cubicBezTo>
                  <a:pt x="3204" y="868"/>
                  <a:pt x="3204" y="868"/>
                  <a:pt x="3204" y="869"/>
                </a:cubicBezTo>
                <a:cubicBezTo>
                  <a:pt x="3204" y="869"/>
                  <a:pt x="3203" y="869"/>
                  <a:pt x="3204" y="870"/>
                </a:cubicBezTo>
                <a:cubicBezTo>
                  <a:pt x="3204" y="870"/>
                  <a:pt x="3204" y="869"/>
                  <a:pt x="3205" y="870"/>
                </a:cubicBezTo>
                <a:cubicBezTo>
                  <a:pt x="3205" y="870"/>
                  <a:pt x="3205" y="871"/>
                  <a:pt x="3204" y="871"/>
                </a:cubicBezTo>
                <a:cubicBezTo>
                  <a:pt x="3204" y="871"/>
                  <a:pt x="3204" y="871"/>
                  <a:pt x="3203" y="871"/>
                </a:cubicBezTo>
                <a:cubicBezTo>
                  <a:pt x="3203" y="872"/>
                  <a:pt x="3203" y="872"/>
                  <a:pt x="3203" y="872"/>
                </a:cubicBezTo>
                <a:cubicBezTo>
                  <a:pt x="3203" y="872"/>
                  <a:pt x="3202" y="873"/>
                  <a:pt x="3202" y="873"/>
                </a:cubicBezTo>
                <a:cubicBezTo>
                  <a:pt x="3202" y="873"/>
                  <a:pt x="3202" y="873"/>
                  <a:pt x="3202" y="873"/>
                </a:cubicBezTo>
                <a:cubicBezTo>
                  <a:pt x="3202" y="874"/>
                  <a:pt x="3203" y="873"/>
                  <a:pt x="3203" y="873"/>
                </a:cubicBezTo>
                <a:cubicBezTo>
                  <a:pt x="3204" y="874"/>
                  <a:pt x="3203" y="874"/>
                  <a:pt x="3202" y="875"/>
                </a:cubicBezTo>
                <a:cubicBezTo>
                  <a:pt x="3202" y="875"/>
                  <a:pt x="3202" y="875"/>
                  <a:pt x="3202" y="876"/>
                </a:cubicBezTo>
                <a:cubicBezTo>
                  <a:pt x="3201" y="876"/>
                  <a:pt x="3200" y="877"/>
                  <a:pt x="3200" y="878"/>
                </a:cubicBezTo>
                <a:cubicBezTo>
                  <a:pt x="3200" y="878"/>
                  <a:pt x="3201" y="878"/>
                  <a:pt x="3201" y="879"/>
                </a:cubicBezTo>
                <a:cubicBezTo>
                  <a:pt x="3201" y="879"/>
                  <a:pt x="3201" y="880"/>
                  <a:pt x="3200" y="880"/>
                </a:cubicBezTo>
                <a:cubicBezTo>
                  <a:pt x="3200" y="879"/>
                  <a:pt x="3200" y="879"/>
                  <a:pt x="3200" y="879"/>
                </a:cubicBezTo>
                <a:cubicBezTo>
                  <a:pt x="3199" y="879"/>
                  <a:pt x="3200" y="880"/>
                  <a:pt x="3200" y="880"/>
                </a:cubicBezTo>
                <a:cubicBezTo>
                  <a:pt x="3200" y="880"/>
                  <a:pt x="3199" y="881"/>
                  <a:pt x="3200" y="881"/>
                </a:cubicBezTo>
                <a:cubicBezTo>
                  <a:pt x="3200" y="881"/>
                  <a:pt x="3200" y="881"/>
                  <a:pt x="3200" y="882"/>
                </a:cubicBezTo>
                <a:cubicBezTo>
                  <a:pt x="3201" y="883"/>
                  <a:pt x="3200" y="883"/>
                  <a:pt x="3201" y="883"/>
                </a:cubicBezTo>
                <a:cubicBezTo>
                  <a:pt x="3202" y="883"/>
                  <a:pt x="3202" y="883"/>
                  <a:pt x="3203" y="883"/>
                </a:cubicBezTo>
                <a:cubicBezTo>
                  <a:pt x="3203" y="884"/>
                  <a:pt x="3202" y="884"/>
                  <a:pt x="3202" y="884"/>
                </a:cubicBezTo>
                <a:cubicBezTo>
                  <a:pt x="3202" y="884"/>
                  <a:pt x="3201" y="884"/>
                  <a:pt x="3201" y="884"/>
                </a:cubicBezTo>
                <a:cubicBezTo>
                  <a:pt x="3201" y="885"/>
                  <a:pt x="3202" y="885"/>
                  <a:pt x="3202" y="885"/>
                </a:cubicBezTo>
                <a:cubicBezTo>
                  <a:pt x="3202" y="885"/>
                  <a:pt x="3202" y="885"/>
                  <a:pt x="3202" y="885"/>
                </a:cubicBezTo>
                <a:cubicBezTo>
                  <a:pt x="3203" y="885"/>
                  <a:pt x="3203" y="885"/>
                  <a:pt x="3203" y="885"/>
                </a:cubicBezTo>
                <a:cubicBezTo>
                  <a:pt x="3203" y="885"/>
                  <a:pt x="3203" y="886"/>
                  <a:pt x="3203" y="886"/>
                </a:cubicBezTo>
                <a:cubicBezTo>
                  <a:pt x="3203" y="886"/>
                  <a:pt x="3202" y="886"/>
                  <a:pt x="3202" y="886"/>
                </a:cubicBezTo>
                <a:cubicBezTo>
                  <a:pt x="3201" y="886"/>
                  <a:pt x="3201" y="886"/>
                  <a:pt x="3201" y="886"/>
                </a:cubicBezTo>
                <a:cubicBezTo>
                  <a:pt x="3200" y="885"/>
                  <a:pt x="3200" y="885"/>
                  <a:pt x="3200" y="885"/>
                </a:cubicBezTo>
                <a:cubicBezTo>
                  <a:pt x="3199" y="885"/>
                  <a:pt x="3200" y="886"/>
                  <a:pt x="3200" y="886"/>
                </a:cubicBezTo>
                <a:cubicBezTo>
                  <a:pt x="3200" y="886"/>
                  <a:pt x="3200" y="886"/>
                  <a:pt x="3199" y="887"/>
                </a:cubicBezTo>
                <a:cubicBezTo>
                  <a:pt x="3199" y="887"/>
                  <a:pt x="3199" y="887"/>
                  <a:pt x="3199" y="887"/>
                </a:cubicBezTo>
                <a:cubicBezTo>
                  <a:pt x="3198" y="888"/>
                  <a:pt x="3197" y="889"/>
                  <a:pt x="3198" y="889"/>
                </a:cubicBezTo>
                <a:cubicBezTo>
                  <a:pt x="3198" y="889"/>
                  <a:pt x="3198" y="888"/>
                  <a:pt x="3199" y="888"/>
                </a:cubicBezTo>
                <a:cubicBezTo>
                  <a:pt x="3199" y="888"/>
                  <a:pt x="3199" y="888"/>
                  <a:pt x="3199" y="888"/>
                </a:cubicBezTo>
                <a:cubicBezTo>
                  <a:pt x="3200" y="888"/>
                  <a:pt x="3200" y="888"/>
                  <a:pt x="3200" y="888"/>
                </a:cubicBezTo>
                <a:cubicBezTo>
                  <a:pt x="3200" y="888"/>
                  <a:pt x="3200" y="887"/>
                  <a:pt x="3200" y="887"/>
                </a:cubicBezTo>
                <a:cubicBezTo>
                  <a:pt x="3200" y="887"/>
                  <a:pt x="3200" y="887"/>
                  <a:pt x="3200" y="887"/>
                </a:cubicBezTo>
                <a:cubicBezTo>
                  <a:pt x="3200" y="887"/>
                  <a:pt x="3201" y="886"/>
                  <a:pt x="3201" y="887"/>
                </a:cubicBezTo>
                <a:cubicBezTo>
                  <a:pt x="3201" y="887"/>
                  <a:pt x="3201" y="887"/>
                  <a:pt x="3201" y="887"/>
                </a:cubicBezTo>
                <a:cubicBezTo>
                  <a:pt x="3201" y="888"/>
                  <a:pt x="3201" y="888"/>
                  <a:pt x="3202" y="888"/>
                </a:cubicBezTo>
                <a:cubicBezTo>
                  <a:pt x="3202" y="888"/>
                  <a:pt x="3202" y="888"/>
                  <a:pt x="3202" y="889"/>
                </a:cubicBezTo>
                <a:cubicBezTo>
                  <a:pt x="3202" y="889"/>
                  <a:pt x="3202" y="889"/>
                  <a:pt x="3202" y="890"/>
                </a:cubicBezTo>
                <a:cubicBezTo>
                  <a:pt x="3203" y="890"/>
                  <a:pt x="3202" y="891"/>
                  <a:pt x="3203" y="891"/>
                </a:cubicBezTo>
                <a:cubicBezTo>
                  <a:pt x="3203" y="890"/>
                  <a:pt x="3203" y="890"/>
                  <a:pt x="3203" y="890"/>
                </a:cubicBezTo>
                <a:cubicBezTo>
                  <a:pt x="3203" y="889"/>
                  <a:pt x="3203" y="889"/>
                  <a:pt x="3204" y="889"/>
                </a:cubicBezTo>
                <a:cubicBezTo>
                  <a:pt x="3204" y="888"/>
                  <a:pt x="3204" y="888"/>
                  <a:pt x="3205" y="888"/>
                </a:cubicBezTo>
                <a:cubicBezTo>
                  <a:pt x="3205" y="888"/>
                  <a:pt x="3205" y="887"/>
                  <a:pt x="3205" y="887"/>
                </a:cubicBezTo>
                <a:cubicBezTo>
                  <a:pt x="3205" y="887"/>
                  <a:pt x="3206" y="887"/>
                  <a:pt x="3206" y="886"/>
                </a:cubicBezTo>
                <a:cubicBezTo>
                  <a:pt x="3207" y="886"/>
                  <a:pt x="3207" y="886"/>
                  <a:pt x="3208" y="885"/>
                </a:cubicBezTo>
                <a:cubicBezTo>
                  <a:pt x="3208" y="885"/>
                  <a:pt x="3208" y="885"/>
                  <a:pt x="3209" y="885"/>
                </a:cubicBezTo>
                <a:cubicBezTo>
                  <a:pt x="3209" y="885"/>
                  <a:pt x="3209" y="885"/>
                  <a:pt x="3209" y="884"/>
                </a:cubicBezTo>
                <a:cubicBezTo>
                  <a:pt x="3210" y="884"/>
                  <a:pt x="3210" y="885"/>
                  <a:pt x="3211" y="884"/>
                </a:cubicBezTo>
                <a:cubicBezTo>
                  <a:pt x="3211" y="884"/>
                  <a:pt x="3211" y="884"/>
                  <a:pt x="3211" y="884"/>
                </a:cubicBezTo>
                <a:cubicBezTo>
                  <a:pt x="3212" y="885"/>
                  <a:pt x="3211" y="885"/>
                  <a:pt x="3210" y="885"/>
                </a:cubicBezTo>
                <a:cubicBezTo>
                  <a:pt x="3210" y="886"/>
                  <a:pt x="3210" y="886"/>
                  <a:pt x="3210" y="886"/>
                </a:cubicBezTo>
                <a:cubicBezTo>
                  <a:pt x="3209" y="887"/>
                  <a:pt x="3209" y="887"/>
                  <a:pt x="3209" y="887"/>
                </a:cubicBezTo>
                <a:cubicBezTo>
                  <a:pt x="3210" y="887"/>
                  <a:pt x="3210" y="887"/>
                  <a:pt x="3210" y="887"/>
                </a:cubicBezTo>
                <a:cubicBezTo>
                  <a:pt x="3211" y="887"/>
                  <a:pt x="3211" y="887"/>
                  <a:pt x="3211" y="888"/>
                </a:cubicBezTo>
                <a:cubicBezTo>
                  <a:pt x="3212" y="888"/>
                  <a:pt x="3213" y="888"/>
                  <a:pt x="3213" y="887"/>
                </a:cubicBezTo>
                <a:cubicBezTo>
                  <a:pt x="3213" y="887"/>
                  <a:pt x="3213" y="887"/>
                  <a:pt x="3214" y="886"/>
                </a:cubicBezTo>
                <a:cubicBezTo>
                  <a:pt x="3214" y="886"/>
                  <a:pt x="3214" y="886"/>
                  <a:pt x="3214" y="885"/>
                </a:cubicBezTo>
                <a:cubicBezTo>
                  <a:pt x="3214" y="885"/>
                  <a:pt x="3214" y="885"/>
                  <a:pt x="3213" y="885"/>
                </a:cubicBezTo>
                <a:cubicBezTo>
                  <a:pt x="3213" y="885"/>
                  <a:pt x="3213" y="885"/>
                  <a:pt x="3213" y="885"/>
                </a:cubicBezTo>
                <a:cubicBezTo>
                  <a:pt x="3213" y="884"/>
                  <a:pt x="3213" y="884"/>
                  <a:pt x="3213" y="883"/>
                </a:cubicBezTo>
                <a:cubicBezTo>
                  <a:pt x="3213" y="883"/>
                  <a:pt x="3214" y="883"/>
                  <a:pt x="3214" y="883"/>
                </a:cubicBezTo>
                <a:cubicBezTo>
                  <a:pt x="3214" y="883"/>
                  <a:pt x="3214" y="883"/>
                  <a:pt x="3214" y="884"/>
                </a:cubicBezTo>
                <a:cubicBezTo>
                  <a:pt x="3214" y="884"/>
                  <a:pt x="3214" y="884"/>
                  <a:pt x="3214" y="884"/>
                </a:cubicBezTo>
                <a:cubicBezTo>
                  <a:pt x="3215" y="885"/>
                  <a:pt x="3214" y="886"/>
                  <a:pt x="3215" y="886"/>
                </a:cubicBezTo>
                <a:cubicBezTo>
                  <a:pt x="3216" y="886"/>
                  <a:pt x="3216" y="885"/>
                  <a:pt x="3216" y="885"/>
                </a:cubicBezTo>
                <a:cubicBezTo>
                  <a:pt x="3217" y="884"/>
                  <a:pt x="3217" y="883"/>
                  <a:pt x="3217" y="883"/>
                </a:cubicBezTo>
                <a:cubicBezTo>
                  <a:pt x="3217" y="883"/>
                  <a:pt x="3217" y="883"/>
                  <a:pt x="3217" y="882"/>
                </a:cubicBezTo>
                <a:cubicBezTo>
                  <a:pt x="3216" y="882"/>
                  <a:pt x="3217" y="882"/>
                  <a:pt x="3217" y="881"/>
                </a:cubicBezTo>
                <a:cubicBezTo>
                  <a:pt x="3218" y="881"/>
                  <a:pt x="3218" y="880"/>
                  <a:pt x="3219" y="880"/>
                </a:cubicBezTo>
                <a:cubicBezTo>
                  <a:pt x="3219" y="880"/>
                  <a:pt x="3220" y="880"/>
                  <a:pt x="3220" y="881"/>
                </a:cubicBezTo>
                <a:cubicBezTo>
                  <a:pt x="3220" y="881"/>
                  <a:pt x="3220" y="881"/>
                  <a:pt x="3221" y="882"/>
                </a:cubicBezTo>
                <a:cubicBezTo>
                  <a:pt x="3221" y="882"/>
                  <a:pt x="3222" y="881"/>
                  <a:pt x="3222" y="882"/>
                </a:cubicBezTo>
                <a:cubicBezTo>
                  <a:pt x="3222" y="882"/>
                  <a:pt x="3222" y="882"/>
                  <a:pt x="3223" y="882"/>
                </a:cubicBezTo>
                <a:cubicBezTo>
                  <a:pt x="3223" y="883"/>
                  <a:pt x="3223" y="882"/>
                  <a:pt x="3224" y="883"/>
                </a:cubicBezTo>
                <a:cubicBezTo>
                  <a:pt x="3224" y="883"/>
                  <a:pt x="3224" y="883"/>
                  <a:pt x="3224" y="883"/>
                </a:cubicBezTo>
                <a:cubicBezTo>
                  <a:pt x="3225" y="883"/>
                  <a:pt x="3224" y="882"/>
                  <a:pt x="3224" y="882"/>
                </a:cubicBezTo>
                <a:cubicBezTo>
                  <a:pt x="3224" y="881"/>
                  <a:pt x="3225" y="881"/>
                  <a:pt x="3225" y="881"/>
                </a:cubicBezTo>
                <a:cubicBezTo>
                  <a:pt x="3225" y="881"/>
                  <a:pt x="3226" y="881"/>
                  <a:pt x="3226" y="881"/>
                </a:cubicBezTo>
                <a:cubicBezTo>
                  <a:pt x="3226" y="881"/>
                  <a:pt x="3226" y="881"/>
                  <a:pt x="3226" y="880"/>
                </a:cubicBezTo>
                <a:cubicBezTo>
                  <a:pt x="3227" y="880"/>
                  <a:pt x="3227" y="880"/>
                  <a:pt x="3227" y="880"/>
                </a:cubicBezTo>
                <a:cubicBezTo>
                  <a:pt x="3227" y="879"/>
                  <a:pt x="3226" y="880"/>
                  <a:pt x="3226" y="879"/>
                </a:cubicBezTo>
                <a:cubicBezTo>
                  <a:pt x="3226" y="879"/>
                  <a:pt x="3227" y="878"/>
                  <a:pt x="3227" y="878"/>
                </a:cubicBezTo>
                <a:cubicBezTo>
                  <a:pt x="3227" y="878"/>
                  <a:pt x="3227" y="879"/>
                  <a:pt x="3227" y="879"/>
                </a:cubicBezTo>
                <a:cubicBezTo>
                  <a:pt x="3228" y="879"/>
                  <a:pt x="3228" y="879"/>
                  <a:pt x="3228" y="879"/>
                </a:cubicBezTo>
                <a:cubicBezTo>
                  <a:pt x="3229" y="879"/>
                  <a:pt x="3229" y="879"/>
                  <a:pt x="3230" y="879"/>
                </a:cubicBezTo>
                <a:cubicBezTo>
                  <a:pt x="3230" y="879"/>
                  <a:pt x="3230" y="879"/>
                  <a:pt x="3230" y="879"/>
                </a:cubicBezTo>
                <a:cubicBezTo>
                  <a:pt x="3231" y="880"/>
                  <a:pt x="3231" y="880"/>
                  <a:pt x="3232" y="880"/>
                </a:cubicBezTo>
                <a:cubicBezTo>
                  <a:pt x="3232" y="880"/>
                  <a:pt x="3232" y="880"/>
                  <a:pt x="3232" y="879"/>
                </a:cubicBezTo>
                <a:cubicBezTo>
                  <a:pt x="3232" y="879"/>
                  <a:pt x="3233" y="879"/>
                  <a:pt x="3233" y="879"/>
                </a:cubicBezTo>
                <a:cubicBezTo>
                  <a:pt x="3234" y="879"/>
                  <a:pt x="3234" y="878"/>
                  <a:pt x="3234" y="878"/>
                </a:cubicBezTo>
                <a:cubicBezTo>
                  <a:pt x="3234" y="877"/>
                  <a:pt x="3234" y="876"/>
                  <a:pt x="3235" y="876"/>
                </a:cubicBezTo>
                <a:cubicBezTo>
                  <a:pt x="3235" y="875"/>
                  <a:pt x="3235" y="874"/>
                  <a:pt x="3236" y="873"/>
                </a:cubicBezTo>
                <a:cubicBezTo>
                  <a:pt x="3236" y="873"/>
                  <a:pt x="3236" y="872"/>
                  <a:pt x="3236" y="872"/>
                </a:cubicBezTo>
                <a:cubicBezTo>
                  <a:pt x="3236" y="872"/>
                  <a:pt x="3236" y="871"/>
                  <a:pt x="3236" y="871"/>
                </a:cubicBezTo>
                <a:cubicBezTo>
                  <a:pt x="3236" y="870"/>
                  <a:pt x="3237" y="869"/>
                  <a:pt x="3237" y="868"/>
                </a:cubicBezTo>
                <a:cubicBezTo>
                  <a:pt x="3237" y="868"/>
                  <a:pt x="3237" y="868"/>
                  <a:pt x="3237" y="868"/>
                </a:cubicBezTo>
                <a:cubicBezTo>
                  <a:pt x="3238" y="867"/>
                  <a:pt x="3238" y="867"/>
                  <a:pt x="3238" y="867"/>
                </a:cubicBezTo>
                <a:cubicBezTo>
                  <a:pt x="3237" y="866"/>
                  <a:pt x="3237" y="867"/>
                  <a:pt x="3236" y="867"/>
                </a:cubicBezTo>
                <a:cubicBezTo>
                  <a:pt x="3235" y="868"/>
                  <a:pt x="3236" y="864"/>
                  <a:pt x="3236" y="863"/>
                </a:cubicBezTo>
                <a:cubicBezTo>
                  <a:pt x="3236" y="861"/>
                  <a:pt x="3235" y="860"/>
                  <a:pt x="3235" y="858"/>
                </a:cubicBezTo>
                <a:cubicBezTo>
                  <a:pt x="3235" y="857"/>
                  <a:pt x="3235" y="857"/>
                  <a:pt x="3235" y="856"/>
                </a:cubicBezTo>
                <a:cubicBezTo>
                  <a:pt x="3235" y="855"/>
                  <a:pt x="3235" y="854"/>
                  <a:pt x="3235" y="853"/>
                </a:cubicBezTo>
                <a:cubicBezTo>
                  <a:pt x="3235" y="852"/>
                  <a:pt x="3235" y="852"/>
                  <a:pt x="3234" y="851"/>
                </a:cubicBezTo>
                <a:cubicBezTo>
                  <a:pt x="3234" y="850"/>
                  <a:pt x="3233" y="850"/>
                  <a:pt x="3233" y="849"/>
                </a:cubicBezTo>
                <a:cubicBezTo>
                  <a:pt x="3233" y="848"/>
                  <a:pt x="3232" y="848"/>
                  <a:pt x="3232" y="847"/>
                </a:cubicBezTo>
                <a:cubicBezTo>
                  <a:pt x="3231" y="846"/>
                  <a:pt x="3231" y="846"/>
                  <a:pt x="3231" y="845"/>
                </a:cubicBezTo>
                <a:cubicBezTo>
                  <a:pt x="3230" y="845"/>
                  <a:pt x="3230" y="844"/>
                  <a:pt x="3230" y="844"/>
                </a:cubicBezTo>
                <a:cubicBezTo>
                  <a:pt x="3230" y="843"/>
                  <a:pt x="3229" y="843"/>
                  <a:pt x="3229" y="842"/>
                </a:cubicBezTo>
                <a:cubicBezTo>
                  <a:pt x="3229" y="842"/>
                  <a:pt x="3228" y="841"/>
                  <a:pt x="3228" y="841"/>
                </a:cubicBezTo>
                <a:cubicBezTo>
                  <a:pt x="3228" y="840"/>
                  <a:pt x="3227" y="840"/>
                  <a:pt x="3227" y="839"/>
                </a:cubicBezTo>
                <a:cubicBezTo>
                  <a:pt x="3227" y="839"/>
                  <a:pt x="3226" y="838"/>
                  <a:pt x="3226" y="837"/>
                </a:cubicBezTo>
                <a:cubicBezTo>
                  <a:pt x="3226" y="837"/>
                  <a:pt x="3226" y="837"/>
                  <a:pt x="3225" y="836"/>
                </a:cubicBezTo>
                <a:cubicBezTo>
                  <a:pt x="3225" y="835"/>
                  <a:pt x="3224" y="834"/>
                  <a:pt x="3224" y="833"/>
                </a:cubicBezTo>
                <a:cubicBezTo>
                  <a:pt x="3223" y="833"/>
                  <a:pt x="3223" y="832"/>
                  <a:pt x="3222" y="832"/>
                </a:cubicBezTo>
                <a:cubicBezTo>
                  <a:pt x="3221" y="831"/>
                  <a:pt x="3220" y="829"/>
                  <a:pt x="3219" y="828"/>
                </a:cubicBezTo>
                <a:cubicBezTo>
                  <a:pt x="3218" y="828"/>
                  <a:pt x="3217" y="826"/>
                  <a:pt x="3215" y="826"/>
                </a:cubicBezTo>
                <a:cubicBezTo>
                  <a:pt x="3215" y="826"/>
                  <a:pt x="3214" y="826"/>
                  <a:pt x="3214" y="826"/>
                </a:cubicBezTo>
                <a:cubicBezTo>
                  <a:pt x="3214" y="826"/>
                  <a:pt x="3213" y="826"/>
                  <a:pt x="3213" y="825"/>
                </a:cubicBezTo>
                <a:cubicBezTo>
                  <a:pt x="3213" y="825"/>
                  <a:pt x="3212" y="825"/>
                  <a:pt x="3212" y="825"/>
                </a:cubicBezTo>
                <a:cubicBezTo>
                  <a:pt x="3212" y="824"/>
                  <a:pt x="3213" y="824"/>
                  <a:pt x="3213" y="824"/>
                </a:cubicBezTo>
                <a:cubicBezTo>
                  <a:pt x="3214" y="822"/>
                  <a:pt x="3214" y="824"/>
                  <a:pt x="3214" y="825"/>
                </a:cubicBezTo>
                <a:cubicBezTo>
                  <a:pt x="3215" y="824"/>
                  <a:pt x="3214" y="823"/>
                  <a:pt x="3214" y="823"/>
                </a:cubicBezTo>
                <a:cubicBezTo>
                  <a:pt x="3214" y="822"/>
                  <a:pt x="3215" y="821"/>
                  <a:pt x="3215" y="820"/>
                </a:cubicBezTo>
                <a:cubicBezTo>
                  <a:pt x="3214" y="820"/>
                  <a:pt x="3214" y="819"/>
                  <a:pt x="3214" y="818"/>
                </a:cubicBezTo>
                <a:cubicBezTo>
                  <a:pt x="3215" y="818"/>
                  <a:pt x="3216" y="818"/>
                  <a:pt x="3216" y="817"/>
                </a:cubicBezTo>
                <a:cubicBezTo>
                  <a:pt x="3217" y="817"/>
                  <a:pt x="3217" y="817"/>
                  <a:pt x="3218" y="816"/>
                </a:cubicBezTo>
                <a:cubicBezTo>
                  <a:pt x="3218" y="816"/>
                  <a:pt x="3218" y="816"/>
                  <a:pt x="3219" y="816"/>
                </a:cubicBezTo>
                <a:cubicBezTo>
                  <a:pt x="3220" y="816"/>
                  <a:pt x="3221" y="816"/>
                  <a:pt x="3222" y="816"/>
                </a:cubicBezTo>
                <a:cubicBezTo>
                  <a:pt x="3223" y="815"/>
                  <a:pt x="3224" y="814"/>
                  <a:pt x="3226" y="813"/>
                </a:cubicBezTo>
                <a:cubicBezTo>
                  <a:pt x="3227" y="812"/>
                  <a:pt x="3229" y="811"/>
                  <a:pt x="3230" y="810"/>
                </a:cubicBezTo>
                <a:cubicBezTo>
                  <a:pt x="3230" y="809"/>
                  <a:pt x="3231" y="809"/>
                  <a:pt x="3232" y="808"/>
                </a:cubicBezTo>
                <a:cubicBezTo>
                  <a:pt x="3233" y="807"/>
                  <a:pt x="3234" y="807"/>
                  <a:pt x="3236" y="806"/>
                </a:cubicBezTo>
                <a:cubicBezTo>
                  <a:pt x="3236" y="806"/>
                  <a:pt x="3237" y="805"/>
                  <a:pt x="3237" y="805"/>
                </a:cubicBezTo>
                <a:cubicBezTo>
                  <a:pt x="3238" y="804"/>
                  <a:pt x="3239" y="804"/>
                  <a:pt x="3239" y="803"/>
                </a:cubicBezTo>
                <a:cubicBezTo>
                  <a:pt x="3240" y="802"/>
                  <a:pt x="3239" y="801"/>
                  <a:pt x="3239" y="801"/>
                </a:cubicBezTo>
                <a:cubicBezTo>
                  <a:pt x="3239" y="800"/>
                  <a:pt x="3239" y="799"/>
                  <a:pt x="3239" y="799"/>
                </a:cubicBezTo>
                <a:cubicBezTo>
                  <a:pt x="3240" y="798"/>
                  <a:pt x="3240" y="797"/>
                  <a:pt x="3240" y="797"/>
                </a:cubicBezTo>
                <a:cubicBezTo>
                  <a:pt x="3240" y="796"/>
                  <a:pt x="3240" y="796"/>
                  <a:pt x="3240" y="795"/>
                </a:cubicBezTo>
                <a:cubicBezTo>
                  <a:pt x="3240" y="794"/>
                  <a:pt x="3240" y="794"/>
                  <a:pt x="3240" y="793"/>
                </a:cubicBezTo>
                <a:cubicBezTo>
                  <a:pt x="3241" y="792"/>
                  <a:pt x="3241" y="791"/>
                  <a:pt x="3241" y="790"/>
                </a:cubicBezTo>
                <a:cubicBezTo>
                  <a:pt x="3242" y="790"/>
                  <a:pt x="3242" y="789"/>
                  <a:pt x="3243" y="788"/>
                </a:cubicBezTo>
                <a:cubicBezTo>
                  <a:pt x="3243" y="788"/>
                  <a:pt x="3243" y="787"/>
                  <a:pt x="3244" y="786"/>
                </a:cubicBezTo>
                <a:cubicBezTo>
                  <a:pt x="3245" y="786"/>
                  <a:pt x="3245" y="785"/>
                  <a:pt x="3246" y="785"/>
                </a:cubicBezTo>
                <a:cubicBezTo>
                  <a:pt x="3247" y="784"/>
                  <a:pt x="3247" y="783"/>
                  <a:pt x="3248" y="783"/>
                </a:cubicBezTo>
                <a:cubicBezTo>
                  <a:pt x="3249" y="783"/>
                  <a:pt x="3249" y="783"/>
                  <a:pt x="3250" y="784"/>
                </a:cubicBezTo>
                <a:cubicBezTo>
                  <a:pt x="3250" y="784"/>
                  <a:pt x="3250" y="784"/>
                  <a:pt x="3250" y="784"/>
                </a:cubicBezTo>
                <a:cubicBezTo>
                  <a:pt x="3251" y="784"/>
                  <a:pt x="3251" y="784"/>
                  <a:pt x="3251" y="783"/>
                </a:cubicBezTo>
                <a:cubicBezTo>
                  <a:pt x="3251" y="783"/>
                  <a:pt x="3251" y="783"/>
                  <a:pt x="3252" y="782"/>
                </a:cubicBezTo>
                <a:cubicBezTo>
                  <a:pt x="3252" y="782"/>
                  <a:pt x="3252" y="781"/>
                  <a:pt x="3252" y="780"/>
                </a:cubicBezTo>
                <a:cubicBezTo>
                  <a:pt x="3252" y="780"/>
                  <a:pt x="3251" y="779"/>
                  <a:pt x="3252" y="779"/>
                </a:cubicBezTo>
                <a:cubicBezTo>
                  <a:pt x="3252" y="780"/>
                  <a:pt x="3252" y="780"/>
                  <a:pt x="3253" y="780"/>
                </a:cubicBezTo>
                <a:cubicBezTo>
                  <a:pt x="3253" y="780"/>
                  <a:pt x="3253" y="779"/>
                  <a:pt x="3253" y="779"/>
                </a:cubicBezTo>
                <a:cubicBezTo>
                  <a:pt x="3254" y="779"/>
                  <a:pt x="3255" y="779"/>
                  <a:pt x="3255" y="779"/>
                </a:cubicBezTo>
                <a:cubicBezTo>
                  <a:pt x="3255" y="780"/>
                  <a:pt x="3256" y="780"/>
                  <a:pt x="3256" y="780"/>
                </a:cubicBezTo>
                <a:cubicBezTo>
                  <a:pt x="3256" y="780"/>
                  <a:pt x="3256" y="779"/>
                  <a:pt x="3257" y="779"/>
                </a:cubicBezTo>
                <a:cubicBezTo>
                  <a:pt x="3257" y="778"/>
                  <a:pt x="3258" y="778"/>
                  <a:pt x="3258" y="777"/>
                </a:cubicBezTo>
                <a:cubicBezTo>
                  <a:pt x="3259" y="777"/>
                  <a:pt x="3259" y="776"/>
                  <a:pt x="3259" y="776"/>
                </a:cubicBezTo>
                <a:cubicBezTo>
                  <a:pt x="3259" y="775"/>
                  <a:pt x="3260" y="774"/>
                  <a:pt x="3261" y="773"/>
                </a:cubicBezTo>
                <a:cubicBezTo>
                  <a:pt x="3261" y="773"/>
                  <a:pt x="3261" y="772"/>
                  <a:pt x="3262" y="771"/>
                </a:cubicBezTo>
                <a:cubicBezTo>
                  <a:pt x="3262" y="771"/>
                  <a:pt x="3262" y="771"/>
                  <a:pt x="3263" y="771"/>
                </a:cubicBezTo>
                <a:cubicBezTo>
                  <a:pt x="3263" y="770"/>
                  <a:pt x="3263" y="770"/>
                  <a:pt x="3263" y="770"/>
                </a:cubicBezTo>
                <a:cubicBezTo>
                  <a:pt x="3264" y="770"/>
                  <a:pt x="3264" y="770"/>
                  <a:pt x="3264" y="770"/>
                </a:cubicBezTo>
                <a:cubicBezTo>
                  <a:pt x="3265" y="770"/>
                  <a:pt x="3265" y="770"/>
                  <a:pt x="3265" y="770"/>
                </a:cubicBezTo>
                <a:cubicBezTo>
                  <a:pt x="3265" y="771"/>
                  <a:pt x="3265" y="771"/>
                  <a:pt x="3264" y="771"/>
                </a:cubicBezTo>
                <a:cubicBezTo>
                  <a:pt x="3264" y="772"/>
                  <a:pt x="3264" y="772"/>
                  <a:pt x="3264" y="772"/>
                </a:cubicBezTo>
                <a:cubicBezTo>
                  <a:pt x="3263" y="772"/>
                  <a:pt x="3263" y="773"/>
                  <a:pt x="3263" y="773"/>
                </a:cubicBezTo>
                <a:cubicBezTo>
                  <a:pt x="3263" y="773"/>
                  <a:pt x="3264" y="773"/>
                  <a:pt x="3264" y="773"/>
                </a:cubicBezTo>
                <a:cubicBezTo>
                  <a:pt x="3265" y="773"/>
                  <a:pt x="3266" y="773"/>
                  <a:pt x="3266" y="772"/>
                </a:cubicBezTo>
                <a:cubicBezTo>
                  <a:pt x="3267" y="772"/>
                  <a:pt x="3268" y="771"/>
                  <a:pt x="3268" y="771"/>
                </a:cubicBezTo>
                <a:cubicBezTo>
                  <a:pt x="3269" y="771"/>
                  <a:pt x="3268" y="772"/>
                  <a:pt x="3268" y="772"/>
                </a:cubicBezTo>
                <a:cubicBezTo>
                  <a:pt x="3268" y="773"/>
                  <a:pt x="3268" y="773"/>
                  <a:pt x="3268" y="774"/>
                </a:cubicBezTo>
                <a:cubicBezTo>
                  <a:pt x="3268" y="774"/>
                  <a:pt x="3268" y="775"/>
                  <a:pt x="3268" y="775"/>
                </a:cubicBezTo>
                <a:cubicBezTo>
                  <a:pt x="3269" y="776"/>
                  <a:pt x="3268" y="777"/>
                  <a:pt x="3269" y="777"/>
                </a:cubicBezTo>
                <a:cubicBezTo>
                  <a:pt x="3269" y="776"/>
                  <a:pt x="3270" y="775"/>
                  <a:pt x="3270" y="776"/>
                </a:cubicBezTo>
                <a:cubicBezTo>
                  <a:pt x="3271" y="777"/>
                  <a:pt x="3271" y="777"/>
                  <a:pt x="3272" y="776"/>
                </a:cubicBezTo>
                <a:cubicBezTo>
                  <a:pt x="3273" y="776"/>
                  <a:pt x="3273" y="775"/>
                  <a:pt x="3274" y="776"/>
                </a:cubicBezTo>
                <a:cubicBezTo>
                  <a:pt x="3274" y="776"/>
                  <a:pt x="3274" y="776"/>
                  <a:pt x="3275" y="776"/>
                </a:cubicBezTo>
                <a:cubicBezTo>
                  <a:pt x="3275" y="777"/>
                  <a:pt x="3275" y="777"/>
                  <a:pt x="3276" y="777"/>
                </a:cubicBezTo>
                <a:cubicBezTo>
                  <a:pt x="3276" y="777"/>
                  <a:pt x="3276" y="778"/>
                  <a:pt x="3276" y="778"/>
                </a:cubicBezTo>
                <a:cubicBezTo>
                  <a:pt x="3277" y="778"/>
                  <a:pt x="3277" y="778"/>
                  <a:pt x="3277" y="778"/>
                </a:cubicBezTo>
                <a:cubicBezTo>
                  <a:pt x="3277" y="778"/>
                  <a:pt x="3277" y="779"/>
                  <a:pt x="3277" y="779"/>
                </a:cubicBezTo>
                <a:cubicBezTo>
                  <a:pt x="3278" y="779"/>
                  <a:pt x="3278" y="779"/>
                  <a:pt x="3278" y="779"/>
                </a:cubicBezTo>
                <a:cubicBezTo>
                  <a:pt x="3279" y="778"/>
                  <a:pt x="3280" y="778"/>
                  <a:pt x="3280" y="777"/>
                </a:cubicBezTo>
                <a:cubicBezTo>
                  <a:pt x="3281" y="777"/>
                  <a:pt x="3282" y="777"/>
                  <a:pt x="3283" y="777"/>
                </a:cubicBezTo>
                <a:cubicBezTo>
                  <a:pt x="3284" y="777"/>
                  <a:pt x="3285" y="777"/>
                  <a:pt x="3286" y="776"/>
                </a:cubicBezTo>
                <a:cubicBezTo>
                  <a:pt x="3286" y="776"/>
                  <a:pt x="3286" y="776"/>
                  <a:pt x="3287" y="776"/>
                </a:cubicBezTo>
                <a:cubicBezTo>
                  <a:pt x="3288" y="775"/>
                  <a:pt x="3290" y="775"/>
                  <a:pt x="3291" y="774"/>
                </a:cubicBezTo>
                <a:cubicBezTo>
                  <a:pt x="3292" y="773"/>
                  <a:pt x="3293" y="772"/>
                  <a:pt x="3294" y="772"/>
                </a:cubicBezTo>
                <a:cubicBezTo>
                  <a:pt x="3294" y="771"/>
                  <a:pt x="3295" y="771"/>
                  <a:pt x="3295" y="771"/>
                </a:cubicBezTo>
                <a:cubicBezTo>
                  <a:pt x="3296" y="770"/>
                  <a:pt x="3296" y="770"/>
                  <a:pt x="3297" y="770"/>
                </a:cubicBezTo>
                <a:cubicBezTo>
                  <a:pt x="3297" y="770"/>
                  <a:pt x="3298" y="770"/>
                  <a:pt x="3298" y="769"/>
                </a:cubicBezTo>
                <a:cubicBezTo>
                  <a:pt x="3299" y="769"/>
                  <a:pt x="3300" y="768"/>
                  <a:pt x="3300" y="768"/>
                </a:cubicBezTo>
                <a:cubicBezTo>
                  <a:pt x="3301" y="767"/>
                  <a:pt x="3302" y="766"/>
                  <a:pt x="3303" y="766"/>
                </a:cubicBezTo>
                <a:cubicBezTo>
                  <a:pt x="3303" y="765"/>
                  <a:pt x="3304" y="764"/>
                  <a:pt x="3305" y="763"/>
                </a:cubicBezTo>
                <a:cubicBezTo>
                  <a:pt x="3305" y="761"/>
                  <a:pt x="3306" y="760"/>
                  <a:pt x="3307" y="759"/>
                </a:cubicBezTo>
                <a:cubicBezTo>
                  <a:pt x="3307" y="758"/>
                  <a:pt x="3307" y="758"/>
                  <a:pt x="3308" y="758"/>
                </a:cubicBezTo>
                <a:cubicBezTo>
                  <a:pt x="3308" y="757"/>
                  <a:pt x="3309" y="756"/>
                  <a:pt x="3309" y="756"/>
                </a:cubicBezTo>
                <a:cubicBezTo>
                  <a:pt x="3310" y="755"/>
                  <a:pt x="3312" y="754"/>
                  <a:pt x="3313" y="753"/>
                </a:cubicBezTo>
                <a:cubicBezTo>
                  <a:pt x="3314" y="752"/>
                  <a:pt x="3314" y="751"/>
                  <a:pt x="3315" y="750"/>
                </a:cubicBezTo>
                <a:cubicBezTo>
                  <a:pt x="3316" y="749"/>
                  <a:pt x="3317" y="748"/>
                  <a:pt x="3317" y="747"/>
                </a:cubicBezTo>
                <a:cubicBezTo>
                  <a:pt x="3319" y="745"/>
                  <a:pt x="3322" y="743"/>
                  <a:pt x="3323" y="741"/>
                </a:cubicBezTo>
                <a:cubicBezTo>
                  <a:pt x="3325" y="740"/>
                  <a:pt x="3326" y="739"/>
                  <a:pt x="3327" y="738"/>
                </a:cubicBezTo>
                <a:cubicBezTo>
                  <a:pt x="3327" y="737"/>
                  <a:pt x="3328" y="737"/>
                  <a:pt x="3328" y="736"/>
                </a:cubicBezTo>
                <a:cubicBezTo>
                  <a:pt x="3328" y="736"/>
                  <a:pt x="3329" y="736"/>
                  <a:pt x="3329" y="735"/>
                </a:cubicBezTo>
                <a:cubicBezTo>
                  <a:pt x="3330" y="735"/>
                  <a:pt x="3331" y="734"/>
                  <a:pt x="3331" y="733"/>
                </a:cubicBezTo>
                <a:cubicBezTo>
                  <a:pt x="3332" y="732"/>
                  <a:pt x="3333" y="731"/>
                  <a:pt x="3333" y="730"/>
                </a:cubicBezTo>
                <a:cubicBezTo>
                  <a:pt x="3334" y="730"/>
                  <a:pt x="3335" y="729"/>
                  <a:pt x="3336" y="728"/>
                </a:cubicBezTo>
                <a:cubicBezTo>
                  <a:pt x="3336" y="727"/>
                  <a:pt x="3337" y="726"/>
                  <a:pt x="3337" y="725"/>
                </a:cubicBezTo>
                <a:cubicBezTo>
                  <a:pt x="3338" y="725"/>
                  <a:pt x="3338" y="724"/>
                  <a:pt x="3339" y="723"/>
                </a:cubicBezTo>
                <a:cubicBezTo>
                  <a:pt x="3339" y="722"/>
                  <a:pt x="3339" y="721"/>
                  <a:pt x="3339" y="720"/>
                </a:cubicBezTo>
                <a:cubicBezTo>
                  <a:pt x="3339" y="720"/>
                  <a:pt x="3339" y="719"/>
                  <a:pt x="3340" y="718"/>
                </a:cubicBezTo>
                <a:cubicBezTo>
                  <a:pt x="3341" y="716"/>
                  <a:pt x="3342" y="715"/>
                  <a:pt x="3343" y="714"/>
                </a:cubicBezTo>
                <a:cubicBezTo>
                  <a:pt x="3344" y="713"/>
                  <a:pt x="3344" y="713"/>
                  <a:pt x="3345" y="712"/>
                </a:cubicBezTo>
                <a:cubicBezTo>
                  <a:pt x="3346" y="711"/>
                  <a:pt x="3347" y="710"/>
                  <a:pt x="3347" y="709"/>
                </a:cubicBezTo>
                <a:cubicBezTo>
                  <a:pt x="3348" y="707"/>
                  <a:pt x="3349" y="705"/>
                  <a:pt x="3351" y="704"/>
                </a:cubicBezTo>
                <a:cubicBezTo>
                  <a:pt x="3352" y="703"/>
                  <a:pt x="3352" y="703"/>
                  <a:pt x="3353" y="702"/>
                </a:cubicBezTo>
                <a:cubicBezTo>
                  <a:pt x="3354" y="701"/>
                  <a:pt x="3355" y="700"/>
                  <a:pt x="3356" y="699"/>
                </a:cubicBezTo>
                <a:cubicBezTo>
                  <a:pt x="3356" y="699"/>
                  <a:pt x="3357" y="698"/>
                  <a:pt x="3357" y="697"/>
                </a:cubicBezTo>
                <a:cubicBezTo>
                  <a:pt x="3358" y="696"/>
                  <a:pt x="3358" y="695"/>
                  <a:pt x="3358" y="694"/>
                </a:cubicBezTo>
                <a:cubicBezTo>
                  <a:pt x="3359" y="693"/>
                  <a:pt x="3359" y="693"/>
                  <a:pt x="3360" y="692"/>
                </a:cubicBezTo>
                <a:cubicBezTo>
                  <a:pt x="3360" y="691"/>
                  <a:pt x="3360" y="691"/>
                  <a:pt x="3360" y="690"/>
                </a:cubicBezTo>
                <a:cubicBezTo>
                  <a:pt x="3360" y="689"/>
                  <a:pt x="3361" y="689"/>
                  <a:pt x="3361" y="688"/>
                </a:cubicBezTo>
                <a:cubicBezTo>
                  <a:pt x="3360" y="688"/>
                  <a:pt x="3360" y="688"/>
                  <a:pt x="3360" y="688"/>
                </a:cubicBezTo>
                <a:cubicBezTo>
                  <a:pt x="3360" y="688"/>
                  <a:pt x="3360" y="689"/>
                  <a:pt x="3359" y="688"/>
                </a:cubicBezTo>
                <a:cubicBezTo>
                  <a:pt x="3359" y="688"/>
                  <a:pt x="3360" y="688"/>
                  <a:pt x="3360" y="687"/>
                </a:cubicBezTo>
                <a:cubicBezTo>
                  <a:pt x="3360" y="687"/>
                  <a:pt x="3360" y="687"/>
                  <a:pt x="3360" y="686"/>
                </a:cubicBezTo>
                <a:cubicBezTo>
                  <a:pt x="3360" y="686"/>
                  <a:pt x="3360" y="686"/>
                  <a:pt x="3361" y="685"/>
                </a:cubicBezTo>
                <a:cubicBezTo>
                  <a:pt x="3361" y="685"/>
                  <a:pt x="3362" y="684"/>
                  <a:pt x="3362" y="683"/>
                </a:cubicBezTo>
                <a:cubicBezTo>
                  <a:pt x="3362" y="683"/>
                  <a:pt x="3362" y="682"/>
                  <a:pt x="3362" y="682"/>
                </a:cubicBezTo>
                <a:cubicBezTo>
                  <a:pt x="3362" y="682"/>
                  <a:pt x="3362" y="681"/>
                  <a:pt x="3362" y="681"/>
                </a:cubicBezTo>
                <a:cubicBezTo>
                  <a:pt x="3363" y="680"/>
                  <a:pt x="3363" y="679"/>
                  <a:pt x="3363" y="678"/>
                </a:cubicBezTo>
                <a:cubicBezTo>
                  <a:pt x="3363" y="677"/>
                  <a:pt x="3362" y="677"/>
                  <a:pt x="3362" y="676"/>
                </a:cubicBezTo>
                <a:cubicBezTo>
                  <a:pt x="3361" y="676"/>
                  <a:pt x="3361" y="675"/>
                  <a:pt x="3362" y="675"/>
                </a:cubicBezTo>
                <a:cubicBezTo>
                  <a:pt x="3362" y="674"/>
                  <a:pt x="3362" y="674"/>
                  <a:pt x="3363" y="673"/>
                </a:cubicBezTo>
                <a:cubicBezTo>
                  <a:pt x="3363" y="673"/>
                  <a:pt x="3364" y="673"/>
                  <a:pt x="3364" y="672"/>
                </a:cubicBezTo>
                <a:cubicBezTo>
                  <a:pt x="3363" y="672"/>
                  <a:pt x="3363" y="672"/>
                  <a:pt x="3363" y="672"/>
                </a:cubicBezTo>
                <a:cubicBezTo>
                  <a:pt x="3362" y="672"/>
                  <a:pt x="3362" y="671"/>
                  <a:pt x="3362" y="671"/>
                </a:cubicBezTo>
                <a:cubicBezTo>
                  <a:pt x="3362" y="669"/>
                  <a:pt x="3363" y="668"/>
                  <a:pt x="3362" y="667"/>
                </a:cubicBezTo>
                <a:cubicBezTo>
                  <a:pt x="3362" y="666"/>
                  <a:pt x="3362" y="666"/>
                  <a:pt x="3362" y="665"/>
                </a:cubicBezTo>
                <a:cubicBezTo>
                  <a:pt x="3362" y="664"/>
                  <a:pt x="3362" y="663"/>
                  <a:pt x="3363" y="662"/>
                </a:cubicBezTo>
                <a:cubicBezTo>
                  <a:pt x="3363" y="661"/>
                  <a:pt x="3364" y="660"/>
                  <a:pt x="3364" y="658"/>
                </a:cubicBezTo>
                <a:cubicBezTo>
                  <a:pt x="3364" y="658"/>
                  <a:pt x="3364" y="658"/>
                  <a:pt x="3364" y="657"/>
                </a:cubicBezTo>
                <a:cubicBezTo>
                  <a:pt x="3364" y="656"/>
                  <a:pt x="3364" y="655"/>
                  <a:pt x="3365" y="654"/>
                </a:cubicBezTo>
                <a:cubicBezTo>
                  <a:pt x="3365" y="654"/>
                  <a:pt x="3366" y="654"/>
                  <a:pt x="3366" y="653"/>
                </a:cubicBezTo>
                <a:cubicBezTo>
                  <a:pt x="3367" y="652"/>
                  <a:pt x="3366" y="652"/>
                  <a:pt x="3366" y="651"/>
                </a:cubicBezTo>
                <a:cubicBezTo>
                  <a:pt x="3366" y="650"/>
                  <a:pt x="3367" y="650"/>
                  <a:pt x="3368" y="649"/>
                </a:cubicBezTo>
                <a:cubicBezTo>
                  <a:pt x="3368" y="648"/>
                  <a:pt x="3369" y="648"/>
                  <a:pt x="3370" y="647"/>
                </a:cubicBezTo>
                <a:cubicBezTo>
                  <a:pt x="3370" y="646"/>
                  <a:pt x="3371" y="646"/>
                  <a:pt x="3372" y="645"/>
                </a:cubicBezTo>
                <a:cubicBezTo>
                  <a:pt x="3373" y="645"/>
                  <a:pt x="3372" y="644"/>
                  <a:pt x="3372" y="643"/>
                </a:cubicBezTo>
                <a:cubicBezTo>
                  <a:pt x="3372" y="643"/>
                  <a:pt x="3371" y="643"/>
                  <a:pt x="3372" y="642"/>
                </a:cubicBezTo>
                <a:cubicBezTo>
                  <a:pt x="3372" y="641"/>
                  <a:pt x="3373" y="642"/>
                  <a:pt x="3373" y="641"/>
                </a:cubicBezTo>
                <a:cubicBezTo>
                  <a:pt x="3374" y="641"/>
                  <a:pt x="3374" y="640"/>
                  <a:pt x="3373" y="640"/>
                </a:cubicBezTo>
                <a:cubicBezTo>
                  <a:pt x="3373" y="640"/>
                  <a:pt x="3372" y="640"/>
                  <a:pt x="3372" y="640"/>
                </a:cubicBezTo>
                <a:cubicBezTo>
                  <a:pt x="3371" y="640"/>
                  <a:pt x="3371" y="639"/>
                  <a:pt x="3371" y="639"/>
                </a:cubicBezTo>
                <a:cubicBezTo>
                  <a:pt x="3370" y="639"/>
                  <a:pt x="3370" y="638"/>
                  <a:pt x="3369" y="638"/>
                </a:cubicBezTo>
                <a:cubicBezTo>
                  <a:pt x="3369" y="637"/>
                  <a:pt x="3369" y="637"/>
                  <a:pt x="3369" y="636"/>
                </a:cubicBezTo>
                <a:cubicBezTo>
                  <a:pt x="3370" y="636"/>
                  <a:pt x="3370" y="636"/>
                  <a:pt x="3370" y="636"/>
                </a:cubicBezTo>
                <a:cubicBezTo>
                  <a:pt x="3371" y="636"/>
                  <a:pt x="3370" y="635"/>
                  <a:pt x="3370" y="635"/>
                </a:cubicBezTo>
                <a:cubicBezTo>
                  <a:pt x="3370" y="634"/>
                  <a:pt x="3371" y="634"/>
                  <a:pt x="3371" y="633"/>
                </a:cubicBezTo>
                <a:cubicBezTo>
                  <a:pt x="3371" y="633"/>
                  <a:pt x="3371" y="632"/>
                  <a:pt x="3371" y="631"/>
                </a:cubicBezTo>
                <a:cubicBezTo>
                  <a:pt x="3370" y="631"/>
                  <a:pt x="3370" y="630"/>
                  <a:pt x="3369" y="630"/>
                </a:cubicBezTo>
                <a:cubicBezTo>
                  <a:pt x="3369" y="630"/>
                  <a:pt x="3369" y="630"/>
                  <a:pt x="3368" y="630"/>
                </a:cubicBezTo>
                <a:cubicBezTo>
                  <a:pt x="3368" y="629"/>
                  <a:pt x="3367" y="629"/>
                  <a:pt x="3367" y="628"/>
                </a:cubicBezTo>
                <a:cubicBezTo>
                  <a:pt x="3367" y="627"/>
                  <a:pt x="3368" y="628"/>
                  <a:pt x="3368" y="628"/>
                </a:cubicBezTo>
                <a:cubicBezTo>
                  <a:pt x="3369" y="629"/>
                  <a:pt x="3369" y="628"/>
                  <a:pt x="3369" y="628"/>
                </a:cubicBezTo>
                <a:cubicBezTo>
                  <a:pt x="3370" y="629"/>
                  <a:pt x="3370" y="629"/>
                  <a:pt x="3370" y="629"/>
                </a:cubicBezTo>
                <a:cubicBezTo>
                  <a:pt x="3371" y="628"/>
                  <a:pt x="3371" y="628"/>
                  <a:pt x="3371" y="628"/>
                </a:cubicBezTo>
                <a:cubicBezTo>
                  <a:pt x="3371" y="627"/>
                  <a:pt x="3371" y="627"/>
                  <a:pt x="3372" y="627"/>
                </a:cubicBezTo>
                <a:cubicBezTo>
                  <a:pt x="3372" y="627"/>
                  <a:pt x="3373" y="626"/>
                  <a:pt x="3372" y="625"/>
                </a:cubicBezTo>
                <a:cubicBezTo>
                  <a:pt x="3372" y="624"/>
                  <a:pt x="3372" y="624"/>
                  <a:pt x="3371" y="623"/>
                </a:cubicBezTo>
                <a:cubicBezTo>
                  <a:pt x="3371" y="623"/>
                  <a:pt x="3370" y="622"/>
                  <a:pt x="3369" y="622"/>
                </a:cubicBezTo>
                <a:cubicBezTo>
                  <a:pt x="3368" y="621"/>
                  <a:pt x="3367" y="621"/>
                  <a:pt x="3367" y="621"/>
                </a:cubicBezTo>
                <a:cubicBezTo>
                  <a:pt x="3366" y="620"/>
                  <a:pt x="3365" y="620"/>
                  <a:pt x="3365" y="619"/>
                </a:cubicBezTo>
                <a:cubicBezTo>
                  <a:pt x="3364" y="619"/>
                  <a:pt x="3363" y="618"/>
                  <a:pt x="3363" y="618"/>
                </a:cubicBezTo>
                <a:cubicBezTo>
                  <a:pt x="3362" y="618"/>
                  <a:pt x="3362" y="617"/>
                  <a:pt x="3362" y="617"/>
                </a:cubicBezTo>
                <a:cubicBezTo>
                  <a:pt x="3361" y="617"/>
                  <a:pt x="3361" y="616"/>
                  <a:pt x="3361" y="616"/>
                </a:cubicBezTo>
                <a:cubicBezTo>
                  <a:pt x="3360" y="615"/>
                  <a:pt x="3359" y="615"/>
                  <a:pt x="3359" y="614"/>
                </a:cubicBezTo>
                <a:cubicBezTo>
                  <a:pt x="3358" y="614"/>
                  <a:pt x="3358" y="613"/>
                  <a:pt x="3357" y="612"/>
                </a:cubicBezTo>
                <a:cubicBezTo>
                  <a:pt x="3357" y="611"/>
                  <a:pt x="3356" y="610"/>
                  <a:pt x="3356" y="610"/>
                </a:cubicBezTo>
                <a:cubicBezTo>
                  <a:pt x="3355" y="609"/>
                  <a:pt x="3354" y="608"/>
                  <a:pt x="3354" y="608"/>
                </a:cubicBezTo>
                <a:cubicBezTo>
                  <a:pt x="3353" y="608"/>
                  <a:pt x="3352" y="608"/>
                  <a:pt x="3351" y="608"/>
                </a:cubicBezTo>
                <a:cubicBezTo>
                  <a:pt x="3349" y="608"/>
                  <a:pt x="3347" y="609"/>
                  <a:pt x="3346" y="609"/>
                </a:cubicBezTo>
                <a:cubicBezTo>
                  <a:pt x="3345" y="608"/>
                  <a:pt x="3344" y="608"/>
                  <a:pt x="3343" y="608"/>
                </a:cubicBezTo>
                <a:cubicBezTo>
                  <a:pt x="3343" y="608"/>
                  <a:pt x="3342" y="608"/>
                  <a:pt x="3341" y="608"/>
                </a:cubicBezTo>
                <a:cubicBezTo>
                  <a:pt x="3341" y="609"/>
                  <a:pt x="3341" y="609"/>
                  <a:pt x="3342" y="609"/>
                </a:cubicBezTo>
                <a:cubicBezTo>
                  <a:pt x="3342" y="609"/>
                  <a:pt x="3342" y="610"/>
                  <a:pt x="3342" y="610"/>
                </a:cubicBezTo>
                <a:cubicBezTo>
                  <a:pt x="3342" y="610"/>
                  <a:pt x="3342" y="611"/>
                  <a:pt x="3341" y="611"/>
                </a:cubicBezTo>
                <a:cubicBezTo>
                  <a:pt x="3341" y="611"/>
                  <a:pt x="3341" y="611"/>
                  <a:pt x="3342" y="612"/>
                </a:cubicBezTo>
                <a:cubicBezTo>
                  <a:pt x="3342" y="612"/>
                  <a:pt x="3342" y="612"/>
                  <a:pt x="3342" y="612"/>
                </a:cubicBezTo>
                <a:cubicBezTo>
                  <a:pt x="3342" y="613"/>
                  <a:pt x="3341" y="614"/>
                  <a:pt x="3341" y="614"/>
                </a:cubicBezTo>
                <a:cubicBezTo>
                  <a:pt x="3341" y="615"/>
                  <a:pt x="3341" y="616"/>
                  <a:pt x="3341" y="617"/>
                </a:cubicBezTo>
                <a:cubicBezTo>
                  <a:pt x="3340" y="617"/>
                  <a:pt x="3340" y="618"/>
                  <a:pt x="3340" y="618"/>
                </a:cubicBezTo>
                <a:cubicBezTo>
                  <a:pt x="3339" y="619"/>
                  <a:pt x="3339" y="620"/>
                  <a:pt x="3338" y="620"/>
                </a:cubicBezTo>
                <a:cubicBezTo>
                  <a:pt x="3338" y="620"/>
                  <a:pt x="3337" y="620"/>
                  <a:pt x="3337" y="620"/>
                </a:cubicBezTo>
                <a:cubicBezTo>
                  <a:pt x="3337" y="620"/>
                  <a:pt x="3336" y="621"/>
                  <a:pt x="3336" y="621"/>
                </a:cubicBezTo>
                <a:cubicBezTo>
                  <a:pt x="3336" y="620"/>
                  <a:pt x="3336" y="620"/>
                  <a:pt x="3337" y="620"/>
                </a:cubicBezTo>
                <a:cubicBezTo>
                  <a:pt x="3337" y="620"/>
                  <a:pt x="3337" y="619"/>
                  <a:pt x="3337" y="619"/>
                </a:cubicBezTo>
                <a:cubicBezTo>
                  <a:pt x="3338" y="618"/>
                  <a:pt x="3338" y="618"/>
                  <a:pt x="3339" y="617"/>
                </a:cubicBezTo>
                <a:cubicBezTo>
                  <a:pt x="3339" y="617"/>
                  <a:pt x="3339" y="616"/>
                  <a:pt x="3340" y="616"/>
                </a:cubicBezTo>
                <a:cubicBezTo>
                  <a:pt x="3340" y="616"/>
                  <a:pt x="3340" y="615"/>
                  <a:pt x="3340" y="615"/>
                </a:cubicBezTo>
                <a:cubicBezTo>
                  <a:pt x="3340" y="615"/>
                  <a:pt x="3341" y="613"/>
                  <a:pt x="3340" y="613"/>
                </a:cubicBezTo>
                <a:cubicBezTo>
                  <a:pt x="3339" y="613"/>
                  <a:pt x="3338" y="614"/>
                  <a:pt x="3338" y="614"/>
                </a:cubicBezTo>
                <a:cubicBezTo>
                  <a:pt x="3337" y="614"/>
                  <a:pt x="3337" y="615"/>
                  <a:pt x="3337" y="615"/>
                </a:cubicBezTo>
                <a:cubicBezTo>
                  <a:pt x="3336" y="615"/>
                  <a:pt x="3336" y="616"/>
                  <a:pt x="3336" y="616"/>
                </a:cubicBezTo>
                <a:cubicBezTo>
                  <a:pt x="3335" y="617"/>
                  <a:pt x="3335" y="617"/>
                  <a:pt x="3334" y="617"/>
                </a:cubicBezTo>
                <a:cubicBezTo>
                  <a:pt x="3334" y="618"/>
                  <a:pt x="3334" y="618"/>
                  <a:pt x="3333" y="618"/>
                </a:cubicBezTo>
                <a:cubicBezTo>
                  <a:pt x="3333" y="618"/>
                  <a:pt x="3333" y="619"/>
                  <a:pt x="3332" y="619"/>
                </a:cubicBezTo>
                <a:cubicBezTo>
                  <a:pt x="3332" y="619"/>
                  <a:pt x="3331" y="619"/>
                  <a:pt x="3330" y="619"/>
                </a:cubicBezTo>
                <a:cubicBezTo>
                  <a:pt x="3329" y="620"/>
                  <a:pt x="3329" y="620"/>
                  <a:pt x="3328" y="620"/>
                </a:cubicBezTo>
                <a:cubicBezTo>
                  <a:pt x="3327" y="620"/>
                  <a:pt x="3327" y="620"/>
                  <a:pt x="3326" y="620"/>
                </a:cubicBezTo>
                <a:cubicBezTo>
                  <a:pt x="3326" y="620"/>
                  <a:pt x="3325" y="620"/>
                  <a:pt x="3325" y="620"/>
                </a:cubicBezTo>
                <a:cubicBezTo>
                  <a:pt x="3325" y="620"/>
                  <a:pt x="3325" y="619"/>
                  <a:pt x="3325" y="619"/>
                </a:cubicBezTo>
                <a:cubicBezTo>
                  <a:pt x="3325" y="619"/>
                  <a:pt x="3325" y="619"/>
                  <a:pt x="3325" y="619"/>
                </a:cubicBezTo>
                <a:cubicBezTo>
                  <a:pt x="3326" y="619"/>
                  <a:pt x="3326" y="618"/>
                  <a:pt x="3326" y="618"/>
                </a:cubicBezTo>
                <a:cubicBezTo>
                  <a:pt x="3327" y="617"/>
                  <a:pt x="3328" y="618"/>
                  <a:pt x="3328" y="617"/>
                </a:cubicBezTo>
                <a:cubicBezTo>
                  <a:pt x="3329" y="617"/>
                  <a:pt x="3329" y="616"/>
                  <a:pt x="3329" y="616"/>
                </a:cubicBezTo>
                <a:cubicBezTo>
                  <a:pt x="3329" y="616"/>
                  <a:pt x="3329" y="615"/>
                  <a:pt x="3330" y="615"/>
                </a:cubicBezTo>
                <a:cubicBezTo>
                  <a:pt x="3330" y="615"/>
                  <a:pt x="3331" y="615"/>
                  <a:pt x="3331" y="614"/>
                </a:cubicBezTo>
                <a:cubicBezTo>
                  <a:pt x="3331" y="613"/>
                  <a:pt x="3331" y="614"/>
                  <a:pt x="3330" y="614"/>
                </a:cubicBezTo>
                <a:cubicBezTo>
                  <a:pt x="3330" y="614"/>
                  <a:pt x="3329" y="614"/>
                  <a:pt x="3329" y="613"/>
                </a:cubicBezTo>
                <a:cubicBezTo>
                  <a:pt x="3329" y="613"/>
                  <a:pt x="3329" y="613"/>
                  <a:pt x="3328" y="613"/>
                </a:cubicBezTo>
                <a:cubicBezTo>
                  <a:pt x="3328" y="613"/>
                  <a:pt x="3326" y="613"/>
                  <a:pt x="3326" y="612"/>
                </a:cubicBezTo>
                <a:cubicBezTo>
                  <a:pt x="3327" y="612"/>
                  <a:pt x="3327" y="612"/>
                  <a:pt x="3328" y="612"/>
                </a:cubicBezTo>
                <a:cubicBezTo>
                  <a:pt x="3328" y="611"/>
                  <a:pt x="3328" y="611"/>
                  <a:pt x="3328" y="611"/>
                </a:cubicBezTo>
                <a:cubicBezTo>
                  <a:pt x="3328" y="610"/>
                  <a:pt x="3328" y="610"/>
                  <a:pt x="3328" y="610"/>
                </a:cubicBezTo>
                <a:cubicBezTo>
                  <a:pt x="3328" y="609"/>
                  <a:pt x="3328" y="609"/>
                  <a:pt x="3328" y="609"/>
                </a:cubicBezTo>
                <a:cubicBezTo>
                  <a:pt x="3327" y="608"/>
                  <a:pt x="3326" y="608"/>
                  <a:pt x="3326" y="609"/>
                </a:cubicBezTo>
                <a:cubicBezTo>
                  <a:pt x="3325" y="609"/>
                  <a:pt x="3325" y="609"/>
                  <a:pt x="3325" y="609"/>
                </a:cubicBezTo>
                <a:cubicBezTo>
                  <a:pt x="3324" y="610"/>
                  <a:pt x="3324" y="610"/>
                  <a:pt x="3324" y="610"/>
                </a:cubicBezTo>
                <a:cubicBezTo>
                  <a:pt x="3323" y="610"/>
                  <a:pt x="3323" y="610"/>
                  <a:pt x="3323" y="611"/>
                </a:cubicBezTo>
                <a:cubicBezTo>
                  <a:pt x="3323" y="611"/>
                  <a:pt x="3323" y="611"/>
                  <a:pt x="3324" y="611"/>
                </a:cubicBezTo>
                <a:cubicBezTo>
                  <a:pt x="3324" y="612"/>
                  <a:pt x="3324" y="612"/>
                  <a:pt x="3324" y="612"/>
                </a:cubicBezTo>
                <a:cubicBezTo>
                  <a:pt x="3324" y="612"/>
                  <a:pt x="3325" y="612"/>
                  <a:pt x="3325" y="613"/>
                </a:cubicBezTo>
                <a:cubicBezTo>
                  <a:pt x="3325" y="613"/>
                  <a:pt x="3324" y="614"/>
                  <a:pt x="3324" y="614"/>
                </a:cubicBezTo>
                <a:cubicBezTo>
                  <a:pt x="3324" y="614"/>
                  <a:pt x="3323" y="614"/>
                  <a:pt x="3323" y="615"/>
                </a:cubicBezTo>
                <a:cubicBezTo>
                  <a:pt x="3323" y="615"/>
                  <a:pt x="3322" y="615"/>
                  <a:pt x="3322" y="615"/>
                </a:cubicBezTo>
                <a:cubicBezTo>
                  <a:pt x="3321" y="615"/>
                  <a:pt x="3321" y="615"/>
                  <a:pt x="3321" y="615"/>
                </a:cubicBezTo>
                <a:cubicBezTo>
                  <a:pt x="3321" y="615"/>
                  <a:pt x="3320" y="616"/>
                  <a:pt x="3320" y="616"/>
                </a:cubicBezTo>
                <a:cubicBezTo>
                  <a:pt x="3320" y="616"/>
                  <a:pt x="3319" y="616"/>
                  <a:pt x="3319" y="616"/>
                </a:cubicBezTo>
                <a:cubicBezTo>
                  <a:pt x="3318" y="616"/>
                  <a:pt x="3318" y="614"/>
                  <a:pt x="3318" y="614"/>
                </a:cubicBezTo>
                <a:cubicBezTo>
                  <a:pt x="3319" y="613"/>
                  <a:pt x="3319" y="612"/>
                  <a:pt x="3320" y="612"/>
                </a:cubicBezTo>
                <a:cubicBezTo>
                  <a:pt x="3320" y="611"/>
                  <a:pt x="3320" y="610"/>
                  <a:pt x="3320" y="609"/>
                </a:cubicBezTo>
                <a:cubicBezTo>
                  <a:pt x="3320" y="608"/>
                  <a:pt x="3319" y="608"/>
                  <a:pt x="3320" y="607"/>
                </a:cubicBezTo>
                <a:cubicBezTo>
                  <a:pt x="3320" y="606"/>
                  <a:pt x="3320" y="606"/>
                  <a:pt x="3320" y="606"/>
                </a:cubicBezTo>
                <a:cubicBezTo>
                  <a:pt x="3320" y="604"/>
                  <a:pt x="3320" y="604"/>
                  <a:pt x="3319" y="603"/>
                </a:cubicBezTo>
                <a:cubicBezTo>
                  <a:pt x="3318" y="602"/>
                  <a:pt x="3318" y="602"/>
                  <a:pt x="3317" y="602"/>
                </a:cubicBezTo>
                <a:cubicBezTo>
                  <a:pt x="3316" y="602"/>
                  <a:pt x="3315" y="602"/>
                  <a:pt x="3314" y="602"/>
                </a:cubicBezTo>
                <a:cubicBezTo>
                  <a:pt x="3313" y="602"/>
                  <a:pt x="3312" y="602"/>
                  <a:pt x="3311" y="602"/>
                </a:cubicBezTo>
                <a:cubicBezTo>
                  <a:pt x="3310" y="602"/>
                  <a:pt x="3309" y="602"/>
                  <a:pt x="3308" y="602"/>
                </a:cubicBezTo>
                <a:cubicBezTo>
                  <a:pt x="3308" y="602"/>
                  <a:pt x="3307" y="602"/>
                  <a:pt x="3306" y="602"/>
                </a:cubicBezTo>
                <a:cubicBezTo>
                  <a:pt x="3305" y="602"/>
                  <a:pt x="3304" y="602"/>
                  <a:pt x="3303" y="602"/>
                </a:cubicBezTo>
                <a:cubicBezTo>
                  <a:pt x="3303" y="602"/>
                  <a:pt x="3302" y="601"/>
                  <a:pt x="3302" y="600"/>
                </a:cubicBezTo>
                <a:cubicBezTo>
                  <a:pt x="3301" y="600"/>
                  <a:pt x="3301" y="599"/>
                  <a:pt x="3302" y="599"/>
                </a:cubicBezTo>
                <a:cubicBezTo>
                  <a:pt x="3302" y="598"/>
                  <a:pt x="3302" y="598"/>
                  <a:pt x="3303" y="598"/>
                </a:cubicBezTo>
                <a:cubicBezTo>
                  <a:pt x="3303" y="598"/>
                  <a:pt x="3303" y="597"/>
                  <a:pt x="3303" y="597"/>
                </a:cubicBezTo>
                <a:cubicBezTo>
                  <a:pt x="3304" y="596"/>
                  <a:pt x="3305" y="596"/>
                  <a:pt x="3306" y="596"/>
                </a:cubicBezTo>
                <a:cubicBezTo>
                  <a:pt x="3307" y="595"/>
                  <a:pt x="3308" y="595"/>
                  <a:pt x="3309" y="594"/>
                </a:cubicBezTo>
                <a:cubicBezTo>
                  <a:pt x="3309" y="594"/>
                  <a:pt x="3310" y="594"/>
                  <a:pt x="3310" y="593"/>
                </a:cubicBezTo>
                <a:cubicBezTo>
                  <a:pt x="3310" y="593"/>
                  <a:pt x="3311" y="593"/>
                  <a:pt x="3311" y="593"/>
                </a:cubicBezTo>
                <a:cubicBezTo>
                  <a:pt x="3311" y="593"/>
                  <a:pt x="3312" y="593"/>
                  <a:pt x="3312" y="592"/>
                </a:cubicBezTo>
                <a:cubicBezTo>
                  <a:pt x="3313" y="592"/>
                  <a:pt x="3314" y="592"/>
                  <a:pt x="3314" y="591"/>
                </a:cubicBezTo>
                <a:cubicBezTo>
                  <a:pt x="3314" y="591"/>
                  <a:pt x="3314" y="590"/>
                  <a:pt x="3315" y="590"/>
                </a:cubicBezTo>
                <a:cubicBezTo>
                  <a:pt x="3315" y="590"/>
                  <a:pt x="3315" y="589"/>
                  <a:pt x="3316" y="589"/>
                </a:cubicBezTo>
                <a:cubicBezTo>
                  <a:pt x="3317" y="588"/>
                  <a:pt x="3318" y="588"/>
                  <a:pt x="3319" y="587"/>
                </a:cubicBezTo>
                <a:cubicBezTo>
                  <a:pt x="3320" y="587"/>
                  <a:pt x="3321" y="586"/>
                  <a:pt x="3322" y="586"/>
                </a:cubicBezTo>
                <a:cubicBezTo>
                  <a:pt x="3322" y="585"/>
                  <a:pt x="3323" y="585"/>
                  <a:pt x="3324" y="584"/>
                </a:cubicBezTo>
                <a:cubicBezTo>
                  <a:pt x="3325" y="584"/>
                  <a:pt x="3326" y="583"/>
                  <a:pt x="3326" y="583"/>
                </a:cubicBezTo>
                <a:cubicBezTo>
                  <a:pt x="3327" y="582"/>
                  <a:pt x="3328" y="582"/>
                  <a:pt x="3328" y="581"/>
                </a:cubicBezTo>
                <a:cubicBezTo>
                  <a:pt x="3329" y="581"/>
                  <a:pt x="3329" y="581"/>
                  <a:pt x="3330" y="580"/>
                </a:cubicBezTo>
                <a:cubicBezTo>
                  <a:pt x="3330" y="580"/>
                  <a:pt x="3331" y="579"/>
                  <a:pt x="3331" y="578"/>
                </a:cubicBezTo>
                <a:cubicBezTo>
                  <a:pt x="3333" y="577"/>
                  <a:pt x="3334" y="576"/>
                  <a:pt x="3336" y="575"/>
                </a:cubicBezTo>
                <a:cubicBezTo>
                  <a:pt x="3336" y="575"/>
                  <a:pt x="3336" y="574"/>
                  <a:pt x="3336" y="574"/>
                </a:cubicBezTo>
                <a:cubicBezTo>
                  <a:pt x="3336" y="574"/>
                  <a:pt x="3336" y="574"/>
                  <a:pt x="3336" y="573"/>
                </a:cubicBezTo>
                <a:cubicBezTo>
                  <a:pt x="3335" y="572"/>
                  <a:pt x="3336" y="572"/>
                  <a:pt x="3336" y="571"/>
                </a:cubicBezTo>
                <a:cubicBezTo>
                  <a:pt x="3337" y="571"/>
                  <a:pt x="3337" y="570"/>
                  <a:pt x="3338" y="569"/>
                </a:cubicBezTo>
                <a:cubicBezTo>
                  <a:pt x="3339" y="568"/>
                  <a:pt x="3339" y="568"/>
                  <a:pt x="3340" y="567"/>
                </a:cubicBezTo>
                <a:cubicBezTo>
                  <a:pt x="3341" y="566"/>
                  <a:pt x="3342" y="565"/>
                  <a:pt x="3343" y="564"/>
                </a:cubicBezTo>
                <a:cubicBezTo>
                  <a:pt x="3343" y="564"/>
                  <a:pt x="3344" y="563"/>
                  <a:pt x="3345" y="563"/>
                </a:cubicBezTo>
                <a:cubicBezTo>
                  <a:pt x="3346" y="562"/>
                  <a:pt x="3347" y="561"/>
                  <a:pt x="3348" y="560"/>
                </a:cubicBezTo>
                <a:cubicBezTo>
                  <a:pt x="3350" y="560"/>
                  <a:pt x="3350" y="558"/>
                  <a:pt x="3351" y="557"/>
                </a:cubicBezTo>
                <a:cubicBezTo>
                  <a:pt x="3352" y="556"/>
                  <a:pt x="3353" y="556"/>
                  <a:pt x="3354" y="555"/>
                </a:cubicBezTo>
                <a:cubicBezTo>
                  <a:pt x="3355" y="555"/>
                  <a:pt x="3356" y="554"/>
                  <a:pt x="3357" y="553"/>
                </a:cubicBezTo>
                <a:cubicBezTo>
                  <a:pt x="3358" y="553"/>
                  <a:pt x="3360" y="553"/>
                  <a:pt x="3361" y="552"/>
                </a:cubicBezTo>
                <a:cubicBezTo>
                  <a:pt x="3362" y="552"/>
                  <a:pt x="3363" y="549"/>
                  <a:pt x="3364" y="548"/>
                </a:cubicBezTo>
                <a:cubicBezTo>
                  <a:pt x="3364" y="547"/>
                  <a:pt x="3364" y="546"/>
                  <a:pt x="3365" y="545"/>
                </a:cubicBezTo>
                <a:cubicBezTo>
                  <a:pt x="3365" y="544"/>
                  <a:pt x="3366" y="543"/>
                  <a:pt x="3366" y="543"/>
                </a:cubicBezTo>
                <a:cubicBezTo>
                  <a:pt x="3367" y="542"/>
                  <a:pt x="3368" y="541"/>
                  <a:pt x="3370" y="540"/>
                </a:cubicBezTo>
                <a:cubicBezTo>
                  <a:pt x="3371" y="540"/>
                  <a:pt x="3372" y="539"/>
                  <a:pt x="3373" y="538"/>
                </a:cubicBezTo>
                <a:cubicBezTo>
                  <a:pt x="3373" y="537"/>
                  <a:pt x="3374" y="537"/>
                  <a:pt x="3375" y="536"/>
                </a:cubicBezTo>
                <a:cubicBezTo>
                  <a:pt x="3375" y="536"/>
                  <a:pt x="3376" y="535"/>
                  <a:pt x="3376" y="535"/>
                </a:cubicBezTo>
                <a:cubicBezTo>
                  <a:pt x="3377" y="533"/>
                  <a:pt x="3378" y="533"/>
                  <a:pt x="3379" y="532"/>
                </a:cubicBezTo>
                <a:cubicBezTo>
                  <a:pt x="3380" y="531"/>
                  <a:pt x="3381" y="531"/>
                  <a:pt x="3382" y="530"/>
                </a:cubicBezTo>
                <a:cubicBezTo>
                  <a:pt x="3383" y="529"/>
                  <a:pt x="3385" y="528"/>
                  <a:pt x="3387" y="528"/>
                </a:cubicBezTo>
                <a:cubicBezTo>
                  <a:pt x="3387" y="527"/>
                  <a:pt x="3388" y="527"/>
                  <a:pt x="3389" y="527"/>
                </a:cubicBezTo>
                <a:cubicBezTo>
                  <a:pt x="3390" y="527"/>
                  <a:pt x="3391" y="526"/>
                  <a:pt x="3391" y="526"/>
                </a:cubicBezTo>
                <a:cubicBezTo>
                  <a:pt x="3392" y="526"/>
                  <a:pt x="3393" y="526"/>
                  <a:pt x="3394" y="526"/>
                </a:cubicBezTo>
                <a:cubicBezTo>
                  <a:pt x="3395" y="526"/>
                  <a:pt x="3395" y="526"/>
                  <a:pt x="3396" y="526"/>
                </a:cubicBezTo>
                <a:cubicBezTo>
                  <a:pt x="3397" y="527"/>
                  <a:pt x="3398" y="526"/>
                  <a:pt x="3398" y="526"/>
                </a:cubicBezTo>
                <a:cubicBezTo>
                  <a:pt x="3399" y="525"/>
                  <a:pt x="3400" y="525"/>
                  <a:pt x="3401" y="525"/>
                </a:cubicBezTo>
                <a:cubicBezTo>
                  <a:pt x="3402" y="525"/>
                  <a:pt x="3403" y="525"/>
                  <a:pt x="3404" y="525"/>
                </a:cubicBezTo>
                <a:cubicBezTo>
                  <a:pt x="3404" y="525"/>
                  <a:pt x="3405" y="525"/>
                  <a:pt x="3405" y="525"/>
                </a:cubicBezTo>
                <a:cubicBezTo>
                  <a:pt x="3406" y="525"/>
                  <a:pt x="3407" y="526"/>
                  <a:pt x="3408" y="526"/>
                </a:cubicBezTo>
                <a:cubicBezTo>
                  <a:pt x="3408" y="526"/>
                  <a:pt x="3409" y="526"/>
                  <a:pt x="3410" y="525"/>
                </a:cubicBezTo>
                <a:cubicBezTo>
                  <a:pt x="3411" y="525"/>
                  <a:pt x="3412" y="526"/>
                  <a:pt x="3413" y="526"/>
                </a:cubicBezTo>
                <a:cubicBezTo>
                  <a:pt x="3414" y="526"/>
                  <a:pt x="3414" y="525"/>
                  <a:pt x="3415" y="525"/>
                </a:cubicBezTo>
                <a:cubicBezTo>
                  <a:pt x="3416" y="525"/>
                  <a:pt x="3417" y="525"/>
                  <a:pt x="3418" y="525"/>
                </a:cubicBezTo>
                <a:cubicBezTo>
                  <a:pt x="3419" y="525"/>
                  <a:pt x="3420" y="525"/>
                  <a:pt x="3421" y="525"/>
                </a:cubicBezTo>
                <a:cubicBezTo>
                  <a:pt x="3421" y="525"/>
                  <a:pt x="3423" y="525"/>
                  <a:pt x="3423" y="525"/>
                </a:cubicBezTo>
                <a:cubicBezTo>
                  <a:pt x="3424" y="526"/>
                  <a:pt x="3423" y="526"/>
                  <a:pt x="3423" y="527"/>
                </a:cubicBezTo>
                <a:cubicBezTo>
                  <a:pt x="3423" y="527"/>
                  <a:pt x="3422" y="527"/>
                  <a:pt x="3422" y="528"/>
                </a:cubicBezTo>
                <a:cubicBezTo>
                  <a:pt x="3423" y="528"/>
                  <a:pt x="3423" y="528"/>
                  <a:pt x="3423" y="528"/>
                </a:cubicBezTo>
                <a:cubicBezTo>
                  <a:pt x="3425" y="528"/>
                  <a:pt x="3426" y="529"/>
                  <a:pt x="3427" y="529"/>
                </a:cubicBezTo>
                <a:cubicBezTo>
                  <a:pt x="3428" y="529"/>
                  <a:pt x="3429" y="529"/>
                  <a:pt x="3429" y="528"/>
                </a:cubicBezTo>
                <a:cubicBezTo>
                  <a:pt x="3429" y="527"/>
                  <a:pt x="3429" y="527"/>
                  <a:pt x="3430" y="526"/>
                </a:cubicBezTo>
                <a:cubicBezTo>
                  <a:pt x="3430" y="525"/>
                  <a:pt x="3431" y="524"/>
                  <a:pt x="3432" y="524"/>
                </a:cubicBezTo>
                <a:cubicBezTo>
                  <a:pt x="3433" y="525"/>
                  <a:pt x="3434" y="525"/>
                  <a:pt x="3435" y="525"/>
                </a:cubicBezTo>
                <a:cubicBezTo>
                  <a:pt x="3436" y="526"/>
                  <a:pt x="3436" y="526"/>
                  <a:pt x="3437" y="527"/>
                </a:cubicBezTo>
                <a:cubicBezTo>
                  <a:pt x="3438" y="527"/>
                  <a:pt x="3439" y="527"/>
                  <a:pt x="3440" y="528"/>
                </a:cubicBezTo>
                <a:cubicBezTo>
                  <a:pt x="3440" y="528"/>
                  <a:pt x="3441" y="528"/>
                  <a:pt x="3441" y="528"/>
                </a:cubicBezTo>
                <a:cubicBezTo>
                  <a:pt x="3443" y="528"/>
                  <a:pt x="3445" y="528"/>
                  <a:pt x="3446" y="528"/>
                </a:cubicBezTo>
                <a:cubicBezTo>
                  <a:pt x="3447" y="527"/>
                  <a:pt x="3448" y="526"/>
                  <a:pt x="3448" y="526"/>
                </a:cubicBezTo>
                <a:cubicBezTo>
                  <a:pt x="3450" y="525"/>
                  <a:pt x="3452" y="525"/>
                  <a:pt x="3454" y="527"/>
                </a:cubicBezTo>
                <a:cubicBezTo>
                  <a:pt x="3455" y="527"/>
                  <a:pt x="3455" y="527"/>
                  <a:pt x="3456" y="528"/>
                </a:cubicBezTo>
                <a:cubicBezTo>
                  <a:pt x="3457" y="528"/>
                  <a:pt x="3459" y="528"/>
                  <a:pt x="3458" y="527"/>
                </a:cubicBezTo>
                <a:cubicBezTo>
                  <a:pt x="3458" y="527"/>
                  <a:pt x="3458" y="527"/>
                  <a:pt x="3458" y="526"/>
                </a:cubicBezTo>
                <a:cubicBezTo>
                  <a:pt x="3457" y="526"/>
                  <a:pt x="3457" y="526"/>
                  <a:pt x="3457" y="525"/>
                </a:cubicBezTo>
                <a:cubicBezTo>
                  <a:pt x="3456" y="525"/>
                  <a:pt x="3456" y="525"/>
                  <a:pt x="3456" y="525"/>
                </a:cubicBezTo>
                <a:cubicBezTo>
                  <a:pt x="3455" y="525"/>
                  <a:pt x="3456" y="524"/>
                  <a:pt x="3456" y="524"/>
                </a:cubicBezTo>
                <a:cubicBezTo>
                  <a:pt x="3457" y="524"/>
                  <a:pt x="3458" y="524"/>
                  <a:pt x="3459" y="524"/>
                </a:cubicBezTo>
                <a:cubicBezTo>
                  <a:pt x="3460" y="524"/>
                  <a:pt x="3461" y="525"/>
                  <a:pt x="3461" y="524"/>
                </a:cubicBezTo>
                <a:cubicBezTo>
                  <a:pt x="3462" y="524"/>
                  <a:pt x="3461" y="523"/>
                  <a:pt x="3461" y="523"/>
                </a:cubicBezTo>
                <a:cubicBezTo>
                  <a:pt x="3460" y="523"/>
                  <a:pt x="3460" y="523"/>
                  <a:pt x="3460" y="522"/>
                </a:cubicBezTo>
                <a:cubicBezTo>
                  <a:pt x="3460" y="521"/>
                  <a:pt x="3461" y="521"/>
                  <a:pt x="3462" y="521"/>
                </a:cubicBezTo>
                <a:cubicBezTo>
                  <a:pt x="3462" y="520"/>
                  <a:pt x="3462" y="520"/>
                  <a:pt x="3463" y="520"/>
                </a:cubicBezTo>
                <a:cubicBezTo>
                  <a:pt x="3463" y="519"/>
                  <a:pt x="3464" y="519"/>
                  <a:pt x="3464" y="519"/>
                </a:cubicBezTo>
                <a:cubicBezTo>
                  <a:pt x="3465" y="519"/>
                  <a:pt x="3466" y="519"/>
                  <a:pt x="3467" y="519"/>
                </a:cubicBezTo>
                <a:cubicBezTo>
                  <a:pt x="3467" y="519"/>
                  <a:pt x="3468" y="519"/>
                  <a:pt x="3468" y="520"/>
                </a:cubicBezTo>
                <a:cubicBezTo>
                  <a:pt x="3469" y="520"/>
                  <a:pt x="3470" y="520"/>
                  <a:pt x="3471" y="520"/>
                </a:cubicBezTo>
                <a:cubicBezTo>
                  <a:pt x="3472" y="521"/>
                  <a:pt x="3472" y="521"/>
                  <a:pt x="3473" y="521"/>
                </a:cubicBezTo>
                <a:cubicBezTo>
                  <a:pt x="3474" y="522"/>
                  <a:pt x="3475" y="522"/>
                  <a:pt x="3476" y="522"/>
                </a:cubicBezTo>
                <a:cubicBezTo>
                  <a:pt x="3477" y="522"/>
                  <a:pt x="3477" y="523"/>
                  <a:pt x="3477" y="524"/>
                </a:cubicBezTo>
                <a:cubicBezTo>
                  <a:pt x="3478" y="525"/>
                  <a:pt x="3479" y="525"/>
                  <a:pt x="3479" y="524"/>
                </a:cubicBezTo>
                <a:cubicBezTo>
                  <a:pt x="3480" y="524"/>
                  <a:pt x="3480" y="524"/>
                  <a:pt x="3480" y="524"/>
                </a:cubicBezTo>
                <a:cubicBezTo>
                  <a:pt x="3481" y="524"/>
                  <a:pt x="3481" y="523"/>
                  <a:pt x="3481" y="523"/>
                </a:cubicBezTo>
                <a:cubicBezTo>
                  <a:pt x="3482" y="523"/>
                  <a:pt x="3482" y="523"/>
                  <a:pt x="3482" y="522"/>
                </a:cubicBezTo>
                <a:cubicBezTo>
                  <a:pt x="3483" y="522"/>
                  <a:pt x="3483" y="522"/>
                  <a:pt x="3483" y="522"/>
                </a:cubicBezTo>
                <a:cubicBezTo>
                  <a:pt x="3484" y="523"/>
                  <a:pt x="3485" y="523"/>
                  <a:pt x="3485" y="524"/>
                </a:cubicBezTo>
                <a:cubicBezTo>
                  <a:pt x="3486" y="524"/>
                  <a:pt x="3486" y="524"/>
                  <a:pt x="3487" y="524"/>
                </a:cubicBezTo>
                <a:cubicBezTo>
                  <a:pt x="3487" y="524"/>
                  <a:pt x="3488" y="524"/>
                  <a:pt x="3489" y="525"/>
                </a:cubicBezTo>
                <a:cubicBezTo>
                  <a:pt x="3489" y="525"/>
                  <a:pt x="3489" y="525"/>
                  <a:pt x="3490" y="526"/>
                </a:cubicBezTo>
                <a:cubicBezTo>
                  <a:pt x="3490" y="526"/>
                  <a:pt x="3490" y="527"/>
                  <a:pt x="3490" y="527"/>
                </a:cubicBezTo>
                <a:cubicBezTo>
                  <a:pt x="3491" y="528"/>
                  <a:pt x="3492" y="527"/>
                  <a:pt x="3492" y="528"/>
                </a:cubicBezTo>
                <a:cubicBezTo>
                  <a:pt x="3493" y="528"/>
                  <a:pt x="3495" y="528"/>
                  <a:pt x="3495" y="529"/>
                </a:cubicBezTo>
                <a:cubicBezTo>
                  <a:pt x="3495" y="529"/>
                  <a:pt x="3495" y="529"/>
                  <a:pt x="3495" y="529"/>
                </a:cubicBezTo>
                <a:cubicBezTo>
                  <a:pt x="3495" y="529"/>
                  <a:pt x="3494" y="529"/>
                  <a:pt x="3494" y="529"/>
                </a:cubicBezTo>
                <a:cubicBezTo>
                  <a:pt x="3494" y="529"/>
                  <a:pt x="3494" y="529"/>
                  <a:pt x="3494" y="529"/>
                </a:cubicBezTo>
                <a:cubicBezTo>
                  <a:pt x="3493" y="529"/>
                  <a:pt x="3493" y="529"/>
                  <a:pt x="3492" y="529"/>
                </a:cubicBezTo>
                <a:cubicBezTo>
                  <a:pt x="3491" y="530"/>
                  <a:pt x="3490" y="529"/>
                  <a:pt x="3490" y="529"/>
                </a:cubicBezTo>
                <a:cubicBezTo>
                  <a:pt x="3489" y="529"/>
                  <a:pt x="3488" y="529"/>
                  <a:pt x="3488" y="529"/>
                </a:cubicBezTo>
                <a:cubicBezTo>
                  <a:pt x="3487" y="529"/>
                  <a:pt x="3486" y="529"/>
                  <a:pt x="3485" y="530"/>
                </a:cubicBezTo>
                <a:cubicBezTo>
                  <a:pt x="3485" y="530"/>
                  <a:pt x="3485" y="530"/>
                  <a:pt x="3485" y="530"/>
                </a:cubicBezTo>
                <a:cubicBezTo>
                  <a:pt x="3484" y="530"/>
                  <a:pt x="3484" y="530"/>
                  <a:pt x="3483" y="530"/>
                </a:cubicBezTo>
                <a:cubicBezTo>
                  <a:pt x="3483" y="530"/>
                  <a:pt x="3482" y="530"/>
                  <a:pt x="3482" y="531"/>
                </a:cubicBezTo>
                <a:cubicBezTo>
                  <a:pt x="3482" y="531"/>
                  <a:pt x="3483" y="531"/>
                  <a:pt x="3484" y="531"/>
                </a:cubicBezTo>
                <a:cubicBezTo>
                  <a:pt x="3484" y="532"/>
                  <a:pt x="3484" y="533"/>
                  <a:pt x="3485" y="533"/>
                </a:cubicBezTo>
                <a:cubicBezTo>
                  <a:pt x="3485" y="534"/>
                  <a:pt x="3485" y="534"/>
                  <a:pt x="3485" y="534"/>
                </a:cubicBezTo>
                <a:cubicBezTo>
                  <a:pt x="3485" y="535"/>
                  <a:pt x="3486" y="535"/>
                  <a:pt x="3486" y="535"/>
                </a:cubicBezTo>
                <a:cubicBezTo>
                  <a:pt x="3487" y="535"/>
                  <a:pt x="3487" y="534"/>
                  <a:pt x="3487" y="534"/>
                </a:cubicBezTo>
                <a:cubicBezTo>
                  <a:pt x="3488" y="534"/>
                  <a:pt x="3488" y="534"/>
                  <a:pt x="3489" y="534"/>
                </a:cubicBezTo>
                <a:cubicBezTo>
                  <a:pt x="3490" y="534"/>
                  <a:pt x="3491" y="534"/>
                  <a:pt x="3491" y="533"/>
                </a:cubicBezTo>
                <a:cubicBezTo>
                  <a:pt x="3492" y="533"/>
                  <a:pt x="3492" y="533"/>
                  <a:pt x="3493" y="532"/>
                </a:cubicBezTo>
                <a:cubicBezTo>
                  <a:pt x="3493" y="532"/>
                  <a:pt x="3493" y="533"/>
                  <a:pt x="3494" y="532"/>
                </a:cubicBezTo>
                <a:cubicBezTo>
                  <a:pt x="3495" y="532"/>
                  <a:pt x="3496" y="532"/>
                  <a:pt x="3497" y="531"/>
                </a:cubicBezTo>
                <a:cubicBezTo>
                  <a:pt x="3498" y="531"/>
                  <a:pt x="3498" y="532"/>
                  <a:pt x="3499" y="532"/>
                </a:cubicBezTo>
                <a:cubicBezTo>
                  <a:pt x="3500" y="533"/>
                  <a:pt x="3500" y="533"/>
                  <a:pt x="3501" y="533"/>
                </a:cubicBezTo>
                <a:cubicBezTo>
                  <a:pt x="3502" y="534"/>
                  <a:pt x="3502" y="534"/>
                  <a:pt x="3503" y="533"/>
                </a:cubicBezTo>
                <a:cubicBezTo>
                  <a:pt x="3504" y="533"/>
                  <a:pt x="3504" y="532"/>
                  <a:pt x="3504" y="531"/>
                </a:cubicBezTo>
                <a:cubicBezTo>
                  <a:pt x="3505" y="530"/>
                  <a:pt x="3506" y="530"/>
                  <a:pt x="3507" y="530"/>
                </a:cubicBezTo>
                <a:cubicBezTo>
                  <a:pt x="3507" y="530"/>
                  <a:pt x="3508" y="530"/>
                  <a:pt x="3508" y="530"/>
                </a:cubicBezTo>
                <a:cubicBezTo>
                  <a:pt x="3508" y="530"/>
                  <a:pt x="3508" y="529"/>
                  <a:pt x="3508" y="529"/>
                </a:cubicBezTo>
                <a:cubicBezTo>
                  <a:pt x="3509" y="528"/>
                  <a:pt x="3510" y="528"/>
                  <a:pt x="3511" y="528"/>
                </a:cubicBezTo>
                <a:cubicBezTo>
                  <a:pt x="3511" y="529"/>
                  <a:pt x="3511" y="529"/>
                  <a:pt x="3512" y="529"/>
                </a:cubicBezTo>
                <a:cubicBezTo>
                  <a:pt x="3512" y="529"/>
                  <a:pt x="3512" y="529"/>
                  <a:pt x="3513" y="529"/>
                </a:cubicBezTo>
                <a:cubicBezTo>
                  <a:pt x="3514" y="530"/>
                  <a:pt x="3514" y="531"/>
                  <a:pt x="3515" y="531"/>
                </a:cubicBezTo>
                <a:cubicBezTo>
                  <a:pt x="3516" y="531"/>
                  <a:pt x="3517" y="531"/>
                  <a:pt x="3517" y="530"/>
                </a:cubicBezTo>
                <a:cubicBezTo>
                  <a:pt x="3518" y="530"/>
                  <a:pt x="3518" y="530"/>
                  <a:pt x="3518" y="530"/>
                </a:cubicBezTo>
                <a:cubicBezTo>
                  <a:pt x="3519" y="529"/>
                  <a:pt x="3519" y="529"/>
                  <a:pt x="3519" y="529"/>
                </a:cubicBezTo>
                <a:cubicBezTo>
                  <a:pt x="3520" y="529"/>
                  <a:pt x="3521" y="528"/>
                  <a:pt x="3522" y="528"/>
                </a:cubicBezTo>
                <a:cubicBezTo>
                  <a:pt x="3523" y="528"/>
                  <a:pt x="3524" y="528"/>
                  <a:pt x="3525" y="528"/>
                </a:cubicBezTo>
                <a:cubicBezTo>
                  <a:pt x="3526" y="528"/>
                  <a:pt x="3526" y="529"/>
                  <a:pt x="3527" y="529"/>
                </a:cubicBezTo>
                <a:cubicBezTo>
                  <a:pt x="3528" y="529"/>
                  <a:pt x="3528" y="529"/>
                  <a:pt x="3528" y="529"/>
                </a:cubicBezTo>
                <a:cubicBezTo>
                  <a:pt x="3529" y="529"/>
                  <a:pt x="3529" y="529"/>
                  <a:pt x="3530" y="529"/>
                </a:cubicBezTo>
                <a:cubicBezTo>
                  <a:pt x="3530" y="529"/>
                  <a:pt x="3530" y="528"/>
                  <a:pt x="3530" y="528"/>
                </a:cubicBezTo>
                <a:cubicBezTo>
                  <a:pt x="3530" y="528"/>
                  <a:pt x="3530" y="527"/>
                  <a:pt x="3530" y="527"/>
                </a:cubicBezTo>
                <a:cubicBezTo>
                  <a:pt x="3530" y="526"/>
                  <a:pt x="3529" y="525"/>
                  <a:pt x="3528" y="525"/>
                </a:cubicBezTo>
                <a:cubicBezTo>
                  <a:pt x="3528" y="524"/>
                  <a:pt x="3527" y="524"/>
                  <a:pt x="3527" y="524"/>
                </a:cubicBezTo>
                <a:cubicBezTo>
                  <a:pt x="3526" y="523"/>
                  <a:pt x="3525" y="524"/>
                  <a:pt x="3524" y="523"/>
                </a:cubicBezTo>
                <a:cubicBezTo>
                  <a:pt x="3523" y="523"/>
                  <a:pt x="3523" y="523"/>
                  <a:pt x="3522" y="523"/>
                </a:cubicBezTo>
                <a:cubicBezTo>
                  <a:pt x="3522" y="523"/>
                  <a:pt x="3521" y="523"/>
                  <a:pt x="3521" y="523"/>
                </a:cubicBezTo>
                <a:cubicBezTo>
                  <a:pt x="3520" y="523"/>
                  <a:pt x="3521" y="523"/>
                  <a:pt x="3521" y="524"/>
                </a:cubicBezTo>
                <a:cubicBezTo>
                  <a:pt x="3521" y="524"/>
                  <a:pt x="3521" y="524"/>
                  <a:pt x="3521" y="525"/>
                </a:cubicBezTo>
                <a:cubicBezTo>
                  <a:pt x="3520" y="524"/>
                  <a:pt x="3520" y="523"/>
                  <a:pt x="3520" y="524"/>
                </a:cubicBezTo>
                <a:cubicBezTo>
                  <a:pt x="3519" y="524"/>
                  <a:pt x="3519" y="524"/>
                  <a:pt x="3519" y="524"/>
                </a:cubicBezTo>
                <a:cubicBezTo>
                  <a:pt x="3519" y="525"/>
                  <a:pt x="3518" y="525"/>
                  <a:pt x="3518" y="525"/>
                </a:cubicBezTo>
                <a:cubicBezTo>
                  <a:pt x="3518" y="524"/>
                  <a:pt x="3518" y="524"/>
                  <a:pt x="3518" y="523"/>
                </a:cubicBezTo>
                <a:cubicBezTo>
                  <a:pt x="3518" y="523"/>
                  <a:pt x="3518" y="523"/>
                  <a:pt x="3518" y="523"/>
                </a:cubicBezTo>
                <a:cubicBezTo>
                  <a:pt x="3519" y="523"/>
                  <a:pt x="3519" y="523"/>
                  <a:pt x="3519" y="522"/>
                </a:cubicBezTo>
                <a:cubicBezTo>
                  <a:pt x="3520" y="522"/>
                  <a:pt x="3520" y="522"/>
                  <a:pt x="3520" y="522"/>
                </a:cubicBezTo>
                <a:cubicBezTo>
                  <a:pt x="3520" y="521"/>
                  <a:pt x="3519" y="521"/>
                  <a:pt x="3519" y="521"/>
                </a:cubicBezTo>
                <a:cubicBezTo>
                  <a:pt x="3519" y="520"/>
                  <a:pt x="3519" y="519"/>
                  <a:pt x="3519" y="518"/>
                </a:cubicBezTo>
                <a:cubicBezTo>
                  <a:pt x="3519" y="517"/>
                  <a:pt x="3520" y="517"/>
                  <a:pt x="3521" y="517"/>
                </a:cubicBezTo>
                <a:cubicBezTo>
                  <a:pt x="3521" y="517"/>
                  <a:pt x="3522" y="517"/>
                  <a:pt x="3522" y="516"/>
                </a:cubicBezTo>
                <a:cubicBezTo>
                  <a:pt x="3522" y="515"/>
                  <a:pt x="3523" y="514"/>
                  <a:pt x="3525" y="513"/>
                </a:cubicBezTo>
                <a:cubicBezTo>
                  <a:pt x="3525" y="513"/>
                  <a:pt x="3525" y="512"/>
                  <a:pt x="3526" y="512"/>
                </a:cubicBezTo>
                <a:cubicBezTo>
                  <a:pt x="3527" y="511"/>
                  <a:pt x="3528" y="510"/>
                  <a:pt x="3529" y="509"/>
                </a:cubicBezTo>
                <a:cubicBezTo>
                  <a:pt x="3531" y="507"/>
                  <a:pt x="3533" y="506"/>
                  <a:pt x="3535" y="505"/>
                </a:cubicBezTo>
                <a:cubicBezTo>
                  <a:pt x="3535" y="504"/>
                  <a:pt x="3535" y="504"/>
                  <a:pt x="3536" y="504"/>
                </a:cubicBezTo>
                <a:cubicBezTo>
                  <a:pt x="3536" y="503"/>
                  <a:pt x="3537" y="503"/>
                  <a:pt x="3537" y="503"/>
                </a:cubicBezTo>
                <a:cubicBezTo>
                  <a:pt x="3538" y="502"/>
                  <a:pt x="3538" y="501"/>
                  <a:pt x="3539" y="501"/>
                </a:cubicBezTo>
                <a:cubicBezTo>
                  <a:pt x="3540" y="499"/>
                  <a:pt x="3540" y="498"/>
                  <a:pt x="3541" y="497"/>
                </a:cubicBezTo>
                <a:cubicBezTo>
                  <a:pt x="3542" y="497"/>
                  <a:pt x="3543" y="496"/>
                  <a:pt x="3544" y="496"/>
                </a:cubicBezTo>
                <a:cubicBezTo>
                  <a:pt x="3546" y="495"/>
                  <a:pt x="3546" y="494"/>
                  <a:pt x="3546" y="492"/>
                </a:cubicBezTo>
                <a:cubicBezTo>
                  <a:pt x="3546" y="491"/>
                  <a:pt x="3546" y="490"/>
                  <a:pt x="3547" y="489"/>
                </a:cubicBezTo>
                <a:cubicBezTo>
                  <a:pt x="3547" y="488"/>
                  <a:pt x="3549" y="487"/>
                  <a:pt x="3550" y="487"/>
                </a:cubicBezTo>
                <a:cubicBezTo>
                  <a:pt x="3551" y="486"/>
                  <a:pt x="3552" y="486"/>
                  <a:pt x="3554" y="486"/>
                </a:cubicBezTo>
                <a:cubicBezTo>
                  <a:pt x="3555" y="486"/>
                  <a:pt x="3556" y="485"/>
                  <a:pt x="3557" y="485"/>
                </a:cubicBezTo>
                <a:cubicBezTo>
                  <a:pt x="3559" y="484"/>
                  <a:pt x="3561" y="484"/>
                  <a:pt x="3564" y="483"/>
                </a:cubicBezTo>
                <a:cubicBezTo>
                  <a:pt x="3565" y="483"/>
                  <a:pt x="3566" y="483"/>
                  <a:pt x="3567" y="483"/>
                </a:cubicBezTo>
                <a:cubicBezTo>
                  <a:pt x="3568" y="484"/>
                  <a:pt x="3569" y="484"/>
                  <a:pt x="3570" y="484"/>
                </a:cubicBezTo>
                <a:cubicBezTo>
                  <a:pt x="3570" y="484"/>
                  <a:pt x="3570" y="483"/>
                  <a:pt x="3571" y="483"/>
                </a:cubicBezTo>
                <a:cubicBezTo>
                  <a:pt x="3571" y="483"/>
                  <a:pt x="3571" y="483"/>
                  <a:pt x="3572" y="482"/>
                </a:cubicBezTo>
                <a:cubicBezTo>
                  <a:pt x="3572" y="482"/>
                  <a:pt x="3573" y="481"/>
                  <a:pt x="3574" y="481"/>
                </a:cubicBezTo>
                <a:cubicBezTo>
                  <a:pt x="3575" y="482"/>
                  <a:pt x="3575" y="482"/>
                  <a:pt x="3576" y="483"/>
                </a:cubicBezTo>
                <a:cubicBezTo>
                  <a:pt x="3576" y="483"/>
                  <a:pt x="3576" y="483"/>
                  <a:pt x="3577" y="484"/>
                </a:cubicBezTo>
                <a:cubicBezTo>
                  <a:pt x="3577" y="484"/>
                  <a:pt x="3578" y="484"/>
                  <a:pt x="3578" y="484"/>
                </a:cubicBezTo>
                <a:cubicBezTo>
                  <a:pt x="3578" y="485"/>
                  <a:pt x="3578" y="485"/>
                  <a:pt x="3579" y="485"/>
                </a:cubicBezTo>
                <a:cubicBezTo>
                  <a:pt x="3579" y="485"/>
                  <a:pt x="3579" y="486"/>
                  <a:pt x="3579" y="486"/>
                </a:cubicBezTo>
                <a:cubicBezTo>
                  <a:pt x="3580" y="487"/>
                  <a:pt x="3581" y="486"/>
                  <a:pt x="3582" y="485"/>
                </a:cubicBezTo>
                <a:cubicBezTo>
                  <a:pt x="3582" y="485"/>
                  <a:pt x="3583" y="484"/>
                  <a:pt x="3584" y="484"/>
                </a:cubicBezTo>
                <a:cubicBezTo>
                  <a:pt x="3585" y="483"/>
                  <a:pt x="3585" y="483"/>
                  <a:pt x="3586" y="482"/>
                </a:cubicBezTo>
                <a:cubicBezTo>
                  <a:pt x="3587" y="482"/>
                  <a:pt x="3588" y="481"/>
                  <a:pt x="3588" y="482"/>
                </a:cubicBezTo>
                <a:cubicBezTo>
                  <a:pt x="3589" y="483"/>
                  <a:pt x="3588" y="484"/>
                  <a:pt x="3588" y="484"/>
                </a:cubicBezTo>
                <a:cubicBezTo>
                  <a:pt x="3588" y="485"/>
                  <a:pt x="3587" y="485"/>
                  <a:pt x="3587" y="485"/>
                </a:cubicBezTo>
                <a:cubicBezTo>
                  <a:pt x="3587" y="486"/>
                  <a:pt x="3587" y="486"/>
                  <a:pt x="3587" y="487"/>
                </a:cubicBezTo>
                <a:cubicBezTo>
                  <a:pt x="3587" y="487"/>
                  <a:pt x="3587" y="488"/>
                  <a:pt x="3587" y="488"/>
                </a:cubicBezTo>
                <a:cubicBezTo>
                  <a:pt x="3586" y="488"/>
                  <a:pt x="3586" y="488"/>
                  <a:pt x="3585" y="489"/>
                </a:cubicBezTo>
                <a:cubicBezTo>
                  <a:pt x="3585" y="489"/>
                  <a:pt x="3585" y="490"/>
                  <a:pt x="3584" y="491"/>
                </a:cubicBezTo>
                <a:cubicBezTo>
                  <a:pt x="3584" y="491"/>
                  <a:pt x="3584" y="491"/>
                  <a:pt x="3584" y="491"/>
                </a:cubicBezTo>
                <a:cubicBezTo>
                  <a:pt x="3584" y="491"/>
                  <a:pt x="3584" y="491"/>
                  <a:pt x="3584" y="491"/>
                </a:cubicBezTo>
                <a:cubicBezTo>
                  <a:pt x="3583" y="492"/>
                  <a:pt x="3583" y="492"/>
                  <a:pt x="3583" y="492"/>
                </a:cubicBezTo>
                <a:cubicBezTo>
                  <a:pt x="3583" y="493"/>
                  <a:pt x="3581" y="492"/>
                  <a:pt x="3581" y="493"/>
                </a:cubicBezTo>
                <a:cubicBezTo>
                  <a:pt x="3581" y="494"/>
                  <a:pt x="3582" y="494"/>
                  <a:pt x="3582" y="494"/>
                </a:cubicBezTo>
                <a:cubicBezTo>
                  <a:pt x="3583" y="494"/>
                  <a:pt x="3584" y="494"/>
                  <a:pt x="3584" y="495"/>
                </a:cubicBezTo>
                <a:cubicBezTo>
                  <a:pt x="3584" y="496"/>
                  <a:pt x="3583" y="497"/>
                  <a:pt x="3583" y="497"/>
                </a:cubicBezTo>
                <a:cubicBezTo>
                  <a:pt x="3582" y="498"/>
                  <a:pt x="3581" y="499"/>
                  <a:pt x="3582" y="499"/>
                </a:cubicBezTo>
                <a:cubicBezTo>
                  <a:pt x="3583" y="499"/>
                  <a:pt x="3584" y="499"/>
                  <a:pt x="3585" y="499"/>
                </a:cubicBezTo>
                <a:cubicBezTo>
                  <a:pt x="3586" y="499"/>
                  <a:pt x="3587" y="499"/>
                  <a:pt x="3587" y="499"/>
                </a:cubicBezTo>
                <a:cubicBezTo>
                  <a:pt x="3588" y="499"/>
                  <a:pt x="3588" y="499"/>
                  <a:pt x="3588" y="500"/>
                </a:cubicBezTo>
                <a:cubicBezTo>
                  <a:pt x="3587" y="500"/>
                  <a:pt x="3587" y="500"/>
                  <a:pt x="3587" y="500"/>
                </a:cubicBezTo>
                <a:cubicBezTo>
                  <a:pt x="3586" y="500"/>
                  <a:pt x="3586" y="501"/>
                  <a:pt x="3586" y="501"/>
                </a:cubicBezTo>
                <a:cubicBezTo>
                  <a:pt x="3587" y="501"/>
                  <a:pt x="3587" y="502"/>
                  <a:pt x="3587" y="502"/>
                </a:cubicBezTo>
                <a:cubicBezTo>
                  <a:pt x="3587" y="503"/>
                  <a:pt x="3586" y="503"/>
                  <a:pt x="3586" y="503"/>
                </a:cubicBezTo>
                <a:cubicBezTo>
                  <a:pt x="3585" y="504"/>
                  <a:pt x="3585" y="505"/>
                  <a:pt x="3586" y="505"/>
                </a:cubicBezTo>
                <a:cubicBezTo>
                  <a:pt x="3588" y="504"/>
                  <a:pt x="3589" y="503"/>
                  <a:pt x="3591" y="503"/>
                </a:cubicBezTo>
                <a:cubicBezTo>
                  <a:pt x="3592" y="503"/>
                  <a:pt x="3593" y="503"/>
                  <a:pt x="3593" y="503"/>
                </a:cubicBezTo>
                <a:cubicBezTo>
                  <a:pt x="3594" y="502"/>
                  <a:pt x="3594" y="501"/>
                  <a:pt x="3594" y="500"/>
                </a:cubicBezTo>
                <a:cubicBezTo>
                  <a:pt x="3595" y="499"/>
                  <a:pt x="3596" y="499"/>
                  <a:pt x="3596" y="499"/>
                </a:cubicBezTo>
                <a:cubicBezTo>
                  <a:pt x="3597" y="498"/>
                  <a:pt x="3598" y="497"/>
                  <a:pt x="3599" y="497"/>
                </a:cubicBezTo>
                <a:cubicBezTo>
                  <a:pt x="3600" y="496"/>
                  <a:pt x="3601" y="496"/>
                  <a:pt x="3601" y="495"/>
                </a:cubicBezTo>
                <a:cubicBezTo>
                  <a:pt x="3602" y="494"/>
                  <a:pt x="3603" y="494"/>
                  <a:pt x="3604" y="493"/>
                </a:cubicBezTo>
                <a:cubicBezTo>
                  <a:pt x="3605" y="492"/>
                  <a:pt x="3605" y="491"/>
                  <a:pt x="3606" y="491"/>
                </a:cubicBezTo>
                <a:cubicBezTo>
                  <a:pt x="3607" y="490"/>
                  <a:pt x="3608" y="490"/>
                  <a:pt x="3609" y="490"/>
                </a:cubicBezTo>
                <a:cubicBezTo>
                  <a:pt x="3610" y="489"/>
                  <a:pt x="3610" y="488"/>
                  <a:pt x="3611" y="488"/>
                </a:cubicBezTo>
                <a:cubicBezTo>
                  <a:pt x="3612" y="487"/>
                  <a:pt x="3612" y="486"/>
                  <a:pt x="3613" y="487"/>
                </a:cubicBezTo>
                <a:cubicBezTo>
                  <a:pt x="3614" y="487"/>
                  <a:pt x="3614" y="487"/>
                  <a:pt x="3614" y="487"/>
                </a:cubicBezTo>
                <a:cubicBezTo>
                  <a:pt x="3615" y="487"/>
                  <a:pt x="3616" y="487"/>
                  <a:pt x="3616" y="487"/>
                </a:cubicBezTo>
                <a:cubicBezTo>
                  <a:pt x="3616" y="486"/>
                  <a:pt x="3616" y="486"/>
                  <a:pt x="3617" y="486"/>
                </a:cubicBezTo>
                <a:cubicBezTo>
                  <a:pt x="3618" y="486"/>
                  <a:pt x="3618" y="486"/>
                  <a:pt x="3618" y="487"/>
                </a:cubicBezTo>
                <a:cubicBezTo>
                  <a:pt x="3618" y="487"/>
                  <a:pt x="3618" y="487"/>
                  <a:pt x="3618" y="488"/>
                </a:cubicBezTo>
                <a:cubicBezTo>
                  <a:pt x="3618" y="488"/>
                  <a:pt x="3619" y="489"/>
                  <a:pt x="3619" y="489"/>
                </a:cubicBezTo>
                <a:cubicBezTo>
                  <a:pt x="3620" y="488"/>
                  <a:pt x="3620" y="488"/>
                  <a:pt x="3621" y="487"/>
                </a:cubicBezTo>
                <a:cubicBezTo>
                  <a:pt x="3621" y="487"/>
                  <a:pt x="3622" y="486"/>
                  <a:pt x="3622" y="486"/>
                </a:cubicBezTo>
                <a:cubicBezTo>
                  <a:pt x="3622" y="486"/>
                  <a:pt x="3622" y="485"/>
                  <a:pt x="3622" y="485"/>
                </a:cubicBezTo>
                <a:cubicBezTo>
                  <a:pt x="3622" y="484"/>
                  <a:pt x="3621" y="484"/>
                  <a:pt x="3621" y="485"/>
                </a:cubicBezTo>
                <a:cubicBezTo>
                  <a:pt x="3620" y="485"/>
                  <a:pt x="3619" y="485"/>
                  <a:pt x="3619" y="484"/>
                </a:cubicBezTo>
                <a:cubicBezTo>
                  <a:pt x="3618" y="484"/>
                  <a:pt x="3618" y="484"/>
                  <a:pt x="3618" y="483"/>
                </a:cubicBezTo>
                <a:cubicBezTo>
                  <a:pt x="3618" y="483"/>
                  <a:pt x="3619" y="483"/>
                  <a:pt x="3619" y="483"/>
                </a:cubicBezTo>
                <a:cubicBezTo>
                  <a:pt x="3619" y="483"/>
                  <a:pt x="3619" y="483"/>
                  <a:pt x="3619" y="483"/>
                </a:cubicBezTo>
                <a:cubicBezTo>
                  <a:pt x="3619" y="482"/>
                  <a:pt x="3619" y="481"/>
                  <a:pt x="3620" y="481"/>
                </a:cubicBezTo>
                <a:cubicBezTo>
                  <a:pt x="3620" y="480"/>
                  <a:pt x="3620" y="479"/>
                  <a:pt x="3620" y="478"/>
                </a:cubicBezTo>
                <a:cubicBezTo>
                  <a:pt x="3621" y="478"/>
                  <a:pt x="3621" y="478"/>
                  <a:pt x="3621" y="477"/>
                </a:cubicBezTo>
                <a:cubicBezTo>
                  <a:pt x="3621" y="477"/>
                  <a:pt x="3621" y="477"/>
                  <a:pt x="3622" y="476"/>
                </a:cubicBezTo>
                <a:cubicBezTo>
                  <a:pt x="3622" y="476"/>
                  <a:pt x="3622" y="475"/>
                  <a:pt x="3622" y="474"/>
                </a:cubicBezTo>
                <a:cubicBezTo>
                  <a:pt x="3622" y="473"/>
                  <a:pt x="3622" y="472"/>
                  <a:pt x="3622" y="472"/>
                </a:cubicBezTo>
                <a:cubicBezTo>
                  <a:pt x="3622" y="470"/>
                  <a:pt x="3623" y="471"/>
                  <a:pt x="3624" y="471"/>
                </a:cubicBezTo>
                <a:cubicBezTo>
                  <a:pt x="3625" y="470"/>
                  <a:pt x="3625" y="470"/>
                  <a:pt x="3626" y="470"/>
                </a:cubicBezTo>
                <a:cubicBezTo>
                  <a:pt x="3627" y="469"/>
                  <a:pt x="3628" y="469"/>
                  <a:pt x="3629" y="469"/>
                </a:cubicBezTo>
                <a:cubicBezTo>
                  <a:pt x="3630" y="469"/>
                  <a:pt x="3631" y="469"/>
                  <a:pt x="3631" y="469"/>
                </a:cubicBezTo>
                <a:cubicBezTo>
                  <a:pt x="3632" y="468"/>
                  <a:pt x="3633" y="468"/>
                  <a:pt x="3634" y="468"/>
                </a:cubicBezTo>
                <a:cubicBezTo>
                  <a:pt x="3634" y="468"/>
                  <a:pt x="3635" y="468"/>
                  <a:pt x="3636" y="468"/>
                </a:cubicBezTo>
                <a:cubicBezTo>
                  <a:pt x="3637" y="469"/>
                  <a:pt x="3637" y="469"/>
                  <a:pt x="3638" y="470"/>
                </a:cubicBezTo>
                <a:cubicBezTo>
                  <a:pt x="3638" y="471"/>
                  <a:pt x="3639" y="471"/>
                  <a:pt x="3640" y="471"/>
                </a:cubicBezTo>
                <a:cubicBezTo>
                  <a:pt x="3641" y="471"/>
                  <a:pt x="3641" y="471"/>
                  <a:pt x="3642" y="471"/>
                </a:cubicBezTo>
                <a:cubicBezTo>
                  <a:pt x="3642" y="471"/>
                  <a:pt x="3643" y="471"/>
                  <a:pt x="3643" y="472"/>
                </a:cubicBezTo>
                <a:cubicBezTo>
                  <a:pt x="3643" y="472"/>
                  <a:pt x="3642" y="472"/>
                  <a:pt x="3642" y="472"/>
                </a:cubicBezTo>
                <a:cubicBezTo>
                  <a:pt x="3642" y="473"/>
                  <a:pt x="3643" y="472"/>
                  <a:pt x="3643" y="473"/>
                </a:cubicBezTo>
                <a:cubicBezTo>
                  <a:pt x="3642" y="473"/>
                  <a:pt x="3641" y="473"/>
                  <a:pt x="3641" y="473"/>
                </a:cubicBezTo>
                <a:cubicBezTo>
                  <a:pt x="3640" y="472"/>
                  <a:pt x="3640" y="472"/>
                  <a:pt x="3639" y="472"/>
                </a:cubicBezTo>
                <a:cubicBezTo>
                  <a:pt x="3638" y="472"/>
                  <a:pt x="3637" y="471"/>
                  <a:pt x="3636" y="472"/>
                </a:cubicBezTo>
                <a:cubicBezTo>
                  <a:pt x="3636" y="472"/>
                  <a:pt x="3635" y="473"/>
                  <a:pt x="3635" y="473"/>
                </a:cubicBezTo>
                <a:cubicBezTo>
                  <a:pt x="3633" y="475"/>
                  <a:pt x="3631" y="475"/>
                  <a:pt x="3631" y="477"/>
                </a:cubicBezTo>
                <a:cubicBezTo>
                  <a:pt x="3630" y="478"/>
                  <a:pt x="3630" y="480"/>
                  <a:pt x="3631" y="482"/>
                </a:cubicBezTo>
                <a:cubicBezTo>
                  <a:pt x="3631" y="483"/>
                  <a:pt x="3631" y="485"/>
                  <a:pt x="3630" y="485"/>
                </a:cubicBezTo>
                <a:cubicBezTo>
                  <a:pt x="3629" y="486"/>
                  <a:pt x="3628" y="486"/>
                  <a:pt x="3628" y="488"/>
                </a:cubicBezTo>
                <a:cubicBezTo>
                  <a:pt x="3628" y="488"/>
                  <a:pt x="3629" y="489"/>
                  <a:pt x="3629" y="490"/>
                </a:cubicBezTo>
                <a:cubicBezTo>
                  <a:pt x="3629" y="491"/>
                  <a:pt x="3630" y="491"/>
                  <a:pt x="3630" y="492"/>
                </a:cubicBezTo>
                <a:cubicBezTo>
                  <a:pt x="3630" y="493"/>
                  <a:pt x="3629" y="493"/>
                  <a:pt x="3629" y="493"/>
                </a:cubicBezTo>
                <a:cubicBezTo>
                  <a:pt x="3629" y="494"/>
                  <a:pt x="3629" y="494"/>
                  <a:pt x="3628" y="494"/>
                </a:cubicBezTo>
                <a:cubicBezTo>
                  <a:pt x="3628" y="494"/>
                  <a:pt x="3627" y="495"/>
                  <a:pt x="3626" y="495"/>
                </a:cubicBezTo>
                <a:cubicBezTo>
                  <a:pt x="3626" y="496"/>
                  <a:pt x="3625" y="497"/>
                  <a:pt x="3625" y="497"/>
                </a:cubicBezTo>
                <a:cubicBezTo>
                  <a:pt x="3625" y="498"/>
                  <a:pt x="3626" y="499"/>
                  <a:pt x="3626" y="499"/>
                </a:cubicBezTo>
                <a:cubicBezTo>
                  <a:pt x="3626" y="500"/>
                  <a:pt x="3625" y="501"/>
                  <a:pt x="3625" y="501"/>
                </a:cubicBezTo>
                <a:cubicBezTo>
                  <a:pt x="3624" y="501"/>
                  <a:pt x="3623" y="502"/>
                  <a:pt x="3622" y="502"/>
                </a:cubicBezTo>
                <a:cubicBezTo>
                  <a:pt x="3620" y="502"/>
                  <a:pt x="3619" y="503"/>
                  <a:pt x="3618" y="503"/>
                </a:cubicBezTo>
                <a:cubicBezTo>
                  <a:pt x="3617" y="503"/>
                  <a:pt x="3616" y="504"/>
                  <a:pt x="3614" y="505"/>
                </a:cubicBezTo>
                <a:cubicBezTo>
                  <a:pt x="3613" y="505"/>
                  <a:pt x="3612" y="506"/>
                  <a:pt x="3611" y="506"/>
                </a:cubicBezTo>
                <a:cubicBezTo>
                  <a:pt x="3610" y="506"/>
                  <a:pt x="3610" y="506"/>
                  <a:pt x="3610" y="506"/>
                </a:cubicBezTo>
                <a:cubicBezTo>
                  <a:pt x="3609" y="507"/>
                  <a:pt x="3609" y="507"/>
                  <a:pt x="3608" y="507"/>
                </a:cubicBezTo>
                <a:cubicBezTo>
                  <a:pt x="3608" y="507"/>
                  <a:pt x="3607" y="507"/>
                  <a:pt x="3607" y="508"/>
                </a:cubicBezTo>
                <a:cubicBezTo>
                  <a:pt x="3606" y="508"/>
                  <a:pt x="3606" y="509"/>
                  <a:pt x="3606" y="509"/>
                </a:cubicBezTo>
                <a:cubicBezTo>
                  <a:pt x="3606" y="510"/>
                  <a:pt x="3606" y="510"/>
                  <a:pt x="3605" y="510"/>
                </a:cubicBezTo>
                <a:cubicBezTo>
                  <a:pt x="3605" y="511"/>
                  <a:pt x="3605" y="511"/>
                  <a:pt x="3604" y="512"/>
                </a:cubicBezTo>
                <a:cubicBezTo>
                  <a:pt x="3603" y="513"/>
                  <a:pt x="3603" y="513"/>
                  <a:pt x="3602" y="514"/>
                </a:cubicBezTo>
                <a:cubicBezTo>
                  <a:pt x="3601" y="515"/>
                  <a:pt x="3599" y="516"/>
                  <a:pt x="3598" y="517"/>
                </a:cubicBezTo>
                <a:cubicBezTo>
                  <a:pt x="3597" y="518"/>
                  <a:pt x="3596" y="519"/>
                  <a:pt x="3595" y="520"/>
                </a:cubicBezTo>
                <a:cubicBezTo>
                  <a:pt x="3594" y="521"/>
                  <a:pt x="3592" y="521"/>
                  <a:pt x="3591" y="522"/>
                </a:cubicBezTo>
                <a:cubicBezTo>
                  <a:pt x="3590" y="524"/>
                  <a:pt x="3588" y="525"/>
                  <a:pt x="3587" y="526"/>
                </a:cubicBezTo>
                <a:cubicBezTo>
                  <a:pt x="3586" y="527"/>
                  <a:pt x="3584" y="528"/>
                  <a:pt x="3583" y="530"/>
                </a:cubicBezTo>
                <a:cubicBezTo>
                  <a:pt x="3582" y="531"/>
                  <a:pt x="3581" y="533"/>
                  <a:pt x="3580" y="535"/>
                </a:cubicBezTo>
                <a:cubicBezTo>
                  <a:pt x="3579" y="535"/>
                  <a:pt x="3579" y="536"/>
                  <a:pt x="3578" y="537"/>
                </a:cubicBezTo>
                <a:cubicBezTo>
                  <a:pt x="3577" y="538"/>
                  <a:pt x="3577" y="539"/>
                  <a:pt x="3576" y="540"/>
                </a:cubicBezTo>
                <a:cubicBezTo>
                  <a:pt x="3576" y="540"/>
                  <a:pt x="3575" y="541"/>
                  <a:pt x="3574" y="541"/>
                </a:cubicBezTo>
                <a:cubicBezTo>
                  <a:pt x="3574" y="541"/>
                  <a:pt x="3573" y="542"/>
                  <a:pt x="3572" y="542"/>
                </a:cubicBezTo>
                <a:cubicBezTo>
                  <a:pt x="3571" y="543"/>
                  <a:pt x="3570" y="544"/>
                  <a:pt x="3568" y="545"/>
                </a:cubicBezTo>
                <a:cubicBezTo>
                  <a:pt x="3567" y="546"/>
                  <a:pt x="3567" y="546"/>
                  <a:pt x="3566" y="547"/>
                </a:cubicBezTo>
                <a:cubicBezTo>
                  <a:pt x="3565" y="547"/>
                  <a:pt x="3565" y="547"/>
                  <a:pt x="3564" y="548"/>
                </a:cubicBezTo>
                <a:cubicBezTo>
                  <a:pt x="3564" y="548"/>
                  <a:pt x="3564" y="548"/>
                  <a:pt x="3563" y="549"/>
                </a:cubicBezTo>
                <a:cubicBezTo>
                  <a:pt x="3563" y="549"/>
                  <a:pt x="3562" y="548"/>
                  <a:pt x="3562" y="548"/>
                </a:cubicBezTo>
                <a:cubicBezTo>
                  <a:pt x="3561" y="548"/>
                  <a:pt x="3560" y="549"/>
                  <a:pt x="3559" y="549"/>
                </a:cubicBezTo>
                <a:cubicBezTo>
                  <a:pt x="3558" y="549"/>
                  <a:pt x="3558" y="549"/>
                  <a:pt x="3557" y="550"/>
                </a:cubicBezTo>
                <a:cubicBezTo>
                  <a:pt x="3556" y="551"/>
                  <a:pt x="3556" y="551"/>
                  <a:pt x="3555" y="552"/>
                </a:cubicBezTo>
                <a:cubicBezTo>
                  <a:pt x="3553" y="553"/>
                  <a:pt x="3552" y="552"/>
                  <a:pt x="3550" y="552"/>
                </a:cubicBezTo>
                <a:cubicBezTo>
                  <a:pt x="3550" y="552"/>
                  <a:pt x="3550" y="552"/>
                  <a:pt x="3549" y="552"/>
                </a:cubicBezTo>
                <a:cubicBezTo>
                  <a:pt x="3549" y="553"/>
                  <a:pt x="3547" y="552"/>
                  <a:pt x="3547" y="553"/>
                </a:cubicBezTo>
                <a:cubicBezTo>
                  <a:pt x="3547" y="554"/>
                  <a:pt x="3547" y="554"/>
                  <a:pt x="3548" y="554"/>
                </a:cubicBezTo>
                <a:cubicBezTo>
                  <a:pt x="3549" y="554"/>
                  <a:pt x="3549" y="555"/>
                  <a:pt x="3549" y="556"/>
                </a:cubicBezTo>
                <a:cubicBezTo>
                  <a:pt x="3549" y="557"/>
                  <a:pt x="3549" y="558"/>
                  <a:pt x="3549" y="558"/>
                </a:cubicBezTo>
                <a:cubicBezTo>
                  <a:pt x="3549" y="559"/>
                  <a:pt x="3549" y="560"/>
                  <a:pt x="3548" y="561"/>
                </a:cubicBezTo>
                <a:cubicBezTo>
                  <a:pt x="3548" y="561"/>
                  <a:pt x="3548" y="562"/>
                  <a:pt x="3547" y="562"/>
                </a:cubicBezTo>
                <a:cubicBezTo>
                  <a:pt x="3547" y="563"/>
                  <a:pt x="3547" y="563"/>
                  <a:pt x="3547" y="563"/>
                </a:cubicBezTo>
                <a:cubicBezTo>
                  <a:pt x="3546" y="564"/>
                  <a:pt x="3546" y="564"/>
                  <a:pt x="3546" y="564"/>
                </a:cubicBezTo>
                <a:cubicBezTo>
                  <a:pt x="3545" y="564"/>
                  <a:pt x="3544" y="565"/>
                  <a:pt x="3543" y="566"/>
                </a:cubicBezTo>
                <a:cubicBezTo>
                  <a:pt x="3543" y="567"/>
                  <a:pt x="3542" y="567"/>
                  <a:pt x="3541" y="568"/>
                </a:cubicBezTo>
                <a:cubicBezTo>
                  <a:pt x="3541" y="568"/>
                  <a:pt x="3540" y="569"/>
                  <a:pt x="3539" y="570"/>
                </a:cubicBezTo>
                <a:cubicBezTo>
                  <a:pt x="3538" y="571"/>
                  <a:pt x="3538" y="572"/>
                  <a:pt x="3538" y="573"/>
                </a:cubicBezTo>
                <a:cubicBezTo>
                  <a:pt x="3537" y="574"/>
                  <a:pt x="3537" y="575"/>
                  <a:pt x="3537" y="576"/>
                </a:cubicBezTo>
                <a:cubicBezTo>
                  <a:pt x="3536" y="578"/>
                  <a:pt x="3536" y="579"/>
                  <a:pt x="3535" y="581"/>
                </a:cubicBezTo>
                <a:cubicBezTo>
                  <a:pt x="3535" y="582"/>
                  <a:pt x="3535" y="582"/>
                  <a:pt x="3535" y="583"/>
                </a:cubicBezTo>
                <a:cubicBezTo>
                  <a:pt x="3535" y="584"/>
                  <a:pt x="3535" y="584"/>
                  <a:pt x="3535" y="585"/>
                </a:cubicBezTo>
                <a:cubicBezTo>
                  <a:pt x="3534" y="586"/>
                  <a:pt x="3534" y="587"/>
                  <a:pt x="3534" y="588"/>
                </a:cubicBezTo>
                <a:cubicBezTo>
                  <a:pt x="3534" y="591"/>
                  <a:pt x="3534" y="593"/>
                  <a:pt x="3534" y="596"/>
                </a:cubicBezTo>
                <a:cubicBezTo>
                  <a:pt x="3534" y="599"/>
                  <a:pt x="3534" y="602"/>
                  <a:pt x="3535" y="604"/>
                </a:cubicBezTo>
                <a:cubicBezTo>
                  <a:pt x="3535" y="606"/>
                  <a:pt x="3536" y="608"/>
                  <a:pt x="3536" y="609"/>
                </a:cubicBezTo>
                <a:cubicBezTo>
                  <a:pt x="3536" y="611"/>
                  <a:pt x="3537" y="612"/>
                  <a:pt x="3537" y="613"/>
                </a:cubicBezTo>
                <a:cubicBezTo>
                  <a:pt x="3537" y="615"/>
                  <a:pt x="3538" y="616"/>
                  <a:pt x="3538" y="617"/>
                </a:cubicBezTo>
                <a:cubicBezTo>
                  <a:pt x="3538" y="618"/>
                  <a:pt x="3538" y="618"/>
                  <a:pt x="3539" y="619"/>
                </a:cubicBezTo>
                <a:cubicBezTo>
                  <a:pt x="3539" y="620"/>
                  <a:pt x="3539" y="621"/>
                  <a:pt x="3539" y="622"/>
                </a:cubicBezTo>
                <a:cubicBezTo>
                  <a:pt x="3539" y="624"/>
                  <a:pt x="3539" y="625"/>
                  <a:pt x="3539" y="626"/>
                </a:cubicBezTo>
                <a:cubicBezTo>
                  <a:pt x="3539" y="627"/>
                  <a:pt x="3539" y="629"/>
                  <a:pt x="3540" y="630"/>
                </a:cubicBezTo>
                <a:cubicBezTo>
                  <a:pt x="3540" y="632"/>
                  <a:pt x="3540" y="634"/>
                  <a:pt x="3542" y="635"/>
                </a:cubicBezTo>
                <a:cubicBezTo>
                  <a:pt x="3544" y="637"/>
                  <a:pt x="3543" y="639"/>
                  <a:pt x="3544" y="641"/>
                </a:cubicBezTo>
                <a:cubicBezTo>
                  <a:pt x="3544" y="641"/>
                  <a:pt x="3544" y="642"/>
                  <a:pt x="3544" y="643"/>
                </a:cubicBezTo>
                <a:cubicBezTo>
                  <a:pt x="3544" y="643"/>
                  <a:pt x="3544" y="644"/>
                  <a:pt x="3544" y="645"/>
                </a:cubicBezTo>
                <a:cubicBezTo>
                  <a:pt x="3544" y="645"/>
                  <a:pt x="3544" y="646"/>
                  <a:pt x="3544" y="646"/>
                </a:cubicBezTo>
                <a:cubicBezTo>
                  <a:pt x="3544" y="647"/>
                  <a:pt x="3544" y="648"/>
                  <a:pt x="3544" y="649"/>
                </a:cubicBezTo>
                <a:cubicBezTo>
                  <a:pt x="3544" y="650"/>
                  <a:pt x="3544" y="651"/>
                  <a:pt x="3544" y="652"/>
                </a:cubicBezTo>
                <a:cubicBezTo>
                  <a:pt x="3544" y="653"/>
                  <a:pt x="3545" y="655"/>
                  <a:pt x="3546" y="656"/>
                </a:cubicBezTo>
                <a:cubicBezTo>
                  <a:pt x="3547" y="657"/>
                  <a:pt x="3547" y="657"/>
                  <a:pt x="3547" y="658"/>
                </a:cubicBezTo>
                <a:cubicBezTo>
                  <a:pt x="3547" y="659"/>
                  <a:pt x="3547" y="659"/>
                  <a:pt x="3547" y="660"/>
                </a:cubicBezTo>
                <a:cubicBezTo>
                  <a:pt x="3546" y="660"/>
                  <a:pt x="3546" y="660"/>
                  <a:pt x="3546" y="661"/>
                </a:cubicBezTo>
                <a:cubicBezTo>
                  <a:pt x="3547" y="661"/>
                  <a:pt x="3548" y="660"/>
                  <a:pt x="3548" y="659"/>
                </a:cubicBezTo>
                <a:cubicBezTo>
                  <a:pt x="3549" y="659"/>
                  <a:pt x="3549" y="658"/>
                  <a:pt x="3550" y="658"/>
                </a:cubicBezTo>
                <a:cubicBezTo>
                  <a:pt x="3551" y="657"/>
                  <a:pt x="3551" y="657"/>
                  <a:pt x="3552" y="656"/>
                </a:cubicBezTo>
                <a:cubicBezTo>
                  <a:pt x="3553" y="656"/>
                  <a:pt x="3554" y="655"/>
                  <a:pt x="3555" y="654"/>
                </a:cubicBezTo>
                <a:cubicBezTo>
                  <a:pt x="3556" y="652"/>
                  <a:pt x="3558" y="651"/>
                  <a:pt x="3559" y="649"/>
                </a:cubicBezTo>
                <a:cubicBezTo>
                  <a:pt x="3560" y="648"/>
                  <a:pt x="3561" y="647"/>
                  <a:pt x="3561" y="646"/>
                </a:cubicBezTo>
                <a:cubicBezTo>
                  <a:pt x="3562" y="645"/>
                  <a:pt x="3563" y="644"/>
                  <a:pt x="3564" y="644"/>
                </a:cubicBezTo>
                <a:cubicBezTo>
                  <a:pt x="3564" y="643"/>
                  <a:pt x="3565" y="643"/>
                  <a:pt x="3565" y="642"/>
                </a:cubicBezTo>
                <a:cubicBezTo>
                  <a:pt x="3566" y="642"/>
                  <a:pt x="3566" y="641"/>
                  <a:pt x="3567" y="641"/>
                </a:cubicBezTo>
                <a:cubicBezTo>
                  <a:pt x="3567" y="640"/>
                  <a:pt x="3568" y="640"/>
                  <a:pt x="3568" y="639"/>
                </a:cubicBezTo>
                <a:cubicBezTo>
                  <a:pt x="3568" y="638"/>
                  <a:pt x="3568" y="638"/>
                  <a:pt x="3567" y="637"/>
                </a:cubicBezTo>
                <a:cubicBezTo>
                  <a:pt x="3567" y="636"/>
                  <a:pt x="3567" y="636"/>
                  <a:pt x="3567" y="636"/>
                </a:cubicBezTo>
                <a:cubicBezTo>
                  <a:pt x="3567" y="635"/>
                  <a:pt x="3567" y="634"/>
                  <a:pt x="3567" y="633"/>
                </a:cubicBezTo>
                <a:cubicBezTo>
                  <a:pt x="3569" y="633"/>
                  <a:pt x="3569" y="633"/>
                  <a:pt x="3569" y="631"/>
                </a:cubicBezTo>
                <a:cubicBezTo>
                  <a:pt x="3568" y="631"/>
                  <a:pt x="3569" y="630"/>
                  <a:pt x="3568" y="629"/>
                </a:cubicBezTo>
                <a:cubicBezTo>
                  <a:pt x="3568" y="629"/>
                  <a:pt x="3567" y="629"/>
                  <a:pt x="3567" y="629"/>
                </a:cubicBezTo>
                <a:cubicBezTo>
                  <a:pt x="3567" y="629"/>
                  <a:pt x="3567" y="628"/>
                  <a:pt x="3567" y="628"/>
                </a:cubicBezTo>
                <a:cubicBezTo>
                  <a:pt x="3567" y="627"/>
                  <a:pt x="3567" y="628"/>
                  <a:pt x="3568" y="628"/>
                </a:cubicBezTo>
                <a:cubicBezTo>
                  <a:pt x="3568" y="628"/>
                  <a:pt x="3568" y="628"/>
                  <a:pt x="3569" y="628"/>
                </a:cubicBezTo>
                <a:cubicBezTo>
                  <a:pt x="3569" y="628"/>
                  <a:pt x="3568" y="629"/>
                  <a:pt x="3568" y="629"/>
                </a:cubicBezTo>
                <a:cubicBezTo>
                  <a:pt x="3569" y="630"/>
                  <a:pt x="3569" y="630"/>
                  <a:pt x="3569" y="630"/>
                </a:cubicBezTo>
                <a:cubicBezTo>
                  <a:pt x="3570" y="630"/>
                  <a:pt x="3570" y="630"/>
                  <a:pt x="3571" y="630"/>
                </a:cubicBezTo>
                <a:cubicBezTo>
                  <a:pt x="3571" y="630"/>
                  <a:pt x="3571" y="629"/>
                  <a:pt x="3571" y="629"/>
                </a:cubicBezTo>
                <a:cubicBezTo>
                  <a:pt x="3572" y="628"/>
                  <a:pt x="3573" y="628"/>
                  <a:pt x="3573" y="627"/>
                </a:cubicBezTo>
                <a:cubicBezTo>
                  <a:pt x="3574" y="627"/>
                  <a:pt x="3575" y="626"/>
                  <a:pt x="3576" y="626"/>
                </a:cubicBezTo>
                <a:cubicBezTo>
                  <a:pt x="3577" y="626"/>
                  <a:pt x="3577" y="626"/>
                  <a:pt x="3578" y="625"/>
                </a:cubicBezTo>
                <a:cubicBezTo>
                  <a:pt x="3579" y="625"/>
                  <a:pt x="3579" y="625"/>
                  <a:pt x="3580" y="624"/>
                </a:cubicBezTo>
                <a:cubicBezTo>
                  <a:pt x="3581" y="624"/>
                  <a:pt x="3581" y="624"/>
                  <a:pt x="3581" y="625"/>
                </a:cubicBezTo>
                <a:cubicBezTo>
                  <a:pt x="3582" y="625"/>
                  <a:pt x="3582" y="625"/>
                  <a:pt x="3582" y="625"/>
                </a:cubicBezTo>
                <a:cubicBezTo>
                  <a:pt x="3582" y="626"/>
                  <a:pt x="3583" y="626"/>
                  <a:pt x="3583" y="626"/>
                </a:cubicBezTo>
                <a:cubicBezTo>
                  <a:pt x="3583" y="626"/>
                  <a:pt x="3584" y="626"/>
                  <a:pt x="3584" y="627"/>
                </a:cubicBezTo>
                <a:cubicBezTo>
                  <a:pt x="3584" y="627"/>
                  <a:pt x="3584" y="627"/>
                  <a:pt x="3585" y="627"/>
                </a:cubicBezTo>
                <a:cubicBezTo>
                  <a:pt x="3585" y="627"/>
                  <a:pt x="3585" y="626"/>
                  <a:pt x="3585" y="626"/>
                </a:cubicBezTo>
                <a:cubicBezTo>
                  <a:pt x="3584" y="626"/>
                  <a:pt x="3585" y="625"/>
                  <a:pt x="3585" y="625"/>
                </a:cubicBezTo>
                <a:cubicBezTo>
                  <a:pt x="3584" y="625"/>
                  <a:pt x="3584" y="624"/>
                  <a:pt x="3584" y="624"/>
                </a:cubicBezTo>
                <a:cubicBezTo>
                  <a:pt x="3584" y="624"/>
                  <a:pt x="3584" y="623"/>
                  <a:pt x="3584" y="623"/>
                </a:cubicBezTo>
                <a:cubicBezTo>
                  <a:pt x="3584" y="623"/>
                  <a:pt x="3583" y="622"/>
                  <a:pt x="3583" y="622"/>
                </a:cubicBezTo>
                <a:cubicBezTo>
                  <a:pt x="3583" y="622"/>
                  <a:pt x="3582" y="620"/>
                  <a:pt x="3583" y="620"/>
                </a:cubicBezTo>
                <a:cubicBezTo>
                  <a:pt x="3583" y="620"/>
                  <a:pt x="3584" y="621"/>
                  <a:pt x="3584" y="620"/>
                </a:cubicBezTo>
                <a:cubicBezTo>
                  <a:pt x="3584" y="619"/>
                  <a:pt x="3584" y="619"/>
                  <a:pt x="3583" y="619"/>
                </a:cubicBezTo>
                <a:cubicBezTo>
                  <a:pt x="3583" y="618"/>
                  <a:pt x="3583" y="617"/>
                  <a:pt x="3583" y="616"/>
                </a:cubicBezTo>
                <a:cubicBezTo>
                  <a:pt x="3583" y="616"/>
                  <a:pt x="3583" y="615"/>
                  <a:pt x="3583" y="614"/>
                </a:cubicBezTo>
                <a:cubicBezTo>
                  <a:pt x="3584" y="613"/>
                  <a:pt x="3584" y="613"/>
                  <a:pt x="3584" y="612"/>
                </a:cubicBezTo>
                <a:cubicBezTo>
                  <a:pt x="3584" y="611"/>
                  <a:pt x="3585" y="610"/>
                  <a:pt x="3586" y="610"/>
                </a:cubicBezTo>
                <a:cubicBezTo>
                  <a:pt x="3586" y="609"/>
                  <a:pt x="3587" y="609"/>
                  <a:pt x="3588" y="608"/>
                </a:cubicBezTo>
                <a:cubicBezTo>
                  <a:pt x="3589" y="607"/>
                  <a:pt x="3591" y="606"/>
                  <a:pt x="3592" y="605"/>
                </a:cubicBezTo>
                <a:cubicBezTo>
                  <a:pt x="3594" y="604"/>
                  <a:pt x="3595" y="604"/>
                  <a:pt x="3597" y="604"/>
                </a:cubicBezTo>
                <a:cubicBezTo>
                  <a:pt x="3598" y="603"/>
                  <a:pt x="3598" y="604"/>
                  <a:pt x="3599" y="605"/>
                </a:cubicBezTo>
                <a:cubicBezTo>
                  <a:pt x="3599" y="605"/>
                  <a:pt x="3600" y="605"/>
                  <a:pt x="3601" y="605"/>
                </a:cubicBezTo>
                <a:cubicBezTo>
                  <a:pt x="3602" y="605"/>
                  <a:pt x="3603" y="604"/>
                  <a:pt x="3603" y="604"/>
                </a:cubicBezTo>
                <a:cubicBezTo>
                  <a:pt x="3604" y="604"/>
                  <a:pt x="3605" y="604"/>
                  <a:pt x="3606" y="603"/>
                </a:cubicBezTo>
                <a:cubicBezTo>
                  <a:pt x="3606" y="603"/>
                  <a:pt x="3607" y="602"/>
                  <a:pt x="3608" y="601"/>
                </a:cubicBezTo>
                <a:cubicBezTo>
                  <a:pt x="3608" y="601"/>
                  <a:pt x="3609" y="601"/>
                  <a:pt x="3609" y="599"/>
                </a:cubicBezTo>
                <a:cubicBezTo>
                  <a:pt x="3609" y="599"/>
                  <a:pt x="3608" y="598"/>
                  <a:pt x="3607" y="598"/>
                </a:cubicBezTo>
                <a:cubicBezTo>
                  <a:pt x="3607" y="597"/>
                  <a:pt x="3607" y="597"/>
                  <a:pt x="3607" y="597"/>
                </a:cubicBezTo>
                <a:cubicBezTo>
                  <a:pt x="3606" y="596"/>
                  <a:pt x="3606" y="596"/>
                  <a:pt x="3606" y="596"/>
                </a:cubicBezTo>
                <a:cubicBezTo>
                  <a:pt x="3605" y="596"/>
                  <a:pt x="3605" y="595"/>
                  <a:pt x="3605" y="595"/>
                </a:cubicBezTo>
                <a:cubicBezTo>
                  <a:pt x="3605" y="595"/>
                  <a:pt x="3605" y="594"/>
                  <a:pt x="3605" y="594"/>
                </a:cubicBezTo>
                <a:cubicBezTo>
                  <a:pt x="3605" y="593"/>
                  <a:pt x="3605" y="592"/>
                  <a:pt x="3605" y="591"/>
                </a:cubicBezTo>
                <a:cubicBezTo>
                  <a:pt x="3604" y="590"/>
                  <a:pt x="3604" y="589"/>
                  <a:pt x="3605" y="588"/>
                </a:cubicBezTo>
                <a:cubicBezTo>
                  <a:pt x="3605" y="587"/>
                  <a:pt x="3605" y="586"/>
                  <a:pt x="3605" y="585"/>
                </a:cubicBezTo>
                <a:cubicBezTo>
                  <a:pt x="3606" y="584"/>
                  <a:pt x="3606" y="584"/>
                  <a:pt x="3606" y="583"/>
                </a:cubicBezTo>
                <a:cubicBezTo>
                  <a:pt x="3607" y="581"/>
                  <a:pt x="3608" y="580"/>
                  <a:pt x="3610" y="579"/>
                </a:cubicBezTo>
                <a:cubicBezTo>
                  <a:pt x="3610" y="578"/>
                  <a:pt x="3611" y="578"/>
                  <a:pt x="3612" y="578"/>
                </a:cubicBezTo>
                <a:cubicBezTo>
                  <a:pt x="3613" y="578"/>
                  <a:pt x="3614" y="577"/>
                  <a:pt x="3614" y="577"/>
                </a:cubicBezTo>
                <a:cubicBezTo>
                  <a:pt x="3613" y="576"/>
                  <a:pt x="3612" y="576"/>
                  <a:pt x="3613" y="575"/>
                </a:cubicBezTo>
                <a:cubicBezTo>
                  <a:pt x="3613" y="574"/>
                  <a:pt x="3614" y="574"/>
                  <a:pt x="3615" y="574"/>
                </a:cubicBezTo>
                <a:cubicBezTo>
                  <a:pt x="3615" y="574"/>
                  <a:pt x="3616" y="574"/>
                  <a:pt x="3617" y="573"/>
                </a:cubicBezTo>
                <a:cubicBezTo>
                  <a:pt x="3618" y="573"/>
                  <a:pt x="3619" y="572"/>
                  <a:pt x="3619" y="573"/>
                </a:cubicBezTo>
                <a:cubicBezTo>
                  <a:pt x="3619" y="573"/>
                  <a:pt x="3618" y="574"/>
                  <a:pt x="3617" y="574"/>
                </a:cubicBezTo>
                <a:cubicBezTo>
                  <a:pt x="3617" y="575"/>
                  <a:pt x="3616" y="575"/>
                  <a:pt x="3616" y="576"/>
                </a:cubicBezTo>
                <a:cubicBezTo>
                  <a:pt x="3615" y="576"/>
                  <a:pt x="3615" y="576"/>
                  <a:pt x="3614" y="577"/>
                </a:cubicBezTo>
                <a:cubicBezTo>
                  <a:pt x="3614" y="577"/>
                  <a:pt x="3614" y="577"/>
                  <a:pt x="3614" y="577"/>
                </a:cubicBezTo>
                <a:cubicBezTo>
                  <a:pt x="3614" y="578"/>
                  <a:pt x="3614" y="578"/>
                  <a:pt x="3615" y="578"/>
                </a:cubicBezTo>
                <a:cubicBezTo>
                  <a:pt x="3616" y="578"/>
                  <a:pt x="3615" y="579"/>
                  <a:pt x="3616" y="580"/>
                </a:cubicBezTo>
                <a:cubicBezTo>
                  <a:pt x="3616" y="580"/>
                  <a:pt x="3617" y="580"/>
                  <a:pt x="3617" y="580"/>
                </a:cubicBezTo>
                <a:cubicBezTo>
                  <a:pt x="3617" y="580"/>
                  <a:pt x="3618" y="580"/>
                  <a:pt x="3618" y="580"/>
                </a:cubicBezTo>
                <a:cubicBezTo>
                  <a:pt x="3619" y="580"/>
                  <a:pt x="3620" y="580"/>
                  <a:pt x="3620" y="579"/>
                </a:cubicBezTo>
                <a:cubicBezTo>
                  <a:pt x="3621" y="579"/>
                  <a:pt x="3622" y="578"/>
                  <a:pt x="3623" y="578"/>
                </a:cubicBezTo>
                <a:cubicBezTo>
                  <a:pt x="3623" y="577"/>
                  <a:pt x="3623" y="577"/>
                  <a:pt x="3622" y="576"/>
                </a:cubicBezTo>
                <a:cubicBezTo>
                  <a:pt x="3622" y="576"/>
                  <a:pt x="3622" y="575"/>
                  <a:pt x="3622" y="574"/>
                </a:cubicBezTo>
                <a:cubicBezTo>
                  <a:pt x="3622" y="573"/>
                  <a:pt x="3622" y="571"/>
                  <a:pt x="3621" y="570"/>
                </a:cubicBezTo>
                <a:cubicBezTo>
                  <a:pt x="3620" y="569"/>
                  <a:pt x="3620" y="569"/>
                  <a:pt x="3619" y="569"/>
                </a:cubicBezTo>
                <a:cubicBezTo>
                  <a:pt x="3618" y="569"/>
                  <a:pt x="3617" y="569"/>
                  <a:pt x="3617" y="568"/>
                </a:cubicBezTo>
                <a:cubicBezTo>
                  <a:pt x="3616" y="568"/>
                  <a:pt x="3616" y="567"/>
                  <a:pt x="3616" y="566"/>
                </a:cubicBezTo>
                <a:cubicBezTo>
                  <a:pt x="3616" y="565"/>
                  <a:pt x="3616" y="565"/>
                  <a:pt x="3616" y="564"/>
                </a:cubicBezTo>
                <a:cubicBezTo>
                  <a:pt x="3616" y="563"/>
                  <a:pt x="3616" y="563"/>
                  <a:pt x="3616" y="562"/>
                </a:cubicBezTo>
                <a:cubicBezTo>
                  <a:pt x="3616" y="561"/>
                  <a:pt x="3616" y="561"/>
                  <a:pt x="3616" y="560"/>
                </a:cubicBezTo>
                <a:cubicBezTo>
                  <a:pt x="3616" y="560"/>
                  <a:pt x="3616" y="559"/>
                  <a:pt x="3616" y="559"/>
                </a:cubicBezTo>
                <a:cubicBezTo>
                  <a:pt x="3616" y="558"/>
                  <a:pt x="3617" y="557"/>
                  <a:pt x="3618" y="557"/>
                </a:cubicBezTo>
                <a:cubicBezTo>
                  <a:pt x="3619" y="556"/>
                  <a:pt x="3619" y="555"/>
                  <a:pt x="3620" y="555"/>
                </a:cubicBezTo>
                <a:cubicBezTo>
                  <a:pt x="3620" y="554"/>
                  <a:pt x="3623" y="551"/>
                  <a:pt x="3620" y="551"/>
                </a:cubicBezTo>
                <a:cubicBezTo>
                  <a:pt x="3620" y="551"/>
                  <a:pt x="3619" y="551"/>
                  <a:pt x="3619" y="551"/>
                </a:cubicBezTo>
                <a:cubicBezTo>
                  <a:pt x="3618" y="551"/>
                  <a:pt x="3618" y="550"/>
                  <a:pt x="3618" y="550"/>
                </a:cubicBezTo>
                <a:cubicBezTo>
                  <a:pt x="3617" y="550"/>
                  <a:pt x="3617" y="550"/>
                  <a:pt x="3616" y="550"/>
                </a:cubicBezTo>
                <a:cubicBezTo>
                  <a:pt x="3616" y="549"/>
                  <a:pt x="3615" y="549"/>
                  <a:pt x="3614" y="549"/>
                </a:cubicBezTo>
                <a:cubicBezTo>
                  <a:pt x="3614" y="549"/>
                  <a:pt x="3613" y="550"/>
                  <a:pt x="3612" y="550"/>
                </a:cubicBezTo>
                <a:cubicBezTo>
                  <a:pt x="3612" y="551"/>
                  <a:pt x="3613" y="552"/>
                  <a:pt x="3612" y="553"/>
                </a:cubicBezTo>
                <a:cubicBezTo>
                  <a:pt x="3611" y="553"/>
                  <a:pt x="3611" y="551"/>
                  <a:pt x="3611" y="551"/>
                </a:cubicBezTo>
                <a:cubicBezTo>
                  <a:pt x="3611" y="551"/>
                  <a:pt x="3610" y="551"/>
                  <a:pt x="3609" y="551"/>
                </a:cubicBezTo>
                <a:cubicBezTo>
                  <a:pt x="3609" y="550"/>
                  <a:pt x="3608" y="550"/>
                  <a:pt x="3608" y="550"/>
                </a:cubicBezTo>
                <a:cubicBezTo>
                  <a:pt x="3607" y="549"/>
                  <a:pt x="3607" y="548"/>
                  <a:pt x="3607" y="547"/>
                </a:cubicBezTo>
                <a:cubicBezTo>
                  <a:pt x="3607" y="546"/>
                  <a:pt x="3607" y="545"/>
                  <a:pt x="3607" y="544"/>
                </a:cubicBezTo>
                <a:cubicBezTo>
                  <a:pt x="3608" y="544"/>
                  <a:pt x="3608" y="543"/>
                  <a:pt x="3609" y="542"/>
                </a:cubicBezTo>
                <a:cubicBezTo>
                  <a:pt x="3609" y="541"/>
                  <a:pt x="3610" y="540"/>
                  <a:pt x="3610" y="539"/>
                </a:cubicBezTo>
                <a:cubicBezTo>
                  <a:pt x="3611" y="538"/>
                  <a:pt x="3611" y="538"/>
                  <a:pt x="3612" y="537"/>
                </a:cubicBezTo>
                <a:cubicBezTo>
                  <a:pt x="3613" y="536"/>
                  <a:pt x="3614" y="536"/>
                  <a:pt x="3614" y="535"/>
                </a:cubicBezTo>
                <a:cubicBezTo>
                  <a:pt x="3615" y="535"/>
                  <a:pt x="3615" y="534"/>
                  <a:pt x="3616" y="534"/>
                </a:cubicBezTo>
                <a:cubicBezTo>
                  <a:pt x="3617" y="533"/>
                  <a:pt x="3618" y="533"/>
                  <a:pt x="3618" y="532"/>
                </a:cubicBezTo>
                <a:cubicBezTo>
                  <a:pt x="3619" y="532"/>
                  <a:pt x="3619" y="532"/>
                  <a:pt x="3619" y="531"/>
                </a:cubicBezTo>
                <a:cubicBezTo>
                  <a:pt x="3619" y="531"/>
                  <a:pt x="3618" y="531"/>
                  <a:pt x="3618" y="531"/>
                </a:cubicBezTo>
                <a:cubicBezTo>
                  <a:pt x="3618" y="530"/>
                  <a:pt x="3618" y="530"/>
                  <a:pt x="3618" y="530"/>
                </a:cubicBezTo>
                <a:cubicBezTo>
                  <a:pt x="3618" y="529"/>
                  <a:pt x="3619" y="530"/>
                  <a:pt x="3619" y="530"/>
                </a:cubicBezTo>
                <a:cubicBezTo>
                  <a:pt x="3619" y="530"/>
                  <a:pt x="3621" y="530"/>
                  <a:pt x="3621" y="530"/>
                </a:cubicBezTo>
                <a:cubicBezTo>
                  <a:pt x="3621" y="530"/>
                  <a:pt x="3621" y="530"/>
                  <a:pt x="3621" y="529"/>
                </a:cubicBezTo>
                <a:cubicBezTo>
                  <a:pt x="3620" y="529"/>
                  <a:pt x="3620" y="529"/>
                  <a:pt x="3620" y="528"/>
                </a:cubicBezTo>
                <a:cubicBezTo>
                  <a:pt x="3620" y="527"/>
                  <a:pt x="3622" y="526"/>
                  <a:pt x="3622" y="525"/>
                </a:cubicBezTo>
                <a:cubicBezTo>
                  <a:pt x="3622" y="524"/>
                  <a:pt x="3621" y="524"/>
                  <a:pt x="3621" y="524"/>
                </a:cubicBezTo>
                <a:cubicBezTo>
                  <a:pt x="3621" y="523"/>
                  <a:pt x="3621" y="522"/>
                  <a:pt x="3621" y="521"/>
                </a:cubicBezTo>
                <a:cubicBezTo>
                  <a:pt x="3621" y="520"/>
                  <a:pt x="3622" y="520"/>
                  <a:pt x="3623" y="519"/>
                </a:cubicBezTo>
                <a:cubicBezTo>
                  <a:pt x="3623" y="518"/>
                  <a:pt x="3623" y="517"/>
                  <a:pt x="3624" y="517"/>
                </a:cubicBezTo>
                <a:cubicBezTo>
                  <a:pt x="3625" y="517"/>
                  <a:pt x="3626" y="517"/>
                  <a:pt x="3626" y="516"/>
                </a:cubicBezTo>
                <a:cubicBezTo>
                  <a:pt x="3627" y="516"/>
                  <a:pt x="3628" y="516"/>
                  <a:pt x="3628" y="515"/>
                </a:cubicBezTo>
                <a:cubicBezTo>
                  <a:pt x="3627" y="515"/>
                  <a:pt x="3627" y="515"/>
                  <a:pt x="3626" y="515"/>
                </a:cubicBezTo>
                <a:cubicBezTo>
                  <a:pt x="3626" y="515"/>
                  <a:pt x="3626" y="514"/>
                  <a:pt x="3626" y="514"/>
                </a:cubicBezTo>
                <a:cubicBezTo>
                  <a:pt x="3627" y="514"/>
                  <a:pt x="3627" y="514"/>
                  <a:pt x="3628" y="514"/>
                </a:cubicBezTo>
                <a:cubicBezTo>
                  <a:pt x="3628" y="514"/>
                  <a:pt x="3628" y="514"/>
                  <a:pt x="3629" y="514"/>
                </a:cubicBezTo>
                <a:cubicBezTo>
                  <a:pt x="3629" y="514"/>
                  <a:pt x="3630" y="515"/>
                  <a:pt x="3630" y="515"/>
                </a:cubicBezTo>
                <a:cubicBezTo>
                  <a:pt x="3630" y="515"/>
                  <a:pt x="3631" y="515"/>
                  <a:pt x="3631" y="515"/>
                </a:cubicBezTo>
                <a:cubicBezTo>
                  <a:pt x="3632" y="516"/>
                  <a:pt x="3630" y="516"/>
                  <a:pt x="3630" y="517"/>
                </a:cubicBezTo>
                <a:cubicBezTo>
                  <a:pt x="3630" y="517"/>
                  <a:pt x="3631" y="518"/>
                  <a:pt x="3632" y="518"/>
                </a:cubicBezTo>
                <a:cubicBezTo>
                  <a:pt x="3632" y="517"/>
                  <a:pt x="3631" y="517"/>
                  <a:pt x="3631" y="517"/>
                </a:cubicBezTo>
                <a:cubicBezTo>
                  <a:pt x="3631" y="516"/>
                  <a:pt x="3632" y="516"/>
                  <a:pt x="3632" y="516"/>
                </a:cubicBezTo>
                <a:cubicBezTo>
                  <a:pt x="3633" y="515"/>
                  <a:pt x="3633" y="515"/>
                  <a:pt x="3634" y="514"/>
                </a:cubicBezTo>
                <a:cubicBezTo>
                  <a:pt x="3634" y="514"/>
                  <a:pt x="3635" y="514"/>
                  <a:pt x="3635" y="514"/>
                </a:cubicBezTo>
                <a:cubicBezTo>
                  <a:pt x="3636" y="514"/>
                  <a:pt x="3636" y="514"/>
                  <a:pt x="3637" y="514"/>
                </a:cubicBezTo>
                <a:cubicBezTo>
                  <a:pt x="3638" y="514"/>
                  <a:pt x="3637" y="515"/>
                  <a:pt x="3638" y="516"/>
                </a:cubicBezTo>
                <a:cubicBezTo>
                  <a:pt x="3638" y="516"/>
                  <a:pt x="3638" y="516"/>
                  <a:pt x="3639" y="517"/>
                </a:cubicBezTo>
                <a:cubicBezTo>
                  <a:pt x="3639" y="517"/>
                  <a:pt x="3639" y="517"/>
                  <a:pt x="3639" y="518"/>
                </a:cubicBezTo>
                <a:cubicBezTo>
                  <a:pt x="3639" y="519"/>
                  <a:pt x="3640" y="519"/>
                  <a:pt x="3641" y="518"/>
                </a:cubicBezTo>
                <a:cubicBezTo>
                  <a:pt x="3642" y="518"/>
                  <a:pt x="3642" y="517"/>
                  <a:pt x="3642" y="516"/>
                </a:cubicBezTo>
                <a:cubicBezTo>
                  <a:pt x="3643" y="516"/>
                  <a:pt x="3643" y="516"/>
                  <a:pt x="3643" y="516"/>
                </a:cubicBezTo>
                <a:cubicBezTo>
                  <a:pt x="3644" y="515"/>
                  <a:pt x="3643" y="514"/>
                  <a:pt x="3643" y="514"/>
                </a:cubicBezTo>
                <a:cubicBezTo>
                  <a:pt x="3644" y="513"/>
                  <a:pt x="3644" y="514"/>
                  <a:pt x="3644" y="514"/>
                </a:cubicBezTo>
                <a:cubicBezTo>
                  <a:pt x="3645" y="513"/>
                  <a:pt x="3645" y="512"/>
                  <a:pt x="3646" y="512"/>
                </a:cubicBezTo>
                <a:cubicBezTo>
                  <a:pt x="3647" y="512"/>
                  <a:pt x="3648" y="512"/>
                  <a:pt x="3648" y="511"/>
                </a:cubicBezTo>
                <a:cubicBezTo>
                  <a:pt x="3649" y="510"/>
                  <a:pt x="3650" y="510"/>
                  <a:pt x="3651" y="510"/>
                </a:cubicBezTo>
                <a:cubicBezTo>
                  <a:pt x="3652" y="510"/>
                  <a:pt x="3652" y="509"/>
                  <a:pt x="3653" y="509"/>
                </a:cubicBezTo>
                <a:cubicBezTo>
                  <a:pt x="3654" y="508"/>
                  <a:pt x="3654" y="508"/>
                  <a:pt x="3655" y="508"/>
                </a:cubicBezTo>
                <a:cubicBezTo>
                  <a:pt x="3655" y="508"/>
                  <a:pt x="3656" y="507"/>
                  <a:pt x="3656" y="507"/>
                </a:cubicBezTo>
                <a:cubicBezTo>
                  <a:pt x="3656" y="507"/>
                  <a:pt x="3657" y="507"/>
                  <a:pt x="3657" y="508"/>
                </a:cubicBezTo>
                <a:cubicBezTo>
                  <a:pt x="3656" y="508"/>
                  <a:pt x="3655" y="508"/>
                  <a:pt x="3655" y="509"/>
                </a:cubicBezTo>
                <a:cubicBezTo>
                  <a:pt x="3656" y="509"/>
                  <a:pt x="3656" y="510"/>
                  <a:pt x="3656" y="510"/>
                </a:cubicBezTo>
                <a:cubicBezTo>
                  <a:pt x="3656" y="510"/>
                  <a:pt x="3656" y="511"/>
                  <a:pt x="3656" y="511"/>
                </a:cubicBezTo>
                <a:cubicBezTo>
                  <a:pt x="3655" y="512"/>
                  <a:pt x="3655" y="512"/>
                  <a:pt x="3655" y="512"/>
                </a:cubicBezTo>
                <a:cubicBezTo>
                  <a:pt x="3655" y="513"/>
                  <a:pt x="3655" y="513"/>
                  <a:pt x="3655" y="513"/>
                </a:cubicBezTo>
                <a:cubicBezTo>
                  <a:pt x="3654" y="514"/>
                  <a:pt x="3654" y="515"/>
                  <a:pt x="3654" y="516"/>
                </a:cubicBezTo>
                <a:cubicBezTo>
                  <a:pt x="3654" y="516"/>
                  <a:pt x="3654" y="516"/>
                  <a:pt x="3654" y="517"/>
                </a:cubicBezTo>
                <a:cubicBezTo>
                  <a:pt x="3654" y="517"/>
                  <a:pt x="3654" y="518"/>
                  <a:pt x="3655" y="518"/>
                </a:cubicBezTo>
                <a:cubicBezTo>
                  <a:pt x="3655" y="519"/>
                  <a:pt x="3657" y="517"/>
                  <a:pt x="3658" y="516"/>
                </a:cubicBezTo>
                <a:cubicBezTo>
                  <a:pt x="3659" y="516"/>
                  <a:pt x="3659" y="515"/>
                  <a:pt x="3660" y="514"/>
                </a:cubicBezTo>
                <a:cubicBezTo>
                  <a:pt x="3660" y="514"/>
                  <a:pt x="3661" y="513"/>
                  <a:pt x="3661" y="513"/>
                </a:cubicBezTo>
                <a:cubicBezTo>
                  <a:pt x="3662" y="512"/>
                  <a:pt x="3663" y="512"/>
                  <a:pt x="3663" y="511"/>
                </a:cubicBezTo>
                <a:cubicBezTo>
                  <a:pt x="3663" y="510"/>
                  <a:pt x="3664" y="510"/>
                  <a:pt x="3665" y="509"/>
                </a:cubicBezTo>
                <a:cubicBezTo>
                  <a:pt x="3666" y="509"/>
                  <a:pt x="3666" y="509"/>
                  <a:pt x="3667" y="509"/>
                </a:cubicBezTo>
                <a:cubicBezTo>
                  <a:pt x="3668" y="509"/>
                  <a:pt x="3669" y="508"/>
                  <a:pt x="3669" y="508"/>
                </a:cubicBezTo>
                <a:cubicBezTo>
                  <a:pt x="3670" y="507"/>
                  <a:pt x="3671" y="507"/>
                  <a:pt x="3672" y="507"/>
                </a:cubicBezTo>
                <a:cubicBezTo>
                  <a:pt x="3672" y="506"/>
                  <a:pt x="3673" y="506"/>
                  <a:pt x="3673" y="506"/>
                </a:cubicBezTo>
                <a:cubicBezTo>
                  <a:pt x="3675" y="505"/>
                  <a:pt x="3676" y="506"/>
                  <a:pt x="3677" y="506"/>
                </a:cubicBezTo>
                <a:cubicBezTo>
                  <a:pt x="3678" y="505"/>
                  <a:pt x="3679" y="505"/>
                  <a:pt x="3680" y="505"/>
                </a:cubicBezTo>
                <a:cubicBezTo>
                  <a:pt x="3681" y="505"/>
                  <a:pt x="3683" y="505"/>
                  <a:pt x="3685" y="505"/>
                </a:cubicBezTo>
                <a:cubicBezTo>
                  <a:pt x="3686" y="504"/>
                  <a:pt x="3688" y="504"/>
                  <a:pt x="3690" y="505"/>
                </a:cubicBezTo>
                <a:cubicBezTo>
                  <a:pt x="3690" y="505"/>
                  <a:pt x="3691" y="506"/>
                  <a:pt x="3692" y="506"/>
                </a:cubicBezTo>
                <a:cubicBezTo>
                  <a:pt x="3692" y="506"/>
                  <a:pt x="3693" y="507"/>
                  <a:pt x="3694" y="507"/>
                </a:cubicBezTo>
                <a:cubicBezTo>
                  <a:pt x="3694" y="507"/>
                  <a:pt x="3695" y="508"/>
                  <a:pt x="3695" y="509"/>
                </a:cubicBezTo>
                <a:cubicBezTo>
                  <a:pt x="3695" y="510"/>
                  <a:pt x="3695" y="510"/>
                  <a:pt x="3696" y="510"/>
                </a:cubicBezTo>
                <a:cubicBezTo>
                  <a:pt x="3697" y="511"/>
                  <a:pt x="3697" y="511"/>
                  <a:pt x="3697" y="511"/>
                </a:cubicBezTo>
                <a:cubicBezTo>
                  <a:pt x="3697" y="512"/>
                  <a:pt x="3697" y="512"/>
                  <a:pt x="3697" y="512"/>
                </a:cubicBezTo>
                <a:cubicBezTo>
                  <a:pt x="3697" y="513"/>
                  <a:pt x="3698" y="513"/>
                  <a:pt x="3698" y="514"/>
                </a:cubicBezTo>
                <a:cubicBezTo>
                  <a:pt x="3699" y="514"/>
                  <a:pt x="3699" y="514"/>
                  <a:pt x="3699" y="515"/>
                </a:cubicBezTo>
                <a:cubicBezTo>
                  <a:pt x="3699" y="515"/>
                  <a:pt x="3700" y="515"/>
                  <a:pt x="3700" y="515"/>
                </a:cubicBezTo>
                <a:cubicBezTo>
                  <a:pt x="3701" y="516"/>
                  <a:pt x="3701" y="517"/>
                  <a:pt x="3702" y="517"/>
                </a:cubicBezTo>
                <a:cubicBezTo>
                  <a:pt x="3703" y="517"/>
                  <a:pt x="3703" y="516"/>
                  <a:pt x="3703" y="515"/>
                </a:cubicBezTo>
                <a:cubicBezTo>
                  <a:pt x="3703" y="515"/>
                  <a:pt x="3703" y="514"/>
                  <a:pt x="3703" y="514"/>
                </a:cubicBezTo>
                <a:cubicBezTo>
                  <a:pt x="3703" y="513"/>
                  <a:pt x="3704" y="513"/>
                  <a:pt x="3704" y="513"/>
                </a:cubicBezTo>
                <a:cubicBezTo>
                  <a:pt x="3704" y="512"/>
                  <a:pt x="3704" y="511"/>
                  <a:pt x="3705" y="510"/>
                </a:cubicBezTo>
                <a:cubicBezTo>
                  <a:pt x="3705" y="510"/>
                  <a:pt x="3706" y="510"/>
                  <a:pt x="3706" y="510"/>
                </a:cubicBezTo>
                <a:cubicBezTo>
                  <a:pt x="3707" y="509"/>
                  <a:pt x="3706" y="509"/>
                  <a:pt x="3706" y="509"/>
                </a:cubicBezTo>
                <a:cubicBezTo>
                  <a:pt x="3706" y="509"/>
                  <a:pt x="3706" y="509"/>
                  <a:pt x="3706" y="509"/>
                </a:cubicBezTo>
                <a:cubicBezTo>
                  <a:pt x="3706" y="509"/>
                  <a:pt x="3706" y="508"/>
                  <a:pt x="3706" y="508"/>
                </a:cubicBezTo>
                <a:cubicBezTo>
                  <a:pt x="3706" y="508"/>
                  <a:pt x="3707" y="508"/>
                  <a:pt x="3707" y="508"/>
                </a:cubicBezTo>
                <a:cubicBezTo>
                  <a:pt x="3708" y="507"/>
                  <a:pt x="3708" y="506"/>
                  <a:pt x="3709" y="506"/>
                </a:cubicBezTo>
                <a:cubicBezTo>
                  <a:pt x="3711" y="506"/>
                  <a:pt x="3713" y="506"/>
                  <a:pt x="3714" y="504"/>
                </a:cubicBezTo>
                <a:cubicBezTo>
                  <a:pt x="3714" y="503"/>
                  <a:pt x="3714" y="503"/>
                  <a:pt x="3716" y="502"/>
                </a:cubicBezTo>
                <a:cubicBezTo>
                  <a:pt x="3718" y="502"/>
                  <a:pt x="3720" y="501"/>
                  <a:pt x="3722" y="500"/>
                </a:cubicBezTo>
                <a:cubicBezTo>
                  <a:pt x="3722" y="500"/>
                  <a:pt x="3723" y="499"/>
                  <a:pt x="3723" y="499"/>
                </a:cubicBezTo>
                <a:cubicBezTo>
                  <a:pt x="3723" y="499"/>
                  <a:pt x="3723" y="498"/>
                  <a:pt x="3723" y="498"/>
                </a:cubicBezTo>
                <a:cubicBezTo>
                  <a:pt x="3723" y="497"/>
                  <a:pt x="3725" y="497"/>
                  <a:pt x="3726" y="497"/>
                </a:cubicBezTo>
                <a:cubicBezTo>
                  <a:pt x="3726" y="497"/>
                  <a:pt x="3727" y="497"/>
                  <a:pt x="3727" y="496"/>
                </a:cubicBezTo>
                <a:cubicBezTo>
                  <a:pt x="3727" y="496"/>
                  <a:pt x="3726" y="496"/>
                  <a:pt x="3726" y="496"/>
                </a:cubicBezTo>
                <a:cubicBezTo>
                  <a:pt x="3725" y="495"/>
                  <a:pt x="3726" y="494"/>
                  <a:pt x="3727" y="494"/>
                </a:cubicBezTo>
                <a:cubicBezTo>
                  <a:pt x="3727" y="494"/>
                  <a:pt x="3728" y="494"/>
                  <a:pt x="3728" y="494"/>
                </a:cubicBezTo>
                <a:cubicBezTo>
                  <a:pt x="3729" y="494"/>
                  <a:pt x="3729" y="493"/>
                  <a:pt x="3729" y="493"/>
                </a:cubicBezTo>
                <a:cubicBezTo>
                  <a:pt x="3730" y="492"/>
                  <a:pt x="3730" y="492"/>
                  <a:pt x="3730" y="492"/>
                </a:cubicBezTo>
                <a:cubicBezTo>
                  <a:pt x="3731" y="492"/>
                  <a:pt x="3731" y="493"/>
                  <a:pt x="3732" y="492"/>
                </a:cubicBezTo>
                <a:cubicBezTo>
                  <a:pt x="3732" y="492"/>
                  <a:pt x="3732" y="492"/>
                  <a:pt x="3732" y="491"/>
                </a:cubicBezTo>
                <a:cubicBezTo>
                  <a:pt x="3731" y="491"/>
                  <a:pt x="3730" y="490"/>
                  <a:pt x="3731" y="490"/>
                </a:cubicBezTo>
                <a:cubicBezTo>
                  <a:pt x="3731" y="489"/>
                  <a:pt x="3731" y="490"/>
                  <a:pt x="3732" y="490"/>
                </a:cubicBezTo>
                <a:cubicBezTo>
                  <a:pt x="3732" y="490"/>
                  <a:pt x="3732" y="490"/>
                  <a:pt x="3733" y="490"/>
                </a:cubicBezTo>
                <a:cubicBezTo>
                  <a:pt x="3734" y="490"/>
                  <a:pt x="3734" y="490"/>
                  <a:pt x="3735" y="489"/>
                </a:cubicBezTo>
                <a:cubicBezTo>
                  <a:pt x="3736" y="489"/>
                  <a:pt x="3736" y="489"/>
                  <a:pt x="3737" y="489"/>
                </a:cubicBezTo>
                <a:cubicBezTo>
                  <a:pt x="3738" y="488"/>
                  <a:pt x="3739" y="488"/>
                  <a:pt x="3739" y="487"/>
                </a:cubicBezTo>
                <a:cubicBezTo>
                  <a:pt x="3739" y="486"/>
                  <a:pt x="3739" y="485"/>
                  <a:pt x="3740" y="485"/>
                </a:cubicBezTo>
                <a:cubicBezTo>
                  <a:pt x="3741" y="485"/>
                  <a:pt x="3741" y="485"/>
                  <a:pt x="3742" y="485"/>
                </a:cubicBezTo>
                <a:cubicBezTo>
                  <a:pt x="3742" y="485"/>
                  <a:pt x="3743" y="484"/>
                  <a:pt x="3744" y="484"/>
                </a:cubicBezTo>
                <a:cubicBezTo>
                  <a:pt x="3744" y="484"/>
                  <a:pt x="3745" y="483"/>
                  <a:pt x="3746" y="484"/>
                </a:cubicBezTo>
                <a:cubicBezTo>
                  <a:pt x="3747" y="484"/>
                  <a:pt x="3749" y="485"/>
                  <a:pt x="3750" y="484"/>
                </a:cubicBezTo>
                <a:cubicBezTo>
                  <a:pt x="3750" y="483"/>
                  <a:pt x="3751" y="483"/>
                  <a:pt x="3751" y="483"/>
                </a:cubicBezTo>
                <a:cubicBezTo>
                  <a:pt x="3751" y="483"/>
                  <a:pt x="3752" y="483"/>
                  <a:pt x="3752" y="482"/>
                </a:cubicBezTo>
                <a:cubicBezTo>
                  <a:pt x="3752" y="482"/>
                  <a:pt x="3751" y="482"/>
                  <a:pt x="3751" y="481"/>
                </a:cubicBezTo>
                <a:cubicBezTo>
                  <a:pt x="3751" y="481"/>
                  <a:pt x="3751" y="481"/>
                  <a:pt x="3752" y="480"/>
                </a:cubicBezTo>
                <a:cubicBezTo>
                  <a:pt x="3753" y="480"/>
                  <a:pt x="3754" y="481"/>
                  <a:pt x="3755" y="480"/>
                </a:cubicBezTo>
                <a:cubicBezTo>
                  <a:pt x="3756" y="480"/>
                  <a:pt x="3757" y="480"/>
                  <a:pt x="3758" y="480"/>
                </a:cubicBezTo>
                <a:cubicBezTo>
                  <a:pt x="3758" y="479"/>
                  <a:pt x="3759" y="478"/>
                  <a:pt x="3759" y="477"/>
                </a:cubicBezTo>
                <a:cubicBezTo>
                  <a:pt x="3760" y="477"/>
                  <a:pt x="3762" y="476"/>
                  <a:pt x="3763" y="476"/>
                </a:cubicBezTo>
                <a:cubicBezTo>
                  <a:pt x="3764" y="476"/>
                  <a:pt x="3765" y="475"/>
                  <a:pt x="3767" y="474"/>
                </a:cubicBezTo>
                <a:cubicBezTo>
                  <a:pt x="3767" y="474"/>
                  <a:pt x="3768" y="474"/>
                  <a:pt x="3768" y="473"/>
                </a:cubicBezTo>
                <a:cubicBezTo>
                  <a:pt x="3769" y="473"/>
                  <a:pt x="3770" y="472"/>
                  <a:pt x="3771" y="472"/>
                </a:cubicBezTo>
                <a:cubicBezTo>
                  <a:pt x="3772" y="472"/>
                  <a:pt x="3773" y="472"/>
                  <a:pt x="3774" y="471"/>
                </a:cubicBezTo>
                <a:cubicBezTo>
                  <a:pt x="3775" y="471"/>
                  <a:pt x="3776" y="471"/>
                  <a:pt x="3777" y="471"/>
                </a:cubicBezTo>
                <a:cubicBezTo>
                  <a:pt x="3777" y="471"/>
                  <a:pt x="3778" y="471"/>
                  <a:pt x="3779" y="471"/>
                </a:cubicBezTo>
                <a:cubicBezTo>
                  <a:pt x="3779" y="471"/>
                  <a:pt x="3779" y="470"/>
                  <a:pt x="3779" y="470"/>
                </a:cubicBezTo>
                <a:cubicBezTo>
                  <a:pt x="3778" y="470"/>
                  <a:pt x="3777" y="469"/>
                  <a:pt x="3777" y="469"/>
                </a:cubicBezTo>
                <a:cubicBezTo>
                  <a:pt x="3778" y="468"/>
                  <a:pt x="3778" y="468"/>
                  <a:pt x="3778" y="468"/>
                </a:cubicBezTo>
                <a:cubicBezTo>
                  <a:pt x="3778" y="467"/>
                  <a:pt x="3778" y="467"/>
                  <a:pt x="3778" y="467"/>
                </a:cubicBezTo>
                <a:cubicBezTo>
                  <a:pt x="3778" y="467"/>
                  <a:pt x="3779" y="467"/>
                  <a:pt x="3778" y="467"/>
                </a:cubicBezTo>
                <a:cubicBezTo>
                  <a:pt x="3778" y="466"/>
                  <a:pt x="3778" y="466"/>
                  <a:pt x="3778" y="466"/>
                </a:cubicBezTo>
                <a:cubicBezTo>
                  <a:pt x="3778" y="465"/>
                  <a:pt x="3779" y="466"/>
                  <a:pt x="3779" y="466"/>
                </a:cubicBezTo>
                <a:cubicBezTo>
                  <a:pt x="3779" y="467"/>
                  <a:pt x="3780" y="466"/>
                  <a:pt x="3781" y="466"/>
                </a:cubicBezTo>
                <a:cubicBezTo>
                  <a:pt x="3781" y="466"/>
                  <a:pt x="3782" y="467"/>
                  <a:pt x="3782" y="466"/>
                </a:cubicBezTo>
                <a:cubicBezTo>
                  <a:pt x="3782" y="466"/>
                  <a:pt x="3783" y="465"/>
                  <a:pt x="3783" y="466"/>
                </a:cubicBezTo>
                <a:cubicBezTo>
                  <a:pt x="3783" y="466"/>
                  <a:pt x="3782" y="467"/>
                  <a:pt x="3782" y="467"/>
                </a:cubicBezTo>
                <a:cubicBezTo>
                  <a:pt x="3782" y="467"/>
                  <a:pt x="3782" y="467"/>
                  <a:pt x="3781" y="468"/>
                </a:cubicBezTo>
                <a:cubicBezTo>
                  <a:pt x="3781" y="468"/>
                  <a:pt x="3781" y="469"/>
                  <a:pt x="3780" y="469"/>
                </a:cubicBezTo>
                <a:cubicBezTo>
                  <a:pt x="3780" y="469"/>
                  <a:pt x="3779" y="469"/>
                  <a:pt x="3780" y="470"/>
                </a:cubicBezTo>
                <a:cubicBezTo>
                  <a:pt x="3780" y="470"/>
                  <a:pt x="3780" y="470"/>
                  <a:pt x="3780" y="470"/>
                </a:cubicBezTo>
                <a:cubicBezTo>
                  <a:pt x="3781" y="470"/>
                  <a:pt x="3781" y="470"/>
                  <a:pt x="3781" y="470"/>
                </a:cubicBezTo>
                <a:cubicBezTo>
                  <a:pt x="3782" y="470"/>
                  <a:pt x="3782" y="470"/>
                  <a:pt x="3782" y="471"/>
                </a:cubicBezTo>
                <a:cubicBezTo>
                  <a:pt x="3783" y="471"/>
                  <a:pt x="3784" y="470"/>
                  <a:pt x="3785" y="470"/>
                </a:cubicBezTo>
                <a:cubicBezTo>
                  <a:pt x="3786" y="470"/>
                  <a:pt x="3787" y="470"/>
                  <a:pt x="3787" y="470"/>
                </a:cubicBezTo>
                <a:cubicBezTo>
                  <a:pt x="3788" y="470"/>
                  <a:pt x="3789" y="471"/>
                  <a:pt x="3790" y="471"/>
                </a:cubicBezTo>
                <a:cubicBezTo>
                  <a:pt x="3791" y="471"/>
                  <a:pt x="3791" y="471"/>
                  <a:pt x="3792" y="472"/>
                </a:cubicBezTo>
                <a:cubicBezTo>
                  <a:pt x="3793" y="472"/>
                  <a:pt x="3794" y="472"/>
                  <a:pt x="3795" y="472"/>
                </a:cubicBezTo>
                <a:cubicBezTo>
                  <a:pt x="3796" y="473"/>
                  <a:pt x="3796" y="473"/>
                  <a:pt x="3797" y="473"/>
                </a:cubicBezTo>
                <a:cubicBezTo>
                  <a:pt x="3798" y="473"/>
                  <a:pt x="3799" y="474"/>
                  <a:pt x="3799" y="474"/>
                </a:cubicBezTo>
                <a:cubicBezTo>
                  <a:pt x="3800" y="474"/>
                  <a:pt x="3800" y="474"/>
                  <a:pt x="3800" y="474"/>
                </a:cubicBezTo>
                <a:cubicBezTo>
                  <a:pt x="3801" y="475"/>
                  <a:pt x="3801" y="475"/>
                  <a:pt x="3801" y="475"/>
                </a:cubicBezTo>
                <a:cubicBezTo>
                  <a:pt x="3803" y="476"/>
                  <a:pt x="3802" y="473"/>
                  <a:pt x="3804" y="472"/>
                </a:cubicBezTo>
                <a:cubicBezTo>
                  <a:pt x="3804" y="471"/>
                  <a:pt x="3805" y="471"/>
                  <a:pt x="3805" y="471"/>
                </a:cubicBezTo>
                <a:cubicBezTo>
                  <a:pt x="3805" y="471"/>
                  <a:pt x="3806" y="470"/>
                  <a:pt x="3806" y="470"/>
                </a:cubicBezTo>
                <a:cubicBezTo>
                  <a:pt x="3807" y="470"/>
                  <a:pt x="3808" y="470"/>
                  <a:pt x="3808" y="469"/>
                </a:cubicBezTo>
                <a:cubicBezTo>
                  <a:pt x="3808" y="467"/>
                  <a:pt x="3807" y="465"/>
                  <a:pt x="3806" y="465"/>
                </a:cubicBezTo>
                <a:cubicBezTo>
                  <a:pt x="3805" y="464"/>
                  <a:pt x="3804" y="464"/>
                  <a:pt x="3805" y="463"/>
                </a:cubicBezTo>
                <a:cubicBezTo>
                  <a:pt x="3805" y="462"/>
                  <a:pt x="3806" y="462"/>
                  <a:pt x="3806" y="461"/>
                </a:cubicBezTo>
                <a:cubicBezTo>
                  <a:pt x="3806" y="461"/>
                  <a:pt x="3805" y="460"/>
                  <a:pt x="3805" y="459"/>
                </a:cubicBezTo>
                <a:cubicBezTo>
                  <a:pt x="3805" y="458"/>
                  <a:pt x="3804" y="458"/>
                  <a:pt x="3803" y="458"/>
                </a:cubicBezTo>
                <a:cubicBezTo>
                  <a:pt x="3802" y="458"/>
                  <a:pt x="3802" y="458"/>
                  <a:pt x="3801" y="457"/>
                </a:cubicBezTo>
                <a:cubicBezTo>
                  <a:pt x="3801" y="457"/>
                  <a:pt x="3801" y="457"/>
                  <a:pt x="3800" y="456"/>
                </a:cubicBezTo>
                <a:cubicBezTo>
                  <a:pt x="3800" y="455"/>
                  <a:pt x="3800" y="455"/>
                  <a:pt x="3799" y="455"/>
                </a:cubicBezTo>
                <a:cubicBezTo>
                  <a:pt x="3799" y="454"/>
                  <a:pt x="3799" y="453"/>
                  <a:pt x="3799" y="453"/>
                </a:cubicBezTo>
                <a:cubicBezTo>
                  <a:pt x="3799" y="453"/>
                  <a:pt x="3798" y="452"/>
                  <a:pt x="3798" y="453"/>
                </a:cubicBezTo>
                <a:cubicBezTo>
                  <a:pt x="3798" y="453"/>
                  <a:pt x="3799" y="454"/>
                  <a:pt x="3799" y="454"/>
                </a:cubicBezTo>
                <a:cubicBezTo>
                  <a:pt x="3799" y="454"/>
                  <a:pt x="3799" y="455"/>
                  <a:pt x="3798" y="455"/>
                </a:cubicBezTo>
                <a:cubicBezTo>
                  <a:pt x="3798" y="455"/>
                  <a:pt x="3798" y="455"/>
                  <a:pt x="3797" y="455"/>
                </a:cubicBezTo>
                <a:cubicBezTo>
                  <a:pt x="3797" y="455"/>
                  <a:pt x="3798" y="454"/>
                  <a:pt x="3798" y="454"/>
                </a:cubicBezTo>
                <a:cubicBezTo>
                  <a:pt x="3798" y="454"/>
                  <a:pt x="3798" y="453"/>
                  <a:pt x="3798" y="453"/>
                </a:cubicBezTo>
                <a:cubicBezTo>
                  <a:pt x="3798" y="452"/>
                  <a:pt x="3797" y="452"/>
                  <a:pt x="3797" y="452"/>
                </a:cubicBezTo>
                <a:cubicBezTo>
                  <a:pt x="3797" y="452"/>
                  <a:pt x="3796" y="452"/>
                  <a:pt x="3796" y="452"/>
                </a:cubicBezTo>
                <a:cubicBezTo>
                  <a:pt x="3795" y="452"/>
                  <a:pt x="3795" y="453"/>
                  <a:pt x="3795" y="453"/>
                </a:cubicBezTo>
                <a:cubicBezTo>
                  <a:pt x="3794" y="453"/>
                  <a:pt x="3794" y="453"/>
                  <a:pt x="3794" y="452"/>
                </a:cubicBezTo>
                <a:cubicBezTo>
                  <a:pt x="3794" y="452"/>
                  <a:pt x="3794" y="452"/>
                  <a:pt x="3794" y="452"/>
                </a:cubicBezTo>
                <a:cubicBezTo>
                  <a:pt x="3794" y="452"/>
                  <a:pt x="3794" y="452"/>
                  <a:pt x="3794" y="451"/>
                </a:cubicBezTo>
                <a:cubicBezTo>
                  <a:pt x="3794" y="451"/>
                  <a:pt x="3795" y="451"/>
                  <a:pt x="3795" y="451"/>
                </a:cubicBezTo>
                <a:cubicBezTo>
                  <a:pt x="3796" y="452"/>
                  <a:pt x="3797" y="452"/>
                  <a:pt x="3797" y="452"/>
                </a:cubicBezTo>
                <a:cubicBezTo>
                  <a:pt x="3798" y="451"/>
                  <a:pt x="3798" y="451"/>
                  <a:pt x="3798" y="451"/>
                </a:cubicBezTo>
                <a:cubicBezTo>
                  <a:pt x="3798" y="451"/>
                  <a:pt x="3798" y="451"/>
                  <a:pt x="3798" y="451"/>
                </a:cubicBezTo>
                <a:cubicBezTo>
                  <a:pt x="3799" y="450"/>
                  <a:pt x="3798" y="450"/>
                  <a:pt x="3798" y="449"/>
                </a:cubicBezTo>
                <a:cubicBezTo>
                  <a:pt x="3798" y="448"/>
                  <a:pt x="3798" y="448"/>
                  <a:pt x="3798" y="447"/>
                </a:cubicBezTo>
                <a:cubicBezTo>
                  <a:pt x="3798" y="446"/>
                  <a:pt x="3798" y="446"/>
                  <a:pt x="3797" y="445"/>
                </a:cubicBezTo>
                <a:cubicBezTo>
                  <a:pt x="3795" y="445"/>
                  <a:pt x="3796" y="444"/>
                  <a:pt x="3796" y="443"/>
                </a:cubicBezTo>
                <a:cubicBezTo>
                  <a:pt x="3796" y="442"/>
                  <a:pt x="3795" y="442"/>
                  <a:pt x="3795" y="442"/>
                </a:cubicBezTo>
                <a:cubicBezTo>
                  <a:pt x="3794" y="441"/>
                  <a:pt x="3794" y="440"/>
                  <a:pt x="3794" y="439"/>
                </a:cubicBezTo>
                <a:cubicBezTo>
                  <a:pt x="3793" y="439"/>
                  <a:pt x="3793" y="438"/>
                  <a:pt x="3792" y="439"/>
                </a:cubicBezTo>
                <a:cubicBezTo>
                  <a:pt x="3791" y="440"/>
                  <a:pt x="3792" y="441"/>
                  <a:pt x="3790" y="441"/>
                </a:cubicBezTo>
                <a:cubicBezTo>
                  <a:pt x="3790" y="441"/>
                  <a:pt x="3789" y="440"/>
                  <a:pt x="3788" y="440"/>
                </a:cubicBezTo>
                <a:cubicBezTo>
                  <a:pt x="3787" y="439"/>
                  <a:pt x="3787" y="439"/>
                  <a:pt x="3786" y="439"/>
                </a:cubicBezTo>
                <a:cubicBezTo>
                  <a:pt x="3785" y="438"/>
                  <a:pt x="3784" y="438"/>
                  <a:pt x="3784" y="437"/>
                </a:cubicBezTo>
                <a:cubicBezTo>
                  <a:pt x="3783" y="436"/>
                  <a:pt x="3784" y="434"/>
                  <a:pt x="3783" y="432"/>
                </a:cubicBezTo>
                <a:cubicBezTo>
                  <a:pt x="3783" y="432"/>
                  <a:pt x="3783" y="432"/>
                  <a:pt x="3783" y="431"/>
                </a:cubicBezTo>
                <a:cubicBezTo>
                  <a:pt x="3783" y="431"/>
                  <a:pt x="3782" y="431"/>
                  <a:pt x="3782" y="430"/>
                </a:cubicBezTo>
                <a:cubicBezTo>
                  <a:pt x="3781" y="430"/>
                  <a:pt x="3781" y="431"/>
                  <a:pt x="3780" y="431"/>
                </a:cubicBezTo>
                <a:cubicBezTo>
                  <a:pt x="3780" y="431"/>
                  <a:pt x="3779" y="431"/>
                  <a:pt x="3779" y="431"/>
                </a:cubicBezTo>
                <a:cubicBezTo>
                  <a:pt x="3779" y="431"/>
                  <a:pt x="3778" y="431"/>
                  <a:pt x="3778" y="432"/>
                </a:cubicBezTo>
                <a:cubicBezTo>
                  <a:pt x="3777" y="432"/>
                  <a:pt x="3776" y="432"/>
                  <a:pt x="3776" y="432"/>
                </a:cubicBezTo>
                <a:cubicBezTo>
                  <a:pt x="3774" y="432"/>
                  <a:pt x="3773" y="431"/>
                  <a:pt x="3772" y="432"/>
                </a:cubicBezTo>
                <a:cubicBezTo>
                  <a:pt x="3772" y="432"/>
                  <a:pt x="3771" y="432"/>
                  <a:pt x="3771" y="433"/>
                </a:cubicBezTo>
                <a:cubicBezTo>
                  <a:pt x="3771" y="433"/>
                  <a:pt x="3770" y="433"/>
                  <a:pt x="3770" y="433"/>
                </a:cubicBezTo>
                <a:cubicBezTo>
                  <a:pt x="3769" y="433"/>
                  <a:pt x="3769" y="434"/>
                  <a:pt x="3769" y="435"/>
                </a:cubicBezTo>
                <a:cubicBezTo>
                  <a:pt x="3769" y="434"/>
                  <a:pt x="3768" y="433"/>
                  <a:pt x="3769" y="433"/>
                </a:cubicBezTo>
                <a:cubicBezTo>
                  <a:pt x="3770" y="433"/>
                  <a:pt x="3770" y="433"/>
                  <a:pt x="3771" y="432"/>
                </a:cubicBezTo>
                <a:cubicBezTo>
                  <a:pt x="3771" y="432"/>
                  <a:pt x="3771" y="432"/>
                  <a:pt x="3770" y="432"/>
                </a:cubicBezTo>
                <a:cubicBezTo>
                  <a:pt x="3770" y="432"/>
                  <a:pt x="3770" y="432"/>
                  <a:pt x="3770" y="431"/>
                </a:cubicBezTo>
                <a:cubicBezTo>
                  <a:pt x="3769" y="431"/>
                  <a:pt x="3769" y="431"/>
                  <a:pt x="3769" y="430"/>
                </a:cubicBezTo>
                <a:cubicBezTo>
                  <a:pt x="3768" y="430"/>
                  <a:pt x="3768" y="429"/>
                  <a:pt x="3768" y="429"/>
                </a:cubicBezTo>
                <a:cubicBezTo>
                  <a:pt x="3767" y="428"/>
                  <a:pt x="3767" y="428"/>
                  <a:pt x="3767" y="427"/>
                </a:cubicBezTo>
                <a:cubicBezTo>
                  <a:pt x="3768" y="427"/>
                  <a:pt x="3768" y="428"/>
                  <a:pt x="3768" y="428"/>
                </a:cubicBezTo>
                <a:cubicBezTo>
                  <a:pt x="3769" y="428"/>
                  <a:pt x="3769" y="428"/>
                  <a:pt x="3769" y="428"/>
                </a:cubicBezTo>
                <a:cubicBezTo>
                  <a:pt x="3770" y="428"/>
                  <a:pt x="3770" y="428"/>
                  <a:pt x="3770" y="429"/>
                </a:cubicBezTo>
                <a:cubicBezTo>
                  <a:pt x="3770" y="429"/>
                  <a:pt x="3771" y="429"/>
                  <a:pt x="3771" y="429"/>
                </a:cubicBezTo>
                <a:cubicBezTo>
                  <a:pt x="3771" y="429"/>
                  <a:pt x="3772" y="430"/>
                  <a:pt x="3772" y="430"/>
                </a:cubicBezTo>
                <a:cubicBezTo>
                  <a:pt x="3773" y="429"/>
                  <a:pt x="3773" y="429"/>
                  <a:pt x="3773" y="429"/>
                </a:cubicBezTo>
                <a:cubicBezTo>
                  <a:pt x="3774" y="429"/>
                  <a:pt x="3775" y="429"/>
                  <a:pt x="3776" y="429"/>
                </a:cubicBezTo>
                <a:cubicBezTo>
                  <a:pt x="3776" y="429"/>
                  <a:pt x="3777" y="429"/>
                  <a:pt x="3777" y="429"/>
                </a:cubicBezTo>
                <a:cubicBezTo>
                  <a:pt x="3777" y="430"/>
                  <a:pt x="3777" y="430"/>
                  <a:pt x="3778" y="430"/>
                </a:cubicBezTo>
                <a:cubicBezTo>
                  <a:pt x="3778" y="431"/>
                  <a:pt x="3779" y="431"/>
                  <a:pt x="3780" y="430"/>
                </a:cubicBezTo>
                <a:cubicBezTo>
                  <a:pt x="3780" y="430"/>
                  <a:pt x="3781" y="429"/>
                  <a:pt x="3781" y="428"/>
                </a:cubicBezTo>
                <a:cubicBezTo>
                  <a:pt x="3781" y="428"/>
                  <a:pt x="3780" y="428"/>
                  <a:pt x="3780" y="427"/>
                </a:cubicBezTo>
                <a:cubicBezTo>
                  <a:pt x="3780" y="427"/>
                  <a:pt x="3780" y="427"/>
                  <a:pt x="3779" y="427"/>
                </a:cubicBezTo>
                <a:cubicBezTo>
                  <a:pt x="3779" y="426"/>
                  <a:pt x="3779" y="426"/>
                  <a:pt x="3778" y="426"/>
                </a:cubicBezTo>
                <a:cubicBezTo>
                  <a:pt x="3778" y="426"/>
                  <a:pt x="3778" y="426"/>
                  <a:pt x="3778" y="426"/>
                </a:cubicBezTo>
                <a:cubicBezTo>
                  <a:pt x="3777" y="425"/>
                  <a:pt x="3776" y="425"/>
                  <a:pt x="3776" y="426"/>
                </a:cubicBezTo>
                <a:cubicBezTo>
                  <a:pt x="3776" y="425"/>
                  <a:pt x="3777" y="425"/>
                  <a:pt x="3777" y="425"/>
                </a:cubicBezTo>
                <a:cubicBezTo>
                  <a:pt x="3778" y="425"/>
                  <a:pt x="3778" y="425"/>
                  <a:pt x="3778" y="426"/>
                </a:cubicBezTo>
                <a:cubicBezTo>
                  <a:pt x="3779" y="426"/>
                  <a:pt x="3779" y="426"/>
                  <a:pt x="3779" y="426"/>
                </a:cubicBezTo>
                <a:cubicBezTo>
                  <a:pt x="3780" y="426"/>
                  <a:pt x="3780" y="427"/>
                  <a:pt x="3781" y="427"/>
                </a:cubicBezTo>
                <a:cubicBezTo>
                  <a:pt x="3782" y="428"/>
                  <a:pt x="3783" y="427"/>
                  <a:pt x="3783" y="428"/>
                </a:cubicBezTo>
                <a:cubicBezTo>
                  <a:pt x="3784" y="428"/>
                  <a:pt x="3783" y="428"/>
                  <a:pt x="3783" y="429"/>
                </a:cubicBezTo>
                <a:cubicBezTo>
                  <a:pt x="3783" y="429"/>
                  <a:pt x="3782" y="429"/>
                  <a:pt x="3782" y="429"/>
                </a:cubicBezTo>
                <a:cubicBezTo>
                  <a:pt x="3783" y="430"/>
                  <a:pt x="3783" y="429"/>
                  <a:pt x="3784" y="430"/>
                </a:cubicBezTo>
                <a:cubicBezTo>
                  <a:pt x="3784" y="430"/>
                  <a:pt x="3784" y="430"/>
                  <a:pt x="3785" y="431"/>
                </a:cubicBezTo>
                <a:cubicBezTo>
                  <a:pt x="3785" y="431"/>
                  <a:pt x="3785" y="431"/>
                  <a:pt x="3786" y="432"/>
                </a:cubicBezTo>
                <a:cubicBezTo>
                  <a:pt x="3786" y="432"/>
                  <a:pt x="3786" y="432"/>
                  <a:pt x="3786" y="432"/>
                </a:cubicBezTo>
                <a:cubicBezTo>
                  <a:pt x="3787" y="432"/>
                  <a:pt x="3787" y="432"/>
                  <a:pt x="3788" y="432"/>
                </a:cubicBezTo>
                <a:cubicBezTo>
                  <a:pt x="3789" y="432"/>
                  <a:pt x="3790" y="432"/>
                  <a:pt x="3790" y="432"/>
                </a:cubicBezTo>
                <a:cubicBezTo>
                  <a:pt x="3791" y="432"/>
                  <a:pt x="3792" y="432"/>
                  <a:pt x="3793" y="432"/>
                </a:cubicBezTo>
                <a:cubicBezTo>
                  <a:pt x="3795" y="432"/>
                  <a:pt x="3797" y="431"/>
                  <a:pt x="3799" y="430"/>
                </a:cubicBezTo>
                <a:cubicBezTo>
                  <a:pt x="3799" y="430"/>
                  <a:pt x="3800" y="430"/>
                  <a:pt x="3800" y="430"/>
                </a:cubicBezTo>
                <a:cubicBezTo>
                  <a:pt x="3800" y="430"/>
                  <a:pt x="3801" y="430"/>
                  <a:pt x="3801" y="430"/>
                </a:cubicBezTo>
                <a:cubicBezTo>
                  <a:pt x="3802" y="430"/>
                  <a:pt x="3803" y="429"/>
                  <a:pt x="3804" y="429"/>
                </a:cubicBezTo>
                <a:cubicBezTo>
                  <a:pt x="3806" y="428"/>
                  <a:pt x="3808" y="428"/>
                  <a:pt x="3809" y="427"/>
                </a:cubicBezTo>
                <a:cubicBezTo>
                  <a:pt x="3810" y="427"/>
                  <a:pt x="3811" y="426"/>
                  <a:pt x="3811" y="426"/>
                </a:cubicBezTo>
                <a:cubicBezTo>
                  <a:pt x="3812" y="425"/>
                  <a:pt x="3812" y="425"/>
                  <a:pt x="3813" y="425"/>
                </a:cubicBezTo>
                <a:cubicBezTo>
                  <a:pt x="3814" y="424"/>
                  <a:pt x="3816" y="424"/>
                  <a:pt x="3816" y="424"/>
                </a:cubicBezTo>
                <a:cubicBezTo>
                  <a:pt x="3817" y="423"/>
                  <a:pt x="3817" y="423"/>
                  <a:pt x="3817" y="422"/>
                </a:cubicBezTo>
                <a:cubicBezTo>
                  <a:pt x="3817" y="421"/>
                  <a:pt x="3818" y="421"/>
                  <a:pt x="3818" y="420"/>
                </a:cubicBezTo>
                <a:cubicBezTo>
                  <a:pt x="3818" y="419"/>
                  <a:pt x="3818" y="419"/>
                  <a:pt x="3817" y="419"/>
                </a:cubicBezTo>
                <a:cubicBezTo>
                  <a:pt x="3816" y="419"/>
                  <a:pt x="3816" y="419"/>
                  <a:pt x="3816" y="419"/>
                </a:cubicBezTo>
                <a:cubicBezTo>
                  <a:pt x="3815" y="419"/>
                  <a:pt x="3815" y="419"/>
                  <a:pt x="3815" y="420"/>
                </a:cubicBezTo>
                <a:cubicBezTo>
                  <a:pt x="3814" y="420"/>
                  <a:pt x="3813" y="420"/>
                  <a:pt x="3812" y="420"/>
                </a:cubicBezTo>
                <a:cubicBezTo>
                  <a:pt x="3812" y="420"/>
                  <a:pt x="3811" y="420"/>
                  <a:pt x="3811" y="419"/>
                </a:cubicBezTo>
                <a:cubicBezTo>
                  <a:pt x="3811" y="419"/>
                  <a:pt x="3812" y="419"/>
                  <a:pt x="3812" y="419"/>
                </a:cubicBezTo>
                <a:cubicBezTo>
                  <a:pt x="3813" y="419"/>
                  <a:pt x="3814" y="419"/>
                  <a:pt x="3814" y="418"/>
                </a:cubicBezTo>
                <a:cubicBezTo>
                  <a:pt x="3815" y="418"/>
                  <a:pt x="3816" y="418"/>
                  <a:pt x="3817" y="418"/>
                </a:cubicBezTo>
                <a:cubicBezTo>
                  <a:pt x="3818" y="417"/>
                  <a:pt x="3818" y="417"/>
                  <a:pt x="3819" y="417"/>
                </a:cubicBezTo>
                <a:cubicBezTo>
                  <a:pt x="3820" y="416"/>
                  <a:pt x="3821" y="416"/>
                  <a:pt x="3820" y="414"/>
                </a:cubicBezTo>
                <a:cubicBezTo>
                  <a:pt x="3820" y="414"/>
                  <a:pt x="3819" y="414"/>
                  <a:pt x="3819" y="413"/>
                </a:cubicBezTo>
                <a:cubicBezTo>
                  <a:pt x="3818" y="413"/>
                  <a:pt x="3818" y="412"/>
                  <a:pt x="3817" y="412"/>
                </a:cubicBezTo>
                <a:cubicBezTo>
                  <a:pt x="3816" y="411"/>
                  <a:pt x="3815" y="411"/>
                  <a:pt x="3815" y="410"/>
                </a:cubicBezTo>
                <a:cubicBezTo>
                  <a:pt x="3815" y="409"/>
                  <a:pt x="3815" y="408"/>
                  <a:pt x="3816" y="408"/>
                </a:cubicBezTo>
                <a:cubicBezTo>
                  <a:pt x="3816" y="407"/>
                  <a:pt x="3816" y="406"/>
                  <a:pt x="3816" y="405"/>
                </a:cubicBezTo>
                <a:cubicBezTo>
                  <a:pt x="3816" y="405"/>
                  <a:pt x="3816" y="404"/>
                  <a:pt x="3816" y="404"/>
                </a:cubicBezTo>
                <a:cubicBezTo>
                  <a:pt x="3816" y="405"/>
                  <a:pt x="3816" y="405"/>
                  <a:pt x="3816" y="406"/>
                </a:cubicBezTo>
                <a:cubicBezTo>
                  <a:pt x="3817" y="406"/>
                  <a:pt x="3818" y="406"/>
                  <a:pt x="3819" y="405"/>
                </a:cubicBezTo>
                <a:cubicBezTo>
                  <a:pt x="3819" y="405"/>
                  <a:pt x="3819" y="405"/>
                  <a:pt x="3820" y="404"/>
                </a:cubicBezTo>
                <a:cubicBezTo>
                  <a:pt x="3820" y="404"/>
                  <a:pt x="3820" y="404"/>
                  <a:pt x="3821" y="404"/>
                </a:cubicBezTo>
                <a:cubicBezTo>
                  <a:pt x="3821" y="403"/>
                  <a:pt x="3820" y="403"/>
                  <a:pt x="3820" y="402"/>
                </a:cubicBezTo>
                <a:cubicBezTo>
                  <a:pt x="3820" y="401"/>
                  <a:pt x="3820" y="400"/>
                  <a:pt x="3821" y="400"/>
                </a:cubicBezTo>
                <a:cubicBezTo>
                  <a:pt x="3821" y="400"/>
                  <a:pt x="3822" y="401"/>
                  <a:pt x="3822" y="401"/>
                </a:cubicBezTo>
                <a:cubicBezTo>
                  <a:pt x="3823" y="401"/>
                  <a:pt x="3822" y="401"/>
                  <a:pt x="3822" y="402"/>
                </a:cubicBezTo>
                <a:cubicBezTo>
                  <a:pt x="3822" y="402"/>
                  <a:pt x="3822" y="403"/>
                  <a:pt x="3822" y="403"/>
                </a:cubicBezTo>
                <a:cubicBezTo>
                  <a:pt x="3823" y="403"/>
                  <a:pt x="3823" y="403"/>
                  <a:pt x="3823" y="403"/>
                </a:cubicBezTo>
                <a:cubicBezTo>
                  <a:pt x="3823" y="403"/>
                  <a:pt x="3823" y="404"/>
                  <a:pt x="3823" y="404"/>
                </a:cubicBezTo>
                <a:cubicBezTo>
                  <a:pt x="3824" y="404"/>
                  <a:pt x="3824" y="404"/>
                  <a:pt x="3825" y="403"/>
                </a:cubicBezTo>
                <a:cubicBezTo>
                  <a:pt x="3825" y="402"/>
                  <a:pt x="3826" y="402"/>
                  <a:pt x="3827" y="402"/>
                </a:cubicBezTo>
                <a:cubicBezTo>
                  <a:pt x="3827" y="401"/>
                  <a:pt x="3828" y="400"/>
                  <a:pt x="3829" y="400"/>
                </a:cubicBezTo>
                <a:cubicBezTo>
                  <a:pt x="3830" y="401"/>
                  <a:pt x="3829" y="402"/>
                  <a:pt x="3829" y="403"/>
                </a:cubicBezTo>
                <a:cubicBezTo>
                  <a:pt x="3829" y="403"/>
                  <a:pt x="3829" y="404"/>
                  <a:pt x="3828" y="405"/>
                </a:cubicBezTo>
                <a:cubicBezTo>
                  <a:pt x="3827" y="405"/>
                  <a:pt x="3827" y="406"/>
                  <a:pt x="3827" y="407"/>
                </a:cubicBezTo>
                <a:cubicBezTo>
                  <a:pt x="3827" y="407"/>
                  <a:pt x="3826" y="408"/>
                  <a:pt x="3825" y="408"/>
                </a:cubicBezTo>
                <a:cubicBezTo>
                  <a:pt x="3825" y="407"/>
                  <a:pt x="3825" y="407"/>
                  <a:pt x="3824" y="406"/>
                </a:cubicBezTo>
                <a:cubicBezTo>
                  <a:pt x="3824" y="406"/>
                  <a:pt x="3824" y="407"/>
                  <a:pt x="3824" y="407"/>
                </a:cubicBezTo>
                <a:cubicBezTo>
                  <a:pt x="3824" y="408"/>
                  <a:pt x="3825" y="408"/>
                  <a:pt x="3825" y="408"/>
                </a:cubicBezTo>
                <a:cubicBezTo>
                  <a:pt x="3825" y="409"/>
                  <a:pt x="3825" y="410"/>
                  <a:pt x="3826" y="410"/>
                </a:cubicBezTo>
                <a:cubicBezTo>
                  <a:pt x="3826" y="410"/>
                  <a:pt x="3826" y="411"/>
                  <a:pt x="3827" y="411"/>
                </a:cubicBezTo>
                <a:cubicBezTo>
                  <a:pt x="3827" y="411"/>
                  <a:pt x="3827" y="411"/>
                  <a:pt x="3827" y="412"/>
                </a:cubicBezTo>
                <a:cubicBezTo>
                  <a:pt x="3828" y="412"/>
                  <a:pt x="3828" y="412"/>
                  <a:pt x="3829" y="412"/>
                </a:cubicBezTo>
                <a:cubicBezTo>
                  <a:pt x="3830" y="413"/>
                  <a:pt x="3829" y="413"/>
                  <a:pt x="3829" y="414"/>
                </a:cubicBezTo>
                <a:cubicBezTo>
                  <a:pt x="3829" y="415"/>
                  <a:pt x="3829" y="415"/>
                  <a:pt x="3830" y="415"/>
                </a:cubicBezTo>
                <a:cubicBezTo>
                  <a:pt x="3831" y="415"/>
                  <a:pt x="3838" y="416"/>
                  <a:pt x="3839" y="416"/>
                </a:cubicBezTo>
                <a:cubicBezTo>
                  <a:pt x="3839" y="361"/>
                  <a:pt x="3839" y="361"/>
                  <a:pt x="3839" y="361"/>
                </a:cubicBezTo>
                <a:cubicBezTo>
                  <a:pt x="3838" y="360"/>
                  <a:pt x="3831" y="360"/>
                  <a:pt x="3831" y="359"/>
                </a:cubicBezTo>
                <a:cubicBezTo>
                  <a:pt x="3830" y="358"/>
                  <a:pt x="3828" y="359"/>
                  <a:pt x="3827" y="358"/>
                </a:cubicBezTo>
                <a:close/>
                <a:moveTo>
                  <a:pt x="1830" y="484"/>
                </a:moveTo>
                <a:cubicBezTo>
                  <a:pt x="1829" y="484"/>
                  <a:pt x="1829" y="485"/>
                  <a:pt x="1828" y="485"/>
                </a:cubicBezTo>
                <a:cubicBezTo>
                  <a:pt x="1827" y="485"/>
                  <a:pt x="1829" y="483"/>
                  <a:pt x="1828" y="483"/>
                </a:cubicBezTo>
                <a:cubicBezTo>
                  <a:pt x="1828" y="483"/>
                  <a:pt x="1828" y="483"/>
                  <a:pt x="1828" y="483"/>
                </a:cubicBezTo>
                <a:cubicBezTo>
                  <a:pt x="1827" y="483"/>
                  <a:pt x="1827" y="483"/>
                  <a:pt x="1827" y="483"/>
                </a:cubicBezTo>
                <a:cubicBezTo>
                  <a:pt x="1827" y="483"/>
                  <a:pt x="1827" y="483"/>
                  <a:pt x="1826" y="483"/>
                </a:cubicBezTo>
                <a:cubicBezTo>
                  <a:pt x="1826" y="483"/>
                  <a:pt x="1826" y="483"/>
                  <a:pt x="1825" y="483"/>
                </a:cubicBezTo>
                <a:cubicBezTo>
                  <a:pt x="1825" y="483"/>
                  <a:pt x="1825" y="482"/>
                  <a:pt x="1824" y="482"/>
                </a:cubicBezTo>
                <a:cubicBezTo>
                  <a:pt x="1825" y="481"/>
                  <a:pt x="1827" y="482"/>
                  <a:pt x="1827" y="483"/>
                </a:cubicBezTo>
                <a:cubicBezTo>
                  <a:pt x="1828" y="483"/>
                  <a:pt x="1829" y="482"/>
                  <a:pt x="1830" y="482"/>
                </a:cubicBezTo>
                <a:cubicBezTo>
                  <a:pt x="1830" y="482"/>
                  <a:pt x="1832" y="482"/>
                  <a:pt x="1832" y="483"/>
                </a:cubicBezTo>
                <a:cubicBezTo>
                  <a:pt x="1832" y="483"/>
                  <a:pt x="1830" y="483"/>
                  <a:pt x="1830" y="484"/>
                </a:cubicBezTo>
                <a:close/>
                <a:moveTo>
                  <a:pt x="1835" y="476"/>
                </a:moveTo>
                <a:cubicBezTo>
                  <a:pt x="1835" y="476"/>
                  <a:pt x="1834" y="475"/>
                  <a:pt x="1834" y="475"/>
                </a:cubicBezTo>
                <a:cubicBezTo>
                  <a:pt x="1834" y="475"/>
                  <a:pt x="1835" y="476"/>
                  <a:pt x="1835" y="476"/>
                </a:cubicBezTo>
                <a:cubicBezTo>
                  <a:pt x="1835" y="477"/>
                  <a:pt x="1836" y="477"/>
                  <a:pt x="1835" y="477"/>
                </a:cubicBezTo>
                <a:cubicBezTo>
                  <a:pt x="1835" y="478"/>
                  <a:pt x="1835" y="477"/>
                  <a:pt x="1835" y="476"/>
                </a:cubicBezTo>
                <a:close/>
                <a:moveTo>
                  <a:pt x="1840" y="478"/>
                </a:moveTo>
                <a:cubicBezTo>
                  <a:pt x="1840" y="477"/>
                  <a:pt x="1841" y="477"/>
                  <a:pt x="1841" y="478"/>
                </a:cubicBezTo>
                <a:cubicBezTo>
                  <a:pt x="1840" y="478"/>
                  <a:pt x="1840" y="478"/>
                  <a:pt x="1840" y="478"/>
                </a:cubicBezTo>
                <a:close/>
                <a:moveTo>
                  <a:pt x="1840" y="475"/>
                </a:moveTo>
                <a:cubicBezTo>
                  <a:pt x="1840" y="475"/>
                  <a:pt x="1840" y="475"/>
                  <a:pt x="1840" y="475"/>
                </a:cubicBezTo>
                <a:cubicBezTo>
                  <a:pt x="1840" y="475"/>
                  <a:pt x="1841" y="475"/>
                  <a:pt x="1841" y="475"/>
                </a:cubicBezTo>
                <a:cubicBezTo>
                  <a:pt x="1841" y="476"/>
                  <a:pt x="1840" y="476"/>
                  <a:pt x="1840" y="475"/>
                </a:cubicBezTo>
                <a:close/>
                <a:moveTo>
                  <a:pt x="1838" y="507"/>
                </a:moveTo>
                <a:cubicBezTo>
                  <a:pt x="1837" y="507"/>
                  <a:pt x="1837" y="508"/>
                  <a:pt x="1837" y="508"/>
                </a:cubicBezTo>
                <a:cubicBezTo>
                  <a:pt x="1837" y="509"/>
                  <a:pt x="1836" y="509"/>
                  <a:pt x="1836" y="510"/>
                </a:cubicBezTo>
                <a:cubicBezTo>
                  <a:pt x="1836" y="511"/>
                  <a:pt x="1835" y="511"/>
                  <a:pt x="1835" y="512"/>
                </a:cubicBezTo>
                <a:cubicBezTo>
                  <a:pt x="1835" y="512"/>
                  <a:pt x="1835" y="510"/>
                  <a:pt x="1835" y="510"/>
                </a:cubicBezTo>
                <a:cubicBezTo>
                  <a:pt x="1836" y="510"/>
                  <a:pt x="1836" y="509"/>
                  <a:pt x="1836" y="509"/>
                </a:cubicBezTo>
                <a:cubicBezTo>
                  <a:pt x="1836" y="508"/>
                  <a:pt x="1834" y="508"/>
                  <a:pt x="1834" y="509"/>
                </a:cubicBezTo>
                <a:cubicBezTo>
                  <a:pt x="1833" y="509"/>
                  <a:pt x="1833" y="509"/>
                  <a:pt x="1832" y="509"/>
                </a:cubicBezTo>
                <a:cubicBezTo>
                  <a:pt x="1832" y="509"/>
                  <a:pt x="1833" y="509"/>
                  <a:pt x="1833" y="509"/>
                </a:cubicBezTo>
                <a:cubicBezTo>
                  <a:pt x="1833" y="508"/>
                  <a:pt x="1834" y="508"/>
                  <a:pt x="1834" y="508"/>
                </a:cubicBezTo>
                <a:cubicBezTo>
                  <a:pt x="1835" y="508"/>
                  <a:pt x="1835" y="508"/>
                  <a:pt x="1835" y="507"/>
                </a:cubicBezTo>
                <a:cubicBezTo>
                  <a:pt x="1836" y="507"/>
                  <a:pt x="1837" y="507"/>
                  <a:pt x="1838" y="507"/>
                </a:cubicBezTo>
                <a:cubicBezTo>
                  <a:pt x="1838" y="507"/>
                  <a:pt x="1840" y="506"/>
                  <a:pt x="1840" y="507"/>
                </a:cubicBezTo>
                <a:cubicBezTo>
                  <a:pt x="1840" y="507"/>
                  <a:pt x="1839" y="507"/>
                  <a:pt x="1838" y="507"/>
                </a:cubicBezTo>
                <a:close/>
                <a:moveTo>
                  <a:pt x="1850" y="468"/>
                </a:moveTo>
                <a:cubicBezTo>
                  <a:pt x="1850" y="468"/>
                  <a:pt x="1849" y="468"/>
                  <a:pt x="1849" y="468"/>
                </a:cubicBezTo>
                <a:cubicBezTo>
                  <a:pt x="1849" y="468"/>
                  <a:pt x="1849" y="467"/>
                  <a:pt x="1850" y="467"/>
                </a:cubicBezTo>
                <a:cubicBezTo>
                  <a:pt x="1850" y="467"/>
                  <a:pt x="1850" y="467"/>
                  <a:pt x="1851" y="467"/>
                </a:cubicBezTo>
                <a:cubicBezTo>
                  <a:pt x="1851" y="467"/>
                  <a:pt x="1851" y="467"/>
                  <a:pt x="1851" y="467"/>
                </a:cubicBezTo>
                <a:cubicBezTo>
                  <a:pt x="1851" y="467"/>
                  <a:pt x="1852" y="467"/>
                  <a:pt x="1852" y="467"/>
                </a:cubicBezTo>
                <a:cubicBezTo>
                  <a:pt x="1852" y="468"/>
                  <a:pt x="1851" y="468"/>
                  <a:pt x="1850" y="468"/>
                </a:cubicBezTo>
                <a:close/>
                <a:moveTo>
                  <a:pt x="1947" y="538"/>
                </a:moveTo>
                <a:cubicBezTo>
                  <a:pt x="1947" y="539"/>
                  <a:pt x="1946" y="538"/>
                  <a:pt x="1946" y="538"/>
                </a:cubicBezTo>
                <a:cubicBezTo>
                  <a:pt x="1946" y="537"/>
                  <a:pt x="1947" y="538"/>
                  <a:pt x="1947" y="538"/>
                </a:cubicBezTo>
                <a:cubicBezTo>
                  <a:pt x="1947" y="538"/>
                  <a:pt x="1948" y="538"/>
                  <a:pt x="1947" y="538"/>
                </a:cubicBezTo>
                <a:close/>
                <a:moveTo>
                  <a:pt x="1981" y="344"/>
                </a:moveTo>
                <a:cubicBezTo>
                  <a:pt x="1981" y="344"/>
                  <a:pt x="1981" y="343"/>
                  <a:pt x="1981" y="343"/>
                </a:cubicBezTo>
                <a:cubicBezTo>
                  <a:pt x="1981" y="343"/>
                  <a:pt x="1981" y="343"/>
                  <a:pt x="1980" y="343"/>
                </a:cubicBezTo>
                <a:cubicBezTo>
                  <a:pt x="1980" y="342"/>
                  <a:pt x="1979" y="342"/>
                  <a:pt x="1980" y="342"/>
                </a:cubicBezTo>
                <a:cubicBezTo>
                  <a:pt x="1980" y="341"/>
                  <a:pt x="1981" y="342"/>
                  <a:pt x="1981" y="343"/>
                </a:cubicBezTo>
                <a:cubicBezTo>
                  <a:pt x="1981" y="343"/>
                  <a:pt x="1982" y="343"/>
                  <a:pt x="1982" y="343"/>
                </a:cubicBezTo>
                <a:cubicBezTo>
                  <a:pt x="1982" y="343"/>
                  <a:pt x="1982" y="344"/>
                  <a:pt x="1981" y="344"/>
                </a:cubicBezTo>
                <a:close/>
                <a:moveTo>
                  <a:pt x="1826" y="636"/>
                </a:moveTo>
                <a:cubicBezTo>
                  <a:pt x="1826" y="636"/>
                  <a:pt x="1826" y="635"/>
                  <a:pt x="1826" y="635"/>
                </a:cubicBezTo>
                <a:cubicBezTo>
                  <a:pt x="1825" y="635"/>
                  <a:pt x="1825" y="635"/>
                  <a:pt x="1825" y="635"/>
                </a:cubicBezTo>
                <a:cubicBezTo>
                  <a:pt x="1824" y="635"/>
                  <a:pt x="1823" y="635"/>
                  <a:pt x="1823" y="635"/>
                </a:cubicBezTo>
                <a:cubicBezTo>
                  <a:pt x="1822" y="635"/>
                  <a:pt x="1822" y="636"/>
                  <a:pt x="1822" y="636"/>
                </a:cubicBezTo>
                <a:cubicBezTo>
                  <a:pt x="1821" y="636"/>
                  <a:pt x="1821" y="636"/>
                  <a:pt x="1821" y="636"/>
                </a:cubicBezTo>
                <a:cubicBezTo>
                  <a:pt x="1820" y="636"/>
                  <a:pt x="1820" y="637"/>
                  <a:pt x="1820" y="637"/>
                </a:cubicBezTo>
                <a:cubicBezTo>
                  <a:pt x="1820" y="637"/>
                  <a:pt x="1819" y="637"/>
                  <a:pt x="1819" y="637"/>
                </a:cubicBezTo>
                <a:cubicBezTo>
                  <a:pt x="1819" y="638"/>
                  <a:pt x="1818" y="638"/>
                  <a:pt x="1819" y="638"/>
                </a:cubicBezTo>
                <a:cubicBezTo>
                  <a:pt x="1819" y="639"/>
                  <a:pt x="1819" y="639"/>
                  <a:pt x="1819" y="639"/>
                </a:cubicBezTo>
                <a:cubicBezTo>
                  <a:pt x="1820" y="639"/>
                  <a:pt x="1820" y="639"/>
                  <a:pt x="1820" y="639"/>
                </a:cubicBezTo>
                <a:cubicBezTo>
                  <a:pt x="1821" y="639"/>
                  <a:pt x="1821" y="640"/>
                  <a:pt x="1821" y="639"/>
                </a:cubicBezTo>
                <a:cubicBezTo>
                  <a:pt x="1822" y="639"/>
                  <a:pt x="1822" y="639"/>
                  <a:pt x="1822" y="639"/>
                </a:cubicBezTo>
                <a:cubicBezTo>
                  <a:pt x="1822" y="639"/>
                  <a:pt x="1822" y="639"/>
                  <a:pt x="1823" y="639"/>
                </a:cubicBezTo>
                <a:cubicBezTo>
                  <a:pt x="1823" y="639"/>
                  <a:pt x="1823" y="639"/>
                  <a:pt x="1823" y="639"/>
                </a:cubicBezTo>
                <a:cubicBezTo>
                  <a:pt x="1823" y="639"/>
                  <a:pt x="1823" y="639"/>
                  <a:pt x="1824" y="639"/>
                </a:cubicBezTo>
                <a:cubicBezTo>
                  <a:pt x="1824" y="639"/>
                  <a:pt x="1823" y="639"/>
                  <a:pt x="1823" y="639"/>
                </a:cubicBezTo>
                <a:cubicBezTo>
                  <a:pt x="1823" y="640"/>
                  <a:pt x="1823" y="640"/>
                  <a:pt x="1822" y="640"/>
                </a:cubicBezTo>
                <a:cubicBezTo>
                  <a:pt x="1822" y="640"/>
                  <a:pt x="1821" y="640"/>
                  <a:pt x="1821" y="640"/>
                </a:cubicBezTo>
                <a:cubicBezTo>
                  <a:pt x="1821" y="640"/>
                  <a:pt x="1820" y="639"/>
                  <a:pt x="1820" y="639"/>
                </a:cubicBezTo>
                <a:cubicBezTo>
                  <a:pt x="1820" y="639"/>
                  <a:pt x="1819" y="639"/>
                  <a:pt x="1819" y="639"/>
                </a:cubicBezTo>
                <a:cubicBezTo>
                  <a:pt x="1819" y="639"/>
                  <a:pt x="1819" y="639"/>
                  <a:pt x="1818" y="639"/>
                </a:cubicBezTo>
                <a:cubicBezTo>
                  <a:pt x="1818" y="639"/>
                  <a:pt x="1818" y="639"/>
                  <a:pt x="1818" y="639"/>
                </a:cubicBezTo>
                <a:cubicBezTo>
                  <a:pt x="1818" y="639"/>
                  <a:pt x="1817" y="639"/>
                  <a:pt x="1817" y="638"/>
                </a:cubicBezTo>
                <a:cubicBezTo>
                  <a:pt x="1817" y="638"/>
                  <a:pt x="1818" y="638"/>
                  <a:pt x="1818" y="637"/>
                </a:cubicBezTo>
                <a:cubicBezTo>
                  <a:pt x="1818" y="637"/>
                  <a:pt x="1818" y="637"/>
                  <a:pt x="1818" y="637"/>
                </a:cubicBezTo>
                <a:cubicBezTo>
                  <a:pt x="1818" y="636"/>
                  <a:pt x="1818" y="635"/>
                  <a:pt x="1818" y="635"/>
                </a:cubicBezTo>
                <a:cubicBezTo>
                  <a:pt x="1816" y="633"/>
                  <a:pt x="1821" y="634"/>
                  <a:pt x="1820" y="633"/>
                </a:cubicBezTo>
                <a:cubicBezTo>
                  <a:pt x="1820" y="633"/>
                  <a:pt x="1820" y="632"/>
                  <a:pt x="1819" y="632"/>
                </a:cubicBezTo>
                <a:cubicBezTo>
                  <a:pt x="1819" y="632"/>
                  <a:pt x="1819" y="632"/>
                  <a:pt x="1819" y="632"/>
                </a:cubicBezTo>
                <a:cubicBezTo>
                  <a:pt x="1818" y="632"/>
                  <a:pt x="1818" y="632"/>
                  <a:pt x="1818" y="631"/>
                </a:cubicBezTo>
                <a:cubicBezTo>
                  <a:pt x="1818" y="631"/>
                  <a:pt x="1818" y="631"/>
                  <a:pt x="1818" y="631"/>
                </a:cubicBezTo>
                <a:cubicBezTo>
                  <a:pt x="1818" y="630"/>
                  <a:pt x="1817" y="630"/>
                  <a:pt x="1817" y="630"/>
                </a:cubicBezTo>
                <a:cubicBezTo>
                  <a:pt x="1818" y="630"/>
                  <a:pt x="1818" y="629"/>
                  <a:pt x="1818" y="629"/>
                </a:cubicBezTo>
                <a:cubicBezTo>
                  <a:pt x="1818" y="629"/>
                  <a:pt x="1818" y="629"/>
                  <a:pt x="1818" y="629"/>
                </a:cubicBezTo>
                <a:cubicBezTo>
                  <a:pt x="1819" y="629"/>
                  <a:pt x="1819" y="628"/>
                  <a:pt x="1820" y="628"/>
                </a:cubicBezTo>
                <a:cubicBezTo>
                  <a:pt x="1820" y="628"/>
                  <a:pt x="1821" y="628"/>
                  <a:pt x="1821" y="629"/>
                </a:cubicBezTo>
                <a:cubicBezTo>
                  <a:pt x="1822" y="629"/>
                  <a:pt x="1821" y="630"/>
                  <a:pt x="1822" y="631"/>
                </a:cubicBezTo>
                <a:cubicBezTo>
                  <a:pt x="1822" y="631"/>
                  <a:pt x="1822" y="631"/>
                  <a:pt x="1822" y="631"/>
                </a:cubicBezTo>
                <a:cubicBezTo>
                  <a:pt x="1823" y="631"/>
                  <a:pt x="1822" y="631"/>
                  <a:pt x="1823" y="631"/>
                </a:cubicBezTo>
                <a:cubicBezTo>
                  <a:pt x="1823" y="631"/>
                  <a:pt x="1823" y="631"/>
                  <a:pt x="1824" y="631"/>
                </a:cubicBezTo>
                <a:cubicBezTo>
                  <a:pt x="1824" y="631"/>
                  <a:pt x="1824" y="631"/>
                  <a:pt x="1825" y="631"/>
                </a:cubicBezTo>
                <a:cubicBezTo>
                  <a:pt x="1825" y="632"/>
                  <a:pt x="1824" y="632"/>
                  <a:pt x="1824" y="632"/>
                </a:cubicBezTo>
                <a:cubicBezTo>
                  <a:pt x="1823" y="632"/>
                  <a:pt x="1824" y="632"/>
                  <a:pt x="1824" y="633"/>
                </a:cubicBezTo>
                <a:cubicBezTo>
                  <a:pt x="1823" y="633"/>
                  <a:pt x="1823" y="633"/>
                  <a:pt x="1824" y="634"/>
                </a:cubicBezTo>
                <a:cubicBezTo>
                  <a:pt x="1824" y="634"/>
                  <a:pt x="1824" y="634"/>
                  <a:pt x="1825" y="634"/>
                </a:cubicBezTo>
                <a:cubicBezTo>
                  <a:pt x="1825" y="634"/>
                  <a:pt x="1825" y="634"/>
                  <a:pt x="1825" y="634"/>
                </a:cubicBezTo>
                <a:cubicBezTo>
                  <a:pt x="1826" y="634"/>
                  <a:pt x="1826" y="634"/>
                  <a:pt x="1826" y="635"/>
                </a:cubicBezTo>
                <a:cubicBezTo>
                  <a:pt x="1827" y="635"/>
                  <a:pt x="1827" y="636"/>
                  <a:pt x="1826" y="636"/>
                </a:cubicBezTo>
                <a:close/>
                <a:moveTo>
                  <a:pt x="1926" y="618"/>
                </a:moveTo>
                <a:cubicBezTo>
                  <a:pt x="1926" y="618"/>
                  <a:pt x="1926" y="619"/>
                  <a:pt x="1926" y="618"/>
                </a:cubicBezTo>
                <a:cubicBezTo>
                  <a:pt x="1925" y="618"/>
                  <a:pt x="1925" y="618"/>
                  <a:pt x="1925" y="618"/>
                </a:cubicBezTo>
                <a:cubicBezTo>
                  <a:pt x="1925" y="617"/>
                  <a:pt x="1924" y="617"/>
                  <a:pt x="1924" y="617"/>
                </a:cubicBezTo>
                <a:cubicBezTo>
                  <a:pt x="1923" y="617"/>
                  <a:pt x="1923" y="617"/>
                  <a:pt x="1922" y="617"/>
                </a:cubicBezTo>
                <a:cubicBezTo>
                  <a:pt x="1922" y="617"/>
                  <a:pt x="1922" y="617"/>
                  <a:pt x="1921" y="617"/>
                </a:cubicBezTo>
                <a:cubicBezTo>
                  <a:pt x="1921" y="617"/>
                  <a:pt x="1921" y="617"/>
                  <a:pt x="1920" y="616"/>
                </a:cubicBezTo>
                <a:cubicBezTo>
                  <a:pt x="1920" y="616"/>
                  <a:pt x="1918" y="616"/>
                  <a:pt x="1919" y="616"/>
                </a:cubicBezTo>
                <a:cubicBezTo>
                  <a:pt x="1919" y="615"/>
                  <a:pt x="1919" y="615"/>
                  <a:pt x="1920" y="615"/>
                </a:cubicBezTo>
                <a:cubicBezTo>
                  <a:pt x="1920" y="615"/>
                  <a:pt x="1920" y="615"/>
                  <a:pt x="1921" y="615"/>
                </a:cubicBezTo>
                <a:cubicBezTo>
                  <a:pt x="1921" y="615"/>
                  <a:pt x="1922" y="615"/>
                  <a:pt x="1922" y="615"/>
                </a:cubicBezTo>
                <a:cubicBezTo>
                  <a:pt x="1923" y="615"/>
                  <a:pt x="1923" y="616"/>
                  <a:pt x="1923" y="616"/>
                </a:cubicBezTo>
                <a:cubicBezTo>
                  <a:pt x="1924" y="616"/>
                  <a:pt x="1924" y="615"/>
                  <a:pt x="1924" y="615"/>
                </a:cubicBezTo>
                <a:cubicBezTo>
                  <a:pt x="1924" y="615"/>
                  <a:pt x="1925" y="615"/>
                  <a:pt x="1925" y="615"/>
                </a:cubicBezTo>
                <a:cubicBezTo>
                  <a:pt x="1925" y="615"/>
                  <a:pt x="1925" y="615"/>
                  <a:pt x="1926" y="615"/>
                </a:cubicBezTo>
                <a:cubicBezTo>
                  <a:pt x="1927" y="616"/>
                  <a:pt x="1926" y="617"/>
                  <a:pt x="1926" y="618"/>
                </a:cubicBezTo>
                <a:close/>
                <a:moveTo>
                  <a:pt x="1990" y="603"/>
                </a:moveTo>
                <a:cubicBezTo>
                  <a:pt x="1989" y="604"/>
                  <a:pt x="1988" y="605"/>
                  <a:pt x="1986" y="606"/>
                </a:cubicBezTo>
                <a:cubicBezTo>
                  <a:pt x="1986" y="606"/>
                  <a:pt x="1985" y="606"/>
                  <a:pt x="1985" y="606"/>
                </a:cubicBezTo>
                <a:cubicBezTo>
                  <a:pt x="1985" y="606"/>
                  <a:pt x="1984" y="606"/>
                  <a:pt x="1984" y="607"/>
                </a:cubicBezTo>
                <a:cubicBezTo>
                  <a:pt x="1984" y="607"/>
                  <a:pt x="1983" y="607"/>
                  <a:pt x="1982" y="608"/>
                </a:cubicBezTo>
                <a:cubicBezTo>
                  <a:pt x="1982" y="608"/>
                  <a:pt x="1981" y="609"/>
                  <a:pt x="1980" y="609"/>
                </a:cubicBezTo>
                <a:cubicBezTo>
                  <a:pt x="1980" y="609"/>
                  <a:pt x="1980" y="609"/>
                  <a:pt x="1980" y="609"/>
                </a:cubicBezTo>
                <a:cubicBezTo>
                  <a:pt x="1980" y="608"/>
                  <a:pt x="1980" y="608"/>
                  <a:pt x="1980" y="607"/>
                </a:cubicBezTo>
                <a:cubicBezTo>
                  <a:pt x="1980" y="607"/>
                  <a:pt x="1982" y="607"/>
                  <a:pt x="1982" y="607"/>
                </a:cubicBezTo>
                <a:cubicBezTo>
                  <a:pt x="1983" y="607"/>
                  <a:pt x="1983" y="606"/>
                  <a:pt x="1984" y="606"/>
                </a:cubicBezTo>
                <a:cubicBezTo>
                  <a:pt x="1985" y="605"/>
                  <a:pt x="1986" y="604"/>
                  <a:pt x="1987" y="603"/>
                </a:cubicBezTo>
                <a:cubicBezTo>
                  <a:pt x="1987" y="602"/>
                  <a:pt x="1987" y="602"/>
                  <a:pt x="1988" y="602"/>
                </a:cubicBezTo>
                <a:cubicBezTo>
                  <a:pt x="1989" y="602"/>
                  <a:pt x="1989" y="602"/>
                  <a:pt x="1989" y="602"/>
                </a:cubicBezTo>
                <a:cubicBezTo>
                  <a:pt x="1990" y="602"/>
                  <a:pt x="1990" y="602"/>
                  <a:pt x="1991" y="602"/>
                </a:cubicBezTo>
                <a:cubicBezTo>
                  <a:pt x="1992" y="602"/>
                  <a:pt x="1991" y="603"/>
                  <a:pt x="1990" y="603"/>
                </a:cubicBezTo>
                <a:close/>
                <a:moveTo>
                  <a:pt x="2002" y="594"/>
                </a:moveTo>
                <a:cubicBezTo>
                  <a:pt x="2002" y="594"/>
                  <a:pt x="2002" y="594"/>
                  <a:pt x="2002" y="595"/>
                </a:cubicBezTo>
                <a:cubicBezTo>
                  <a:pt x="2002" y="595"/>
                  <a:pt x="2002" y="596"/>
                  <a:pt x="2002" y="596"/>
                </a:cubicBezTo>
                <a:cubicBezTo>
                  <a:pt x="2001" y="597"/>
                  <a:pt x="2000" y="597"/>
                  <a:pt x="2000" y="597"/>
                </a:cubicBezTo>
                <a:cubicBezTo>
                  <a:pt x="1999" y="598"/>
                  <a:pt x="1999" y="598"/>
                  <a:pt x="1998" y="598"/>
                </a:cubicBezTo>
                <a:cubicBezTo>
                  <a:pt x="1997" y="598"/>
                  <a:pt x="1997" y="598"/>
                  <a:pt x="1996" y="598"/>
                </a:cubicBezTo>
                <a:cubicBezTo>
                  <a:pt x="1996" y="598"/>
                  <a:pt x="1995" y="598"/>
                  <a:pt x="1995" y="598"/>
                </a:cubicBezTo>
                <a:cubicBezTo>
                  <a:pt x="1994" y="597"/>
                  <a:pt x="1995" y="597"/>
                  <a:pt x="1995" y="596"/>
                </a:cubicBezTo>
                <a:cubicBezTo>
                  <a:pt x="1996" y="596"/>
                  <a:pt x="1996" y="595"/>
                  <a:pt x="1997" y="595"/>
                </a:cubicBezTo>
                <a:cubicBezTo>
                  <a:pt x="1998" y="594"/>
                  <a:pt x="1999" y="593"/>
                  <a:pt x="2000" y="592"/>
                </a:cubicBezTo>
                <a:cubicBezTo>
                  <a:pt x="2000" y="591"/>
                  <a:pt x="2000" y="591"/>
                  <a:pt x="2001" y="590"/>
                </a:cubicBezTo>
                <a:cubicBezTo>
                  <a:pt x="2001" y="590"/>
                  <a:pt x="2001" y="589"/>
                  <a:pt x="2001" y="589"/>
                </a:cubicBezTo>
                <a:cubicBezTo>
                  <a:pt x="2001" y="588"/>
                  <a:pt x="2001" y="588"/>
                  <a:pt x="2002" y="589"/>
                </a:cubicBezTo>
                <a:cubicBezTo>
                  <a:pt x="2002" y="589"/>
                  <a:pt x="2002" y="590"/>
                  <a:pt x="2002" y="591"/>
                </a:cubicBezTo>
                <a:cubicBezTo>
                  <a:pt x="2002" y="592"/>
                  <a:pt x="2002" y="593"/>
                  <a:pt x="2002" y="594"/>
                </a:cubicBezTo>
                <a:close/>
                <a:moveTo>
                  <a:pt x="1578" y="1152"/>
                </a:moveTo>
                <a:cubicBezTo>
                  <a:pt x="1577" y="1152"/>
                  <a:pt x="1576" y="1153"/>
                  <a:pt x="1577" y="1152"/>
                </a:cubicBezTo>
                <a:cubicBezTo>
                  <a:pt x="1577" y="1151"/>
                  <a:pt x="1578" y="1151"/>
                  <a:pt x="1578" y="1152"/>
                </a:cubicBezTo>
                <a:cubicBezTo>
                  <a:pt x="1579" y="1152"/>
                  <a:pt x="1579" y="1152"/>
                  <a:pt x="1580" y="1153"/>
                </a:cubicBezTo>
                <a:cubicBezTo>
                  <a:pt x="1580" y="1153"/>
                  <a:pt x="1578" y="1153"/>
                  <a:pt x="1578" y="1152"/>
                </a:cubicBezTo>
                <a:close/>
                <a:moveTo>
                  <a:pt x="1588" y="1161"/>
                </a:moveTo>
                <a:cubicBezTo>
                  <a:pt x="1588" y="1161"/>
                  <a:pt x="1588" y="1161"/>
                  <a:pt x="1588" y="1160"/>
                </a:cubicBezTo>
                <a:cubicBezTo>
                  <a:pt x="1588" y="1160"/>
                  <a:pt x="1588" y="1160"/>
                  <a:pt x="1589" y="1160"/>
                </a:cubicBezTo>
                <a:cubicBezTo>
                  <a:pt x="1589" y="1160"/>
                  <a:pt x="1589" y="1162"/>
                  <a:pt x="1588" y="1161"/>
                </a:cubicBezTo>
                <a:close/>
                <a:moveTo>
                  <a:pt x="1709" y="1238"/>
                </a:moveTo>
                <a:cubicBezTo>
                  <a:pt x="1708" y="1238"/>
                  <a:pt x="1707" y="1238"/>
                  <a:pt x="1707" y="1238"/>
                </a:cubicBezTo>
                <a:cubicBezTo>
                  <a:pt x="1706" y="1238"/>
                  <a:pt x="1705" y="1238"/>
                  <a:pt x="1705" y="1237"/>
                </a:cubicBezTo>
                <a:cubicBezTo>
                  <a:pt x="1705" y="1237"/>
                  <a:pt x="1707" y="1237"/>
                  <a:pt x="1707" y="1237"/>
                </a:cubicBezTo>
                <a:cubicBezTo>
                  <a:pt x="1708" y="1237"/>
                  <a:pt x="1708" y="1237"/>
                  <a:pt x="1709" y="1237"/>
                </a:cubicBezTo>
                <a:cubicBezTo>
                  <a:pt x="1709" y="1237"/>
                  <a:pt x="1710" y="1236"/>
                  <a:pt x="1710" y="1237"/>
                </a:cubicBezTo>
                <a:cubicBezTo>
                  <a:pt x="1710" y="1237"/>
                  <a:pt x="1709" y="1237"/>
                  <a:pt x="1709" y="1238"/>
                </a:cubicBezTo>
                <a:close/>
                <a:moveTo>
                  <a:pt x="1724" y="1238"/>
                </a:moveTo>
                <a:cubicBezTo>
                  <a:pt x="1724" y="1239"/>
                  <a:pt x="1724" y="1239"/>
                  <a:pt x="1723" y="1238"/>
                </a:cubicBezTo>
                <a:cubicBezTo>
                  <a:pt x="1723" y="1238"/>
                  <a:pt x="1723" y="1239"/>
                  <a:pt x="1722" y="1238"/>
                </a:cubicBezTo>
                <a:cubicBezTo>
                  <a:pt x="1722" y="1238"/>
                  <a:pt x="1722" y="1238"/>
                  <a:pt x="1723" y="1237"/>
                </a:cubicBezTo>
                <a:cubicBezTo>
                  <a:pt x="1723" y="1237"/>
                  <a:pt x="1723" y="1237"/>
                  <a:pt x="1723" y="1237"/>
                </a:cubicBezTo>
                <a:cubicBezTo>
                  <a:pt x="1723" y="1236"/>
                  <a:pt x="1723" y="1236"/>
                  <a:pt x="1723" y="1236"/>
                </a:cubicBezTo>
                <a:cubicBezTo>
                  <a:pt x="1724" y="1235"/>
                  <a:pt x="1724" y="1236"/>
                  <a:pt x="1724" y="1236"/>
                </a:cubicBezTo>
                <a:cubicBezTo>
                  <a:pt x="1724" y="1237"/>
                  <a:pt x="1724" y="1238"/>
                  <a:pt x="1724" y="1238"/>
                </a:cubicBezTo>
                <a:close/>
                <a:moveTo>
                  <a:pt x="2114" y="1397"/>
                </a:moveTo>
                <a:cubicBezTo>
                  <a:pt x="2113" y="1397"/>
                  <a:pt x="2113" y="1397"/>
                  <a:pt x="2112" y="1396"/>
                </a:cubicBezTo>
                <a:cubicBezTo>
                  <a:pt x="2112" y="1396"/>
                  <a:pt x="2112" y="1396"/>
                  <a:pt x="2111" y="1396"/>
                </a:cubicBezTo>
                <a:cubicBezTo>
                  <a:pt x="2111" y="1395"/>
                  <a:pt x="2111" y="1395"/>
                  <a:pt x="2110" y="1395"/>
                </a:cubicBezTo>
                <a:cubicBezTo>
                  <a:pt x="2110" y="1394"/>
                  <a:pt x="2110" y="1394"/>
                  <a:pt x="2109" y="1394"/>
                </a:cubicBezTo>
                <a:cubicBezTo>
                  <a:pt x="2109" y="1394"/>
                  <a:pt x="2109" y="1395"/>
                  <a:pt x="2109" y="1395"/>
                </a:cubicBezTo>
                <a:cubicBezTo>
                  <a:pt x="2108" y="1395"/>
                  <a:pt x="2107" y="1394"/>
                  <a:pt x="2108" y="1393"/>
                </a:cubicBezTo>
                <a:cubicBezTo>
                  <a:pt x="2108" y="1393"/>
                  <a:pt x="2108" y="1392"/>
                  <a:pt x="2108" y="1391"/>
                </a:cubicBezTo>
                <a:cubicBezTo>
                  <a:pt x="2108" y="1390"/>
                  <a:pt x="2108" y="1390"/>
                  <a:pt x="2107" y="1389"/>
                </a:cubicBezTo>
                <a:cubicBezTo>
                  <a:pt x="2107" y="1389"/>
                  <a:pt x="2107" y="1388"/>
                  <a:pt x="2106" y="1387"/>
                </a:cubicBezTo>
                <a:cubicBezTo>
                  <a:pt x="2106" y="1387"/>
                  <a:pt x="2105" y="1386"/>
                  <a:pt x="2105" y="1385"/>
                </a:cubicBezTo>
                <a:cubicBezTo>
                  <a:pt x="2105" y="1384"/>
                  <a:pt x="2104" y="1382"/>
                  <a:pt x="2104" y="1380"/>
                </a:cubicBezTo>
                <a:cubicBezTo>
                  <a:pt x="2103" y="1380"/>
                  <a:pt x="2103" y="1379"/>
                  <a:pt x="2103" y="1379"/>
                </a:cubicBezTo>
                <a:cubicBezTo>
                  <a:pt x="2102" y="1378"/>
                  <a:pt x="2102" y="1378"/>
                  <a:pt x="2101" y="1377"/>
                </a:cubicBezTo>
                <a:cubicBezTo>
                  <a:pt x="2101" y="1376"/>
                  <a:pt x="2100" y="1376"/>
                  <a:pt x="2100" y="1375"/>
                </a:cubicBezTo>
                <a:cubicBezTo>
                  <a:pt x="2099" y="1374"/>
                  <a:pt x="2098" y="1373"/>
                  <a:pt x="2097" y="1372"/>
                </a:cubicBezTo>
                <a:cubicBezTo>
                  <a:pt x="2097" y="1371"/>
                  <a:pt x="2096" y="1371"/>
                  <a:pt x="2096" y="1371"/>
                </a:cubicBezTo>
                <a:cubicBezTo>
                  <a:pt x="2096" y="1370"/>
                  <a:pt x="2096" y="1370"/>
                  <a:pt x="2095" y="1370"/>
                </a:cubicBezTo>
                <a:cubicBezTo>
                  <a:pt x="2095" y="1369"/>
                  <a:pt x="2095" y="1368"/>
                  <a:pt x="2094" y="1368"/>
                </a:cubicBezTo>
                <a:cubicBezTo>
                  <a:pt x="2094" y="1367"/>
                  <a:pt x="2093" y="1367"/>
                  <a:pt x="2093" y="1366"/>
                </a:cubicBezTo>
                <a:cubicBezTo>
                  <a:pt x="2093" y="1366"/>
                  <a:pt x="2093" y="1365"/>
                  <a:pt x="2094" y="1364"/>
                </a:cubicBezTo>
                <a:cubicBezTo>
                  <a:pt x="2094" y="1364"/>
                  <a:pt x="2094" y="1364"/>
                  <a:pt x="2095" y="1363"/>
                </a:cubicBezTo>
                <a:cubicBezTo>
                  <a:pt x="2095" y="1362"/>
                  <a:pt x="2095" y="1361"/>
                  <a:pt x="2094" y="1360"/>
                </a:cubicBezTo>
                <a:cubicBezTo>
                  <a:pt x="2093" y="1359"/>
                  <a:pt x="2093" y="1359"/>
                  <a:pt x="2093" y="1358"/>
                </a:cubicBezTo>
                <a:cubicBezTo>
                  <a:pt x="2092" y="1357"/>
                  <a:pt x="2092" y="1356"/>
                  <a:pt x="2092" y="1356"/>
                </a:cubicBezTo>
                <a:cubicBezTo>
                  <a:pt x="2092" y="1354"/>
                  <a:pt x="2092" y="1353"/>
                  <a:pt x="2092" y="1352"/>
                </a:cubicBezTo>
                <a:cubicBezTo>
                  <a:pt x="2092" y="1350"/>
                  <a:pt x="2093" y="1349"/>
                  <a:pt x="2093" y="1347"/>
                </a:cubicBezTo>
                <a:cubicBezTo>
                  <a:pt x="2093" y="1346"/>
                  <a:pt x="2094" y="1344"/>
                  <a:pt x="2093" y="1343"/>
                </a:cubicBezTo>
                <a:cubicBezTo>
                  <a:pt x="2093" y="1343"/>
                  <a:pt x="2093" y="1345"/>
                  <a:pt x="2092" y="1345"/>
                </a:cubicBezTo>
                <a:cubicBezTo>
                  <a:pt x="2092" y="1346"/>
                  <a:pt x="2091" y="1347"/>
                  <a:pt x="2091" y="1346"/>
                </a:cubicBezTo>
                <a:cubicBezTo>
                  <a:pt x="2091" y="1346"/>
                  <a:pt x="2092" y="1345"/>
                  <a:pt x="2092" y="1345"/>
                </a:cubicBezTo>
                <a:cubicBezTo>
                  <a:pt x="2092" y="1344"/>
                  <a:pt x="2091" y="1344"/>
                  <a:pt x="2092" y="1344"/>
                </a:cubicBezTo>
                <a:cubicBezTo>
                  <a:pt x="2092" y="1343"/>
                  <a:pt x="2092" y="1342"/>
                  <a:pt x="2092" y="1342"/>
                </a:cubicBezTo>
                <a:cubicBezTo>
                  <a:pt x="2092" y="1341"/>
                  <a:pt x="2092" y="1340"/>
                  <a:pt x="2092" y="1340"/>
                </a:cubicBezTo>
                <a:cubicBezTo>
                  <a:pt x="2092" y="1339"/>
                  <a:pt x="2093" y="1339"/>
                  <a:pt x="2093" y="1338"/>
                </a:cubicBezTo>
                <a:cubicBezTo>
                  <a:pt x="2093" y="1338"/>
                  <a:pt x="2093" y="1337"/>
                  <a:pt x="2093" y="1336"/>
                </a:cubicBezTo>
                <a:cubicBezTo>
                  <a:pt x="2093" y="1336"/>
                  <a:pt x="2093" y="1335"/>
                  <a:pt x="2093" y="1335"/>
                </a:cubicBezTo>
                <a:cubicBezTo>
                  <a:pt x="2094" y="1335"/>
                  <a:pt x="2094" y="1336"/>
                  <a:pt x="2094" y="1336"/>
                </a:cubicBezTo>
                <a:cubicBezTo>
                  <a:pt x="2094" y="1337"/>
                  <a:pt x="2094" y="1337"/>
                  <a:pt x="2094" y="1338"/>
                </a:cubicBezTo>
                <a:cubicBezTo>
                  <a:pt x="2094" y="1339"/>
                  <a:pt x="2094" y="1339"/>
                  <a:pt x="2094" y="1339"/>
                </a:cubicBezTo>
                <a:cubicBezTo>
                  <a:pt x="2095" y="1340"/>
                  <a:pt x="2094" y="1340"/>
                  <a:pt x="2095" y="1341"/>
                </a:cubicBezTo>
                <a:cubicBezTo>
                  <a:pt x="2095" y="1341"/>
                  <a:pt x="2095" y="1342"/>
                  <a:pt x="2096" y="1343"/>
                </a:cubicBezTo>
                <a:cubicBezTo>
                  <a:pt x="2096" y="1344"/>
                  <a:pt x="2097" y="1344"/>
                  <a:pt x="2097" y="1345"/>
                </a:cubicBezTo>
                <a:cubicBezTo>
                  <a:pt x="2097" y="1345"/>
                  <a:pt x="2097" y="1346"/>
                  <a:pt x="2097" y="1346"/>
                </a:cubicBezTo>
                <a:cubicBezTo>
                  <a:pt x="2097" y="1346"/>
                  <a:pt x="2097" y="1347"/>
                  <a:pt x="2097" y="1347"/>
                </a:cubicBezTo>
                <a:cubicBezTo>
                  <a:pt x="2098" y="1348"/>
                  <a:pt x="2098" y="1349"/>
                  <a:pt x="2098" y="1349"/>
                </a:cubicBezTo>
                <a:cubicBezTo>
                  <a:pt x="2097" y="1350"/>
                  <a:pt x="2097" y="1351"/>
                  <a:pt x="2097" y="1352"/>
                </a:cubicBezTo>
                <a:cubicBezTo>
                  <a:pt x="2097" y="1353"/>
                  <a:pt x="2098" y="1354"/>
                  <a:pt x="2099" y="1354"/>
                </a:cubicBezTo>
                <a:cubicBezTo>
                  <a:pt x="2099" y="1355"/>
                  <a:pt x="2100" y="1355"/>
                  <a:pt x="2100" y="1356"/>
                </a:cubicBezTo>
                <a:cubicBezTo>
                  <a:pt x="2100" y="1357"/>
                  <a:pt x="2099" y="1358"/>
                  <a:pt x="2099" y="1359"/>
                </a:cubicBezTo>
                <a:cubicBezTo>
                  <a:pt x="2099" y="1360"/>
                  <a:pt x="2099" y="1360"/>
                  <a:pt x="2100" y="1361"/>
                </a:cubicBezTo>
                <a:cubicBezTo>
                  <a:pt x="2100" y="1362"/>
                  <a:pt x="2101" y="1362"/>
                  <a:pt x="2101" y="1363"/>
                </a:cubicBezTo>
                <a:cubicBezTo>
                  <a:pt x="2101" y="1364"/>
                  <a:pt x="2100" y="1365"/>
                  <a:pt x="2099" y="1366"/>
                </a:cubicBezTo>
                <a:cubicBezTo>
                  <a:pt x="2099" y="1367"/>
                  <a:pt x="2099" y="1368"/>
                  <a:pt x="2100" y="1370"/>
                </a:cubicBezTo>
                <a:cubicBezTo>
                  <a:pt x="2100" y="1370"/>
                  <a:pt x="2100" y="1370"/>
                  <a:pt x="2100" y="1370"/>
                </a:cubicBezTo>
                <a:cubicBezTo>
                  <a:pt x="2101" y="1371"/>
                  <a:pt x="2101" y="1371"/>
                  <a:pt x="2101" y="1371"/>
                </a:cubicBezTo>
                <a:cubicBezTo>
                  <a:pt x="2102" y="1372"/>
                  <a:pt x="2102" y="1371"/>
                  <a:pt x="2103" y="1371"/>
                </a:cubicBezTo>
                <a:cubicBezTo>
                  <a:pt x="2104" y="1370"/>
                  <a:pt x="2104" y="1372"/>
                  <a:pt x="2105" y="1372"/>
                </a:cubicBezTo>
                <a:cubicBezTo>
                  <a:pt x="2105" y="1373"/>
                  <a:pt x="2106" y="1373"/>
                  <a:pt x="2106" y="1374"/>
                </a:cubicBezTo>
                <a:cubicBezTo>
                  <a:pt x="2108" y="1375"/>
                  <a:pt x="2108" y="1377"/>
                  <a:pt x="2109" y="1378"/>
                </a:cubicBezTo>
                <a:cubicBezTo>
                  <a:pt x="2109" y="1379"/>
                  <a:pt x="2109" y="1379"/>
                  <a:pt x="2110" y="1380"/>
                </a:cubicBezTo>
                <a:cubicBezTo>
                  <a:pt x="2110" y="1380"/>
                  <a:pt x="2110" y="1381"/>
                  <a:pt x="2110" y="1382"/>
                </a:cubicBezTo>
                <a:cubicBezTo>
                  <a:pt x="2110" y="1382"/>
                  <a:pt x="2110" y="1382"/>
                  <a:pt x="2110" y="1383"/>
                </a:cubicBezTo>
                <a:cubicBezTo>
                  <a:pt x="2110" y="1383"/>
                  <a:pt x="2111" y="1384"/>
                  <a:pt x="2111" y="1384"/>
                </a:cubicBezTo>
                <a:cubicBezTo>
                  <a:pt x="2112" y="1385"/>
                  <a:pt x="2112" y="1387"/>
                  <a:pt x="2112" y="1389"/>
                </a:cubicBezTo>
                <a:cubicBezTo>
                  <a:pt x="2113" y="1390"/>
                  <a:pt x="2114" y="1392"/>
                  <a:pt x="2115" y="1393"/>
                </a:cubicBezTo>
                <a:cubicBezTo>
                  <a:pt x="2115" y="1394"/>
                  <a:pt x="2115" y="1395"/>
                  <a:pt x="2115" y="1395"/>
                </a:cubicBezTo>
                <a:cubicBezTo>
                  <a:pt x="2115" y="1396"/>
                  <a:pt x="2115" y="1397"/>
                  <a:pt x="2114" y="1397"/>
                </a:cubicBezTo>
                <a:close/>
                <a:moveTo>
                  <a:pt x="2123" y="927"/>
                </a:moveTo>
                <a:cubicBezTo>
                  <a:pt x="2123" y="926"/>
                  <a:pt x="2123" y="926"/>
                  <a:pt x="2124" y="926"/>
                </a:cubicBezTo>
                <a:cubicBezTo>
                  <a:pt x="2125" y="927"/>
                  <a:pt x="2126" y="928"/>
                  <a:pt x="2126" y="928"/>
                </a:cubicBezTo>
                <a:cubicBezTo>
                  <a:pt x="2127" y="929"/>
                  <a:pt x="2129" y="930"/>
                  <a:pt x="2127" y="930"/>
                </a:cubicBezTo>
                <a:cubicBezTo>
                  <a:pt x="2126" y="931"/>
                  <a:pt x="2126" y="930"/>
                  <a:pt x="2125" y="930"/>
                </a:cubicBezTo>
                <a:cubicBezTo>
                  <a:pt x="2125" y="929"/>
                  <a:pt x="2124" y="929"/>
                  <a:pt x="2123" y="929"/>
                </a:cubicBezTo>
                <a:cubicBezTo>
                  <a:pt x="2122" y="928"/>
                  <a:pt x="2123" y="928"/>
                  <a:pt x="2123" y="927"/>
                </a:cubicBezTo>
                <a:close/>
                <a:moveTo>
                  <a:pt x="2158" y="1429"/>
                </a:moveTo>
                <a:cubicBezTo>
                  <a:pt x="2158" y="1431"/>
                  <a:pt x="2158" y="1432"/>
                  <a:pt x="2157" y="1434"/>
                </a:cubicBezTo>
                <a:cubicBezTo>
                  <a:pt x="2157" y="1435"/>
                  <a:pt x="2157" y="1436"/>
                  <a:pt x="2156" y="1437"/>
                </a:cubicBezTo>
                <a:cubicBezTo>
                  <a:pt x="2156" y="1437"/>
                  <a:pt x="2155" y="1438"/>
                  <a:pt x="2156" y="1439"/>
                </a:cubicBezTo>
                <a:cubicBezTo>
                  <a:pt x="2156" y="1440"/>
                  <a:pt x="2156" y="1440"/>
                  <a:pt x="2156" y="1440"/>
                </a:cubicBezTo>
                <a:cubicBezTo>
                  <a:pt x="2157" y="1442"/>
                  <a:pt x="2156" y="1444"/>
                  <a:pt x="2156" y="1446"/>
                </a:cubicBezTo>
                <a:cubicBezTo>
                  <a:pt x="2157" y="1447"/>
                  <a:pt x="2157" y="1447"/>
                  <a:pt x="2157" y="1448"/>
                </a:cubicBezTo>
                <a:cubicBezTo>
                  <a:pt x="2157" y="1449"/>
                  <a:pt x="2157" y="1450"/>
                  <a:pt x="2157" y="1452"/>
                </a:cubicBezTo>
                <a:cubicBezTo>
                  <a:pt x="2158" y="1452"/>
                  <a:pt x="2158" y="1452"/>
                  <a:pt x="2158" y="1453"/>
                </a:cubicBezTo>
                <a:cubicBezTo>
                  <a:pt x="2158" y="1453"/>
                  <a:pt x="2158" y="1454"/>
                  <a:pt x="2158" y="1454"/>
                </a:cubicBezTo>
                <a:cubicBezTo>
                  <a:pt x="2159" y="1455"/>
                  <a:pt x="2160" y="1455"/>
                  <a:pt x="2160" y="1455"/>
                </a:cubicBezTo>
                <a:cubicBezTo>
                  <a:pt x="2161" y="1456"/>
                  <a:pt x="2160" y="1457"/>
                  <a:pt x="2160" y="1458"/>
                </a:cubicBezTo>
                <a:cubicBezTo>
                  <a:pt x="2160" y="1458"/>
                  <a:pt x="2161" y="1459"/>
                  <a:pt x="2161" y="1459"/>
                </a:cubicBezTo>
                <a:cubicBezTo>
                  <a:pt x="2161" y="1460"/>
                  <a:pt x="2161" y="1460"/>
                  <a:pt x="2162" y="1461"/>
                </a:cubicBezTo>
                <a:cubicBezTo>
                  <a:pt x="2162" y="1461"/>
                  <a:pt x="2161" y="1461"/>
                  <a:pt x="2161" y="1461"/>
                </a:cubicBezTo>
                <a:cubicBezTo>
                  <a:pt x="2160" y="1460"/>
                  <a:pt x="2160" y="1460"/>
                  <a:pt x="2160" y="1459"/>
                </a:cubicBezTo>
                <a:cubicBezTo>
                  <a:pt x="2159" y="1459"/>
                  <a:pt x="2159" y="1459"/>
                  <a:pt x="2159" y="1459"/>
                </a:cubicBezTo>
                <a:cubicBezTo>
                  <a:pt x="2158" y="1459"/>
                  <a:pt x="2158" y="1457"/>
                  <a:pt x="2157" y="1458"/>
                </a:cubicBezTo>
                <a:cubicBezTo>
                  <a:pt x="2157" y="1458"/>
                  <a:pt x="2157" y="1459"/>
                  <a:pt x="2157" y="1459"/>
                </a:cubicBezTo>
                <a:cubicBezTo>
                  <a:pt x="2157" y="1459"/>
                  <a:pt x="2156" y="1459"/>
                  <a:pt x="2156" y="1460"/>
                </a:cubicBezTo>
                <a:cubicBezTo>
                  <a:pt x="2156" y="1460"/>
                  <a:pt x="2157" y="1461"/>
                  <a:pt x="2156" y="1461"/>
                </a:cubicBezTo>
                <a:cubicBezTo>
                  <a:pt x="2156" y="1460"/>
                  <a:pt x="2156" y="1459"/>
                  <a:pt x="2155" y="1459"/>
                </a:cubicBezTo>
                <a:cubicBezTo>
                  <a:pt x="2154" y="1459"/>
                  <a:pt x="2153" y="1458"/>
                  <a:pt x="2154" y="1457"/>
                </a:cubicBezTo>
                <a:cubicBezTo>
                  <a:pt x="2155" y="1457"/>
                  <a:pt x="2154" y="1456"/>
                  <a:pt x="2154" y="1455"/>
                </a:cubicBezTo>
                <a:cubicBezTo>
                  <a:pt x="2154" y="1455"/>
                  <a:pt x="2154" y="1454"/>
                  <a:pt x="2154" y="1454"/>
                </a:cubicBezTo>
                <a:cubicBezTo>
                  <a:pt x="2154" y="1453"/>
                  <a:pt x="2154" y="1453"/>
                  <a:pt x="2153" y="1453"/>
                </a:cubicBezTo>
                <a:cubicBezTo>
                  <a:pt x="2153" y="1452"/>
                  <a:pt x="2152" y="1452"/>
                  <a:pt x="2152" y="1451"/>
                </a:cubicBezTo>
                <a:cubicBezTo>
                  <a:pt x="2152" y="1451"/>
                  <a:pt x="2151" y="1451"/>
                  <a:pt x="2151" y="1451"/>
                </a:cubicBezTo>
                <a:cubicBezTo>
                  <a:pt x="2151" y="1450"/>
                  <a:pt x="2151" y="1450"/>
                  <a:pt x="2151" y="1449"/>
                </a:cubicBezTo>
                <a:cubicBezTo>
                  <a:pt x="2151" y="1449"/>
                  <a:pt x="2151" y="1448"/>
                  <a:pt x="2151" y="1447"/>
                </a:cubicBezTo>
                <a:cubicBezTo>
                  <a:pt x="2152" y="1444"/>
                  <a:pt x="2151" y="1443"/>
                  <a:pt x="2149" y="1441"/>
                </a:cubicBezTo>
                <a:cubicBezTo>
                  <a:pt x="2149" y="1440"/>
                  <a:pt x="2149" y="1439"/>
                  <a:pt x="2149" y="1439"/>
                </a:cubicBezTo>
                <a:cubicBezTo>
                  <a:pt x="2148" y="1438"/>
                  <a:pt x="2148" y="1437"/>
                  <a:pt x="2148" y="1436"/>
                </a:cubicBezTo>
                <a:cubicBezTo>
                  <a:pt x="2148" y="1435"/>
                  <a:pt x="2150" y="1434"/>
                  <a:pt x="2151" y="1432"/>
                </a:cubicBezTo>
                <a:cubicBezTo>
                  <a:pt x="2151" y="1430"/>
                  <a:pt x="2151" y="1428"/>
                  <a:pt x="2151" y="1426"/>
                </a:cubicBezTo>
                <a:cubicBezTo>
                  <a:pt x="2150" y="1424"/>
                  <a:pt x="2150" y="1422"/>
                  <a:pt x="2150" y="1420"/>
                </a:cubicBezTo>
                <a:cubicBezTo>
                  <a:pt x="2150" y="1419"/>
                  <a:pt x="2150" y="1418"/>
                  <a:pt x="2150" y="1417"/>
                </a:cubicBezTo>
                <a:cubicBezTo>
                  <a:pt x="2151" y="1417"/>
                  <a:pt x="2151" y="1416"/>
                  <a:pt x="2151" y="1415"/>
                </a:cubicBezTo>
                <a:cubicBezTo>
                  <a:pt x="2150" y="1414"/>
                  <a:pt x="2150" y="1414"/>
                  <a:pt x="2149" y="1413"/>
                </a:cubicBezTo>
                <a:cubicBezTo>
                  <a:pt x="2149" y="1413"/>
                  <a:pt x="2149" y="1412"/>
                  <a:pt x="2148" y="1411"/>
                </a:cubicBezTo>
                <a:cubicBezTo>
                  <a:pt x="2148" y="1411"/>
                  <a:pt x="2148" y="1410"/>
                  <a:pt x="2147" y="1409"/>
                </a:cubicBezTo>
                <a:cubicBezTo>
                  <a:pt x="2147" y="1409"/>
                  <a:pt x="2147" y="1408"/>
                  <a:pt x="2147" y="1407"/>
                </a:cubicBezTo>
                <a:cubicBezTo>
                  <a:pt x="2147" y="1407"/>
                  <a:pt x="2147" y="1405"/>
                  <a:pt x="2148" y="1405"/>
                </a:cubicBezTo>
                <a:cubicBezTo>
                  <a:pt x="2148" y="1406"/>
                  <a:pt x="2148" y="1406"/>
                  <a:pt x="2148" y="1406"/>
                </a:cubicBezTo>
                <a:cubicBezTo>
                  <a:pt x="2149" y="1407"/>
                  <a:pt x="2149" y="1407"/>
                  <a:pt x="2149" y="1407"/>
                </a:cubicBezTo>
                <a:cubicBezTo>
                  <a:pt x="2150" y="1408"/>
                  <a:pt x="2152" y="1409"/>
                  <a:pt x="2153" y="1410"/>
                </a:cubicBezTo>
                <a:cubicBezTo>
                  <a:pt x="2153" y="1411"/>
                  <a:pt x="2153" y="1411"/>
                  <a:pt x="2153" y="1412"/>
                </a:cubicBezTo>
                <a:cubicBezTo>
                  <a:pt x="2153" y="1412"/>
                  <a:pt x="2153" y="1412"/>
                  <a:pt x="2153" y="1413"/>
                </a:cubicBezTo>
                <a:cubicBezTo>
                  <a:pt x="2154" y="1413"/>
                  <a:pt x="2154" y="1414"/>
                  <a:pt x="2154" y="1415"/>
                </a:cubicBezTo>
                <a:cubicBezTo>
                  <a:pt x="2154" y="1416"/>
                  <a:pt x="2154" y="1417"/>
                  <a:pt x="2154" y="1417"/>
                </a:cubicBezTo>
                <a:cubicBezTo>
                  <a:pt x="2154" y="1418"/>
                  <a:pt x="2154" y="1419"/>
                  <a:pt x="2154" y="1420"/>
                </a:cubicBezTo>
                <a:cubicBezTo>
                  <a:pt x="2154" y="1421"/>
                  <a:pt x="2154" y="1422"/>
                  <a:pt x="2154" y="1422"/>
                </a:cubicBezTo>
                <a:cubicBezTo>
                  <a:pt x="2155" y="1423"/>
                  <a:pt x="2155" y="1424"/>
                  <a:pt x="2156" y="1425"/>
                </a:cubicBezTo>
                <a:cubicBezTo>
                  <a:pt x="2156" y="1425"/>
                  <a:pt x="2157" y="1426"/>
                  <a:pt x="2157" y="1427"/>
                </a:cubicBezTo>
                <a:cubicBezTo>
                  <a:pt x="2157" y="1427"/>
                  <a:pt x="2158" y="1428"/>
                  <a:pt x="2158" y="1429"/>
                </a:cubicBezTo>
                <a:close/>
                <a:moveTo>
                  <a:pt x="2131" y="1296"/>
                </a:moveTo>
                <a:cubicBezTo>
                  <a:pt x="2132" y="1295"/>
                  <a:pt x="2132" y="1294"/>
                  <a:pt x="2133" y="1295"/>
                </a:cubicBezTo>
                <a:cubicBezTo>
                  <a:pt x="2133" y="1296"/>
                  <a:pt x="2133" y="1296"/>
                  <a:pt x="2133" y="1296"/>
                </a:cubicBezTo>
                <a:cubicBezTo>
                  <a:pt x="2134" y="1296"/>
                  <a:pt x="2135" y="1296"/>
                  <a:pt x="2135" y="1296"/>
                </a:cubicBezTo>
                <a:cubicBezTo>
                  <a:pt x="2136" y="1296"/>
                  <a:pt x="2137" y="1295"/>
                  <a:pt x="2138" y="1294"/>
                </a:cubicBezTo>
                <a:cubicBezTo>
                  <a:pt x="2138" y="1294"/>
                  <a:pt x="2139" y="1293"/>
                  <a:pt x="2139" y="1292"/>
                </a:cubicBezTo>
                <a:cubicBezTo>
                  <a:pt x="2139" y="1292"/>
                  <a:pt x="2140" y="1291"/>
                  <a:pt x="2140" y="1292"/>
                </a:cubicBezTo>
                <a:cubicBezTo>
                  <a:pt x="2140" y="1293"/>
                  <a:pt x="2141" y="1293"/>
                  <a:pt x="2141" y="1294"/>
                </a:cubicBezTo>
                <a:cubicBezTo>
                  <a:pt x="2142" y="1294"/>
                  <a:pt x="2142" y="1295"/>
                  <a:pt x="2142" y="1295"/>
                </a:cubicBezTo>
                <a:cubicBezTo>
                  <a:pt x="2143" y="1296"/>
                  <a:pt x="2143" y="1294"/>
                  <a:pt x="2144" y="1293"/>
                </a:cubicBezTo>
                <a:cubicBezTo>
                  <a:pt x="2145" y="1293"/>
                  <a:pt x="2144" y="1295"/>
                  <a:pt x="2145" y="1295"/>
                </a:cubicBezTo>
                <a:cubicBezTo>
                  <a:pt x="2146" y="1295"/>
                  <a:pt x="2146" y="1294"/>
                  <a:pt x="2147" y="1295"/>
                </a:cubicBezTo>
                <a:cubicBezTo>
                  <a:pt x="2148" y="1296"/>
                  <a:pt x="2147" y="1297"/>
                  <a:pt x="2147" y="1297"/>
                </a:cubicBezTo>
                <a:cubicBezTo>
                  <a:pt x="2147" y="1298"/>
                  <a:pt x="2148" y="1298"/>
                  <a:pt x="2149" y="1299"/>
                </a:cubicBezTo>
                <a:cubicBezTo>
                  <a:pt x="2149" y="1299"/>
                  <a:pt x="2149" y="1299"/>
                  <a:pt x="2149" y="1299"/>
                </a:cubicBezTo>
                <a:cubicBezTo>
                  <a:pt x="2149" y="1300"/>
                  <a:pt x="2149" y="1300"/>
                  <a:pt x="2150" y="1300"/>
                </a:cubicBezTo>
                <a:cubicBezTo>
                  <a:pt x="2150" y="1300"/>
                  <a:pt x="2150" y="1300"/>
                  <a:pt x="2150" y="1301"/>
                </a:cubicBezTo>
                <a:cubicBezTo>
                  <a:pt x="2150" y="1302"/>
                  <a:pt x="2151" y="1301"/>
                  <a:pt x="2152" y="1300"/>
                </a:cubicBezTo>
                <a:cubicBezTo>
                  <a:pt x="2152" y="1300"/>
                  <a:pt x="2152" y="1299"/>
                  <a:pt x="2153" y="1299"/>
                </a:cubicBezTo>
                <a:cubicBezTo>
                  <a:pt x="2153" y="1299"/>
                  <a:pt x="2153" y="1299"/>
                  <a:pt x="2154" y="1299"/>
                </a:cubicBezTo>
                <a:cubicBezTo>
                  <a:pt x="2154" y="1299"/>
                  <a:pt x="2154" y="1298"/>
                  <a:pt x="2155" y="1298"/>
                </a:cubicBezTo>
                <a:cubicBezTo>
                  <a:pt x="2156" y="1299"/>
                  <a:pt x="2156" y="1299"/>
                  <a:pt x="2156" y="1300"/>
                </a:cubicBezTo>
                <a:cubicBezTo>
                  <a:pt x="2157" y="1300"/>
                  <a:pt x="2157" y="1300"/>
                  <a:pt x="2157" y="1300"/>
                </a:cubicBezTo>
                <a:cubicBezTo>
                  <a:pt x="2157" y="1301"/>
                  <a:pt x="2156" y="1300"/>
                  <a:pt x="2156" y="1300"/>
                </a:cubicBezTo>
                <a:cubicBezTo>
                  <a:pt x="2156" y="1301"/>
                  <a:pt x="2156" y="1301"/>
                  <a:pt x="2156" y="1301"/>
                </a:cubicBezTo>
                <a:cubicBezTo>
                  <a:pt x="2155" y="1301"/>
                  <a:pt x="2155" y="1301"/>
                  <a:pt x="2154" y="1301"/>
                </a:cubicBezTo>
                <a:cubicBezTo>
                  <a:pt x="2154" y="1301"/>
                  <a:pt x="2154" y="1300"/>
                  <a:pt x="2153" y="1301"/>
                </a:cubicBezTo>
                <a:cubicBezTo>
                  <a:pt x="2153" y="1301"/>
                  <a:pt x="2153" y="1301"/>
                  <a:pt x="2153" y="1302"/>
                </a:cubicBezTo>
                <a:cubicBezTo>
                  <a:pt x="2153" y="1302"/>
                  <a:pt x="2153" y="1303"/>
                  <a:pt x="2152" y="1303"/>
                </a:cubicBezTo>
                <a:cubicBezTo>
                  <a:pt x="2152" y="1303"/>
                  <a:pt x="2152" y="1302"/>
                  <a:pt x="2152" y="1302"/>
                </a:cubicBezTo>
                <a:cubicBezTo>
                  <a:pt x="2152" y="1301"/>
                  <a:pt x="2152" y="1302"/>
                  <a:pt x="2151" y="1302"/>
                </a:cubicBezTo>
                <a:cubicBezTo>
                  <a:pt x="2151" y="1302"/>
                  <a:pt x="2151" y="1302"/>
                  <a:pt x="2150" y="1302"/>
                </a:cubicBezTo>
                <a:cubicBezTo>
                  <a:pt x="2150" y="1302"/>
                  <a:pt x="2150" y="1302"/>
                  <a:pt x="2149" y="1302"/>
                </a:cubicBezTo>
                <a:cubicBezTo>
                  <a:pt x="2149" y="1302"/>
                  <a:pt x="2149" y="1302"/>
                  <a:pt x="2149" y="1303"/>
                </a:cubicBezTo>
                <a:cubicBezTo>
                  <a:pt x="2149" y="1303"/>
                  <a:pt x="2149" y="1303"/>
                  <a:pt x="2148" y="1303"/>
                </a:cubicBezTo>
                <a:cubicBezTo>
                  <a:pt x="2148" y="1304"/>
                  <a:pt x="2148" y="1305"/>
                  <a:pt x="2148" y="1305"/>
                </a:cubicBezTo>
                <a:cubicBezTo>
                  <a:pt x="2149" y="1306"/>
                  <a:pt x="2149" y="1306"/>
                  <a:pt x="2149" y="1307"/>
                </a:cubicBezTo>
                <a:cubicBezTo>
                  <a:pt x="2150" y="1307"/>
                  <a:pt x="2150" y="1307"/>
                  <a:pt x="2149" y="1308"/>
                </a:cubicBezTo>
                <a:cubicBezTo>
                  <a:pt x="2149" y="1308"/>
                  <a:pt x="2149" y="1308"/>
                  <a:pt x="2148" y="1308"/>
                </a:cubicBezTo>
                <a:cubicBezTo>
                  <a:pt x="2148" y="1308"/>
                  <a:pt x="2148" y="1309"/>
                  <a:pt x="2148" y="1309"/>
                </a:cubicBezTo>
                <a:cubicBezTo>
                  <a:pt x="2148" y="1310"/>
                  <a:pt x="2148" y="1310"/>
                  <a:pt x="2148" y="1310"/>
                </a:cubicBezTo>
                <a:cubicBezTo>
                  <a:pt x="2147" y="1311"/>
                  <a:pt x="2147" y="1311"/>
                  <a:pt x="2147" y="1311"/>
                </a:cubicBezTo>
                <a:cubicBezTo>
                  <a:pt x="2147" y="1312"/>
                  <a:pt x="2148" y="1312"/>
                  <a:pt x="2147" y="1312"/>
                </a:cubicBezTo>
                <a:cubicBezTo>
                  <a:pt x="2147" y="1313"/>
                  <a:pt x="2147" y="1312"/>
                  <a:pt x="2146" y="1312"/>
                </a:cubicBezTo>
                <a:cubicBezTo>
                  <a:pt x="2146" y="1312"/>
                  <a:pt x="2146" y="1312"/>
                  <a:pt x="2145" y="1312"/>
                </a:cubicBezTo>
                <a:cubicBezTo>
                  <a:pt x="2145" y="1313"/>
                  <a:pt x="2145" y="1313"/>
                  <a:pt x="2146" y="1313"/>
                </a:cubicBezTo>
                <a:cubicBezTo>
                  <a:pt x="2146" y="1314"/>
                  <a:pt x="2145" y="1313"/>
                  <a:pt x="2144" y="1314"/>
                </a:cubicBezTo>
                <a:cubicBezTo>
                  <a:pt x="2144" y="1314"/>
                  <a:pt x="2144" y="1315"/>
                  <a:pt x="2144" y="1316"/>
                </a:cubicBezTo>
                <a:cubicBezTo>
                  <a:pt x="2144" y="1316"/>
                  <a:pt x="2143" y="1316"/>
                  <a:pt x="2143" y="1317"/>
                </a:cubicBezTo>
                <a:cubicBezTo>
                  <a:pt x="2143" y="1317"/>
                  <a:pt x="2142" y="1318"/>
                  <a:pt x="2142" y="1318"/>
                </a:cubicBezTo>
                <a:cubicBezTo>
                  <a:pt x="2141" y="1318"/>
                  <a:pt x="2141" y="1317"/>
                  <a:pt x="2140" y="1318"/>
                </a:cubicBezTo>
                <a:cubicBezTo>
                  <a:pt x="2140" y="1318"/>
                  <a:pt x="2140" y="1318"/>
                  <a:pt x="2140" y="1318"/>
                </a:cubicBezTo>
                <a:cubicBezTo>
                  <a:pt x="2140" y="1318"/>
                  <a:pt x="2139" y="1318"/>
                  <a:pt x="2139" y="1319"/>
                </a:cubicBezTo>
                <a:cubicBezTo>
                  <a:pt x="2139" y="1319"/>
                  <a:pt x="2140" y="1319"/>
                  <a:pt x="2141" y="1319"/>
                </a:cubicBezTo>
                <a:cubicBezTo>
                  <a:pt x="2141" y="1319"/>
                  <a:pt x="2141" y="1319"/>
                  <a:pt x="2140" y="1320"/>
                </a:cubicBezTo>
                <a:cubicBezTo>
                  <a:pt x="2140" y="1320"/>
                  <a:pt x="2140" y="1320"/>
                  <a:pt x="2139" y="1320"/>
                </a:cubicBezTo>
                <a:cubicBezTo>
                  <a:pt x="2139" y="1320"/>
                  <a:pt x="2139" y="1320"/>
                  <a:pt x="2138" y="1320"/>
                </a:cubicBezTo>
                <a:cubicBezTo>
                  <a:pt x="2138" y="1320"/>
                  <a:pt x="2138" y="1321"/>
                  <a:pt x="2139" y="1321"/>
                </a:cubicBezTo>
                <a:cubicBezTo>
                  <a:pt x="2139" y="1321"/>
                  <a:pt x="2139" y="1321"/>
                  <a:pt x="2139" y="1321"/>
                </a:cubicBezTo>
                <a:cubicBezTo>
                  <a:pt x="2140" y="1322"/>
                  <a:pt x="2141" y="1322"/>
                  <a:pt x="2142" y="1322"/>
                </a:cubicBezTo>
                <a:cubicBezTo>
                  <a:pt x="2143" y="1322"/>
                  <a:pt x="2144" y="1322"/>
                  <a:pt x="2144" y="1322"/>
                </a:cubicBezTo>
                <a:cubicBezTo>
                  <a:pt x="2145" y="1321"/>
                  <a:pt x="2145" y="1321"/>
                  <a:pt x="2145" y="1321"/>
                </a:cubicBezTo>
                <a:cubicBezTo>
                  <a:pt x="2146" y="1321"/>
                  <a:pt x="2145" y="1322"/>
                  <a:pt x="2145" y="1322"/>
                </a:cubicBezTo>
                <a:cubicBezTo>
                  <a:pt x="2145" y="1322"/>
                  <a:pt x="2145" y="1323"/>
                  <a:pt x="2144" y="1323"/>
                </a:cubicBezTo>
                <a:cubicBezTo>
                  <a:pt x="2144" y="1323"/>
                  <a:pt x="2144" y="1323"/>
                  <a:pt x="2143" y="1323"/>
                </a:cubicBezTo>
                <a:cubicBezTo>
                  <a:pt x="2143" y="1324"/>
                  <a:pt x="2142" y="1324"/>
                  <a:pt x="2142" y="1325"/>
                </a:cubicBezTo>
                <a:cubicBezTo>
                  <a:pt x="2142" y="1326"/>
                  <a:pt x="2141" y="1326"/>
                  <a:pt x="2141" y="1326"/>
                </a:cubicBezTo>
                <a:cubicBezTo>
                  <a:pt x="2140" y="1326"/>
                  <a:pt x="2140" y="1325"/>
                  <a:pt x="2139" y="1325"/>
                </a:cubicBezTo>
                <a:cubicBezTo>
                  <a:pt x="2139" y="1325"/>
                  <a:pt x="2139" y="1325"/>
                  <a:pt x="2138" y="1325"/>
                </a:cubicBezTo>
                <a:cubicBezTo>
                  <a:pt x="2137" y="1324"/>
                  <a:pt x="2137" y="1325"/>
                  <a:pt x="2136" y="1325"/>
                </a:cubicBezTo>
                <a:cubicBezTo>
                  <a:pt x="2136" y="1325"/>
                  <a:pt x="2136" y="1324"/>
                  <a:pt x="2135" y="1324"/>
                </a:cubicBezTo>
                <a:cubicBezTo>
                  <a:pt x="2135" y="1324"/>
                  <a:pt x="2135" y="1325"/>
                  <a:pt x="2135" y="1325"/>
                </a:cubicBezTo>
                <a:cubicBezTo>
                  <a:pt x="2135" y="1326"/>
                  <a:pt x="2135" y="1326"/>
                  <a:pt x="2135" y="1326"/>
                </a:cubicBezTo>
                <a:cubicBezTo>
                  <a:pt x="2135" y="1327"/>
                  <a:pt x="2135" y="1326"/>
                  <a:pt x="2134" y="1326"/>
                </a:cubicBezTo>
                <a:cubicBezTo>
                  <a:pt x="2134" y="1326"/>
                  <a:pt x="2133" y="1327"/>
                  <a:pt x="2133" y="1325"/>
                </a:cubicBezTo>
                <a:cubicBezTo>
                  <a:pt x="2133" y="1325"/>
                  <a:pt x="2133" y="1324"/>
                  <a:pt x="2132" y="1324"/>
                </a:cubicBezTo>
                <a:cubicBezTo>
                  <a:pt x="2132" y="1324"/>
                  <a:pt x="2132" y="1325"/>
                  <a:pt x="2132" y="1325"/>
                </a:cubicBezTo>
                <a:cubicBezTo>
                  <a:pt x="2132" y="1325"/>
                  <a:pt x="2131" y="1326"/>
                  <a:pt x="2131" y="1325"/>
                </a:cubicBezTo>
                <a:cubicBezTo>
                  <a:pt x="2131" y="1325"/>
                  <a:pt x="2131" y="1325"/>
                  <a:pt x="2130" y="1325"/>
                </a:cubicBezTo>
                <a:cubicBezTo>
                  <a:pt x="2130" y="1325"/>
                  <a:pt x="2130" y="1325"/>
                  <a:pt x="2129" y="1325"/>
                </a:cubicBezTo>
                <a:cubicBezTo>
                  <a:pt x="2129" y="1325"/>
                  <a:pt x="2129" y="1324"/>
                  <a:pt x="2129" y="1324"/>
                </a:cubicBezTo>
                <a:cubicBezTo>
                  <a:pt x="2129" y="1323"/>
                  <a:pt x="2129" y="1323"/>
                  <a:pt x="2128" y="1323"/>
                </a:cubicBezTo>
                <a:cubicBezTo>
                  <a:pt x="2128" y="1323"/>
                  <a:pt x="2128" y="1323"/>
                  <a:pt x="2128" y="1323"/>
                </a:cubicBezTo>
                <a:cubicBezTo>
                  <a:pt x="2127" y="1323"/>
                  <a:pt x="2128" y="1322"/>
                  <a:pt x="2127" y="1322"/>
                </a:cubicBezTo>
                <a:cubicBezTo>
                  <a:pt x="2127" y="1322"/>
                  <a:pt x="2127" y="1323"/>
                  <a:pt x="2127" y="1323"/>
                </a:cubicBezTo>
                <a:cubicBezTo>
                  <a:pt x="2126" y="1324"/>
                  <a:pt x="2126" y="1324"/>
                  <a:pt x="2126" y="1324"/>
                </a:cubicBezTo>
                <a:cubicBezTo>
                  <a:pt x="2126" y="1324"/>
                  <a:pt x="2125" y="1324"/>
                  <a:pt x="2125" y="1324"/>
                </a:cubicBezTo>
                <a:cubicBezTo>
                  <a:pt x="2125" y="1324"/>
                  <a:pt x="2126" y="1324"/>
                  <a:pt x="2126" y="1324"/>
                </a:cubicBezTo>
                <a:cubicBezTo>
                  <a:pt x="2126" y="1325"/>
                  <a:pt x="2126" y="1325"/>
                  <a:pt x="2126" y="1325"/>
                </a:cubicBezTo>
                <a:cubicBezTo>
                  <a:pt x="2126" y="1325"/>
                  <a:pt x="2126" y="1326"/>
                  <a:pt x="2126" y="1326"/>
                </a:cubicBezTo>
                <a:cubicBezTo>
                  <a:pt x="2126" y="1326"/>
                  <a:pt x="2125" y="1325"/>
                  <a:pt x="2124" y="1326"/>
                </a:cubicBezTo>
                <a:cubicBezTo>
                  <a:pt x="2124" y="1326"/>
                  <a:pt x="2125" y="1328"/>
                  <a:pt x="2124" y="1328"/>
                </a:cubicBezTo>
                <a:cubicBezTo>
                  <a:pt x="2124" y="1328"/>
                  <a:pt x="2124" y="1327"/>
                  <a:pt x="2124" y="1327"/>
                </a:cubicBezTo>
                <a:cubicBezTo>
                  <a:pt x="2123" y="1327"/>
                  <a:pt x="2124" y="1328"/>
                  <a:pt x="2123" y="1328"/>
                </a:cubicBezTo>
                <a:cubicBezTo>
                  <a:pt x="2123" y="1328"/>
                  <a:pt x="2122" y="1327"/>
                  <a:pt x="2122" y="1327"/>
                </a:cubicBezTo>
                <a:cubicBezTo>
                  <a:pt x="2122" y="1327"/>
                  <a:pt x="2122" y="1326"/>
                  <a:pt x="2122" y="1326"/>
                </a:cubicBezTo>
                <a:cubicBezTo>
                  <a:pt x="2122" y="1325"/>
                  <a:pt x="2122" y="1325"/>
                  <a:pt x="2121" y="1324"/>
                </a:cubicBezTo>
                <a:cubicBezTo>
                  <a:pt x="2121" y="1323"/>
                  <a:pt x="2121" y="1323"/>
                  <a:pt x="2121" y="1322"/>
                </a:cubicBezTo>
                <a:cubicBezTo>
                  <a:pt x="2121" y="1322"/>
                  <a:pt x="2121" y="1322"/>
                  <a:pt x="2121" y="1321"/>
                </a:cubicBezTo>
                <a:cubicBezTo>
                  <a:pt x="2120" y="1321"/>
                  <a:pt x="2120" y="1320"/>
                  <a:pt x="2121" y="1319"/>
                </a:cubicBezTo>
                <a:cubicBezTo>
                  <a:pt x="2122" y="1318"/>
                  <a:pt x="2121" y="1318"/>
                  <a:pt x="2122" y="1317"/>
                </a:cubicBezTo>
                <a:cubicBezTo>
                  <a:pt x="2122" y="1316"/>
                  <a:pt x="2122" y="1314"/>
                  <a:pt x="2122" y="1313"/>
                </a:cubicBezTo>
                <a:cubicBezTo>
                  <a:pt x="2122" y="1312"/>
                  <a:pt x="2122" y="1311"/>
                  <a:pt x="2123" y="1311"/>
                </a:cubicBezTo>
                <a:cubicBezTo>
                  <a:pt x="2123" y="1310"/>
                  <a:pt x="2123" y="1309"/>
                  <a:pt x="2123" y="1308"/>
                </a:cubicBezTo>
                <a:cubicBezTo>
                  <a:pt x="2122" y="1307"/>
                  <a:pt x="2122" y="1305"/>
                  <a:pt x="2122" y="1304"/>
                </a:cubicBezTo>
                <a:cubicBezTo>
                  <a:pt x="2123" y="1303"/>
                  <a:pt x="2123" y="1302"/>
                  <a:pt x="2124" y="1302"/>
                </a:cubicBezTo>
                <a:cubicBezTo>
                  <a:pt x="2125" y="1301"/>
                  <a:pt x="2125" y="1301"/>
                  <a:pt x="2125" y="1300"/>
                </a:cubicBezTo>
                <a:cubicBezTo>
                  <a:pt x="2125" y="1299"/>
                  <a:pt x="2124" y="1299"/>
                  <a:pt x="2125" y="1298"/>
                </a:cubicBezTo>
                <a:cubicBezTo>
                  <a:pt x="2125" y="1297"/>
                  <a:pt x="2126" y="1297"/>
                  <a:pt x="2127" y="1297"/>
                </a:cubicBezTo>
                <a:cubicBezTo>
                  <a:pt x="2128" y="1296"/>
                  <a:pt x="2130" y="1297"/>
                  <a:pt x="2131" y="1296"/>
                </a:cubicBezTo>
                <a:close/>
                <a:moveTo>
                  <a:pt x="2150" y="474"/>
                </a:moveTo>
                <a:cubicBezTo>
                  <a:pt x="2150" y="474"/>
                  <a:pt x="2151" y="475"/>
                  <a:pt x="2151" y="475"/>
                </a:cubicBezTo>
                <a:cubicBezTo>
                  <a:pt x="2151" y="475"/>
                  <a:pt x="2151" y="475"/>
                  <a:pt x="2151" y="476"/>
                </a:cubicBezTo>
                <a:cubicBezTo>
                  <a:pt x="2152" y="477"/>
                  <a:pt x="2151" y="477"/>
                  <a:pt x="2152" y="478"/>
                </a:cubicBezTo>
                <a:cubicBezTo>
                  <a:pt x="2152" y="478"/>
                  <a:pt x="2153" y="479"/>
                  <a:pt x="2154" y="479"/>
                </a:cubicBezTo>
                <a:cubicBezTo>
                  <a:pt x="2154" y="479"/>
                  <a:pt x="2155" y="480"/>
                  <a:pt x="2155" y="480"/>
                </a:cubicBezTo>
                <a:cubicBezTo>
                  <a:pt x="2156" y="479"/>
                  <a:pt x="2155" y="479"/>
                  <a:pt x="2155" y="479"/>
                </a:cubicBezTo>
                <a:cubicBezTo>
                  <a:pt x="2155" y="479"/>
                  <a:pt x="2155" y="478"/>
                  <a:pt x="2155" y="478"/>
                </a:cubicBezTo>
                <a:cubicBezTo>
                  <a:pt x="2155" y="478"/>
                  <a:pt x="2155" y="478"/>
                  <a:pt x="2155" y="478"/>
                </a:cubicBezTo>
                <a:cubicBezTo>
                  <a:pt x="2155" y="477"/>
                  <a:pt x="2155" y="477"/>
                  <a:pt x="2156" y="477"/>
                </a:cubicBezTo>
                <a:cubicBezTo>
                  <a:pt x="2156" y="477"/>
                  <a:pt x="2156" y="477"/>
                  <a:pt x="2156" y="476"/>
                </a:cubicBezTo>
                <a:cubicBezTo>
                  <a:pt x="2155" y="476"/>
                  <a:pt x="2155" y="476"/>
                  <a:pt x="2155" y="475"/>
                </a:cubicBezTo>
                <a:cubicBezTo>
                  <a:pt x="2155" y="475"/>
                  <a:pt x="2154" y="474"/>
                  <a:pt x="2155" y="475"/>
                </a:cubicBezTo>
                <a:cubicBezTo>
                  <a:pt x="2155" y="475"/>
                  <a:pt x="2156" y="476"/>
                  <a:pt x="2156" y="475"/>
                </a:cubicBezTo>
                <a:cubicBezTo>
                  <a:pt x="2156" y="474"/>
                  <a:pt x="2156" y="474"/>
                  <a:pt x="2155" y="474"/>
                </a:cubicBezTo>
                <a:cubicBezTo>
                  <a:pt x="2155" y="473"/>
                  <a:pt x="2155" y="473"/>
                  <a:pt x="2155" y="473"/>
                </a:cubicBezTo>
                <a:cubicBezTo>
                  <a:pt x="2155" y="473"/>
                  <a:pt x="2153" y="471"/>
                  <a:pt x="2154" y="471"/>
                </a:cubicBezTo>
                <a:cubicBezTo>
                  <a:pt x="2153" y="471"/>
                  <a:pt x="2153" y="471"/>
                  <a:pt x="2154" y="471"/>
                </a:cubicBezTo>
                <a:cubicBezTo>
                  <a:pt x="2154" y="471"/>
                  <a:pt x="2155" y="472"/>
                  <a:pt x="2155" y="472"/>
                </a:cubicBezTo>
                <a:cubicBezTo>
                  <a:pt x="2156" y="473"/>
                  <a:pt x="2156" y="473"/>
                  <a:pt x="2157" y="474"/>
                </a:cubicBezTo>
                <a:cubicBezTo>
                  <a:pt x="2157" y="475"/>
                  <a:pt x="2157" y="476"/>
                  <a:pt x="2157" y="477"/>
                </a:cubicBezTo>
                <a:cubicBezTo>
                  <a:pt x="2157" y="477"/>
                  <a:pt x="2158" y="478"/>
                  <a:pt x="2158" y="478"/>
                </a:cubicBezTo>
                <a:cubicBezTo>
                  <a:pt x="2159" y="478"/>
                  <a:pt x="2159" y="479"/>
                  <a:pt x="2159" y="479"/>
                </a:cubicBezTo>
                <a:cubicBezTo>
                  <a:pt x="2159" y="480"/>
                  <a:pt x="2160" y="479"/>
                  <a:pt x="2160" y="480"/>
                </a:cubicBezTo>
                <a:cubicBezTo>
                  <a:pt x="2160" y="480"/>
                  <a:pt x="2161" y="480"/>
                  <a:pt x="2161" y="480"/>
                </a:cubicBezTo>
                <a:cubicBezTo>
                  <a:pt x="2161" y="479"/>
                  <a:pt x="2161" y="479"/>
                  <a:pt x="2161" y="479"/>
                </a:cubicBezTo>
                <a:cubicBezTo>
                  <a:pt x="2161" y="478"/>
                  <a:pt x="2161" y="478"/>
                  <a:pt x="2160" y="478"/>
                </a:cubicBezTo>
                <a:cubicBezTo>
                  <a:pt x="2160" y="477"/>
                  <a:pt x="2160" y="477"/>
                  <a:pt x="2160" y="477"/>
                </a:cubicBezTo>
                <a:cubicBezTo>
                  <a:pt x="2160" y="476"/>
                  <a:pt x="2160" y="476"/>
                  <a:pt x="2161" y="477"/>
                </a:cubicBezTo>
                <a:cubicBezTo>
                  <a:pt x="2161" y="477"/>
                  <a:pt x="2161" y="477"/>
                  <a:pt x="2161" y="477"/>
                </a:cubicBezTo>
                <a:cubicBezTo>
                  <a:pt x="2161" y="478"/>
                  <a:pt x="2162" y="477"/>
                  <a:pt x="2162" y="477"/>
                </a:cubicBezTo>
                <a:cubicBezTo>
                  <a:pt x="2162" y="478"/>
                  <a:pt x="2162" y="478"/>
                  <a:pt x="2163" y="478"/>
                </a:cubicBezTo>
                <a:cubicBezTo>
                  <a:pt x="2163" y="478"/>
                  <a:pt x="2163" y="479"/>
                  <a:pt x="2163" y="479"/>
                </a:cubicBezTo>
                <a:cubicBezTo>
                  <a:pt x="2163" y="479"/>
                  <a:pt x="2163" y="477"/>
                  <a:pt x="2163" y="477"/>
                </a:cubicBezTo>
                <a:cubicBezTo>
                  <a:pt x="2164" y="476"/>
                  <a:pt x="2164" y="476"/>
                  <a:pt x="2164" y="475"/>
                </a:cubicBezTo>
                <a:cubicBezTo>
                  <a:pt x="2164" y="475"/>
                  <a:pt x="2164" y="474"/>
                  <a:pt x="2164" y="474"/>
                </a:cubicBezTo>
                <a:cubicBezTo>
                  <a:pt x="2164" y="473"/>
                  <a:pt x="2165" y="472"/>
                  <a:pt x="2164" y="472"/>
                </a:cubicBezTo>
                <a:cubicBezTo>
                  <a:pt x="2163" y="471"/>
                  <a:pt x="2163" y="471"/>
                  <a:pt x="2163" y="471"/>
                </a:cubicBezTo>
                <a:cubicBezTo>
                  <a:pt x="2162" y="470"/>
                  <a:pt x="2162" y="470"/>
                  <a:pt x="2162" y="470"/>
                </a:cubicBezTo>
                <a:cubicBezTo>
                  <a:pt x="2161" y="471"/>
                  <a:pt x="2160" y="471"/>
                  <a:pt x="2160" y="470"/>
                </a:cubicBezTo>
                <a:cubicBezTo>
                  <a:pt x="2159" y="470"/>
                  <a:pt x="2159" y="469"/>
                  <a:pt x="2159" y="468"/>
                </a:cubicBezTo>
                <a:cubicBezTo>
                  <a:pt x="2158" y="468"/>
                  <a:pt x="2158" y="469"/>
                  <a:pt x="2158" y="469"/>
                </a:cubicBezTo>
                <a:cubicBezTo>
                  <a:pt x="2158" y="469"/>
                  <a:pt x="2158" y="470"/>
                  <a:pt x="2158" y="470"/>
                </a:cubicBezTo>
                <a:cubicBezTo>
                  <a:pt x="2157" y="470"/>
                  <a:pt x="2157" y="470"/>
                  <a:pt x="2157" y="470"/>
                </a:cubicBezTo>
                <a:cubicBezTo>
                  <a:pt x="2156" y="469"/>
                  <a:pt x="2156" y="469"/>
                  <a:pt x="2155" y="468"/>
                </a:cubicBezTo>
                <a:cubicBezTo>
                  <a:pt x="2155" y="467"/>
                  <a:pt x="2155" y="467"/>
                  <a:pt x="2154" y="466"/>
                </a:cubicBezTo>
                <a:cubicBezTo>
                  <a:pt x="2154" y="466"/>
                  <a:pt x="2154" y="465"/>
                  <a:pt x="2154" y="465"/>
                </a:cubicBezTo>
                <a:cubicBezTo>
                  <a:pt x="2153" y="465"/>
                  <a:pt x="2153" y="465"/>
                  <a:pt x="2153" y="464"/>
                </a:cubicBezTo>
                <a:cubicBezTo>
                  <a:pt x="2153" y="464"/>
                  <a:pt x="2154" y="464"/>
                  <a:pt x="2154" y="464"/>
                </a:cubicBezTo>
                <a:cubicBezTo>
                  <a:pt x="2154" y="465"/>
                  <a:pt x="2155" y="465"/>
                  <a:pt x="2156" y="466"/>
                </a:cubicBezTo>
                <a:cubicBezTo>
                  <a:pt x="2156" y="466"/>
                  <a:pt x="2157" y="466"/>
                  <a:pt x="2158" y="466"/>
                </a:cubicBezTo>
                <a:cubicBezTo>
                  <a:pt x="2159" y="466"/>
                  <a:pt x="2159" y="467"/>
                  <a:pt x="2160" y="468"/>
                </a:cubicBezTo>
                <a:cubicBezTo>
                  <a:pt x="2160" y="468"/>
                  <a:pt x="2161" y="469"/>
                  <a:pt x="2162" y="469"/>
                </a:cubicBezTo>
                <a:cubicBezTo>
                  <a:pt x="2163" y="469"/>
                  <a:pt x="2163" y="469"/>
                  <a:pt x="2164" y="470"/>
                </a:cubicBezTo>
                <a:cubicBezTo>
                  <a:pt x="2165" y="471"/>
                  <a:pt x="2167" y="471"/>
                  <a:pt x="2168" y="472"/>
                </a:cubicBezTo>
                <a:cubicBezTo>
                  <a:pt x="2168" y="473"/>
                  <a:pt x="2168" y="474"/>
                  <a:pt x="2168" y="475"/>
                </a:cubicBezTo>
                <a:cubicBezTo>
                  <a:pt x="2168" y="475"/>
                  <a:pt x="2168" y="476"/>
                  <a:pt x="2168" y="477"/>
                </a:cubicBezTo>
                <a:cubicBezTo>
                  <a:pt x="2168" y="478"/>
                  <a:pt x="2166" y="479"/>
                  <a:pt x="2166" y="479"/>
                </a:cubicBezTo>
                <a:cubicBezTo>
                  <a:pt x="2167" y="480"/>
                  <a:pt x="2167" y="481"/>
                  <a:pt x="2168" y="481"/>
                </a:cubicBezTo>
                <a:cubicBezTo>
                  <a:pt x="2169" y="482"/>
                  <a:pt x="2169" y="483"/>
                  <a:pt x="2169" y="483"/>
                </a:cubicBezTo>
                <a:cubicBezTo>
                  <a:pt x="2170" y="484"/>
                  <a:pt x="2170" y="485"/>
                  <a:pt x="2171" y="485"/>
                </a:cubicBezTo>
                <a:cubicBezTo>
                  <a:pt x="2171" y="486"/>
                  <a:pt x="2172" y="487"/>
                  <a:pt x="2172" y="487"/>
                </a:cubicBezTo>
                <a:cubicBezTo>
                  <a:pt x="2173" y="488"/>
                  <a:pt x="2173" y="489"/>
                  <a:pt x="2174" y="489"/>
                </a:cubicBezTo>
                <a:cubicBezTo>
                  <a:pt x="2174" y="490"/>
                  <a:pt x="2175" y="490"/>
                  <a:pt x="2175" y="491"/>
                </a:cubicBezTo>
                <a:cubicBezTo>
                  <a:pt x="2175" y="492"/>
                  <a:pt x="2174" y="493"/>
                  <a:pt x="2174" y="493"/>
                </a:cubicBezTo>
                <a:cubicBezTo>
                  <a:pt x="2174" y="494"/>
                  <a:pt x="2175" y="494"/>
                  <a:pt x="2175" y="495"/>
                </a:cubicBezTo>
                <a:cubicBezTo>
                  <a:pt x="2175" y="495"/>
                  <a:pt x="2174" y="495"/>
                  <a:pt x="2174" y="496"/>
                </a:cubicBezTo>
                <a:cubicBezTo>
                  <a:pt x="2173" y="496"/>
                  <a:pt x="2173" y="496"/>
                  <a:pt x="2173" y="497"/>
                </a:cubicBezTo>
                <a:cubicBezTo>
                  <a:pt x="2172" y="497"/>
                  <a:pt x="2172" y="497"/>
                  <a:pt x="2171" y="498"/>
                </a:cubicBezTo>
                <a:cubicBezTo>
                  <a:pt x="2171" y="498"/>
                  <a:pt x="2171" y="498"/>
                  <a:pt x="2170" y="499"/>
                </a:cubicBezTo>
                <a:cubicBezTo>
                  <a:pt x="2170" y="499"/>
                  <a:pt x="2169" y="499"/>
                  <a:pt x="2168" y="499"/>
                </a:cubicBezTo>
                <a:cubicBezTo>
                  <a:pt x="2167" y="499"/>
                  <a:pt x="2167" y="499"/>
                  <a:pt x="2166" y="499"/>
                </a:cubicBezTo>
                <a:cubicBezTo>
                  <a:pt x="2165" y="499"/>
                  <a:pt x="2165" y="499"/>
                  <a:pt x="2165" y="498"/>
                </a:cubicBezTo>
                <a:cubicBezTo>
                  <a:pt x="2165" y="498"/>
                  <a:pt x="2165" y="498"/>
                  <a:pt x="2165" y="498"/>
                </a:cubicBezTo>
                <a:cubicBezTo>
                  <a:pt x="2166" y="497"/>
                  <a:pt x="2166" y="497"/>
                  <a:pt x="2167" y="496"/>
                </a:cubicBezTo>
                <a:cubicBezTo>
                  <a:pt x="2167" y="495"/>
                  <a:pt x="2166" y="495"/>
                  <a:pt x="2166" y="494"/>
                </a:cubicBezTo>
                <a:cubicBezTo>
                  <a:pt x="2165" y="494"/>
                  <a:pt x="2165" y="493"/>
                  <a:pt x="2164" y="493"/>
                </a:cubicBezTo>
                <a:cubicBezTo>
                  <a:pt x="2162" y="492"/>
                  <a:pt x="2162" y="490"/>
                  <a:pt x="2160" y="490"/>
                </a:cubicBezTo>
                <a:cubicBezTo>
                  <a:pt x="2160" y="489"/>
                  <a:pt x="2159" y="489"/>
                  <a:pt x="2158" y="488"/>
                </a:cubicBezTo>
                <a:cubicBezTo>
                  <a:pt x="2157" y="488"/>
                  <a:pt x="2157" y="488"/>
                  <a:pt x="2156" y="488"/>
                </a:cubicBezTo>
                <a:cubicBezTo>
                  <a:pt x="2155" y="487"/>
                  <a:pt x="2155" y="487"/>
                  <a:pt x="2155" y="486"/>
                </a:cubicBezTo>
                <a:cubicBezTo>
                  <a:pt x="2154" y="486"/>
                  <a:pt x="2154" y="485"/>
                  <a:pt x="2153" y="485"/>
                </a:cubicBezTo>
                <a:cubicBezTo>
                  <a:pt x="2153" y="484"/>
                  <a:pt x="2151" y="483"/>
                  <a:pt x="2152" y="483"/>
                </a:cubicBezTo>
                <a:cubicBezTo>
                  <a:pt x="2153" y="483"/>
                  <a:pt x="2153" y="484"/>
                  <a:pt x="2154" y="484"/>
                </a:cubicBezTo>
                <a:cubicBezTo>
                  <a:pt x="2154" y="484"/>
                  <a:pt x="2154" y="483"/>
                  <a:pt x="2154" y="482"/>
                </a:cubicBezTo>
                <a:cubicBezTo>
                  <a:pt x="2154" y="482"/>
                  <a:pt x="2154" y="482"/>
                  <a:pt x="2154" y="481"/>
                </a:cubicBezTo>
                <a:cubicBezTo>
                  <a:pt x="2153" y="481"/>
                  <a:pt x="2153" y="480"/>
                  <a:pt x="2153" y="480"/>
                </a:cubicBezTo>
                <a:cubicBezTo>
                  <a:pt x="2153" y="479"/>
                  <a:pt x="2152" y="479"/>
                  <a:pt x="2151" y="479"/>
                </a:cubicBezTo>
                <a:cubicBezTo>
                  <a:pt x="2150" y="478"/>
                  <a:pt x="2151" y="477"/>
                  <a:pt x="2151" y="476"/>
                </a:cubicBezTo>
                <a:cubicBezTo>
                  <a:pt x="2151" y="475"/>
                  <a:pt x="2151" y="475"/>
                  <a:pt x="2150" y="475"/>
                </a:cubicBezTo>
                <a:cubicBezTo>
                  <a:pt x="2150" y="475"/>
                  <a:pt x="2149" y="474"/>
                  <a:pt x="2150" y="474"/>
                </a:cubicBezTo>
                <a:close/>
                <a:moveTo>
                  <a:pt x="2163" y="497"/>
                </a:moveTo>
                <a:cubicBezTo>
                  <a:pt x="2162" y="497"/>
                  <a:pt x="2162" y="497"/>
                  <a:pt x="2162" y="497"/>
                </a:cubicBezTo>
                <a:cubicBezTo>
                  <a:pt x="2162" y="497"/>
                  <a:pt x="2162" y="497"/>
                  <a:pt x="2161" y="498"/>
                </a:cubicBezTo>
                <a:cubicBezTo>
                  <a:pt x="2161" y="498"/>
                  <a:pt x="2160" y="498"/>
                  <a:pt x="2160" y="497"/>
                </a:cubicBezTo>
                <a:cubicBezTo>
                  <a:pt x="2160" y="497"/>
                  <a:pt x="2159" y="496"/>
                  <a:pt x="2159" y="496"/>
                </a:cubicBezTo>
                <a:cubicBezTo>
                  <a:pt x="2158" y="496"/>
                  <a:pt x="2157" y="497"/>
                  <a:pt x="2157" y="496"/>
                </a:cubicBezTo>
                <a:cubicBezTo>
                  <a:pt x="2157" y="496"/>
                  <a:pt x="2157" y="494"/>
                  <a:pt x="2157" y="494"/>
                </a:cubicBezTo>
                <a:cubicBezTo>
                  <a:pt x="2158" y="494"/>
                  <a:pt x="2158" y="494"/>
                  <a:pt x="2158" y="495"/>
                </a:cubicBezTo>
                <a:cubicBezTo>
                  <a:pt x="2158" y="495"/>
                  <a:pt x="2159" y="495"/>
                  <a:pt x="2159" y="495"/>
                </a:cubicBezTo>
                <a:cubicBezTo>
                  <a:pt x="2160" y="495"/>
                  <a:pt x="2160" y="496"/>
                  <a:pt x="2161" y="496"/>
                </a:cubicBezTo>
                <a:cubicBezTo>
                  <a:pt x="2161" y="496"/>
                  <a:pt x="2163" y="496"/>
                  <a:pt x="2163" y="497"/>
                </a:cubicBezTo>
                <a:close/>
                <a:moveTo>
                  <a:pt x="2146" y="729"/>
                </a:moveTo>
                <a:cubicBezTo>
                  <a:pt x="2147" y="730"/>
                  <a:pt x="2148" y="730"/>
                  <a:pt x="2149" y="729"/>
                </a:cubicBezTo>
                <a:cubicBezTo>
                  <a:pt x="2149" y="729"/>
                  <a:pt x="2150" y="730"/>
                  <a:pt x="2150" y="729"/>
                </a:cubicBezTo>
                <a:cubicBezTo>
                  <a:pt x="2149" y="729"/>
                  <a:pt x="2149" y="729"/>
                  <a:pt x="2149" y="728"/>
                </a:cubicBezTo>
                <a:cubicBezTo>
                  <a:pt x="2149" y="728"/>
                  <a:pt x="2150" y="728"/>
                  <a:pt x="2150" y="728"/>
                </a:cubicBezTo>
                <a:cubicBezTo>
                  <a:pt x="2150" y="728"/>
                  <a:pt x="2151" y="728"/>
                  <a:pt x="2151" y="729"/>
                </a:cubicBezTo>
                <a:cubicBezTo>
                  <a:pt x="2151" y="729"/>
                  <a:pt x="2151" y="729"/>
                  <a:pt x="2152" y="730"/>
                </a:cubicBezTo>
                <a:cubicBezTo>
                  <a:pt x="2152" y="730"/>
                  <a:pt x="2153" y="729"/>
                  <a:pt x="2153" y="730"/>
                </a:cubicBezTo>
                <a:cubicBezTo>
                  <a:pt x="2153" y="730"/>
                  <a:pt x="2153" y="730"/>
                  <a:pt x="2153" y="731"/>
                </a:cubicBezTo>
                <a:cubicBezTo>
                  <a:pt x="2153" y="731"/>
                  <a:pt x="2153" y="731"/>
                  <a:pt x="2152" y="731"/>
                </a:cubicBezTo>
                <a:cubicBezTo>
                  <a:pt x="2152" y="731"/>
                  <a:pt x="2152" y="731"/>
                  <a:pt x="2152" y="731"/>
                </a:cubicBezTo>
                <a:cubicBezTo>
                  <a:pt x="2152" y="732"/>
                  <a:pt x="2152" y="732"/>
                  <a:pt x="2152" y="732"/>
                </a:cubicBezTo>
                <a:cubicBezTo>
                  <a:pt x="2152" y="732"/>
                  <a:pt x="2152" y="732"/>
                  <a:pt x="2152" y="732"/>
                </a:cubicBezTo>
                <a:cubicBezTo>
                  <a:pt x="2152" y="732"/>
                  <a:pt x="2153" y="732"/>
                  <a:pt x="2153" y="732"/>
                </a:cubicBezTo>
                <a:cubicBezTo>
                  <a:pt x="2154" y="732"/>
                  <a:pt x="2154" y="732"/>
                  <a:pt x="2154" y="732"/>
                </a:cubicBezTo>
                <a:cubicBezTo>
                  <a:pt x="2155" y="731"/>
                  <a:pt x="2154" y="731"/>
                  <a:pt x="2155" y="730"/>
                </a:cubicBezTo>
                <a:cubicBezTo>
                  <a:pt x="2155" y="729"/>
                  <a:pt x="2156" y="731"/>
                  <a:pt x="2156" y="731"/>
                </a:cubicBezTo>
                <a:cubicBezTo>
                  <a:pt x="2157" y="732"/>
                  <a:pt x="2157" y="732"/>
                  <a:pt x="2157" y="733"/>
                </a:cubicBezTo>
                <a:cubicBezTo>
                  <a:pt x="2157" y="734"/>
                  <a:pt x="2158" y="734"/>
                  <a:pt x="2158" y="735"/>
                </a:cubicBezTo>
                <a:cubicBezTo>
                  <a:pt x="2159" y="735"/>
                  <a:pt x="2159" y="736"/>
                  <a:pt x="2159" y="737"/>
                </a:cubicBezTo>
                <a:cubicBezTo>
                  <a:pt x="2160" y="738"/>
                  <a:pt x="2159" y="737"/>
                  <a:pt x="2159" y="737"/>
                </a:cubicBezTo>
                <a:cubicBezTo>
                  <a:pt x="2158" y="736"/>
                  <a:pt x="2158" y="736"/>
                  <a:pt x="2157" y="735"/>
                </a:cubicBezTo>
                <a:cubicBezTo>
                  <a:pt x="2157" y="735"/>
                  <a:pt x="2156" y="735"/>
                  <a:pt x="2156" y="735"/>
                </a:cubicBezTo>
                <a:cubicBezTo>
                  <a:pt x="2156" y="735"/>
                  <a:pt x="2156" y="734"/>
                  <a:pt x="2156" y="734"/>
                </a:cubicBezTo>
                <a:cubicBezTo>
                  <a:pt x="2156" y="733"/>
                  <a:pt x="2155" y="734"/>
                  <a:pt x="2155" y="734"/>
                </a:cubicBezTo>
                <a:cubicBezTo>
                  <a:pt x="2155" y="735"/>
                  <a:pt x="2154" y="735"/>
                  <a:pt x="2154" y="734"/>
                </a:cubicBezTo>
                <a:cubicBezTo>
                  <a:pt x="2154" y="734"/>
                  <a:pt x="2155" y="733"/>
                  <a:pt x="2155" y="733"/>
                </a:cubicBezTo>
                <a:cubicBezTo>
                  <a:pt x="2154" y="733"/>
                  <a:pt x="2154" y="733"/>
                  <a:pt x="2154" y="733"/>
                </a:cubicBezTo>
                <a:cubicBezTo>
                  <a:pt x="2153" y="733"/>
                  <a:pt x="2153" y="734"/>
                  <a:pt x="2153" y="734"/>
                </a:cubicBezTo>
                <a:cubicBezTo>
                  <a:pt x="2152" y="733"/>
                  <a:pt x="2152" y="733"/>
                  <a:pt x="2152" y="733"/>
                </a:cubicBezTo>
                <a:cubicBezTo>
                  <a:pt x="2151" y="731"/>
                  <a:pt x="2148" y="733"/>
                  <a:pt x="2147" y="732"/>
                </a:cubicBezTo>
                <a:cubicBezTo>
                  <a:pt x="2147" y="732"/>
                  <a:pt x="2147" y="731"/>
                  <a:pt x="2147" y="731"/>
                </a:cubicBezTo>
                <a:cubicBezTo>
                  <a:pt x="2147" y="730"/>
                  <a:pt x="2146" y="730"/>
                  <a:pt x="2146" y="730"/>
                </a:cubicBezTo>
                <a:cubicBezTo>
                  <a:pt x="2145" y="730"/>
                  <a:pt x="2146" y="729"/>
                  <a:pt x="2146" y="729"/>
                </a:cubicBezTo>
                <a:close/>
                <a:moveTo>
                  <a:pt x="2104" y="497"/>
                </a:moveTo>
                <a:cubicBezTo>
                  <a:pt x="2103" y="496"/>
                  <a:pt x="2103" y="496"/>
                  <a:pt x="2102" y="496"/>
                </a:cubicBezTo>
                <a:cubicBezTo>
                  <a:pt x="2101" y="495"/>
                  <a:pt x="2100" y="494"/>
                  <a:pt x="2101" y="493"/>
                </a:cubicBezTo>
                <a:cubicBezTo>
                  <a:pt x="2102" y="492"/>
                  <a:pt x="2102" y="494"/>
                  <a:pt x="2102" y="494"/>
                </a:cubicBezTo>
                <a:cubicBezTo>
                  <a:pt x="2103" y="494"/>
                  <a:pt x="2103" y="493"/>
                  <a:pt x="2103" y="492"/>
                </a:cubicBezTo>
                <a:cubicBezTo>
                  <a:pt x="2104" y="491"/>
                  <a:pt x="2105" y="491"/>
                  <a:pt x="2105" y="490"/>
                </a:cubicBezTo>
                <a:cubicBezTo>
                  <a:pt x="2105" y="490"/>
                  <a:pt x="2104" y="490"/>
                  <a:pt x="2104" y="489"/>
                </a:cubicBezTo>
                <a:cubicBezTo>
                  <a:pt x="2104" y="489"/>
                  <a:pt x="2105" y="489"/>
                  <a:pt x="2105" y="489"/>
                </a:cubicBezTo>
                <a:cubicBezTo>
                  <a:pt x="2106" y="489"/>
                  <a:pt x="2106" y="488"/>
                  <a:pt x="2107" y="489"/>
                </a:cubicBezTo>
                <a:cubicBezTo>
                  <a:pt x="2108" y="489"/>
                  <a:pt x="2109" y="489"/>
                  <a:pt x="2109" y="488"/>
                </a:cubicBezTo>
                <a:cubicBezTo>
                  <a:pt x="2110" y="488"/>
                  <a:pt x="2110" y="487"/>
                  <a:pt x="2110" y="486"/>
                </a:cubicBezTo>
                <a:cubicBezTo>
                  <a:pt x="2111" y="486"/>
                  <a:pt x="2111" y="486"/>
                  <a:pt x="2111" y="485"/>
                </a:cubicBezTo>
                <a:cubicBezTo>
                  <a:pt x="2111" y="484"/>
                  <a:pt x="2112" y="484"/>
                  <a:pt x="2112" y="485"/>
                </a:cubicBezTo>
                <a:cubicBezTo>
                  <a:pt x="2112" y="485"/>
                  <a:pt x="2112" y="485"/>
                  <a:pt x="2113" y="485"/>
                </a:cubicBezTo>
                <a:cubicBezTo>
                  <a:pt x="2114" y="486"/>
                  <a:pt x="2115" y="486"/>
                  <a:pt x="2115" y="487"/>
                </a:cubicBezTo>
                <a:cubicBezTo>
                  <a:pt x="2117" y="488"/>
                  <a:pt x="2118" y="488"/>
                  <a:pt x="2120" y="489"/>
                </a:cubicBezTo>
                <a:cubicBezTo>
                  <a:pt x="2121" y="490"/>
                  <a:pt x="2121" y="490"/>
                  <a:pt x="2122" y="491"/>
                </a:cubicBezTo>
                <a:cubicBezTo>
                  <a:pt x="2123" y="492"/>
                  <a:pt x="2123" y="492"/>
                  <a:pt x="2124" y="492"/>
                </a:cubicBezTo>
                <a:cubicBezTo>
                  <a:pt x="2126" y="493"/>
                  <a:pt x="2127" y="494"/>
                  <a:pt x="2129" y="495"/>
                </a:cubicBezTo>
                <a:cubicBezTo>
                  <a:pt x="2129" y="496"/>
                  <a:pt x="2130" y="497"/>
                  <a:pt x="2130" y="498"/>
                </a:cubicBezTo>
                <a:cubicBezTo>
                  <a:pt x="2131" y="498"/>
                  <a:pt x="2131" y="499"/>
                  <a:pt x="2132" y="500"/>
                </a:cubicBezTo>
                <a:cubicBezTo>
                  <a:pt x="2133" y="500"/>
                  <a:pt x="2133" y="501"/>
                  <a:pt x="2133" y="502"/>
                </a:cubicBezTo>
                <a:cubicBezTo>
                  <a:pt x="2134" y="502"/>
                  <a:pt x="2134" y="503"/>
                  <a:pt x="2135" y="503"/>
                </a:cubicBezTo>
                <a:cubicBezTo>
                  <a:pt x="2135" y="504"/>
                  <a:pt x="2134" y="505"/>
                  <a:pt x="2134" y="506"/>
                </a:cubicBezTo>
                <a:cubicBezTo>
                  <a:pt x="2134" y="506"/>
                  <a:pt x="2134" y="507"/>
                  <a:pt x="2133" y="506"/>
                </a:cubicBezTo>
                <a:cubicBezTo>
                  <a:pt x="2133" y="506"/>
                  <a:pt x="2133" y="506"/>
                  <a:pt x="2132" y="506"/>
                </a:cubicBezTo>
                <a:cubicBezTo>
                  <a:pt x="2131" y="506"/>
                  <a:pt x="2132" y="507"/>
                  <a:pt x="2132" y="508"/>
                </a:cubicBezTo>
                <a:cubicBezTo>
                  <a:pt x="2132" y="509"/>
                  <a:pt x="2132" y="509"/>
                  <a:pt x="2132" y="510"/>
                </a:cubicBezTo>
                <a:cubicBezTo>
                  <a:pt x="2132" y="511"/>
                  <a:pt x="2132" y="512"/>
                  <a:pt x="2131" y="512"/>
                </a:cubicBezTo>
                <a:cubicBezTo>
                  <a:pt x="2130" y="512"/>
                  <a:pt x="2130" y="512"/>
                  <a:pt x="2129" y="512"/>
                </a:cubicBezTo>
                <a:cubicBezTo>
                  <a:pt x="2129" y="512"/>
                  <a:pt x="2129" y="511"/>
                  <a:pt x="2128" y="511"/>
                </a:cubicBezTo>
                <a:cubicBezTo>
                  <a:pt x="2128" y="511"/>
                  <a:pt x="2127" y="511"/>
                  <a:pt x="2126" y="511"/>
                </a:cubicBezTo>
                <a:cubicBezTo>
                  <a:pt x="2125" y="511"/>
                  <a:pt x="2125" y="511"/>
                  <a:pt x="2124" y="511"/>
                </a:cubicBezTo>
                <a:cubicBezTo>
                  <a:pt x="2123" y="511"/>
                  <a:pt x="2122" y="511"/>
                  <a:pt x="2121" y="511"/>
                </a:cubicBezTo>
                <a:cubicBezTo>
                  <a:pt x="2121" y="512"/>
                  <a:pt x="2121" y="512"/>
                  <a:pt x="2121" y="512"/>
                </a:cubicBezTo>
                <a:cubicBezTo>
                  <a:pt x="2121" y="513"/>
                  <a:pt x="2120" y="513"/>
                  <a:pt x="2120" y="513"/>
                </a:cubicBezTo>
                <a:cubicBezTo>
                  <a:pt x="2120" y="514"/>
                  <a:pt x="2120" y="515"/>
                  <a:pt x="2120" y="516"/>
                </a:cubicBezTo>
                <a:cubicBezTo>
                  <a:pt x="2119" y="516"/>
                  <a:pt x="2118" y="517"/>
                  <a:pt x="2118" y="517"/>
                </a:cubicBezTo>
                <a:cubicBezTo>
                  <a:pt x="2117" y="517"/>
                  <a:pt x="2117" y="517"/>
                  <a:pt x="2117" y="516"/>
                </a:cubicBezTo>
                <a:cubicBezTo>
                  <a:pt x="2116" y="516"/>
                  <a:pt x="2116" y="516"/>
                  <a:pt x="2116" y="516"/>
                </a:cubicBezTo>
                <a:cubicBezTo>
                  <a:pt x="2114" y="516"/>
                  <a:pt x="2115" y="515"/>
                  <a:pt x="2115" y="514"/>
                </a:cubicBezTo>
                <a:cubicBezTo>
                  <a:pt x="2115" y="514"/>
                  <a:pt x="2114" y="513"/>
                  <a:pt x="2114" y="513"/>
                </a:cubicBezTo>
                <a:cubicBezTo>
                  <a:pt x="2113" y="512"/>
                  <a:pt x="2113" y="511"/>
                  <a:pt x="2113" y="511"/>
                </a:cubicBezTo>
                <a:cubicBezTo>
                  <a:pt x="2112" y="509"/>
                  <a:pt x="2111" y="508"/>
                  <a:pt x="2110" y="507"/>
                </a:cubicBezTo>
                <a:cubicBezTo>
                  <a:pt x="2110" y="506"/>
                  <a:pt x="2110" y="505"/>
                  <a:pt x="2110" y="505"/>
                </a:cubicBezTo>
                <a:cubicBezTo>
                  <a:pt x="2110" y="504"/>
                  <a:pt x="2109" y="504"/>
                  <a:pt x="2109" y="503"/>
                </a:cubicBezTo>
                <a:cubicBezTo>
                  <a:pt x="2109" y="502"/>
                  <a:pt x="2109" y="502"/>
                  <a:pt x="2108" y="501"/>
                </a:cubicBezTo>
                <a:cubicBezTo>
                  <a:pt x="2108" y="501"/>
                  <a:pt x="2108" y="501"/>
                  <a:pt x="2108" y="501"/>
                </a:cubicBezTo>
                <a:cubicBezTo>
                  <a:pt x="2107" y="500"/>
                  <a:pt x="2107" y="499"/>
                  <a:pt x="2106" y="498"/>
                </a:cubicBezTo>
                <a:cubicBezTo>
                  <a:pt x="2105" y="498"/>
                  <a:pt x="2104" y="498"/>
                  <a:pt x="2104" y="497"/>
                </a:cubicBezTo>
                <a:close/>
                <a:moveTo>
                  <a:pt x="2236" y="791"/>
                </a:moveTo>
                <a:cubicBezTo>
                  <a:pt x="2235" y="792"/>
                  <a:pt x="2235" y="792"/>
                  <a:pt x="2234" y="793"/>
                </a:cubicBezTo>
                <a:cubicBezTo>
                  <a:pt x="2234" y="794"/>
                  <a:pt x="2233" y="794"/>
                  <a:pt x="2233" y="795"/>
                </a:cubicBezTo>
                <a:cubicBezTo>
                  <a:pt x="2232" y="796"/>
                  <a:pt x="2231" y="796"/>
                  <a:pt x="2231" y="796"/>
                </a:cubicBezTo>
                <a:cubicBezTo>
                  <a:pt x="2230" y="797"/>
                  <a:pt x="2229" y="797"/>
                  <a:pt x="2228" y="798"/>
                </a:cubicBezTo>
                <a:cubicBezTo>
                  <a:pt x="2227" y="798"/>
                  <a:pt x="2227" y="799"/>
                  <a:pt x="2226" y="799"/>
                </a:cubicBezTo>
                <a:cubicBezTo>
                  <a:pt x="2225" y="799"/>
                  <a:pt x="2225" y="799"/>
                  <a:pt x="2224" y="800"/>
                </a:cubicBezTo>
                <a:cubicBezTo>
                  <a:pt x="2223" y="800"/>
                  <a:pt x="2223" y="800"/>
                  <a:pt x="2223" y="801"/>
                </a:cubicBezTo>
                <a:cubicBezTo>
                  <a:pt x="2222" y="801"/>
                  <a:pt x="2222" y="801"/>
                  <a:pt x="2222" y="801"/>
                </a:cubicBezTo>
                <a:cubicBezTo>
                  <a:pt x="2221" y="802"/>
                  <a:pt x="2220" y="802"/>
                  <a:pt x="2219" y="802"/>
                </a:cubicBezTo>
                <a:cubicBezTo>
                  <a:pt x="2218" y="802"/>
                  <a:pt x="2217" y="803"/>
                  <a:pt x="2216" y="802"/>
                </a:cubicBezTo>
                <a:cubicBezTo>
                  <a:pt x="2215" y="802"/>
                  <a:pt x="2214" y="802"/>
                  <a:pt x="2214" y="802"/>
                </a:cubicBezTo>
                <a:cubicBezTo>
                  <a:pt x="2213" y="801"/>
                  <a:pt x="2212" y="801"/>
                  <a:pt x="2211" y="801"/>
                </a:cubicBezTo>
                <a:cubicBezTo>
                  <a:pt x="2210" y="800"/>
                  <a:pt x="2210" y="800"/>
                  <a:pt x="2209" y="800"/>
                </a:cubicBezTo>
                <a:cubicBezTo>
                  <a:pt x="2208" y="800"/>
                  <a:pt x="2207" y="800"/>
                  <a:pt x="2206" y="800"/>
                </a:cubicBezTo>
                <a:cubicBezTo>
                  <a:pt x="2205" y="801"/>
                  <a:pt x="2204" y="801"/>
                  <a:pt x="2203" y="802"/>
                </a:cubicBezTo>
                <a:cubicBezTo>
                  <a:pt x="2202" y="802"/>
                  <a:pt x="2202" y="802"/>
                  <a:pt x="2201" y="802"/>
                </a:cubicBezTo>
                <a:cubicBezTo>
                  <a:pt x="2200" y="802"/>
                  <a:pt x="2199" y="802"/>
                  <a:pt x="2198" y="802"/>
                </a:cubicBezTo>
                <a:cubicBezTo>
                  <a:pt x="2197" y="802"/>
                  <a:pt x="2196" y="802"/>
                  <a:pt x="2196" y="802"/>
                </a:cubicBezTo>
                <a:cubicBezTo>
                  <a:pt x="2195" y="802"/>
                  <a:pt x="2194" y="802"/>
                  <a:pt x="2193" y="802"/>
                </a:cubicBezTo>
                <a:cubicBezTo>
                  <a:pt x="2193" y="802"/>
                  <a:pt x="2193" y="802"/>
                  <a:pt x="2192" y="802"/>
                </a:cubicBezTo>
                <a:cubicBezTo>
                  <a:pt x="2192" y="801"/>
                  <a:pt x="2191" y="801"/>
                  <a:pt x="2190" y="801"/>
                </a:cubicBezTo>
                <a:cubicBezTo>
                  <a:pt x="2190" y="801"/>
                  <a:pt x="2189" y="801"/>
                  <a:pt x="2188" y="801"/>
                </a:cubicBezTo>
                <a:cubicBezTo>
                  <a:pt x="2187" y="800"/>
                  <a:pt x="2186" y="801"/>
                  <a:pt x="2185" y="800"/>
                </a:cubicBezTo>
                <a:cubicBezTo>
                  <a:pt x="2184" y="800"/>
                  <a:pt x="2184" y="799"/>
                  <a:pt x="2183" y="799"/>
                </a:cubicBezTo>
                <a:cubicBezTo>
                  <a:pt x="2182" y="798"/>
                  <a:pt x="2180" y="796"/>
                  <a:pt x="2179" y="797"/>
                </a:cubicBezTo>
                <a:cubicBezTo>
                  <a:pt x="2178" y="797"/>
                  <a:pt x="2177" y="797"/>
                  <a:pt x="2176" y="798"/>
                </a:cubicBezTo>
                <a:cubicBezTo>
                  <a:pt x="2176" y="798"/>
                  <a:pt x="2175" y="798"/>
                  <a:pt x="2174" y="797"/>
                </a:cubicBezTo>
                <a:cubicBezTo>
                  <a:pt x="2173" y="797"/>
                  <a:pt x="2173" y="796"/>
                  <a:pt x="2172" y="796"/>
                </a:cubicBezTo>
                <a:cubicBezTo>
                  <a:pt x="2172" y="795"/>
                  <a:pt x="2172" y="794"/>
                  <a:pt x="2171" y="793"/>
                </a:cubicBezTo>
                <a:cubicBezTo>
                  <a:pt x="2171" y="792"/>
                  <a:pt x="2169" y="791"/>
                  <a:pt x="2167" y="792"/>
                </a:cubicBezTo>
                <a:cubicBezTo>
                  <a:pt x="2166" y="793"/>
                  <a:pt x="2164" y="792"/>
                  <a:pt x="2163" y="792"/>
                </a:cubicBezTo>
                <a:cubicBezTo>
                  <a:pt x="2162" y="791"/>
                  <a:pt x="2160" y="790"/>
                  <a:pt x="2160" y="789"/>
                </a:cubicBezTo>
                <a:cubicBezTo>
                  <a:pt x="2160" y="788"/>
                  <a:pt x="2161" y="788"/>
                  <a:pt x="2161" y="787"/>
                </a:cubicBezTo>
                <a:cubicBezTo>
                  <a:pt x="2161" y="787"/>
                  <a:pt x="2160" y="788"/>
                  <a:pt x="2160" y="788"/>
                </a:cubicBezTo>
                <a:cubicBezTo>
                  <a:pt x="2160" y="788"/>
                  <a:pt x="2159" y="788"/>
                  <a:pt x="2159" y="788"/>
                </a:cubicBezTo>
                <a:cubicBezTo>
                  <a:pt x="2158" y="788"/>
                  <a:pt x="2157" y="788"/>
                  <a:pt x="2156" y="788"/>
                </a:cubicBezTo>
                <a:cubicBezTo>
                  <a:pt x="2155" y="788"/>
                  <a:pt x="2154" y="789"/>
                  <a:pt x="2153" y="789"/>
                </a:cubicBezTo>
                <a:cubicBezTo>
                  <a:pt x="2153" y="789"/>
                  <a:pt x="2152" y="788"/>
                  <a:pt x="2152" y="788"/>
                </a:cubicBezTo>
                <a:cubicBezTo>
                  <a:pt x="2151" y="788"/>
                  <a:pt x="2151" y="788"/>
                  <a:pt x="2150" y="788"/>
                </a:cubicBezTo>
                <a:cubicBezTo>
                  <a:pt x="2149" y="788"/>
                  <a:pt x="2148" y="788"/>
                  <a:pt x="2147" y="788"/>
                </a:cubicBezTo>
                <a:cubicBezTo>
                  <a:pt x="2146" y="788"/>
                  <a:pt x="2145" y="788"/>
                  <a:pt x="2144" y="788"/>
                </a:cubicBezTo>
                <a:cubicBezTo>
                  <a:pt x="2142" y="788"/>
                  <a:pt x="2140" y="787"/>
                  <a:pt x="2138" y="788"/>
                </a:cubicBezTo>
                <a:cubicBezTo>
                  <a:pt x="2136" y="789"/>
                  <a:pt x="2135" y="789"/>
                  <a:pt x="2133" y="790"/>
                </a:cubicBezTo>
                <a:cubicBezTo>
                  <a:pt x="2133" y="790"/>
                  <a:pt x="2132" y="790"/>
                  <a:pt x="2131" y="790"/>
                </a:cubicBezTo>
                <a:cubicBezTo>
                  <a:pt x="2130" y="791"/>
                  <a:pt x="2130" y="791"/>
                  <a:pt x="2129" y="791"/>
                </a:cubicBezTo>
                <a:cubicBezTo>
                  <a:pt x="2129" y="792"/>
                  <a:pt x="2128" y="792"/>
                  <a:pt x="2127" y="792"/>
                </a:cubicBezTo>
                <a:cubicBezTo>
                  <a:pt x="2126" y="792"/>
                  <a:pt x="2125" y="793"/>
                  <a:pt x="2125" y="794"/>
                </a:cubicBezTo>
                <a:cubicBezTo>
                  <a:pt x="2124" y="795"/>
                  <a:pt x="2123" y="795"/>
                  <a:pt x="2122" y="796"/>
                </a:cubicBezTo>
                <a:cubicBezTo>
                  <a:pt x="2121" y="796"/>
                  <a:pt x="2120" y="797"/>
                  <a:pt x="2119" y="798"/>
                </a:cubicBezTo>
                <a:cubicBezTo>
                  <a:pt x="2119" y="798"/>
                  <a:pt x="2118" y="799"/>
                  <a:pt x="2118" y="799"/>
                </a:cubicBezTo>
                <a:cubicBezTo>
                  <a:pt x="2117" y="800"/>
                  <a:pt x="2116" y="800"/>
                  <a:pt x="2116" y="800"/>
                </a:cubicBezTo>
                <a:cubicBezTo>
                  <a:pt x="2114" y="800"/>
                  <a:pt x="2112" y="801"/>
                  <a:pt x="2110" y="800"/>
                </a:cubicBezTo>
                <a:cubicBezTo>
                  <a:pt x="2110" y="800"/>
                  <a:pt x="2109" y="799"/>
                  <a:pt x="2108" y="799"/>
                </a:cubicBezTo>
                <a:cubicBezTo>
                  <a:pt x="2108" y="799"/>
                  <a:pt x="2107" y="799"/>
                  <a:pt x="2107" y="799"/>
                </a:cubicBezTo>
                <a:cubicBezTo>
                  <a:pt x="2106" y="799"/>
                  <a:pt x="2106" y="799"/>
                  <a:pt x="2106" y="799"/>
                </a:cubicBezTo>
                <a:cubicBezTo>
                  <a:pt x="2104" y="798"/>
                  <a:pt x="2102" y="799"/>
                  <a:pt x="2101" y="799"/>
                </a:cubicBezTo>
                <a:cubicBezTo>
                  <a:pt x="2100" y="799"/>
                  <a:pt x="2100" y="800"/>
                  <a:pt x="2099" y="800"/>
                </a:cubicBezTo>
                <a:cubicBezTo>
                  <a:pt x="2098" y="800"/>
                  <a:pt x="2098" y="799"/>
                  <a:pt x="2097" y="799"/>
                </a:cubicBezTo>
                <a:cubicBezTo>
                  <a:pt x="2096" y="799"/>
                  <a:pt x="2095" y="798"/>
                  <a:pt x="2095" y="798"/>
                </a:cubicBezTo>
                <a:cubicBezTo>
                  <a:pt x="2094" y="798"/>
                  <a:pt x="2093" y="798"/>
                  <a:pt x="2092" y="798"/>
                </a:cubicBezTo>
                <a:cubicBezTo>
                  <a:pt x="2091" y="798"/>
                  <a:pt x="2090" y="798"/>
                  <a:pt x="2089" y="797"/>
                </a:cubicBezTo>
                <a:cubicBezTo>
                  <a:pt x="2088" y="797"/>
                  <a:pt x="2086" y="797"/>
                  <a:pt x="2084" y="796"/>
                </a:cubicBezTo>
                <a:cubicBezTo>
                  <a:pt x="2084" y="795"/>
                  <a:pt x="2083" y="795"/>
                  <a:pt x="2082" y="794"/>
                </a:cubicBezTo>
                <a:cubicBezTo>
                  <a:pt x="2082" y="794"/>
                  <a:pt x="2081" y="794"/>
                  <a:pt x="2080" y="793"/>
                </a:cubicBezTo>
                <a:cubicBezTo>
                  <a:pt x="2079" y="791"/>
                  <a:pt x="2079" y="790"/>
                  <a:pt x="2079" y="788"/>
                </a:cubicBezTo>
                <a:cubicBezTo>
                  <a:pt x="2079" y="787"/>
                  <a:pt x="2077" y="786"/>
                  <a:pt x="2077" y="784"/>
                </a:cubicBezTo>
                <a:cubicBezTo>
                  <a:pt x="2076" y="784"/>
                  <a:pt x="2076" y="783"/>
                  <a:pt x="2076" y="782"/>
                </a:cubicBezTo>
                <a:cubicBezTo>
                  <a:pt x="2075" y="782"/>
                  <a:pt x="2075" y="782"/>
                  <a:pt x="2074" y="782"/>
                </a:cubicBezTo>
                <a:cubicBezTo>
                  <a:pt x="2073" y="781"/>
                  <a:pt x="2074" y="780"/>
                  <a:pt x="2075" y="780"/>
                </a:cubicBezTo>
                <a:cubicBezTo>
                  <a:pt x="2075" y="780"/>
                  <a:pt x="2076" y="780"/>
                  <a:pt x="2076" y="779"/>
                </a:cubicBezTo>
                <a:cubicBezTo>
                  <a:pt x="2077" y="779"/>
                  <a:pt x="2077" y="779"/>
                  <a:pt x="2077" y="778"/>
                </a:cubicBezTo>
                <a:cubicBezTo>
                  <a:pt x="2078" y="778"/>
                  <a:pt x="2078" y="777"/>
                  <a:pt x="2078" y="776"/>
                </a:cubicBezTo>
                <a:cubicBezTo>
                  <a:pt x="2078" y="775"/>
                  <a:pt x="2078" y="775"/>
                  <a:pt x="2078" y="774"/>
                </a:cubicBezTo>
                <a:cubicBezTo>
                  <a:pt x="2078" y="774"/>
                  <a:pt x="2078" y="773"/>
                  <a:pt x="2078" y="772"/>
                </a:cubicBezTo>
                <a:cubicBezTo>
                  <a:pt x="2079" y="771"/>
                  <a:pt x="2079" y="771"/>
                  <a:pt x="2080" y="770"/>
                </a:cubicBezTo>
                <a:cubicBezTo>
                  <a:pt x="2080" y="770"/>
                  <a:pt x="2081" y="770"/>
                  <a:pt x="2081" y="770"/>
                </a:cubicBezTo>
                <a:cubicBezTo>
                  <a:pt x="2081" y="770"/>
                  <a:pt x="2082" y="769"/>
                  <a:pt x="2082" y="769"/>
                </a:cubicBezTo>
                <a:cubicBezTo>
                  <a:pt x="2082" y="769"/>
                  <a:pt x="2083" y="768"/>
                  <a:pt x="2084" y="769"/>
                </a:cubicBezTo>
                <a:cubicBezTo>
                  <a:pt x="2084" y="769"/>
                  <a:pt x="2084" y="769"/>
                  <a:pt x="2084" y="769"/>
                </a:cubicBezTo>
                <a:cubicBezTo>
                  <a:pt x="2085" y="769"/>
                  <a:pt x="2085" y="769"/>
                  <a:pt x="2085" y="768"/>
                </a:cubicBezTo>
                <a:cubicBezTo>
                  <a:pt x="2085" y="768"/>
                  <a:pt x="2085" y="767"/>
                  <a:pt x="2086" y="766"/>
                </a:cubicBezTo>
                <a:cubicBezTo>
                  <a:pt x="2086" y="765"/>
                  <a:pt x="2086" y="764"/>
                  <a:pt x="2086" y="763"/>
                </a:cubicBezTo>
                <a:cubicBezTo>
                  <a:pt x="2086" y="762"/>
                  <a:pt x="2086" y="761"/>
                  <a:pt x="2086" y="760"/>
                </a:cubicBezTo>
                <a:cubicBezTo>
                  <a:pt x="2086" y="759"/>
                  <a:pt x="2086" y="758"/>
                  <a:pt x="2086" y="757"/>
                </a:cubicBezTo>
                <a:cubicBezTo>
                  <a:pt x="2087" y="756"/>
                  <a:pt x="2087" y="754"/>
                  <a:pt x="2089" y="753"/>
                </a:cubicBezTo>
                <a:cubicBezTo>
                  <a:pt x="2089" y="753"/>
                  <a:pt x="2089" y="752"/>
                  <a:pt x="2089" y="752"/>
                </a:cubicBezTo>
                <a:cubicBezTo>
                  <a:pt x="2089" y="752"/>
                  <a:pt x="2089" y="752"/>
                  <a:pt x="2089" y="752"/>
                </a:cubicBezTo>
                <a:cubicBezTo>
                  <a:pt x="2088" y="752"/>
                  <a:pt x="2088" y="753"/>
                  <a:pt x="2088" y="752"/>
                </a:cubicBezTo>
                <a:cubicBezTo>
                  <a:pt x="2088" y="752"/>
                  <a:pt x="2088" y="752"/>
                  <a:pt x="2089" y="751"/>
                </a:cubicBezTo>
                <a:cubicBezTo>
                  <a:pt x="2089" y="751"/>
                  <a:pt x="2090" y="751"/>
                  <a:pt x="2090" y="750"/>
                </a:cubicBezTo>
                <a:cubicBezTo>
                  <a:pt x="2090" y="750"/>
                  <a:pt x="2090" y="750"/>
                  <a:pt x="2090" y="750"/>
                </a:cubicBezTo>
                <a:cubicBezTo>
                  <a:pt x="2089" y="751"/>
                  <a:pt x="2089" y="751"/>
                  <a:pt x="2089" y="751"/>
                </a:cubicBezTo>
                <a:cubicBezTo>
                  <a:pt x="2088" y="751"/>
                  <a:pt x="2088" y="751"/>
                  <a:pt x="2088" y="750"/>
                </a:cubicBezTo>
                <a:cubicBezTo>
                  <a:pt x="2088" y="750"/>
                  <a:pt x="2089" y="750"/>
                  <a:pt x="2089" y="749"/>
                </a:cubicBezTo>
                <a:cubicBezTo>
                  <a:pt x="2089" y="749"/>
                  <a:pt x="2089" y="749"/>
                  <a:pt x="2089" y="748"/>
                </a:cubicBezTo>
                <a:cubicBezTo>
                  <a:pt x="2089" y="748"/>
                  <a:pt x="2089" y="748"/>
                  <a:pt x="2090" y="747"/>
                </a:cubicBezTo>
                <a:cubicBezTo>
                  <a:pt x="2090" y="747"/>
                  <a:pt x="2090" y="747"/>
                  <a:pt x="2090" y="747"/>
                </a:cubicBezTo>
                <a:cubicBezTo>
                  <a:pt x="2091" y="746"/>
                  <a:pt x="2091" y="746"/>
                  <a:pt x="2091" y="746"/>
                </a:cubicBezTo>
                <a:cubicBezTo>
                  <a:pt x="2091" y="746"/>
                  <a:pt x="2092" y="747"/>
                  <a:pt x="2092" y="747"/>
                </a:cubicBezTo>
                <a:cubicBezTo>
                  <a:pt x="2092" y="747"/>
                  <a:pt x="2091" y="747"/>
                  <a:pt x="2091" y="748"/>
                </a:cubicBezTo>
                <a:cubicBezTo>
                  <a:pt x="2091" y="748"/>
                  <a:pt x="2091" y="748"/>
                  <a:pt x="2092" y="748"/>
                </a:cubicBezTo>
                <a:cubicBezTo>
                  <a:pt x="2092" y="748"/>
                  <a:pt x="2092" y="748"/>
                  <a:pt x="2093" y="748"/>
                </a:cubicBezTo>
                <a:cubicBezTo>
                  <a:pt x="2093" y="749"/>
                  <a:pt x="2093" y="748"/>
                  <a:pt x="2094" y="748"/>
                </a:cubicBezTo>
                <a:cubicBezTo>
                  <a:pt x="2094" y="748"/>
                  <a:pt x="2095" y="749"/>
                  <a:pt x="2095" y="749"/>
                </a:cubicBezTo>
                <a:cubicBezTo>
                  <a:pt x="2096" y="749"/>
                  <a:pt x="2097" y="749"/>
                  <a:pt x="2097" y="748"/>
                </a:cubicBezTo>
                <a:cubicBezTo>
                  <a:pt x="2098" y="748"/>
                  <a:pt x="2098" y="747"/>
                  <a:pt x="2098" y="747"/>
                </a:cubicBezTo>
                <a:cubicBezTo>
                  <a:pt x="2098" y="746"/>
                  <a:pt x="2098" y="746"/>
                  <a:pt x="2098" y="746"/>
                </a:cubicBezTo>
                <a:cubicBezTo>
                  <a:pt x="2099" y="744"/>
                  <a:pt x="2098" y="743"/>
                  <a:pt x="2099" y="742"/>
                </a:cubicBezTo>
                <a:cubicBezTo>
                  <a:pt x="2099" y="741"/>
                  <a:pt x="2099" y="740"/>
                  <a:pt x="2099" y="739"/>
                </a:cubicBezTo>
                <a:cubicBezTo>
                  <a:pt x="2099" y="739"/>
                  <a:pt x="2099" y="739"/>
                  <a:pt x="2099" y="738"/>
                </a:cubicBezTo>
                <a:cubicBezTo>
                  <a:pt x="2098" y="738"/>
                  <a:pt x="2098" y="738"/>
                  <a:pt x="2098" y="737"/>
                </a:cubicBezTo>
                <a:cubicBezTo>
                  <a:pt x="2098" y="736"/>
                  <a:pt x="2099" y="736"/>
                  <a:pt x="2099" y="736"/>
                </a:cubicBezTo>
                <a:cubicBezTo>
                  <a:pt x="2101" y="736"/>
                  <a:pt x="2101" y="735"/>
                  <a:pt x="2101" y="734"/>
                </a:cubicBezTo>
                <a:cubicBezTo>
                  <a:pt x="2102" y="734"/>
                  <a:pt x="2103" y="734"/>
                  <a:pt x="2104" y="734"/>
                </a:cubicBezTo>
                <a:cubicBezTo>
                  <a:pt x="2105" y="734"/>
                  <a:pt x="2105" y="733"/>
                  <a:pt x="2106" y="733"/>
                </a:cubicBezTo>
                <a:cubicBezTo>
                  <a:pt x="2106" y="732"/>
                  <a:pt x="2106" y="732"/>
                  <a:pt x="2106" y="732"/>
                </a:cubicBezTo>
                <a:cubicBezTo>
                  <a:pt x="2107" y="732"/>
                  <a:pt x="2107" y="732"/>
                  <a:pt x="2107" y="731"/>
                </a:cubicBezTo>
                <a:cubicBezTo>
                  <a:pt x="2107" y="731"/>
                  <a:pt x="2107" y="731"/>
                  <a:pt x="2106" y="731"/>
                </a:cubicBezTo>
                <a:cubicBezTo>
                  <a:pt x="2106" y="730"/>
                  <a:pt x="2106" y="730"/>
                  <a:pt x="2105" y="729"/>
                </a:cubicBezTo>
                <a:cubicBezTo>
                  <a:pt x="2105" y="728"/>
                  <a:pt x="2104" y="728"/>
                  <a:pt x="2104" y="728"/>
                </a:cubicBezTo>
                <a:cubicBezTo>
                  <a:pt x="2103" y="727"/>
                  <a:pt x="2103" y="727"/>
                  <a:pt x="2104" y="727"/>
                </a:cubicBezTo>
                <a:cubicBezTo>
                  <a:pt x="2104" y="726"/>
                  <a:pt x="2104" y="727"/>
                  <a:pt x="2105" y="727"/>
                </a:cubicBezTo>
                <a:cubicBezTo>
                  <a:pt x="2105" y="727"/>
                  <a:pt x="2105" y="727"/>
                  <a:pt x="2105" y="728"/>
                </a:cubicBezTo>
                <a:cubicBezTo>
                  <a:pt x="2106" y="728"/>
                  <a:pt x="2106" y="728"/>
                  <a:pt x="2106" y="728"/>
                </a:cubicBezTo>
                <a:cubicBezTo>
                  <a:pt x="2106" y="729"/>
                  <a:pt x="2107" y="729"/>
                  <a:pt x="2107" y="729"/>
                </a:cubicBezTo>
                <a:cubicBezTo>
                  <a:pt x="2108" y="728"/>
                  <a:pt x="2108" y="728"/>
                  <a:pt x="2108" y="727"/>
                </a:cubicBezTo>
                <a:cubicBezTo>
                  <a:pt x="2108" y="726"/>
                  <a:pt x="2110" y="725"/>
                  <a:pt x="2111" y="725"/>
                </a:cubicBezTo>
                <a:cubicBezTo>
                  <a:pt x="2112" y="724"/>
                  <a:pt x="2113" y="723"/>
                  <a:pt x="2115" y="723"/>
                </a:cubicBezTo>
                <a:cubicBezTo>
                  <a:pt x="2116" y="723"/>
                  <a:pt x="2117" y="724"/>
                  <a:pt x="2117" y="723"/>
                </a:cubicBezTo>
                <a:cubicBezTo>
                  <a:pt x="2118" y="723"/>
                  <a:pt x="2118" y="722"/>
                  <a:pt x="2119" y="722"/>
                </a:cubicBezTo>
                <a:cubicBezTo>
                  <a:pt x="2120" y="721"/>
                  <a:pt x="2120" y="722"/>
                  <a:pt x="2121" y="722"/>
                </a:cubicBezTo>
                <a:cubicBezTo>
                  <a:pt x="2121" y="722"/>
                  <a:pt x="2121" y="722"/>
                  <a:pt x="2122" y="722"/>
                </a:cubicBezTo>
                <a:cubicBezTo>
                  <a:pt x="2122" y="722"/>
                  <a:pt x="2122" y="723"/>
                  <a:pt x="2123" y="723"/>
                </a:cubicBezTo>
                <a:cubicBezTo>
                  <a:pt x="2125" y="723"/>
                  <a:pt x="2123" y="720"/>
                  <a:pt x="2124" y="720"/>
                </a:cubicBezTo>
                <a:cubicBezTo>
                  <a:pt x="2125" y="720"/>
                  <a:pt x="2124" y="721"/>
                  <a:pt x="2125" y="722"/>
                </a:cubicBezTo>
                <a:cubicBezTo>
                  <a:pt x="2125" y="722"/>
                  <a:pt x="2125" y="722"/>
                  <a:pt x="2125" y="723"/>
                </a:cubicBezTo>
                <a:cubicBezTo>
                  <a:pt x="2126" y="723"/>
                  <a:pt x="2126" y="723"/>
                  <a:pt x="2126" y="724"/>
                </a:cubicBezTo>
                <a:cubicBezTo>
                  <a:pt x="2127" y="724"/>
                  <a:pt x="2128" y="724"/>
                  <a:pt x="2129" y="724"/>
                </a:cubicBezTo>
                <a:cubicBezTo>
                  <a:pt x="2129" y="724"/>
                  <a:pt x="2129" y="724"/>
                  <a:pt x="2130" y="724"/>
                </a:cubicBezTo>
                <a:cubicBezTo>
                  <a:pt x="2130" y="723"/>
                  <a:pt x="2131" y="723"/>
                  <a:pt x="2130" y="724"/>
                </a:cubicBezTo>
                <a:cubicBezTo>
                  <a:pt x="2130" y="725"/>
                  <a:pt x="2130" y="725"/>
                  <a:pt x="2130" y="725"/>
                </a:cubicBezTo>
                <a:cubicBezTo>
                  <a:pt x="2129" y="725"/>
                  <a:pt x="2129" y="725"/>
                  <a:pt x="2128" y="725"/>
                </a:cubicBezTo>
                <a:cubicBezTo>
                  <a:pt x="2128" y="726"/>
                  <a:pt x="2127" y="725"/>
                  <a:pt x="2126" y="725"/>
                </a:cubicBezTo>
                <a:cubicBezTo>
                  <a:pt x="2125" y="725"/>
                  <a:pt x="2124" y="725"/>
                  <a:pt x="2124" y="724"/>
                </a:cubicBezTo>
                <a:cubicBezTo>
                  <a:pt x="2123" y="724"/>
                  <a:pt x="2122" y="724"/>
                  <a:pt x="2121" y="724"/>
                </a:cubicBezTo>
                <a:cubicBezTo>
                  <a:pt x="2121" y="724"/>
                  <a:pt x="2119" y="723"/>
                  <a:pt x="2119" y="723"/>
                </a:cubicBezTo>
                <a:cubicBezTo>
                  <a:pt x="2119" y="724"/>
                  <a:pt x="2119" y="724"/>
                  <a:pt x="2120" y="724"/>
                </a:cubicBezTo>
                <a:cubicBezTo>
                  <a:pt x="2120" y="724"/>
                  <a:pt x="2120" y="725"/>
                  <a:pt x="2120" y="725"/>
                </a:cubicBezTo>
                <a:cubicBezTo>
                  <a:pt x="2120" y="725"/>
                  <a:pt x="2121" y="725"/>
                  <a:pt x="2121" y="725"/>
                </a:cubicBezTo>
                <a:cubicBezTo>
                  <a:pt x="2122" y="725"/>
                  <a:pt x="2122" y="725"/>
                  <a:pt x="2122" y="726"/>
                </a:cubicBezTo>
                <a:cubicBezTo>
                  <a:pt x="2123" y="726"/>
                  <a:pt x="2124" y="727"/>
                  <a:pt x="2123" y="727"/>
                </a:cubicBezTo>
                <a:cubicBezTo>
                  <a:pt x="2123" y="727"/>
                  <a:pt x="2123" y="727"/>
                  <a:pt x="2122" y="727"/>
                </a:cubicBezTo>
                <a:cubicBezTo>
                  <a:pt x="2122" y="727"/>
                  <a:pt x="2121" y="728"/>
                  <a:pt x="2121" y="727"/>
                </a:cubicBezTo>
                <a:cubicBezTo>
                  <a:pt x="2121" y="727"/>
                  <a:pt x="2120" y="727"/>
                  <a:pt x="2120" y="727"/>
                </a:cubicBezTo>
                <a:cubicBezTo>
                  <a:pt x="2120" y="727"/>
                  <a:pt x="2119" y="726"/>
                  <a:pt x="2119" y="726"/>
                </a:cubicBezTo>
                <a:cubicBezTo>
                  <a:pt x="2118" y="726"/>
                  <a:pt x="2119" y="727"/>
                  <a:pt x="2119" y="727"/>
                </a:cubicBezTo>
                <a:cubicBezTo>
                  <a:pt x="2119" y="727"/>
                  <a:pt x="2120" y="727"/>
                  <a:pt x="2120" y="728"/>
                </a:cubicBezTo>
                <a:cubicBezTo>
                  <a:pt x="2120" y="729"/>
                  <a:pt x="2121" y="729"/>
                  <a:pt x="2122" y="729"/>
                </a:cubicBezTo>
                <a:cubicBezTo>
                  <a:pt x="2123" y="729"/>
                  <a:pt x="2123" y="730"/>
                  <a:pt x="2124" y="729"/>
                </a:cubicBezTo>
                <a:cubicBezTo>
                  <a:pt x="2125" y="729"/>
                  <a:pt x="2125" y="729"/>
                  <a:pt x="2126" y="729"/>
                </a:cubicBezTo>
                <a:cubicBezTo>
                  <a:pt x="2127" y="729"/>
                  <a:pt x="2127" y="730"/>
                  <a:pt x="2128" y="730"/>
                </a:cubicBezTo>
                <a:cubicBezTo>
                  <a:pt x="2128" y="730"/>
                  <a:pt x="2129" y="731"/>
                  <a:pt x="2130" y="731"/>
                </a:cubicBezTo>
                <a:cubicBezTo>
                  <a:pt x="2130" y="731"/>
                  <a:pt x="2131" y="731"/>
                  <a:pt x="2132" y="731"/>
                </a:cubicBezTo>
                <a:cubicBezTo>
                  <a:pt x="2134" y="730"/>
                  <a:pt x="2136" y="730"/>
                  <a:pt x="2137" y="729"/>
                </a:cubicBezTo>
                <a:cubicBezTo>
                  <a:pt x="2138" y="729"/>
                  <a:pt x="2139" y="730"/>
                  <a:pt x="2139" y="730"/>
                </a:cubicBezTo>
                <a:cubicBezTo>
                  <a:pt x="2139" y="731"/>
                  <a:pt x="2140" y="731"/>
                  <a:pt x="2141" y="731"/>
                </a:cubicBezTo>
                <a:cubicBezTo>
                  <a:pt x="2141" y="731"/>
                  <a:pt x="2142" y="731"/>
                  <a:pt x="2142" y="731"/>
                </a:cubicBezTo>
                <a:cubicBezTo>
                  <a:pt x="2142" y="731"/>
                  <a:pt x="2143" y="731"/>
                  <a:pt x="2143" y="731"/>
                </a:cubicBezTo>
                <a:cubicBezTo>
                  <a:pt x="2144" y="731"/>
                  <a:pt x="2143" y="732"/>
                  <a:pt x="2143" y="732"/>
                </a:cubicBezTo>
                <a:cubicBezTo>
                  <a:pt x="2143" y="733"/>
                  <a:pt x="2143" y="733"/>
                  <a:pt x="2144" y="733"/>
                </a:cubicBezTo>
                <a:cubicBezTo>
                  <a:pt x="2144" y="735"/>
                  <a:pt x="2142" y="734"/>
                  <a:pt x="2142" y="734"/>
                </a:cubicBezTo>
                <a:cubicBezTo>
                  <a:pt x="2141" y="734"/>
                  <a:pt x="2141" y="734"/>
                  <a:pt x="2140" y="735"/>
                </a:cubicBezTo>
                <a:cubicBezTo>
                  <a:pt x="2140" y="735"/>
                  <a:pt x="2140" y="735"/>
                  <a:pt x="2139" y="736"/>
                </a:cubicBezTo>
                <a:cubicBezTo>
                  <a:pt x="2139" y="736"/>
                  <a:pt x="2138" y="736"/>
                  <a:pt x="2137" y="736"/>
                </a:cubicBezTo>
                <a:cubicBezTo>
                  <a:pt x="2136" y="736"/>
                  <a:pt x="2135" y="737"/>
                  <a:pt x="2135" y="737"/>
                </a:cubicBezTo>
                <a:cubicBezTo>
                  <a:pt x="2134" y="738"/>
                  <a:pt x="2134" y="739"/>
                  <a:pt x="2133" y="739"/>
                </a:cubicBezTo>
                <a:cubicBezTo>
                  <a:pt x="2132" y="739"/>
                  <a:pt x="2131" y="739"/>
                  <a:pt x="2131" y="740"/>
                </a:cubicBezTo>
                <a:cubicBezTo>
                  <a:pt x="2130" y="740"/>
                  <a:pt x="2131" y="741"/>
                  <a:pt x="2131" y="741"/>
                </a:cubicBezTo>
                <a:cubicBezTo>
                  <a:pt x="2132" y="742"/>
                  <a:pt x="2132" y="742"/>
                  <a:pt x="2132" y="742"/>
                </a:cubicBezTo>
                <a:cubicBezTo>
                  <a:pt x="2132" y="742"/>
                  <a:pt x="2133" y="743"/>
                  <a:pt x="2133" y="743"/>
                </a:cubicBezTo>
                <a:cubicBezTo>
                  <a:pt x="2134" y="743"/>
                  <a:pt x="2135" y="743"/>
                  <a:pt x="2136" y="743"/>
                </a:cubicBezTo>
                <a:cubicBezTo>
                  <a:pt x="2136" y="743"/>
                  <a:pt x="2136" y="743"/>
                  <a:pt x="2137" y="743"/>
                </a:cubicBezTo>
                <a:cubicBezTo>
                  <a:pt x="2137" y="744"/>
                  <a:pt x="2138" y="744"/>
                  <a:pt x="2138" y="744"/>
                </a:cubicBezTo>
                <a:cubicBezTo>
                  <a:pt x="2139" y="744"/>
                  <a:pt x="2140" y="744"/>
                  <a:pt x="2140" y="744"/>
                </a:cubicBezTo>
                <a:cubicBezTo>
                  <a:pt x="2141" y="744"/>
                  <a:pt x="2142" y="744"/>
                  <a:pt x="2142" y="745"/>
                </a:cubicBezTo>
                <a:cubicBezTo>
                  <a:pt x="2143" y="746"/>
                  <a:pt x="2143" y="747"/>
                  <a:pt x="2143" y="748"/>
                </a:cubicBezTo>
                <a:cubicBezTo>
                  <a:pt x="2143" y="748"/>
                  <a:pt x="2143" y="748"/>
                  <a:pt x="2142" y="749"/>
                </a:cubicBezTo>
                <a:cubicBezTo>
                  <a:pt x="2142" y="749"/>
                  <a:pt x="2142" y="750"/>
                  <a:pt x="2142" y="750"/>
                </a:cubicBezTo>
                <a:cubicBezTo>
                  <a:pt x="2142" y="751"/>
                  <a:pt x="2142" y="752"/>
                  <a:pt x="2141" y="752"/>
                </a:cubicBezTo>
                <a:cubicBezTo>
                  <a:pt x="2140" y="752"/>
                  <a:pt x="2140" y="753"/>
                  <a:pt x="2141" y="753"/>
                </a:cubicBezTo>
                <a:cubicBezTo>
                  <a:pt x="2141" y="753"/>
                  <a:pt x="2141" y="753"/>
                  <a:pt x="2142" y="753"/>
                </a:cubicBezTo>
                <a:cubicBezTo>
                  <a:pt x="2142" y="753"/>
                  <a:pt x="2142" y="753"/>
                  <a:pt x="2142" y="754"/>
                </a:cubicBezTo>
                <a:cubicBezTo>
                  <a:pt x="2143" y="755"/>
                  <a:pt x="2145" y="755"/>
                  <a:pt x="2146" y="754"/>
                </a:cubicBezTo>
                <a:cubicBezTo>
                  <a:pt x="2146" y="754"/>
                  <a:pt x="2147" y="754"/>
                  <a:pt x="2147" y="753"/>
                </a:cubicBezTo>
                <a:cubicBezTo>
                  <a:pt x="2148" y="753"/>
                  <a:pt x="2149" y="753"/>
                  <a:pt x="2149" y="753"/>
                </a:cubicBezTo>
                <a:cubicBezTo>
                  <a:pt x="2150" y="752"/>
                  <a:pt x="2151" y="752"/>
                  <a:pt x="2152" y="751"/>
                </a:cubicBezTo>
                <a:cubicBezTo>
                  <a:pt x="2153" y="751"/>
                  <a:pt x="2153" y="750"/>
                  <a:pt x="2154" y="750"/>
                </a:cubicBezTo>
                <a:cubicBezTo>
                  <a:pt x="2155" y="750"/>
                  <a:pt x="2156" y="750"/>
                  <a:pt x="2156" y="749"/>
                </a:cubicBezTo>
                <a:cubicBezTo>
                  <a:pt x="2157" y="749"/>
                  <a:pt x="2158" y="748"/>
                  <a:pt x="2159" y="748"/>
                </a:cubicBezTo>
                <a:cubicBezTo>
                  <a:pt x="2159" y="747"/>
                  <a:pt x="2160" y="747"/>
                  <a:pt x="2161" y="747"/>
                </a:cubicBezTo>
                <a:cubicBezTo>
                  <a:pt x="2162" y="747"/>
                  <a:pt x="2163" y="745"/>
                  <a:pt x="2165" y="745"/>
                </a:cubicBezTo>
                <a:cubicBezTo>
                  <a:pt x="2166" y="745"/>
                  <a:pt x="2166" y="745"/>
                  <a:pt x="2167" y="745"/>
                </a:cubicBezTo>
                <a:cubicBezTo>
                  <a:pt x="2167" y="746"/>
                  <a:pt x="2168" y="746"/>
                  <a:pt x="2168" y="746"/>
                </a:cubicBezTo>
                <a:cubicBezTo>
                  <a:pt x="2168" y="746"/>
                  <a:pt x="2169" y="746"/>
                  <a:pt x="2169" y="746"/>
                </a:cubicBezTo>
                <a:cubicBezTo>
                  <a:pt x="2170" y="747"/>
                  <a:pt x="2171" y="746"/>
                  <a:pt x="2172" y="746"/>
                </a:cubicBezTo>
                <a:cubicBezTo>
                  <a:pt x="2172" y="746"/>
                  <a:pt x="2173" y="746"/>
                  <a:pt x="2173" y="746"/>
                </a:cubicBezTo>
                <a:cubicBezTo>
                  <a:pt x="2174" y="746"/>
                  <a:pt x="2175" y="746"/>
                  <a:pt x="2175" y="745"/>
                </a:cubicBezTo>
                <a:cubicBezTo>
                  <a:pt x="2175" y="744"/>
                  <a:pt x="2175" y="744"/>
                  <a:pt x="2175" y="744"/>
                </a:cubicBezTo>
                <a:cubicBezTo>
                  <a:pt x="2175" y="743"/>
                  <a:pt x="2175" y="743"/>
                  <a:pt x="2176" y="743"/>
                </a:cubicBezTo>
                <a:cubicBezTo>
                  <a:pt x="2176" y="742"/>
                  <a:pt x="2176" y="742"/>
                  <a:pt x="2176" y="742"/>
                </a:cubicBezTo>
                <a:cubicBezTo>
                  <a:pt x="2177" y="741"/>
                  <a:pt x="2177" y="742"/>
                  <a:pt x="2178" y="741"/>
                </a:cubicBezTo>
                <a:cubicBezTo>
                  <a:pt x="2178" y="741"/>
                  <a:pt x="2178" y="741"/>
                  <a:pt x="2178" y="741"/>
                </a:cubicBezTo>
                <a:cubicBezTo>
                  <a:pt x="2178" y="741"/>
                  <a:pt x="2177" y="741"/>
                  <a:pt x="2177" y="741"/>
                </a:cubicBezTo>
                <a:cubicBezTo>
                  <a:pt x="2176" y="741"/>
                  <a:pt x="2175" y="741"/>
                  <a:pt x="2174" y="741"/>
                </a:cubicBezTo>
                <a:cubicBezTo>
                  <a:pt x="2173" y="741"/>
                  <a:pt x="2172" y="741"/>
                  <a:pt x="2172" y="741"/>
                </a:cubicBezTo>
                <a:cubicBezTo>
                  <a:pt x="2171" y="741"/>
                  <a:pt x="2170" y="741"/>
                  <a:pt x="2169" y="741"/>
                </a:cubicBezTo>
                <a:cubicBezTo>
                  <a:pt x="2168" y="741"/>
                  <a:pt x="2168" y="741"/>
                  <a:pt x="2167" y="741"/>
                </a:cubicBezTo>
                <a:cubicBezTo>
                  <a:pt x="2166" y="741"/>
                  <a:pt x="2165" y="742"/>
                  <a:pt x="2165" y="742"/>
                </a:cubicBezTo>
                <a:cubicBezTo>
                  <a:pt x="2164" y="742"/>
                  <a:pt x="2164" y="741"/>
                  <a:pt x="2163" y="741"/>
                </a:cubicBezTo>
                <a:cubicBezTo>
                  <a:pt x="2163" y="741"/>
                  <a:pt x="2163" y="740"/>
                  <a:pt x="2162" y="740"/>
                </a:cubicBezTo>
                <a:cubicBezTo>
                  <a:pt x="2162" y="739"/>
                  <a:pt x="2161" y="738"/>
                  <a:pt x="2161" y="738"/>
                </a:cubicBezTo>
                <a:cubicBezTo>
                  <a:pt x="2160" y="737"/>
                  <a:pt x="2159" y="736"/>
                  <a:pt x="2159" y="734"/>
                </a:cubicBezTo>
                <a:cubicBezTo>
                  <a:pt x="2158" y="734"/>
                  <a:pt x="2156" y="730"/>
                  <a:pt x="2158" y="729"/>
                </a:cubicBezTo>
                <a:cubicBezTo>
                  <a:pt x="2158" y="729"/>
                  <a:pt x="2158" y="729"/>
                  <a:pt x="2159" y="729"/>
                </a:cubicBezTo>
                <a:cubicBezTo>
                  <a:pt x="2159" y="729"/>
                  <a:pt x="2159" y="728"/>
                  <a:pt x="2160" y="728"/>
                </a:cubicBezTo>
                <a:cubicBezTo>
                  <a:pt x="2160" y="728"/>
                  <a:pt x="2160" y="728"/>
                  <a:pt x="2161" y="728"/>
                </a:cubicBezTo>
                <a:cubicBezTo>
                  <a:pt x="2161" y="728"/>
                  <a:pt x="2161" y="727"/>
                  <a:pt x="2161" y="727"/>
                </a:cubicBezTo>
                <a:cubicBezTo>
                  <a:pt x="2161" y="726"/>
                  <a:pt x="2162" y="725"/>
                  <a:pt x="2162" y="726"/>
                </a:cubicBezTo>
                <a:cubicBezTo>
                  <a:pt x="2162" y="727"/>
                  <a:pt x="2162" y="727"/>
                  <a:pt x="2162" y="727"/>
                </a:cubicBezTo>
                <a:cubicBezTo>
                  <a:pt x="2162" y="727"/>
                  <a:pt x="2163" y="727"/>
                  <a:pt x="2162" y="728"/>
                </a:cubicBezTo>
                <a:cubicBezTo>
                  <a:pt x="2162" y="728"/>
                  <a:pt x="2162" y="728"/>
                  <a:pt x="2161" y="728"/>
                </a:cubicBezTo>
                <a:cubicBezTo>
                  <a:pt x="2161" y="729"/>
                  <a:pt x="2161" y="729"/>
                  <a:pt x="2160" y="730"/>
                </a:cubicBezTo>
                <a:cubicBezTo>
                  <a:pt x="2160" y="730"/>
                  <a:pt x="2159" y="730"/>
                  <a:pt x="2159" y="730"/>
                </a:cubicBezTo>
                <a:cubicBezTo>
                  <a:pt x="2159" y="731"/>
                  <a:pt x="2160" y="730"/>
                  <a:pt x="2161" y="730"/>
                </a:cubicBezTo>
                <a:cubicBezTo>
                  <a:pt x="2161" y="729"/>
                  <a:pt x="2161" y="729"/>
                  <a:pt x="2162" y="728"/>
                </a:cubicBezTo>
                <a:cubicBezTo>
                  <a:pt x="2163" y="728"/>
                  <a:pt x="2163" y="728"/>
                  <a:pt x="2164" y="727"/>
                </a:cubicBezTo>
                <a:cubicBezTo>
                  <a:pt x="2165" y="727"/>
                  <a:pt x="2165" y="725"/>
                  <a:pt x="2166" y="725"/>
                </a:cubicBezTo>
                <a:cubicBezTo>
                  <a:pt x="2166" y="725"/>
                  <a:pt x="2167" y="725"/>
                  <a:pt x="2167" y="724"/>
                </a:cubicBezTo>
                <a:cubicBezTo>
                  <a:pt x="2168" y="724"/>
                  <a:pt x="2168" y="724"/>
                  <a:pt x="2168" y="724"/>
                </a:cubicBezTo>
                <a:cubicBezTo>
                  <a:pt x="2169" y="723"/>
                  <a:pt x="2170" y="723"/>
                  <a:pt x="2170" y="723"/>
                </a:cubicBezTo>
                <a:cubicBezTo>
                  <a:pt x="2171" y="723"/>
                  <a:pt x="2172" y="723"/>
                  <a:pt x="2173" y="723"/>
                </a:cubicBezTo>
                <a:cubicBezTo>
                  <a:pt x="2174" y="722"/>
                  <a:pt x="2175" y="722"/>
                  <a:pt x="2176" y="721"/>
                </a:cubicBezTo>
                <a:cubicBezTo>
                  <a:pt x="2176" y="721"/>
                  <a:pt x="2176" y="721"/>
                  <a:pt x="2177" y="721"/>
                </a:cubicBezTo>
                <a:cubicBezTo>
                  <a:pt x="2177" y="721"/>
                  <a:pt x="2178" y="721"/>
                  <a:pt x="2178" y="721"/>
                </a:cubicBezTo>
                <a:cubicBezTo>
                  <a:pt x="2179" y="721"/>
                  <a:pt x="2178" y="721"/>
                  <a:pt x="2179" y="722"/>
                </a:cubicBezTo>
                <a:cubicBezTo>
                  <a:pt x="2179" y="722"/>
                  <a:pt x="2179" y="722"/>
                  <a:pt x="2179" y="722"/>
                </a:cubicBezTo>
                <a:cubicBezTo>
                  <a:pt x="2179" y="723"/>
                  <a:pt x="2179" y="723"/>
                  <a:pt x="2180" y="723"/>
                </a:cubicBezTo>
                <a:cubicBezTo>
                  <a:pt x="2180" y="723"/>
                  <a:pt x="2180" y="722"/>
                  <a:pt x="2180" y="722"/>
                </a:cubicBezTo>
                <a:cubicBezTo>
                  <a:pt x="2181" y="721"/>
                  <a:pt x="2181" y="721"/>
                  <a:pt x="2182" y="721"/>
                </a:cubicBezTo>
                <a:cubicBezTo>
                  <a:pt x="2182" y="720"/>
                  <a:pt x="2183" y="720"/>
                  <a:pt x="2184" y="720"/>
                </a:cubicBezTo>
                <a:cubicBezTo>
                  <a:pt x="2184" y="719"/>
                  <a:pt x="2185" y="720"/>
                  <a:pt x="2186" y="719"/>
                </a:cubicBezTo>
                <a:cubicBezTo>
                  <a:pt x="2186" y="719"/>
                  <a:pt x="2187" y="719"/>
                  <a:pt x="2187" y="718"/>
                </a:cubicBezTo>
                <a:cubicBezTo>
                  <a:pt x="2187" y="718"/>
                  <a:pt x="2188" y="717"/>
                  <a:pt x="2189" y="717"/>
                </a:cubicBezTo>
                <a:cubicBezTo>
                  <a:pt x="2189" y="717"/>
                  <a:pt x="2190" y="717"/>
                  <a:pt x="2190" y="717"/>
                </a:cubicBezTo>
                <a:cubicBezTo>
                  <a:pt x="2191" y="717"/>
                  <a:pt x="2192" y="717"/>
                  <a:pt x="2192" y="717"/>
                </a:cubicBezTo>
                <a:cubicBezTo>
                  <a:pt x="2193" y="717"/>
                  <a:pt x="2194" y="717"/>
                  <a:pt x="2195" y="717"/>
                </a:cubicBezTo>
                <a:cubicBezTo>
                  <a:pt x="2196" y="716"/>
                  <a:pt x="2196" y="716"/>
                  <a:pt x="2197" y="716"/>
                </a:cubicBezTo>
                <a:cubicBezTo>
                  <a:pt x="2198" y="716"/>
                  <a:pt x="2198" y="715"/>
                  <a:pt x="2198" y="716"/>
                </a:cubicBezTo>
                <a:cubicBezTo>
                  <a:pt x="2199" y="716"/>
                  <a:pt x="2199" y="716"/>
                  <a:pt x="2200" y="716"/>
                </a:cubicBezTo>
                <a:cubicBezTo>
                  <a:pt x="2200" y="716"/>
                  <a:pt x="2201" y="716"/>
                  <a:pt x="2202" y="716"/>
                </a:cubicBezTo>
                <a:cubicBezTo>
                  <a:pt x="2203" y="716"/>
                  <a:pt x="2203" y="715"/>
                  <a:pt x="2204" y="715"/>
                </a:cubicBezTo>
                <a:cubicBezTo>
                  <a:pt x="2205" y="714"/>
                  <a:pt x="2206" y="714"/>
                  <a:pt x="2206" y="714"/>
                </a:cubicBezTo>
                <a:cubicBezTo>
                  <a:pt x="2207" y="715"/>
                  <a:pt x="2207" y="715"/>
                  <a:pt x="2208" y="715"/>
                </a:cubicBezTo>
                <a:cubicBezTo>
                  <a:pt x="2208" y="715"/>
                  <a:pt x="2207" y="715"/>
                  <a:pt x="2207" y="716"/>
                </a:cubicBezTo>
                <a:cubicBezTo>
                  <a:pt x="2207" y="716"/>
                  <a:pt x="2207" y="717"/>
                  <a:pt x="2207" y="717"/>
                </a:cubicBezTo>
                <a:cubicBezTo>
                  <a:pt x="2207" y="717"/>
                  <a:pt x="2206" y="718"/>
                  <a:pt x="2206" y="718"/>
                </a:cubicBezTo>
                <a:cubicBezTo>
                  <a:pt x="2204" y="719"/>
                  <a:pt x="2202" y="719"/>
                  <a:pt x="2201" y="720"/>
                </a:cubicBezTo>
                <a:cubicBezTo>
                  <a:pt x="2200" y="720"/>
                  <a:pt x="2200" y="720"/>
                  <a:pt x="2199" y="720"/>
                </a:cubicBezTo>
                <a:cubicBezTo>
                  <a:pt x="2199" y="720"/>
                  <a:pt x="2198" y="720"/>
                  <a:pt x="2198" y="720"/>
                </a:cubicBezTo>
                <a:cubicBezTo>
                  <a:pt x="2197" y="720"/>
                  <a:pt x="2199" y="721"/>
                  <a:pt x="2199" y="721"/>
                </a:cubicBezTo>
                <a:cubicBezTo>
                  <a:pt x="2200" y="722"/>
                  <a:pt x="2200" y="723"/>
                  <a:pt x="2198" y="723"/>
                </a:cubicBezTo>
                <a:cubicBezTo>
                  <a:pt x="2198" y="723"/>
                  <a:pt x="2197" y="723"/>
                  <a:pt x="2196" y="723"/>
                </a:cubicBezTo>
                <a:cubicBezTo>
                  <a:pt x="2194" y="723"/>
                  <a:pt x="2193" y="723"/>
                  <a:pt x="2191" y="723"/>
                </a:cubicBezTo>
                <a:cubicBezTo>
                  <a:pt x="2189" y="723"/>
                  <a:pt x="2191" y="723"/>
                  <a:pt x="2191" y="724"/>
                </a:cubicBezTo>
                <a:cubicBezTo>
                  <a:pt x="2191" y="724"/>
                  <a:pt x="2191" y="725"/>
                  <a:pt x="2191" y="725"/>
                </a:cubicBezTo>
                <a:cubicBezTo>
                  <a:pt x="2192" y="726"/>
                  <a:pt x="2192" y="726"/>
                  <a:pt x="2192" y="726"/>
                </a:cubicBezTo>
                <a:cubicBezTo>
                  <a:pt x="2193" y="726"/>
                  <a:pt x="2194" y="727"/>
                  <a:pt x="2195" y="728"/>
                </a:cubicBezTo>
                <a:cubicBezTo>
                  <a:pt x="2195" y="728"/>
                  <a:pt x="2196" y="728"/>
                  <a:pt x="2197" y="728"/>
                </a:cubicBezTo>
                <a:cubicBezTo>
                  <a:pt x="2197" y="729"/>
                  <a:pt x="2197" y="729"/>
                  <a:pt x="2198" y="729"/>
                </a:cubicBezTo>
                <a:cubicBezTo>
                  <a:pt x="2198" y="729"/>
                  <a:pt x="2198" y="730"/>
                  <a:pt x="2199" y="730"/>
                </a:cubicBezTo>
                <a:cubicBezTo>
                  <a:pt x="2199" y="730"/>
                  <a:pt x="2199" y="730"/>
                  <a:pt x="2199" y="731"/>
                </a:cubicBezTo>
                <a:cubicBezTo>
                  <a:pt x="2199" y="731"/>
                  <a:pt x="2199" y="731"/>
                  <a:pt x="2198" y="731"/>
                </a:cubicBezTo>
                <a:cubicBezTo>
                  <a:pt x="2198" y="731"/>
                  <a:pt x="2197" y="731"/>
                  <a:pt x="2197" y="730"/>
                </a:cubicBezTo>
                <a:cubicBezTo>
                  <a:pt x="2196" y="730"/>
                  <a:pt x="2195" y="731"/>
                  <a:pt x="2195" y="731"/>
                </a:cubicBezTo>
                <a:cubicBezTo>
                  <a:pt x="2195" y="731"/>
                  <a:pt x="2194" y="732"/>
                  <a:pt x="2194" y="732"/>
                </a:cubicBezTo>
                <a:cubicBezTo>
                  <a:pt x="2193" y="732"/>
                  <a:pt x="2193" y="731"/>
                  <a:pt x="2193" y="731"/>
                </a:cubicBezTo>
                <a:cubicBezTo>
                  <a:pt x="2192" y="732"/>
                  <a:pt x="2192" y="733"/>
                  <a:pt x="2192" y="733"/>
                </a:cubicBezTo>
                <a:cubicBezTo>
                  <a:pt x="2191" y="734"/>
                  <a:pt x="2191" y="735"/>
                  <a:pt x="2190" y="736"/>
                </a:cubicBezTo>
                <a:cubicBezTo>
                  <a:pt x="2190" y="736"/>
                  <a:pt x="2190" y="736"/>
                  <a:pt x="2190" y="736"/>
                </a:cubicBezTo>
                <a:cubicBezTo>
                  <a:pt x="2189" y="737"/>
                  <a:pt x="2189" y="737"/>
                  <a:pt x="2188" y="737"/>
                </a:cubicBezTo>
                <a:cubicBezTo>
                  <a:pt x="2188" y="737"/>
                  <a:pt x="2189" y="738"/>
                  <a:pt x="2189" y="738"/>
                </a:cubicBezTo>
                <a:cubicBezTo>
                  <a:pt x="2189" y="739"/>
                  <a:pt x="2189" y="739"/>
                  <a:pt x="2189" y="739"/>
                </a:cubicBezTo>
                <a:cubicBezTo>
                  <a:pt x="2190" y="740"/>
                  <a:pt x="2190" y="740"/>
                  <a:pt x="2190" y="740"/>
                </a:cubicBezTo>
                <a:cubicBezTo>
                  <a:pt x="2190" y="742"/>
                  <a:pt x="2187" y="742"/>
                  <a:pt x="2186" y="742"/>
                </a:cubicBezTo>
                <a:cubicBezTo>
                  <a:pt x="2185" y="742"/>
                  <a:pt x="2185" y="741"/>
                  <a:pt x="2184" y="741"/>
                </a:cubicBezTo>
                <a:cubicBezTo>
                  <a:pt x="2183" y="741"/>
                  <a:pt x="2183" y="741"/>
                  <a:pt x="2182" y="740"/>
                </a:cubicBezTo>
                <a:cubicBezTo>
                  <a:pt x="2182" y="740"/>
                  <a:pt x="2181" y="740"/>
                  <a:pt x="2181" y="740"/>
                </a:cubicBezTo>
                <a:cubicBezTo>
                  <a:pt x="2180" y="740"/>
                  <a:pt x="2180" y="740"/>
                  <a:pt x="2180" y="740"/>
                </a:cubicBezTo>
                <a:cubicBezTo>
                  <a:pt x="2179" y="740"/>
                  <a:pt x="2178" y="741"/>
                  <a:pt x="2179" y="741"/>
                </a:cubicBezTo>
                <a:cubicBezTo>
                  <a:pt x="2180" y="741"/>
                  <a:pt x="2180" y="741"/>
                  <a:pt x="2180" y="741"/>
                </a:cubicBezTo>
                <a:cubicBezTo>
                  <a:pt x="2180" y="742"/>
                  <a:pt x="2181" y="742"/>
                  <a:pt x="2181" y="742"/>
                </a:cubicBezTo>
                <a:cubicBezTo>
                  <a:pt x="2181" y="743"/>
                  <a:pt x="2180" y="743"/>
                  <a:pt x="2180" y="743"/>
                </a:cubicBezTo>
                <a:cubicBezTo>
                  <a:pt x="2179" y="743"/>
                  <a:pt x="2179" y="743"/>
                  <a:pt x="2179" y="743"/>
                </a:cubicBezTo>
                <a:cubicBezTo>
                  <a:pt x="2179" y="743"/>
                  <a:pt x="2177" y="743"/>
                  <a:pt x="2178" y="744"/>
                </a:cubicBezTo>
                <a:cubicBezTo>
                  <a:pt x="2178" y="744"/>
                  <a:pt x="2178" y="744"/>
                  <a:pt x="2179" y="744"/>
                </a:cubicBezTo>
                <a:cubicBezTo>
                  <a:pt x="2179" y="744"/>
                  <a:pt x="2179" y="745"/>
                  <a:pt x="2180" y="745"/>
                </a:cubicBezTo>
                <a:cubicBezTo>
                  <a:pt x="2180" y="745"/>
                  <a:pt x="2180" y="745"/>
                  <a:pt x="2181" y="745"/>
                </a:cubicBezTo>
                <a:cubicBezTo>
                  <a:pt x="2181" y="745"/>
                  <a:pt x="2181" y="745"/>
                  <a:pt x="2182" y="746"/>
                </a:cubicBezTo>
                <a:cubicBezTo>
                  <a:pt x="2182" y="746"/>
                  <a:pt x="2183" y="746"/>
                  <a:pt x="2183" y="746"/>
                </a:cubicBezTo>
                <a:cubicBezTo>
                  <a:pt x="2183" y="746"/>
                  <a:pt x="2183" y="747"/>
                  <a:pt x="2183" y="747"/>
                </a:cubicBezTo>
                <a:cubicBezTo>
                  <a:pt x="2184" y="747"/>
                  <a:pt x="2184" y="747"/>
                  <a:pt x="2184" y="748"/>
                </a:cubicBezTo>
                <a:cubicBezTo>
                  <a:pt x="2185" y="748"/>
                  <a:pt x="2185" y="748"/>
                  <a:pt x="2185" y="749"/>
                </a:cubicBezTo>
                <a:cubicBezTo>
                  <a:pt x="2185" y="749"/>
                  <a:pt x="2186" y="749"/>
                  <a:pt x="2186" y="750"/>
                </a:cubicBezTo>
                <a:cubicBezTo>
                  <a:pt x="2186" y="750"/>
                  <a:pt x="2186" y="750"/>
                  <a:pt x="2187" y="750"/>
                </a:cubicBezTo>
                <a:cubicBezTo>
                  <a:pt x="2187" y="751"/>
                  <a:pt x="2189" y="751"/>
                  <a:pt x="2189" y="751"/>
                </a:cubicBezTo>
                <a:cubicBezTo>
                  <a:pt x="2190" y="751"/>
                  <a:pt x="2191" y="750"/>
                  <a:pt x="2191" y="751"/>
                </a:cubicBezTo>
                <a:cubicBezTo>
                  <a:pt x="2192" y="751"/>
                  <a:pt x="2192" y="751"/>
                  <a:pt x="2192" y="752"/>
                </a:cubicBezTo>
                <a:cubicBezTo>
                  <a:pt x="2192" y="752"/>
                  <a:pt x="2193" y="752"/>
                  <a:pt x="2193" y="752"/>
                </a:cubicBezTo>
                <a:cubicBezTo>
                  <a:pt x="2194" y="753"/>
                  <a:pt x="2195" y="755"/>
                  <a:pt x="2197" y="756"/>
                </a:cubicBezTo>
                <a:cubicBezTo>
                  <a:pt x="2199" y="756"/>
                  <a:pt x="2200" y="755"/>
                  <a:pt x="2202" y="756"/>
                </a:cubicBezTo>
                <a:cubicBezTo>
                  <a:pt x="2202" y="757"/>
                  <a:pt x="2203" y="758"/>
                  <a:pt x="2203" y="758"/>
                </a:cubicBezTo>
                <a:cubicBezTo>
                  <a:pt x="2204" y="759"/>
                  <a:pt x="2205" y="759"/>
                  <a:pt x="2205" y="760"/>
                </a:cubicBezTo>
                <a:cubicBezTo>
                  <a:pt x="2206" y="760"/>
                  <a:pt x="2207" y="761"/>
                  <a:pt x="2207" y="761"/>
                </a:cubicBezTo>
                <a:cubicBezTo>
                  <a:pt x="2208" y="762"/>
                  <a:pt x="2208" y="762"/>
                  <a:pt x="2209" y="763"/>
                </a:cubicBezTo>
                <a:cubicBezTo>
                  <a:pt x="2210" y="763"/>
                  <a:pt x="2211" y="764"/>
                  <a:pt x="2211" y="764"/>
                </a:cubicBezTo>
                <a:cubicBezTo>
                  <a:pt x="2212" y="765"/>
                  <a:pt x="2212" y="766"/>
                  <a:pt x="2213" y="766"/>
                </a:cubicBezTo>
                <a:cubicBezTo>
                  <a:pt x="2214" y="767"/>
                  <a:pt x="2215" y="768"/>
                  <a:pt x="2216" y="769"/>
                </a:cubicBezTo>
                <a:cubicBezTo>
                  <a:pt x="2218" y="770"/>
                  <a:pt x="2219" y="772"/>
                  <a:pt x="2221" y="772"/>
                </a:cubicBezTo>
                <a:cubicBezTo>
                  <a:pt x="2222" y="773"/>
                  <a:pt x="2223" y="773"/>
                  <a:pt x="2225" y="773"/>
                </a:cubicBezTo>
                <a:cubicBezTo>
                  <a:pt x="2226" y="773"/>
                  <a:pt x="2227" y="774"/>
                  <a:pt x="2228" y="774"/>
                </a:cubicBezTo>
                <a:cubicBezTo>
                  <a:pt x="2228" y="775"/>
                  <a:pt x="2228" y="776"/>
                  <a:pt x="2229" y="777"/>
                </a:cubicBezTo>
                <a:cubicBezTo>
                  <a:pt x="2230" y="778"/>
                  <a:pt x="2232" y="778"/>
                  <a:pt x="2233" y="779"/>
                </a:cubicBezTo>
                <a:cubicBezTo>
                  <a:pt x="2233" y="780"/>
                  <a:pt x="2233" y="781"/>
                  <a:pt x="2233" y="782"/>
                </a:cubicBezTo>
                <a:cubicBezTo>
                  <a:pt x="2233" y="783"/>
                  <a:pt x="2234" y="784"/>
                  <a:pt x="2234" y="784"/>
                </a:cubicBezTo>
                <a:cubicBezTo>
                  <a:pt x="2234" y="785"/>
                  <a:pt x="2235" y="785"/>
                  <a:pt x="2235" y="786"/>
                </a:cubicBezTo>
                <a:cubicBezTo>
                  <a:pt x="2236" y="787"/>
                  <a:pt x="2236" y="788"/>
                  <a:pt x="2236" y="788"/>
                </a:cubicBezTo>
                <a:cubicBezTo>
                  <a:pt x="2236" y="789"/>
                  <a:pt x="2236" y="790"/>
                  <a:pt x="2236" y="791"/>
                </a:cubicBezTo>
                <a:close/>
                <a:moveTo>
                  <a:pt x="2160" y="739"/>
                </a:moveTo>
                <a:cubicBezTo>
                  <a:pt x="2160" y="739"/>
                  <a:pt x="2160" y="739"/>
                  <a:pt x="2160" y="738"/>
                </a:cubicBezTo>
                <a:cubicBezTo>
                  <a:pt x="2160" y="738"/>
                  <a:pt x="2162" y="740"/>
                  <a:pt x="2162" y="740"/>
                </a:cubicBezTo>
                <a:cubicBezTo>
                  <a:pt x="2162" y="741"/>
                  <a:pt x="2163" y="741"/>
                  <a:pt x="2163" y="742"/>
                </a:cubicBezTo>
                <a:cubicBezTo>
                  <a:pt x="2164" y="742"/>
                  <a:pt x="2164" y="742"/>
                  <a:pt x="2164" y="742"/>
                </a:cubicBezTo>
                <a:cubicBezTo>
                  <a:pt x="2164" y="743"/>
                  <a:pt x="2164" y="743"/>
                  <a:pt x="2163" y="743"/>
                </a:cubicBezTo>
                <a:cubicBezTo>
                  <a:pt x="2163" y="742"/>
                  <a:pt x="2163" y="742"/>
                  <a:pt x="2162" y="742"/>
                </a:cubicBezTo>
                <a:cubicBezTo>
                  <a:pt x="2162" y="742"/>
                  <a:pt x="2162" y="742"/>
                  <a:pt x="2161" y="741"/>
                </a:cubicBezTo>
                <a:cubicBezTo>
                  <a:pt x="2161" y="741"/>
                  <a:pt x="2159" y="741"/>
                  <a:pt x="2160" y="740"/>
                </a:cubicBezTo>
                <a:cubicBezTo>
                  <a:pt x="2160" y="740"/>
                  <a:pt x="2160" y="739"/>
                  <a:pt x="2160" y="739"/>
                </a:cubicBezTo>
                <a:close/>
                <a:moveTo>
                  <a:pt x="2301" y="766"/>
                </a:moveTo>
                <a:cubicBezTo>
                  <a:pt x="2301" y="766"/>
                  <a:pt x="2300" y="766"/>
                  <a:pt x="2300" y="766"/>
                </a:cubicBezTo>
                <a:cubicBezTo>
                  <a:pt x="2300" y="766"/>
                  <a:pt x="2300" y="766"/>
                  <a:pt x="2300" y="766"/>
                </a:cubicBezTo>
                <a:cubicBezTo>
                  <a:pt x="2300" y="765"/>
                  <a:pt x="2301" y="764"/>
                  <a:pt x="2301" y="765"/>
                </a:cubicBezTo>
                <a:cubicBezTo>
                  <a:pt x="2301" y="765"/>
                  <a:pt x="2301" y="766"/>
                  <a:pt x="2301" y="766"/>
                </a:cubicBezTo>
                <a:close/>
                <a:moveTo>
                  <a:pt x="2383" y="803"/>
                </a:moveTo>
                <a:cubicBezTo>
                  <a:pt x="2383" y="803"/>
                  <a:pt x="2382" y="803"/>
                  <a:pt x="2381" y="803"/>
                </a:cubicBezTo>
                <a:cubicBezTo>
                  <a:pt x="2380" y="803"/>
                  <a:pt x="2379" y="803"/>
                  <a:pt x="2379" y="803"/>
                </a:cubicBezTo>
                <a:cubicBezTo>
                  <a:pt x="2379" y="804"/>
                  <a:pt x="2379" y="804"/>
                  <a:pt x="2379" y="805"/>
                </a:cubicBezTo>
                <a:cubicBezTo>
                  <a:pt x="2379" y="805"/>
                  <a:pt x="2379" y="805"/>
                  <a:pt x="2379" y="805"/>
                </a:cubicBezTo>
                <a:cubicBezTo>
                  <a:pt x="2380" y="807"/>
                  <a:pt x="2379" y="806"/>
                  <a:pt x="2378" y="806"/>
                </a:cubicBezTo>
                <a:cubicBezTo>
                  <a:pt x="2377" y="806"/>
                  <a:pt x="2377" y="806"/>
                  <a:pt x="2377" y="806"/>
                </a:cubicBezTo>
                <a:cubicBezTo>
                  <a:pt x="2377" y="805"/>
                  <a:pt x="2376" y="805"/>
                  <a:pt x="2376" y="806"/>
                </a:cubicBezTo>
                <a:cubicBezTo>
                  <a:pt x="2375" y="806"/>
                  <a:pt x="2375" y="806"/>
                  <a:pt x="2375" y="806"/>
                </a:cubicBezTo>
                <a:cubicBezTo>
                  <a:pt x="2374" y="806"/>
                  <a:pt x="2374" y="806"/>
                  <a:pt x="2374" y="806"/>
                </a:cubicBezTo>
                <a:cubicBezTo>
                  <a:pt x="2373" y="807"/>
                  <a:pt x="2373" y="807"/>
                  <a:pt x="2373" y="807"/>
                </a:cubicBezTo>
                <a:cubicBezTo>
                  <a:pt x="2372" y="806"/>
                  <a:pt x="2372" y="806"/>
                  <a:pt x="2372" y="805"/>
                </a:cubicBezTo>
                <a:cubicBezTo>
                  <a:pt x="2372" y="805"/>
                  <a:pt x="2372" y="805"/>
                  <a:pt x="2372" y="804"/>
                </a:cubicBezTo>
                <a:cubicBezTo>
                  <a:pt x="2372" y="804"/>
                  <a:pt x="2372" y="804"/>
                  <a:pt x="2372" y="804"/>
                </a:cubicBezTo>
                <a:cubicBezTo>
                  <a:pt x="2371" y="803"/>
                  <a:pt x="2372" y="803"/>
                  <a:pt x="2371" y="803"/>
                </a:cubicBezTo>
                <a:cubicBezTo>
                  <a:pt x="2371" y="803"/>
                  <a:pt x="2371" y="804"/>
                  <a:pt x="2371" y="804"/>
                </a:cubicBezTo>
                <a:cubicBezTo>
                  <a:pt x="2371" y="805"/>
                  <a:pt x="2371" y="805"/>
                  <a:pt x="2370" y="805"/>
                </a:cubicBezTo>
                <a:cubicBezTo>
                  <a:pt x="2370" y="805"/>
                  <a:pt x="2370" y="805"/>
                  <a:pt x="2369" y="805"/>
                </a:cubicBezTo>
                <a:cubicBezTo>
                  <a:pt x="2368" y="806"/>
                  <a:pt x="2368" y="805"/>
                  <a:pt x="2367" y="805"/>
                </a:cubicBezTo>
                <a:cubicBezTo>
                  <a:pt x="2367" y="804"/>
                  <a:pt x="2366" y="805"/>
                  <a:pt x="2365" y="804"/>
                </a:cubicBezTo>
                <a:cubicBezTo>
                  <a:pt x="2365" y="804"/>
                  <a:pt x="2365" y="803"/>
                  <a:pt x="2364" y="802"/>
                </a:cubicBezTo>
                <a:cubicBezTo>
                  <a:pt x="2364" y="802"/>
                  <a:pt x="2363" y="801"/>
                  <a:pt x="2363" y="801"/>
                </a:cubicBezTo>
                <a:cubicBezTo>
                  <a:pt x="2363" y="801"/>
                  <a:pt x="2363" y="801"/>
                  <a:pt x="2363" y="801"/>
                </a:cubicBezTo>
                <a:cubicBezTo>
                  <a:pt x="2363" y="801"/>
                  <a:pt x="2363" y="802"/>
                  <a:pt x="2363" y="802"/>
                </a:cubicBezTo>
                <a:cubicBezTo>
                  <a:pt x="2363" y="802"/>
                  <a:pt x="2363" y="803"/>
                  <a:pt x="2363" y="803"/>
                </a:cubicBezTo>
                <a:cubicBezTo>
                  <a:pt x="2363" y="804"/>
                  <a:pt x="2363" y="804"/>
                  <a:pt x="2363" y="805"/>
                </a:cubicBezTo>
                <a:cubicBezTo>
                  <a:pt x="2362" y="806"/>
                  <a:pt x="2362" y="806"/>
                  <a:pt x="2362" y="807"/>
                </a:cubicBezTo>
                <a:cubicBezTo>
                  <a:pt x="2361" y="807"/>
                  <a:pt x="2361" y="808"/>
                  <a:pt x="2361" y="808"/>
                </a:cubicBezTo>
                <a:cubicBezTo>
                  <a:pt x="2361" y="809"/>
                  <a:pt x="2361" y="811"/>
                  <a:pt x="2361" y="812"/>
                </a:cubicBezTo>
                <a:cubicBezTo>
                  <a:pt x="2361" y="812"/>
                  <a:pt x="2361" y="813"/>
                  <a:pt x="2362" y="813"/>
                </a:cubicBezTo>
                <a:cubicBezTo>
                  <a:pt x="2362" y="813"/>
                  <a:pt x="2362" y="814"/>
                  <a:pt x="2362" y="814"/>
                </a:cubicBezTo>
                <a:cubicBezTo>
                  <a:pt x="2362" y="815"/>
                  <a:pt x="2363" y="815"/>
                  <a:pt x="2364" y="815"/>
                </a:cubicBezTo>
                <a:cubicBezTo>
                  <a:pt x="2365" y="815"/>
                  <a:pt x="2366" y="815"/>
                  <a:pt x="2366" y="815"/>
                </a:cubicBezTo>
                <a:cubicBezTo>
                  <a:pt x="2367" y="816"/>
                  <a:pt x="2368" y="815"/>
                  <a:pt x="2369" y="816"/>
                </a:cubicBezTo>
                <a:cubicBezTo>
                  <a:pt x="2369" y="816"/>
                  <a:pt x="2369" y="817"/>
                  <a:pt x="2369" y="817"/>
                </a:cubicBezTo>
                <a:cubicBezTo>
                  <a:pt x="2369" y="817"/>
                  <a:pt x="2369" y="818"/>
                  <a:pt x="2369" y="818"/>
                </a:cubicBezTo>
                <a:cubicBezTo>
                  <a:pt x="2369" y="819"/>
                  <a:pt x="2370" y="819"/>
                  <a:pt x="2370" y="820"/>
                </a:cubicBezTo>
                <a:cubicBezTo>
                  <a:pt x="2371" y="820"/>
                  <a:pt x="2371" y="820"/>
                  <a:pt x="2371" y="821"/>
                </a:cubicBezTo>
                <a:cubicBezTo>
                  <a:pt x="2371" y="821"/>
                  <a:pt x="2371" y="821"/>
                  <a:pt x="2371" y="821"/>
                </a:cubicBezTo>
                <a:cubicBezTo>
                  <a:pt x="2370" y="821"/>
                  <a:pt x="2370" y="821"/>
                  <a:pt x="2370" y="820"/>
                </a:cubicBezTo>
                <a:cubicBezTo>
                  <a:pt x="2370" y="820"/>
                  <a:pt x="2369" y="820"/>
                  <a:pt x="2369" y="820"/>
                </a:cubicBezTo>
                <a:cubicBezTo>
                  <a:pt x="2369" y="820"/>
                  <a:pt x="2368" y="822"/>
                  <a:pt x="2367" y="821"/>
                </a:cubicBezTo>
                <a:cubicBezTo>
                  <a:pt x="2366" y="820"/>
                  <a:pt x="2368" y="820"/>
                  <a:pt x="2368" y="819"/>
                </a:cubicBezTo>
                <a:cubicBezTo>
                  <a:pt x="2368" y="819"/>
                  <a:pt x="2367" y="819"/>
                  <a:pt x="2367" y="819"/>
                </a:cubicBezTo>
                <a:cubicBezTo>
                  <a:pt x="2367" y="820"/>
                  <a:pt x="2367" y="820"/>
                  <a:pt x="2367" y="820"/>
                </a:cubicBezTo>
                <a:cubicBezTo>
                  <a:pt x="2366" y="821"/>
                  <a:pt x="2365" y="821"/>
                  <a:pt x="2365" y="823"/>
                </a:cubicBezTo>
                <a:cubicBezTo>
                  <a:pt x="2365" y="823"/>
                  <a:pt x="2366" y="823"/>
                  <a:pt x="2366" y="824"/>
                </a:cubicBezTo>
                <a:cubicBezTo>
                  <a:pt x="2366" y="824"/>
                  <a:pt x="2366" y="825"/>
                  <a:pt x="2366" y="825"/>
                </a:cubicBezTo>
                <a:cubicBezTo>
                  <a:pt x="2366" y="825"/>
                  <a:pt x="2367" y="826"/>
                  <a:pt x="2367" y="825"/>
                </a:cubicBezTo>
                <a:cubicBezTo>
                  <a:pt x="2367" y="825"/>
                  <a:pt x="2367" y="824"/>
                  <a:pt x="2367" y="824"/>
                </a:cubicBezTo>
                <a:cubicBezTo>
                  <a:pt x="2367" y="824"/>
                  <a:pt x="2367" y="823"/>
                  <a:pt x="2367" y="823"/>
                </a:cubicBezTo>
                <a:cubicBezTo>
                  <a:pt x="2368" y="823"/>
                  <a:pt x="2368" y="823"/>
                  <a:pt x="2368" y="824"/>
                </a:cubicBezTo>
                <a:cubicBezTo>
                  <a:pt x="2369" y="825"/>
                  <a:pt x="2370" y="824"/>
                  <a:pt x="2370" y="825"/>
                </a:cubicBezTo>
                <a:cubicBezTo>
                  <a:pt x="2371" y="825"/>
                  <a:pt x="2371" y="826"/>
                  <a:pt x="2372" y="827"/>
                </a:cubicBezTo>
                <a:cubicBezTo>
                  <a:pt x="2373" y="827"/>
                  <a:pt x="2373" y="827"/>
                  <a:pt x="2374" y="828"/>
                </a:cubicBezTo>
                <a:cubicBezTo>
                  <a:pt x="2374" y="829"/>
                  <a:pt x="2374" y="830"/>
                  <a:pt x="2374" y="830"/>
                </a:cubicBezTo>
                <a:cubicBezTo>
                  <a:pt x="2374" y="831"/>
                  <a:pt x="2374" y="831"/>
                  <a:pt x="2374" y="831"/>
                </a:cubicBezTo>
                <a:cubicBezTo>
                  <a:pt x="2374" y="832"/>
                  <a:pt x="2374" y="832"/>
                  <a:pt x="2374" y="833"/>
                </a:cubicBezTo>
                <a:cubicBezTo>
                  <a:pt x="2374" y="834"/>
                  <a:pt x="2374" y="834"/>
                  <a:pt x="2374" y="835"/>
                </a:cubicBezTo>
                <a:cubicBezTo>
                  <a:pt x="2373" y="836"/>
                  <a:pt x="2373" y="837"/>
                  <a:pt x="2373" y="838"/>
                </a:cubicBezTo>
                <a:cubicBezTo>
                  <a:pt x="2373" y="840"/>
                  <a:pt x="2373" y="842"/>
                  <a:pt x="2373" y="844"/>
                </a:cubicBezTo>
                <a:cubicBezTo>
                  <a:pt x="2374" y="845"/>
                  <a:pt x="2374" y="846"/>
                  <a:pt x="2374" y="847"/>
                </a:cubicBezTo>
                <a:cubicBezTo>
                  <a:pt x="2374" y="849"/>
                  <a:pt x="2374" y="850"/>
                  <a:pt x="2374" y="851"/>
                </a:cubicBezTo>
                <a:cubicBezTo>
                  <a:pt x="2374" y="852"/>
                  <a:pt x="2375" y="853"/>
                  <a:pt x="2375" y="853"/>
                </a:cubicBezTo>
                <a:cubicBezTo>
                  <a:pt x="2375" y="854"/>
                  <a:pt x="2375" y="855"/>
                  <a:pt x="2376" y="856"/>
                </a:cubicBezTo>
                <a:cubicBezTo>
                  <a:pt x="2376" y="857"/>
                  <a:pt x="2375" y="858"/>
                  <a:pt x="2374" y="857"/>
                </a:cubicBezTo>
                <a:cubicBezTo>
                  <a:pt x="2374" y="857"/>
                  <a:pt x="2373" y="857"/>
                  <a:pt x="2373" y="857"/>
                </a:cubicBezTo>
                <a:cubicBezTo>
                  <a:pt x="2373" y="857"/>
                  <a:pt x="2372" y="857"/>
                  <a:pt x="2373" y="856"/>
                </a:cubicBezTo>
                <a:cubicBezTo>
                  <a:pt x="2373" y="856"/>
                  <a:pt x="2374" y="856"/>
                  <a:pt x="2373" y="856"/>
                </a:cubicBezTo>
                <a:cubicBezTo>
                  <a:pt x="2373" y="855"/>
                  <a:pt x="2372" y="856"/>
                  <a:pt x="2372" y="856"/>
                </a:cubicBezTo>
                <a:cubicBezTo>
                  <a:pt x="2371" y="857"/>
                  <a:pt x="2371" y="856"/>
                  <a:pt x="2370" y="856"/>
                </a:cubicBezTo>
                <a:cubicBezTo>
                  <a:pt x="2367" y="856"/>
                  <a:pt x="2365" y="858"/>
                  <a:pt x="2363" y="858"/>
                </a:cubicBezTo>
                <a:cubicBezTo>
                  <a:pt x="2362" y="858"/>
                  <a:pt x="2361" y="858"/>
                  <a:pt x="2360" y="858"/>
                </a:cubicBezTo>
                <a:cubicBezTo>
                  <a:pt x="2359" y="858"/>
                  <a:pt x="2358" y="859"/>
                  <a:pt x="2357" y="859"/>
                </a:cubicBezTo>
                <a:cubicBezTo>
                  <a:pt x="2355" y="860"/>
                  <a:pt x="2353" y="860"/>
                  <a:pt x="2351" y="860"/>
                </a:cubicBezTo>
                <a:cubicBezTo>
                  <a:pt x="2349" y="860"/>
                  <a:pt x="2348" y="859"/>
                  <a:pt x="2347" y="859"/>
                </a:cubicBezTo>
                <a:cubicBezTo>
                  <a:pt x="2346" y="859"/>
                  <a:pt x="2344" y="859"/>
                  <a:pt x="2343" y="858"/>
                </a:cubicBezTo>
                <a:cubicBezTo>
                  <a:pt x="2342" y="858"/>
                  <a:pt x="2341" y="857"/>
                  <a:pt x="2341" y="857"/>
                </a:cubicBezTo>
                <a:cubicBezTo>
                  <a:pt x="2340" y="856"/>
                  <a:pt x="2339" y="856"/>
                  <a:pt x="2338" y="856"/>
                </a:cubicBezTo>
                <a:cubicBezTo>
                  <a:pt x="2337" y="856"/>
                  <a:pt x="2336" y="855"/>
                  <a:pt x="2335" y="855"/>
                </a:cubicBezTo>
                <a:cubicBezTo>
                  <a:pt x="2334" y="854"/>
                  <a:pt x="2334" y="853"/>
                  <a:pt x="2334" y="853"/>
                </a:cubicBezTo>
                <a:cubicBezTo>
                  <a:pt x="2333" y="852"/>
                  <a:pt x="2332" y="851"/>
                  <a:pt x="2332" y="850"/>
                </a:cubicBezTo>
                <a:cubicBezTo>
                  <a:pt x="2330" y="849"/>
                  <a:pt x="2328" y="849"/>
                  <a:pt x="2327" y="849"/>
                </a:cubicBezTo>
                <a:cubicBezTo>
                  <a:pt x="2326" y="848"/>
                  <a:pt x="2325" y="848"/>
                  <a:pt x="2324" y="848"/>
                </a:cubicBezTo>
                <a:cubicBezTo>
                  <a:pt x="2323" y="848"/>
                  <a:pt x="2322" y="848"/>
                  <a:pt x="2322" y="847"/>
                </a:cubicBezTo>
                <a:cubicBezTo>
                  <a:pt x="2321" y="847"/>
                  <a:pt x="2320" y="847"/>
                  <a:pt x="2320" y="846"/>
                </a:cubicBezTo>
                <a:cubicBezTo>
                  <a:pt x="2319" y="846"/>
                  <a:pt x="2319" y="845"/>
                  <a:pt x="2319" y="844"/>
                </a:cubicBezTo>
                <a:cubicBezTo>
                  <a:pt x="2318" y="842"/>
                  <a:pt x="2318" y="841"/>
                  <a:pt x="2318" y="839"/>
                </a:cubicBezTo>
                <a:cubicBezTo>
                  <a:pt x="2317" y="838"/>
                  <a:pt x="2317" y="838"/>
                  <a:pt x="2317" y="837"/>
                </a:cubicBezTo>
                <a:cubicBezTo>
                  <a:pt x="2317" y="836"/>
                  <a:pt x="2317" y="835"/>
                  <a:pt x="2317" y="834"/>
                </a:cubicBezTo>
                <a:cubicBezTo>
                  <a:pt x="2317" y="833"/>
                  <a:pt x="2318" y="831"/>
                  <a:pt x="2318" y="829"/>
                </a:cubicBezTo>
                <a:cubicBezTo>
                  <a:pt x="2318" y="829"/>
                  <a:pt x="2318" y="828"/>
                  <a:pt x="2318" y="827"/>
                </a:cubicBezTo>
                <a:cubicBezTo>
                  <a:pt x="2318" y="826"/>
                  <a:pt x="2319" y="826"/>
                  <a:pt x="2320" y="827"/>
                </a:cubicBezTo>
                <a:cubicBezTo>
                  <a:pt x="2320" y="827"/>
                  <a:pt x="2320" y="828"/>
                  <a:pt x="2320" y="828"/>
                </a:cubicBezTo>
                <a:cubicBezTo>
                  <a:pt x="2320" y="828"/>
                  <a:pt x="2320" y="829"/>
                  <a:pt x="2321" y="829"/>
                </a:cubicBezTo>
                <a:cubicBezTo>
                  <a:pt x="2321" y="828"/>
                  <a:pt x="2320" y="828"/>
                  <a:pt x="2321" y="827"/>
                </a:cubicBezTo>
                <a:cubicBezTo>
                  <a:pt x="2321" y="826"/>
                  <a:pt x="2321" y="826"/>
                  <a:pt x="2321" y="826"/>
                </a:cubicBezTo>
                <a:cubicBezTo>
                  <a:pt x="2321" y="825"/>
                  <a:pt x="2322" y="824"/>
                  <a:pt x="2322" y="824"/>
                </a:cubicBezTo>
                <a:cubicBezTo>
                  <a:pt x="2322" y="824"/>
                  <a:pt x="2324" y="825"/>
                  <a:pt x="2323" y="824"/>
                </a:cubicBezTo>
                <a:cubicBezTo>
                  <a:pt x="2323" y="824"/>
                  <a:pt x="2323" y="824"/>
                  <a:pt x="2323" y="823"/>
                </a:cubicBezTo>
                <a:cubicBezTo>
                  <a:pt x="2323" y="823"/>
                  <a:pt x="2323" y="823"/>
                  <a:pt x="2323" y="822"/>
                </a:cubicBezTo>
                <a:cubicBezTo>
                  <a:pt x="2323" y="822"/>
                  <a:pt x="2322" y="822"/>
                  <a:pt x="2322" y="821"/>
                </a:cubicBezTo>
                <a:cubicBezTo>
                  <a:pt x="2322" y="820"/>
                  <a:pt x="2323" y="820"/>
                  <a:pt x="2323" y="819"/>
                </a:cubicBezTo>
                <a:cubicBezTo>
                  <a:pt x="2323" y="818"/>
                  <a:pt x="2323" y="818"/>
                  <a:pt x="2323" y="817"/>
                </a:cubicBezTo>
                <a:cubicBezTo>
                  <a:pt x="2324" y="816"/>
                  <a:pt x="2324" y="816"/>
                  <a:pt x="2324" y="815"/>
                </a:cubicBezTo>
                <a:cubicBezTo>
                  <a:pt x="2325" y="814"/>
                  <a:pt x="2325" y="813"/>
                  <a:pt x="2325" y="812"/>
                </a:cubicBezTo>
                <a:cubicBezTo>
                  <a:pt x="2326" y="812"/>
                  <a:pt x="2326" y="812"/>
                  <a:pt x="2326" y="812"/>
                </a:cubicBezTo>
                <a:cubicBezTo>
                  <a:pt x="2327" y="811"/>
                  <a:pt x="2327" y="811"/>
                  <a:pt x="2328" y="811"/>
                </a:cubicBezTo>
                <a:cubicBezTo>
                  <a:pt x="2328" y="811"/>
                  <a:pt x="2328" y="811"/>
                  <a:pt x="2328" y="811"/>
                </a:cubicBezTo>
                <a:cubicBezTo>
                  <a:pt x="2329" y="810"/>
                  <a:pt x="2329" y="810"/>
                  <a:pt x="2330" y="810"/>
                </a:cubicBezTo>
                <a:cubicBezTo>
                  <a:pt x="2330" y="810"/>
                  <a:pt x="2331" y="810"/>
                  <a:pt x="2331" y="811"/>
                </a:cubicBezTo>
                <a:cubicBezTo>
                  <a:pt x="2331" y="811"/>
                  <a:pt x="2332" y="810"/>
                  <a:pt x="2332" y="810"/>
                </a:cubicBezTo>
                <a:cubicBezTo>
                  <a:pt x="2333" y="811"/>
                  <a:pt x="2333" y="812"/>
                  <a:pt x="2334" y="812"/>
                </a:cubicBezTo>
                <a:cubicBezTo>
                  <a:pt x="2335" y="812"/>
                  <a:pt x="2334" y="811"/>
                  <a:pt x="2334" y="811"/>
                </a:cubicBezTo>
                <a:cubicBezTo>
                  <a:pt x="2334" y="811"/>
                  <a:pt x="2334" y="810"/>
                  <a:pt x="2334" y="810"/>
                </a:cubicBezTo>
                <a:cubicBezTo>
                  <a:pt x="2334" y="810"/>
                  <a:pt x="2334" y="810"/>
                  <a:pt x="2333" y="809"/>
                </a:cubicBezTo>
                <a:cubicBezTo>
                  <a:pt x="2333" y="809"/>
                  <a:pt x="2333" y="809"/>
                  <a:pt x="2333" y="809"/>
                </a:cubicBezTo>
                <a:cubicBezTo>
                  <a:pt x="2332" y="808"/>
                  <a:pt x="2332" y="808"/>
                  <a:pt x="2331" y="807"/>
                </a:cubicBezTo>
                <a:cubicBezTo>
                  <a:pt x="2330" y="807"/>
                  <a:pt x="2330" y="807"/>
                  <a:pt x="2330" y="807"/>
                </a:cubicBezTo>
                <a:cubicBezTo>
                  <a:pt x="2329" y="807"/>
                  <a:pt x="2328" y="807"/>
                  <a:pt x="2327" y="807"/>
                </a:cubicBezTo>
                <a:cubicBezTo>
                  <a:pt x="2326" y="807"/>
                  <a:pt x="2326" y="806"/>
                  <a:pt x="2325" y="806"/>
                </a:cubicBezTo>
                <a:cubicBezTo>
                  <a:pt x="2325" y="805"/>
                  <a:pt x="2324" y="804"/>
                  <a:pt x="2323" y="804"/>
                </a:cubicBezTo>
                <a:cubicBezTo>
                  <a:pt x="2323" y="803"/>
                  <a:pt x="2322" y="802"/>
                  <a:pt x="2322" y="802"/>
                </a:cubicBezTo>
                <a:cubicBezTo>
                  <a:pt x="2322" y="801"/>
                  <a:pt x="2321" y="800"/>
                  <a:pt x="2321" y="799"/>
                </a:cubicBezTo>
                <a:cubicBezTo>
                  <a:pt x="2320" y="799"/>
                  <a:pt x="2320" y="798"/>
                  <a:pt x="2320" y="797"/>
                </a:cubicBezTo>
                <a:cubicBezTo>
                  <a:pt x="2319" y="796"/>
                  <a:pt x="2319" y="796"/>
                  <a:pt x="2318" y="795"/>
                </a:cubicBezTo>
                <a:cubicBezTo>
                  <a:pt x="2318" y="794"/>
                  <a:pt x="2317" y="794"/>
                  <a:pt x="2317" y="793"/>
                </a:cubicBezTo>
                <a:cubicBezTo>
                  <a:pt x="2316" y="792"/>
                  <a:pt x="2316" y="792"/>
                  <a:pt x="2315" y="791"/>
                </a:cubicBezTo>
                <a:cubicBezTo>
                  <a:pt x="2314" y="790"/>
                  <a:pt x="2314" y="789"/>
                  <a:pt x="2312" y="788"/>
                </a:cubicBezTo>
                <a:cubicBezTo>
                  <a:pt x="2311" y="787"/>
                  <a:pt x="2310" y="785"/>
                  <a:pt x="2309" y="784"/>
                </a:cubicBezTo>
                <a:cubicBezTo>
                  <a:pt x="2308" y="783"/>
                  <a:pt x="2308" y="782"/>
                  <a:pt x="2307" y="782"/>
                </a:cubicBezTo>
                <a:cubicBezTo>
                  <a:pt x="2307" y="781"/>
                  <a:pt x="2305" y="780"/>
                  <a:pt x="2305" y="780"/>
                </a:cubicBezTo>
                <a:cubicBezTo>
                  <a:pt x="2304" y="779"/>
                  <a:pt x="2305" y="778"/>
                  <a:pt x="2304" y="777"/>
                </a:cubicBezTo>
                <a:cubicBezTo>
                  <a:pt x="2304" y="777"/>
                  <a:pt x="2304" y="776"/>
                  <a:pt x="2303" y="775"/>
                </a:cubicBezTo>
                <a:cubicBezTo>
                  <a:pt x="2303" y="775"/>
                  <a:pt x="2301" y="775"/>
                  <a:pt x="2302" y="774"/>
                </a:cubicBezTo>
                <a:cubicBezTo>
                  <a:pt x="2302" y="773"/>
                  <a:pt x="2302" y="773"/>
                  <a:pt x="2302" y="773"/>
                </a:cubicBezTo>
                <a:cubicBezTo>
                  <a:pt x="2302" y="772"/>
                  <a:pt x="2302" y="772"/>
                  <a:pt x="2302" y="771"/>
                </a:cubicBezTo>
                <a:cubicBezTo>
                  <a:pt x="2302" y="771"/>
                  <a:pt x="2302" y="770"/>
                  <a:pt x="2302" y="769"/>
                </a:cubicBezTo>
                <a:cubicBezTo>
                  <a:pt x="2302" y="768"/>
                  <a:pt x="2303" y="767"/>
                  <a:pt x="2303" y="766"/>
                </a:cubicBezTo>
                <a:cubicBezTo>
                  <a:pt x="2303" y="766"/>
                  <a:pt x="2303" y="765"/>
                  <a:pt x="2303" y="764"/>
                </a:cubicBezTo>
                <a:cubicBezTo>
                  <a:pt x="2303" y="764"/>
                  <a:pt x="2303" y="763"/>
                  <a:pt x="2303" y="763"/>
                </a:cubicBezTo>
                <a:cubicBezTo>
                  <a:pt x="2303" y="763"/>
                  <a:pt x="2303" y="763"/>
                  <a:pt x="2304" y="763"/>
                </a:cubicBezTo>
                <a:cubicBezTo>
                  <a:pt x="2304" y="762"/>
                  <a:pt x="2303" y="762"/>
                  <a:pt x="2302" y="762"/>
                </a:cubicBezTo>
                <a:cubicBezTo>
                  <a:pt x="2302" y="762"/>
                  <a:pt x="2302" y="763"/>
                  <a:pt x="2301" y="763"/>
                </a:cubicBezTo>
                <a:cubicBezTo>
                  <a:pt x="2301" y="763"/>
                  <a:pt x="2301" y="762"/>
                  <a:pt x="2301" y="762"/>
                </a:cubicBezTo>
                <a:cubicBezTo>
                  <a:pt x="2301" y="762"/>
                  <a:pt x="2301" y="762"/>
                  <a:pt x="2300" y="761"/>
                </a:cubicBezTo>
                <a:cubicBezTo>
                  <a:pt x="2300" y="761"/>
                  <a:pt x="2300" y="760"/>
                  <a:pt x="2300" y="760"/>
                </a:cubicBezTo>
                <a:cubicBezTo>
                  <a:pt x="2300" y="759"/>
                  <a:pt x="2299" y="759"/>
                  <a:pt x="2299" y="758"/>
                </a:cubicBezTo>
                <a:cubicBezTo>
                  <a:pt x="2298" y="757"/>
                  <a:pt x="2298" y="757"/>
                  <a:pt x="2297" y="756"/>
                </a:cubicBezTo>
                <a:cubicBezTo>
                  <a:pt x="2297" y="756"/>
                  <a:pt x="2296" y="755"/>
                  <a:pt x="2295" y="755"/>
                </a:cubicBezTo>
                <a:cubicBezTo>
                  <a:pt x="2295" y="755"/>
                  <a:pt x="2294" y="755"/>
                  <a:pt x="2293" y="754"/>
                </a:cubicBezTo>
                <a:cubicBezTo>
                  <a:pt x="2292" y="754"/>
                  <a:pt x="2293" y="753"/>
                  <a:pt x="2293" y="753"/>
                </a:cubicBezTo>
                <a:cubicBezTo>
                  <a:pt x="2293" y="752"/>
                  <a:pt x="2294" y="751"/>
                  <a:pt x="2294" y="751"/>
                </a:cubicBezTo>
                <a:cubicBezTo>
                  <a:pt x="2295" y="750"/>
                  <a:pt x="2295" y="749"/>
                  <a:pt x="2296" y="749"/>
                </a:cubicBezTo>
                <a:cubicBezTo>
                  <a:pt x="2297" y="748"/>
                  <a:pt x="2298" y="747"/>
                  <a:pt x="2298" y="745"/>
                </a:cubicBezTo>
                <a:cubicBezTo>
                  <a:pt x="2299" y="744"/>
                  <a:pt x="2300" y="742"/>
                  <a:pt x="2301" y="741"/>
                </a:cubicBezTo>
                <a:cubicBezTo>
                  <a:pt x="2301" y="740"/>
                  <a:pt x="2301" y="739"/>
                  <a:pt x="2301" y="738"/>
                </a:cubicBezTo>
                <a:cubicBezTo>
                  <a:pt x="2301" y="738"/>
                  <a:pt x="2301" y="736"/>
                  <a:pt x="2301" y="736"/>
                </a:cubicBezTo>
                <a:cubicBezTo>
                  <a:pt x="2302" y="736"/>
                  <a:pt x="2302" y="737"/>
                  <a:pt x="2302" y="737"/>
                </a:cubicBezTo>
                <a:cubicBezTo>
                  <a:pt x="2302" y="737"/>
                  <a:pt x="2302" y="738"/>
                  <a:pt x="2302" y="738"/>
                </a:cubicBezTo>
                <a:cubicBezTo>
                  <a:pt x="2303" y="738"/>
                  <a:pt x="2303" y="739"/>
                  <a:pt x="2303" y="739"/>
                </a:cubicBezTo>
                <a:cubicBezTo>
                  <a:pt x="2303" y="739"/>
                  <a:pt x="2303" y="738"/>
                  <a:pt x="2303" y="738"/>
                </a:cubicBezTo>
                <a:cubicBezTo>
                  <a:pt x="2303" y="738"/>
                  <a:pt x="2303" y="737"/>
                  <a:pt x="2303" y="736"/>
                </a:cubicBezTo>
                <a:cubicBezTo>
                  <a:pt x="2304" y="736"/>
                  <a:pt x="2304" y="737"/>
                  <a:pt x="2304" y="737"/>
                </a:cubicBezTo>
                <a:cubicBezTo>
                  <a:pt x="2304" y="737"/>
                  <a:pt x="2304" y="737"/>
                  <a:pt x="2304" y="737"/>
                </a:cubicBezTo>
                <a:cubicBezTo>
                  <a:pt x="2305" y="737"/>
                  <a:pt x="2305" y="737"/>
                  <a:pt x="2305" y="737"/>
                </a:cubicBezTo>
                <a:cubicBezTo>
                  <a:pt x="2305" y="738"/>
                  <a:pt x="2305" y="738"/>
                  <a:pt x="2305" y="738"/>
                </a:cubicBezTo>
                <a:cubicBezTo>
                  <a:pt x="2306" y="738"/>
                  <a:pt x="2306" y="738"/>
                  <a:pt x="2306" y="737"/>
                </a:cubicBezTo>
                <a:cubicBezTo>
                  <a:pt x="2306" y="736"/>
                  <a:pt x="2307" y="737"/>
                  <a:pt x="2307" y="736"/>
                </a:cubicBezTo>
                <a:cubicBezTo>
                  <a:pt x="2308" y="736"/>
                  <a:pt x="2308" y="736"/>
                  <a:pt x="2308" y="736"/>
                </a:cubicBezTo>
                <a:cubicBezTo>
                  <a:pt x="2309" y="736"/>
                  <a:pt x="2309" y="737"/>
                  <a:pt x="2309" y="736"/>
                </a:cubicBezTo>
                <a:cubicBezTo>
                  <a:pt x="2310" y="736"/>
                  <a:pt x="2310" y="736"/>
                  <a:pt x="2311" y="735"/>
                </a:cubicBezTo>
                <a:cubicBezTo>
                  <a:pt x="2311" y="734"/>
                  <a:pt x="2312" y="734"/>
                  <a:pt x="2313" y="733"/>
                </a:cubicBezTo>
                <a:cubicBezTo>
                  <a:pt x="2313" y="733"/>
                  <a:pt x="2313" y="732"/>
                  <a:pt x="2314" y="732"/>
                </a:cubicBezTo>
                <a:cubicBezTo>
                  <a:pt x="2314" y="732"/>
                  <a:pt x="2314" y="733"/>
                  <a:pt x="2315" y="733"/>
                </a:cubicBezTo>
                <a:cubicBezTo>
                  <a:pt x="2315" y="734"/>
                  <a:pt x="2315" y="734"/>
                  <a:pt x="2316" y="734"/>
                </a:cubicBezTo>
                <a:cubicBezTo>
                  <a:pt x="2316" y="734"/>
                  <a:pt x="2316" y="734"/>
                  <a:pt x="2316" y="734"/>
                </a:cubicBezTo>
                <a:cubicBezTo>
                  <a:pt x="2316" y="734"/>
                  <a:pt x="2316" y="734"/>
                  <a:pt x="2316" y="734"/>
                </a:cubicBezTo>
                <a:cubicBezTo>
                  <a:pt x="2316" y="734"/>
                  <a:pt x="2316" y="734"/>
                  <a:pt x="2316" y="733"/>
                </a:cubicBezTo>
                <a:cubicBezTo>
                  <a:pt x="2315" y="733"/>
                  <a:pt x="2316" y="732"/>
                  <a:pt x="2316" y="732"/>
                </a:cubicBezTo>
                <a:cubicBezTo>
                  <a:pt x="2315" y="732"/>
                  <a:pt x="2315" y="732"/>
                  <a:pt x="2315" y="731"/>
                </a:cubicBezTo>
                <a:cubicBezTo>
                  <a:pt x="2315" y="731"/>
                  <a:pt x="2315" y="731"/>
                  <a:pt x="2316" y="730"/>
                </a:cubicBezTo>
                <a:cubicBezTo>
                  <a:pt x="2317" y="730"/>
                  <a:pt x="2318" y="730"/>
                  <a:pt x="2318" y="730"/>
                </a:cubicBezTo>
                <a:cubicBezTo>
                  <a:pt x="2319" y="730"/>
                  <a:pt x="2320" y="730"/>
                  <a:pt x="2320" y="729"/>
                </a:cubicBezTo>
                <a:cubicBezTo>
                  <a:pt x="2320" y="728"/>
                  <a:pt x="2320" y="728"/>
                  <a:pt x="2321" y="728"/>
                </a:cubicBezTo>
                <a:cubicBezTo>
                  <a:pt x="2321" y="728"/>
                  <a:pt x="2321" y="728"/>
                  <a:pt x="2322" y="728"/>
                </a:cubicBezTo>
                <a:cubicBezTo>
                  <a:pt x="2322" y="729"/>
                  <a:pt x="2322" y="729"/>
                  <a:pt x="2322" y="728"/>
                </a:cubicBezTo>
                <a:cubicBezTo>
                  <a:pt x="2323" y="728"/>
                  <a:pt x="2322" y="728"/>
                  <a:pt x="2321" y="727"/>
                </a:cubicBezTo>
                <a:cubicBezTo>
                  <a:pt x="2321" y="727"/>
                  <a:pt x="2321" y="726"/>
                  <a:pt x="2322" y="726"/>
                </a:cubicBezTo>
                <a:cubicBezTo>
                  <a:pt x="2322" y="725"/>
                  <a:pt x="2322" y="725"/>
                  <a:pt x="2322" y="725"/>
                </a:cubicBezTo>
                <a:cubicBezTo>
                  <a:pt x="2322" y="725"/>
                  <a:pt x="2322" y="724"/>
                  <a:pt x="2323" y="724"/>
                </a:cubicBezTo>
                <a:cubicBezTo>
                  <a:pt x="2323" y="724"/>
                  <a:pt x="2323" y="724"/>
                  <a:pt x="2324" y="724"/>
                </a:cubicBezTo>
                <a:cubicBezTo>
                  <a:pt x="2326" y="724"/>
                  <a:pt x="2327" y="724"/>
                  <a:pt x="2330" y="724"/>
                </a:cubicBezTo>
                <a:cubicBezTo>
                  <a:pt x="2331" y="723"/>
                  <a:pt x="2331" y="722"/>
                  <a:pt x="2332" y="722"/>
                </a:cubicBezTo>
                <a:cubicBezTo>
                  <a:pt x="2333" y="721"/>
                  <a:pt x="2334" y="720"/>
                  <a:pt x="2335" y="720"/>
                </a:cubicBezTo>
                <a:cubicBezTo>
                  <a:pt x="2336" y="720"/>
                  <a:pt x="2336" y="720"/>
                  <a:pt x="2337" y="720"/>
                </a:cubicBezTo>
                <a:cubicBezTo>
                  <a:pt x="2337" y="719"/>
                  <a:pt x="2337" y="719"/>
                  <a:pt x="2338" y="718"/>
                </a:cubicBezTo>
                <a:cubicBezTo>
                  <a:pt x="2338" y="718"/>
                  <a:pt x="2339" y="719"/>
                  <a:pt x="2339" y="718"/>
                </a:cubicBezTo>
                <a:cubicBezTo>
                  <a:pt x="2340" y="718"/>
                  <a:pt x="2340" y="718"/>
                  <a:pt x="2340" y="718"/>
                </a:cubicBezTo>
                <a:cubicBezTo>
                  <a:pt x="2341" y="717"/>
                  <a:pt x="2342" y="717"/>
                  <a:pt x="2343" y="717"/>
                </a:cubicBezTo>
                <a:cubicBezTo>
                  <a:pt x="2343" y="717"/>
                  <a:pt x="2344" y="716"/>
                  <a:pt x="2345" y="716"/>
                </a:cubicBezTo>
                <a:cubicBezTo>
                  <a:pt x="2345" y="716"/>
                  <a:pt x="2345" y="716"/>
                  <a:pt x="2346" y="717"/>
                </a:cubicBezTo>
                <a:cubicBezTo>
                  <a:pt x="2346" y="717"/>
                  <a:pt x="2347" y="717"/>
                  <a:pt x="2347" y="717"/>
                </a:cubicBezTo>
                <a:cubicBezTo>
                  <a:pt x="2348" y="717"/>
                  <a:pt x="2349" y="717"/>
                  <a:pt x="2349" y="718"/>
                </a:cubicBezTo>
                <a:cubicBezTo>
                  <a:pt x="2350" y="718"/>
                  <a:pt x="2351" y="718"/>
                  <a:pt x="2352" y="718"/>
                </a:cubicBezTo>
                <a:cubicBezTo>
                  <a:pt x="2353" y="719"/>
                  <a:pt x="2353" y="719"/>
                  <a:pt x="2354" y="720"/>
                </a:cubicBezTo>
                <a:cubicBezTo>
                  <a:pt x="2355" y="720"/>
                  <a:pt x="2355" y="721"/>
                  <a:pt x="2356" y="720"/>
                </a:cubicBezTo>
                <a:cubicBezTo>
                  <a:pt x="2356" y="720"/>
                  <a:pt x="2356" y="720"/>
                  <a:pt x="2356" y="720"/>
                </a:cubicBezTo>
                <a:cubicBezTo>
                  <a:pt x="2357" y="719"/>
                  <a:pt x="2357" y="718"/>
                  <a:pt x="2358" y="718"/>
                </a:cubicBezTo>
                <a:cubicBezTo>
                  <a:pt x="2360" y="717"/>
                  <a:pt x="2359" y="719"/>
                  <a:pt x="2360" y="719"/>
                </a:cubicBezTo>
                <a:cubicBezTo>
                  <a:pt x="2361" y="719"/>
                  <a:pt x="2362" y="719"/>
                  <a:pt x="2363" y="719"/>
                </a:cubicBezTo>
                <a:cubicBezTo>
                  <a:pt x="2364" y="720"/>
                  <a:pt x="2364" y="720"/>
                  <a:pt x="2365" y="721"/>
                </a:cubicBezTo>
                <a:cubicBezTo>
                  <a:pt x="2365" y="722"/>
                  <a:pt x="2365" y="722"/>
                  <a:pt x="2366" y="723"/>
                </a:cubicBezTo>
                <a:cubicBezTo>
                  <a:pt x="2366" y="723"/>
                  <a:pt x="2366" y="724"/>
                  <a:pt x="2366" y="724"/>
                </a:cubicBezTo>
                <a:cubicBezTo>
                  <a:pt x="2366" y="725"/>
                  <a:pt x="2367" y="725"/>
                  <a:pt x="2367" y="726"/>
                </a:cubicBezTo>
                <a:cubicBezTo>
                  <a:pt x="2367" y="726"/>
                  <a:pt x="2367" y="727"/>
                  <a:pt x="2367" y="728"/>
                </a:cubicBezTo>
                <a:cubicBezTo>
                  <a:pt x="2367" y="729"/>
                  <a:pt x="2367" y="731"/>
                  <a:pt x="2366" y="732"/>
                </a:cubicBezTo>
                <a:cubicBezTo>
                  <a:pt x="2366" y="734"/>
                  <a:pt x="2365" y="736"/>
                  <a:pt x="2365" y="737"/>
                </a:cubicBezTo>
                <a:cubicBezTo>
                  <a:pt x="2365" y="738"/>
                  <a:pt x="2365" y="740"/>
                  <a:pt x="2366" y="740"/>
                </a:cubicBezTo>
                <a:cubicBezTo>
                  <a:pt x="2367" y="741"/>
                  <a:pt x="2368" y="741"/>
                  <a:pt x="2369" y="741"/>
                </a:cubicBezTo>
                <a:cubicBezTo>
                  <a:pt x="2370" y="742"/>
                  <a:pt x="2371" y="742"/>
                  <a:pt x="2372" y="742"/>
                </a:cubicBezTo>
                <a:cubicBezTo>
                  <a:pt x="2372" y="741"/>
                  <a:pt x="2373" y="741"/>
                  <a:pt x="2374" y="741"/>
                </a:cubicBezTo>
                <a:cubicBezTo>
                  <a:pt x="2374" y="740"/>
                  <a:pt x="2375" y="740"/>
                  <a:pt x="2375" y="739"/>
                </a:cubicBezTo>
                <a:cubicBezTo>
                  <a:pt x="2376" y="739"/>
                  <a:pt x="2377" y="739"/>
                  <a:pt x="2378" y="740"/>
                </a:cubicBezTo>
                <a:cubicBezTo>
                  <a:pt x="2378" y="740"/>
                  <a:pt x="2378" y="740"/>
                  <a:pt x="2378" y="741"/>
                </a:cubicBezTo>
                <a:cubicBezTo>
                  <a:pt x="2378" y="741"/>
                  <a:pt x="2378" y="741"/>
                  <a:pt x="2378" y="742"/>
                </a:cubicBezTo>
                <a:cubicBezTo>
                  <a:pt x="2378" y="743"/>
                  <a:pt x="2378" y="743"/>
                  <a:pt x="2378" y="744"/>
                </a:cubicBezTo>
                <a:cubicBezTo>
                  <a:pt x="2379" y="745"/>
                  <a:pt x="2380" y="745"/>
                  <a:pt x="2379" y="746"/>
                </a:cubicBezTo>
                <a:cubicBezTo>
                  <a:pt x="2378" y="746"/>
                  <a:pt x="2377" y="746"/>
                  <a:pt x="2377" y="746"/>
                </a:cubicBezTo>
                <a:cubicBezTo>
                  <a:pt x="2376" y="746"/>
                  <a:pt x="2375" y="747"/>
                  <a:pt x="2374" y="747"/>
                </a:cubicBezTo>
                <a:cubicBezTo>
                  <a:pt x="2374" y="747"/>
                  <a:pt x="2373" y="747"/>
                  <a:pt x="2372" y="747"/>
                </a:cubicBezTo>
                <a:cubicBezTo>
                  <a:pt x="2370" y="748"/>
                  <a:pt x="2369" y="750"/>
                  <a:pt x="2369" y="751"/>
                </a:cubicBezTo>
                <a:cubicBezTo>
                  <a:pt x="2369" y="752"/>
                  <a:pt x="2368" y="753"/>
                  <a:pt x="2368" y="754"/>
                </a:cubicBezTo>
                <a:cubicBezTo>
                  <a:pt x="2367" y="754"/>
                  <a:pt x="2366" y="754"/>
                  <a:pt x="2367" y="753"/>
                </a:cubicBezTo>
                <a:cubicBezTo>
                  <a:pt x="2367" y="753"/>
                  <a:pt x="2367" y="753"/>
                  <a:pt x="2368" y="752"/>
                </a:cubicBezTo>
                <a:cubicBezTo>
                  <a:pt x="2368" y="752"/>
                  <a:pt x="2368" y="751"/>
                  <a:pt x="2368" y="751"/>
                </a:cubicBezTo>
                <a:cubicBezTo>
                  <a:pt x="2369" y="750"/>
                  <a:pt x="2369" y="750"/>
                  <a:pt x="2369" y="749"/>
                </a:cubicBezTo>
                <a:cubicBezTo>
                  <a:pt x="2369" y="747"/>
                  <a:pt x="2371" y="746"/>
                  <a:pt x="2372" y="746"/>
                </a:cubicBezTo>
                <a:cubicBezTo>
                  <a:pt x="2373" y="746"/>
                  <a:pt x="2373" y="746"/>
                  <a:pt x="2374" y="746"/>
                </a:cubicBezTo>
                <a:cubicBezTo>
                  <a:pt x="2374" y="746"/>
                  <a:pt x="2374" y="746"/>
                  <a:pt x="2375" y="746"/>
                </a:cubicBezTo>
                <a:cubicBezTo>
                  <a:pt x="2375" y="746"/>
                  <a:pt x="2376" y="745"/>
                  <a:pt x="2376" y="744"/>
                </a:cubicBezTo>
                <a:cubicBezTo>
                  <a:pt x="2376" y="743"/>
                  <a:pt x="2375" y="742"/>
                  <a:pt x="2374" y="743"/>
                </a:cubicBezTo>
                <a:cubicBezTo>
                  <a:pt x="2374" y="743"/>
                  <a:pt x="2373" y="743"/>
                  <a:pt x="2372" y="744"/>
                </a:cubicBezTo>
                <a:cubicBezTo>
                  <a:pt x="2371" y="744"/>
                  <a:pt x="2371" y="743"/>
                  <a:pt x="2370" y="743"/>
                </a:cubicBezTo>
                <a:cubicBezTo>
                  <a:pt x="2369" y="743"/>
                  <a:pt x="2368" y="743"/>
                  <a:pt x="2367" y="743"/>
                </a:cubicBezTo>
                <a:cubicBezTo>
                  <a:pt x="2366" y="743"/>
                  <a:pt x="2365" y="743"/>
                  <a:pt x="2364" y="743"/>
                </a:cubicBezTo>
                <a:cubicBezTo>
                  <a:pt x="2363" y="742"/>
                  <a:pt x="2362" y="742"/>
                  <a:pt x="2361" y="742"/>
                </a:cubicBezTo>
                <a:cubicBezTo>
                  <a:pt x="2359" y="742"/>
                  <a:pt x="2357" y="742"/>
                  <a:pt x="2356" y="742"/>
                </a:cubicBezTo>
                <a:cubicBezTo>
                  <a:pt x="2355" y="742"/>
                  <a:pt x="2354" y="741"/>
                  <a:pt x="2354" y="741"/>
                </a:cubicBezTo>
                <a:cubicBezTo>
                  <a:pt x="2353" y="741"/>
                  <a:pt x="2352" y="741"/>
                  <a:pt x="2351" y="741"/>
                </a:cubicBezTo>
                <a:cubicBezTo>
                  <a:pt x="2351" y="740"/>
                  <a:pt x="2350" y="739"/>
                  <a:pt x="2349" y="740"/>
                </a:cubicBezTo>
                <a:cubicBezTo>
                  <a:pt x="2349" y="741"/>
                  <a:pt x="2349" y="741"/>
                  <a:pt x="2349" y="741"/>
                </a:cubicBezTo>
                <a:cubicBezTo>
                  <a:pt x="2348" y="741"/>
                  <a:pt x="2348" y="741"/>
                  <a:pt x="2348" y="741"/>
                </a:cubicBezTo>
                <a:cubicBezTo>
                  <a:pt x="2347" y="741"/>
                  <a:pt x="2347" y="741"/>
                  <a:pt x="2347" y="741"/>
                </a:cubicBezTo>
                <a:cubicBezTo>
                  <a:pt x="2346" y="741"/>
                  <a:pt x="2345" y="742"/>
                  <a:pt x="2345" y="743"/>
                </a:cubicBezTo>
                <a:cubicBezTo>
                  <a:pt x="2344" y="744"/>
                  <a:pt x="2344" y="744"/>
                  <a:pt x="2344" y="745"/>
                </a:cubicBezTo>
                <a:cubicBezTo>
                  <a:pt x="2343" y="746"/>
                  <a:pt x="2343" y="746"/>
                  <a:pt x="2342" y="746"/>
                </a:cubicBezTo>
                <a:cubicBezTo>
                  <a:pt x="2341" y="746"/>
                  <a:pt x="2341" y="747"/>
                  <a:pt x="2341" y="748"/>
                </a:cubicBezTo>
                <a:cubicBezTo>
                  <a:pt x="2342" y="748"/>
                  <a:pt x="2342" y="748"/>
                  <a:pt x="2342" y="748"/>
                </a:cubicBezTo>
                <a:cubicBezTo>
                  <a:pt x="2343" y="749"/>
                  <a:pt x="2343" y="749"/>
                  <a:pt x="2343" y="749"/>
                </a:cubicBezTo>
                <a:cubicBezTo>
                  <a:pt x="2344" y="750"/>
                  <a:pt x="2344" y="750"/>
                  <a:pt x="2344" y="750"/>
                </a:cubicBezTo>
                <a:cubicBezTo>
                  <a:pt x="2344" y="751"/>
                  <a:pt x="2344" y="751"/>
                  <a:pt x="2345" y="752"/>
                </a:cubicBezTo>
                <a:cubicBezTo>
                  <a:pt x="2345" y="752"/>
                  <a:pt x="2346" y="752"/>
                  <a:pt x="2347" y="752"/>
                </a:cubicBezTo>
                <a:cubicBezTo>
                  <a:pt x="2347" y="752"/>
                  <a:pt x="2347" y="752"/>
                  <a:pt x="2347" y="753"/>
                </a:cubicBezTo>
                <a:cubicBezTo>
                  <a:pt x="2347" y="753"/>
                  <a:pt x="2347" y="753"/>
                  <a:pt x="2346" y="753"/>
                </a:cubicBezTo>
                <a:cubicBezTo>
                  <a:pt x="2346" y="753"/>
                  <a:pt x="2346" y="753"/>
                  <a:pt x="2346" y="753"/>
                </a:cubicBezTo>
                <a:cubicBezTo>
                  <a:pt x="2345" y="753"/>
                  <a:pt x="2345" y="752"/>
                  <a:pt x="2345" y="753"/>
                </a:cubicBezTo>
                <a:cubicBezTo>
                  <a:pt x="2344" y="753"/>
                  <a:pt x="2344" y="753"/>
                  <a:pt x="2344" y="753"/>
                </a:cubicBezTo>
                <a:cubicBezTo>
                  <a:pt x="2344" y="753"/>
                  <a:pt x="2343" y="753"/>
                  <a:pt x="2342" y="753"/>
                </a:cubicBezTo>
                <a:cubicBezTo>
                  <a:pt x="2342" y="753"/>
                  <a:pt x="2342" y="753"/>
                  <a:pt x="2341" y="752"/>
                </a:cubicBezTo>
                <a:cubicBezTo>
                  <a:pt x="2341" y="752"/>
                  <a:pt x="2340" y="752"/>
                  <a:pt x="2339" y="752"/>
                </a:cubicBezTo>
                <a:cubicBezTo>
                  <a:pt x="2338" y="752"/>
                  <a:pt x="2337" y="752"/>
                  <a:pt x="2336" y="751"/>
                </a:cubicBezTo>
                <a:cubicBezTo>
                  <a:pt x="2335" y="751"/>
                  <a:pt x="2335" y="751"/>
                  <a:pt x="2334" y="751"/>
                </a:cubicBezTo>
                <a:cubicBezTo>
                  <a:pt x="2333" y="751"/>
                  <a:pt x="2333" y="752"/>
                  <a:pt x="2333" y="753"/>
                </a:cubicBezTo>
                <a:cubicBezTo>
                  <a:pt x="2332" y="754"/>
                  <a:pt x="2332" y="754"/>
                  <a:pt x="2333" y="755"/>
                </a:cubicBezTo>
                <a:cubicBezTo>
                  <a:pt x="2334" y="756"/>
                  <a:pt x="2334" y="756"/>
                  <a:pt x="2335" y="756"/>
                </a:cubicBezTo>
                <a:cubicBezTo>
                  <a:pt x="2336" y="756"/>
                  <a:pt x="2337" y="756"/>
                  <a:pt x="2338" y="756"/>
                </a:cubicBezTo>
                <a:cubicBezTo>
                  <a:pt x="2339" y="757"/>
                  <a:pt x="2339" y="758"/>
                  <a:pt x="2340" y="758"/>
                </a:cubicBezTo>
                <a:cubicBezTo>
                  <a:pt x="2341" y="759"/>
                  <a:pt x="2342" y="761"/>
                  <a:pt x="2342" y="762"/>
                </a:cubicBezTo>
                <a:cubicBezTo>
                  <a:pt x="2342" y="763"/>
                  <a:pt x="2342" y="763"/>
                  <a:pt x="2342" y="764"/>
                </a:cubicBezTo>
                <a:cubicBezTo>
                  <a:pt x="2342" y="764"/>
                  <a:pt x="2343" y="765"/>
                  <a:pt x="2343" y="765"/>
                </a:cubicBezTo>
                <a:cubicBezTo>
                  <a:pt x="2344" y="767"/>
                  <a:pt x="2344" y="768"/>
                  <a:pt x="2345" y="770"/>
                </a:cubicBezTo>
                <a:cubicBezTo>
                  <a:pt x="2345" y="771"/>
                  <a:pt x="2344" y="772"/>
                  <a:pt x="2345" y="772"/>
                </a:cubicBezTo>
                <a:cubicBezTo>
                  <a:pt x="2345" y="772"/>
                  <a:pt x="2346" y="772"/>
                  <a:pt x="2346" y="772"/>
                </a:cubicBezTo>
                <a:cubicBezTo>
                  <a:pt x="2346" y="772"/>
                  <a:pt x="2347" y="772"/>
                  <a:pt x="2347" y="772"/>
                </a:cubicBezTo>
                <a:cubicBezTo>
                  <a:pt x="2348" y="772"/>
                  <a:pt x="2349" y="772"/>
                  <a:pt x="2349" y="773"/>
                </a:cubicBezTo>
                <a:cubicBezTo>
                  <a:pt x="2350" y="773"/>
                  <a:pt x="2350" y="774"/>
                  <a:pt x="2351" y="775"/>
                </a:cubicBezTo>
                <a:cubicBezTo>
                  <a:pt x="2351" y="775"/>
                  <a:pt x="2352" y="776"/>
                  <a:pt x="2352" y="776"/>
                </a:cubicBezTo>
                <a:cubicBezTo>
                  <a:pt x="2353" y="777"/>
                  <a:pt x="2354" y="776"/>
                  <a:pt x="2355" y="776"/>
                </a:cubicBezTo>
                <a:cubicBezTo>
                  <a:pt x="2355" y="776"/>
                  <a:pt x="2356" y="777"/>
                  <a:pt x="2356" y="777"/>
                </a:cubicBezTo>
                <a:cubicBezTo>
                  <a:pt x="2357" y="777"/>
                  <a:pt x="2358" y="776"/>
                  <a:pt x="2359" y="777"/>
                </a:cubicBezTo>
                <a:cubicBezTo>
                  <a:pt x="2359" y="777"/>
                  <a:pt x="2361" y="777"/>
                  <a:pt x="2360" y="778"/>
                </a:cubicBezTo>
                <a:cubicBezTo>
                  <a:pt x="2360" y="778"/>
                  <a:pt x="2360" y="778"/>
                  <a:pt x="2360" y="778"/>
                </a:cubicBezTo>
                <a:cubicBezTo>
                  <a:pt x="2359" y="779"/>
                  <a:pt x="2360" y="779"/>
                  <a:pt x="2360" y="779"/>
                </a:cubicBezTo>
                <a:cubicBezTo>
                  <a:pt x="2361" y="780"/>
                  <a:pt x="2360" y="781"/>
                  <a:pt x="2360" y="781"/>
                </a:cubicBezTo>
                <a:cubicBezTo>
                  <a:pt x="2360" y="782"/>
                  <a:pt x="2359" y="783"/>
                  <a:pt x="2359" y="784"/>
                </a:cubicBezTo>
                <a:cubicBezTo>
                  <a:pt x="2358" y="784"/>
                  <a:pt x="2358" y="785"/>
                  <a:pt x="2358" y="785"/>
                </a:cubicBezTo>
                <a:cubicBezTo>
                  <a:pt x="2357" y="786"/>
                  <a:pt x="2358" y="786"/>
                  <a:pt x="2358" y="787"/>
                </a:cubicBezTo>
                <a:cubicBezTo>
                  <a:pt x="2358" y="788"/>
                  <a:pt x="2358" y="789"/>
                  <a:pt x="2358" y="791"/>
                </a:cubicBezTo>
                <a:cubicBezTo>
                  <a:pt x="2358" y="792"/>
                  <a:pt x="2358" y="792"/>
                  <a:pt x="2358" y="793"/>
                </a:cubicBezTo>
                <a:cubicBezTo>
                  <a:pt x="2359" y="794"/>
                  <a:pt x="2359" y="794"/>
                  <a:pt x="2359" y="795"/>
                </a:cubicBezTo>
                <a:cubicBezTo>
                  <a:pt x="2360" y="796"/>
                  <a:pt x="2361" y="797"/>
                  <a:pt x="2361" y="798"/>
                </a:cubicBezTo>
                <a:cubicBezTo>
                  <a:pt x="2362" y="799"/>
                  <a:pt x="2362" y="800"/>
                  <a:pt x="2363" y="801"/>
                </a:cubicBezTo>
                <a:cubicBezTo>
                  <a:pt x="2363" y="801"/>
                  <a:pt x="2363" y="801"/>
                  <a:pt x="2363" y="800"/>
                </a:cubicBezTo>
                <a:cubicBezTo>
                  <a:pt x="2363" y="800"/>
                  <a:pt x="2363" y="800"/>
                  <a:pt x="2363" y="799"/>
                </a:cubicBezTo>
                <a:cubicBezTo>
                  <a:pt x="2363" y="799"/>
                  <a:pt x="2362" y="799"/>
                  <a:pt x="2362" y="798"/>
                </a:cubicBezTo>
                <a:cubicBezTo>
                  <a:pt x="2362" y="797"/>
                  <a:pt x="2362" y="796"/>
                  <a:pt x="2362" y="796"/>
                </a:cubicBezTo>
                <a:cubicBezTo>
                  <a:pt x="2362" y="795"/>
                  <a:pt x="2363" y="795"/>
                  <a:pt x="2363" y="795"/>
                </a:cubicBezTo>
                <a:cubicBezTo>
                  <a:pt x="2363" y="794"/>
                  <a:pt x="2363" y="794"/>
                  <a:pt x="2363" y="793"/>
                </a:cubicBezTo>
                <a:cubicBezTo>
                  <a:pt x="2363" y="793"/>
                  <a:pt x="2364" y="791"/>
                  <a:pt x="2363" y="792"/>
                </a:cubicBezTo>
                <a:cubicBezTo>
                  <a:pt x="2362" y="792"/>
                  <a:pt x="2362" y="793"/>
                  <a:pt x="2362" y="792"/>
                </a:cubicBezTo>
                <a:cubicBezTo>
                  <a:pt x="2362" y="792"/>
                  <a:pt x="2362" y="792"/>
                  <a:pt x="2363" y="791"/>
                </a:cubicBezTo>
                <a:cubicBezTo>
                  <a:pt x="2363" y="791"/>
                  <a:pt x="2363" y="790"/>
                  <a:pt x="2363" y="790"/>
                </a:cubicBezTo>
                <a:cubicBezTo>
                  <a:pt x="2363" y="789"/>
                  <a:pt x="2364" y="789"/>
                  <a:pt x="2364" y="788"/>
                </a:cubicBezTo>
                <a:cubicBezTo>
                  <a:pt x="2364" y="788"/>
                  <a:pt x="2365" y="788"/>
                  <a:pt x="2365" y="787"/>
                </a:cubicBezTo>
                <a:cubicBezTo>
                  <a:pt x="2366" y="787"/>
                  <a:pt x="2367" y="787"/>
                  <a:pt x="2368" y="787"/>
                </a:cubicBezTo>
                <a:cubicBezTo>
                  <a:pt x="2368" y="787"/>
                  <a:pt x="2368" y="787"/>
                  <a:pt x="2369" y="787"/>
                </a:cubicBezTo>
                <a:cubicBezTo>
                  <a:pt x="2369" y="786"/>
                  <a:pt x="2369" y="786"/>
                  <a:pt x="2370" y="786"/>
                </a:cubicBezTo>
                <a:cubicBezTo>
                  <a:pt x="2371" y="786"/>
                  <a:pt x="2372" y="786"/>
                  <a:pt x="2372" y="786"/>
                </a:cubicBezTo>
                <a:cubicBezTo>
                  <a:pt x="2373" y="786"/>
                  <a:pt x="2373" y="786"/>
                  <a:pt x="2373" y="786"/>
                </a:cubicBezTo>
                <a:cubicBezTo>
                  <a:pt x="2373" y="786"/>
                  <a:pt x="2373" y="786"/>
                  <a:pt x="2373" y="786"/>
                </a:cubicBezTo>
                <a:cubicBezTo>
                  <a:pt x="2373" y="787"/>
                  <a:pt x="2374" y="787"/>
                  <a:pt x="2374" y="787"/>
                </a:cubicBezTo>
                <a:cubicBezTo>
                  <a:pt x="2375" y="788"/>
                  <a:pt x="2375" y="789"/>
                  <a:pt x="2375" y="790"/>
                </a:cubicBezTo>
                <a:cubicBezTo>
                  <a:pt x="2375" y="790"/>
                  <a:pt x="2375" y="791"/>
                  <a:pt x="2375" y="791"/>
                </a:cubicBezTo>
                <a:cubicBezTo>
                  <a:pt x="2375" y="792"/>
                  <a:pt x="2376" y="792"/>
                  <a:pt x="2376" y="792"/>
                </a:cubicBezTo>
                <a:cubicBezTo>
                  <a:pt x="2376" y="793"/>
                  <a:pt x="2376" y="793"/>
                  <a:pt x="2376" y="794"/>
                </a:cubicBezTo>
                <a:cubicBezTo>
                  <a:pt x="2376" y="795"/>
                  <a:pt x="2377" y="795"/>
                  <a:pt x="2377" y="796"/>
                </a:cubicBezTo>
                <a:cubicBezTo>
                  <a:pt x="2378" y="796"/>
                  <a:pt x="2378" y="797"/>
                  <a:pt x="2379" y="797"/>
                </a:cubicBezTo>
                <a:cubicBezTo>
                  <a:pt x="2380" y="798"/>
                  <a:pt x="2381" y="798"/>
                  <a:pt x="2381" y="799"/>
                </a:cubicBezTo>
                <a:cubicBezTo>
                  <a:pt x="2382" y="799"/>
                  <a:pt x="2383" y="800"/>
                  <a:pt x="2383" y="801"/>
                </a:cubicBezTo>
                <a:cubicBezTo>
                  <a:pt x="2384" y="801"/>
                  <a:pt x="2384" y="802"/>
                  <a:pt x="2383" y="803"/>
                </a:cubicBezTo>
                <a:close/>
                <a:moveTo>
                  <a:pt x="2458" y="727"/>
                </a:moveTo>
                <a:cubicBezTo>
                  <a:pt x="2457" y="728"/>
                  <a:pt x="2458" y="729"/>
                  <a:pt x="2457" y="730"/>
                </a:cubicBezTo>
                <a:cubicBezTo>
                  <a:pt x="2456" y="730"/>
                  <a:pt x="2456" y="730"/>
                  <a:pt x="2455" y="730"/>
                </a:cubicBezTo>
                <a:cubicBezTo>
                  <a:pt x="2454" y="730"/>
                  <a:pt x="2453" y="730"/>
                  <a:pt x="2453" y="731"/>
                </a:cubicBezTo>
                <a:cubicBezTo>
                  <a:pt x="2452" y="732"/>
                  <a:pt x="2452" y="733"/>
                  <a:pt x="2451" y="733"/>
                </a:cubicBezTo>
                <a:cubicBezTo>
                  <a:pt x="2450" y="733"/>
                  <a:pt x="2450" y="733"/>
                  <a:pt x="2449" y="733"/>
                </a:cubicBezTo>
                <a:cubicBezTo>
                  <a:pt x="2449" y="734"/>
                  <a:pt x="2449" y="735"/>
                  <a:pt x="2448" y="735"/>
                </a:cubicBezTo>
                <a:cubicBezTo>
                  <a:pt x="2447" y="735"/>
                  <a:pt x="2446" y="735"/>
                  <a:pt x="2445" y="734"/>
                </a:cubicBezTo>
                <a:cubicBezTo>
                  <a:pt x="2445" y="734"/>
                  <a:pt x="2444" y="734"/>
                  <a:pt x="2443" y="734"/>
                </a:cubicBezTo>
                <a:cubicBezTo>
                  <a:pt x="2443" y="734"/>
                  <a:pt x="2442" y="734"/>
                  <a:pt x="2442" y="734"/>
                </a:cubicBezTo>
                <a:cubicBezTo>
                  <a:pt x="2440" y="734"/>
                  <a:pt x="2441" y="734"/>
                  <a:pt x="2441" y="735"/>
                </a:cubicBezTo>
                <a:cubicBezTo>
                  <a:pt x="2442" y="736"/>
                  <a:pt x="2441" y="735"/>
                  <a:pt x="2440" y="736"/>
                </a:cubicBezTo>
                <a:cubicBezTo>
                  <a:pt x="2440" y="736"/>
                  <a:pt x="2441" y="737"/>
                  <a:pt x="2441" y="738"/>
                </a:cubicBezTo>
                <a:cubicBezTo>
                  <a:pt x="2441" y="738"/>
                  <a:pt x="2440" y="738"/>
                  <a:pt x="2440" y="739"/>
                </a:cubicBezTo>
                <a:cubicBezTo>
                  <a:pt x="2441" y="740"/>
                  <a:pt x="2443" y="739"/>
                  <a:pt x="2444" y="739"/>
                </a:cubicBezTo>
                <a:cubicBezTo>
                  <a:pt x="2445" y="740"/>
                  <a:pt x="2445" y="741"/>
                  <a:pt x="2445" y="742"/>
                </a:cubicBezTo>
                <a:cubicBezTo>
                  <a:pt x="2445" y="744"/>
                  <a:pt x="2445" y="745"/>
                  <a:pt x="2445" y="746"/>
                </a:cubicBezTo>
                <a:cubicBezTo>
                  <a:pt x="2444" y="747"/>
                  <a:pt x="2444" y="748"/>
                  <a:pt x="2444" y="749"/>
                </a:cubicBezTo>
                <a:cubicBezTo>
                  <a:pt x="2444" y="749"/>
                  <a:pt x="2444" y="750"/>
                  <a:pt x="2444" y="750"/>
                </a:cubicBezTo>
                <a:cubicBezTo>
                  <a:pt x="2445" y="751"/>
                  <a:pt x="2445" y="753"/>
                  <a:pt x="2445" y="755"/>
                </a:cubicBezTo>
                <a:cubicBezTo>
                  <a:pt x="2444" y="755"/>
                  <a:pt x="2444" y="756"/>
                  <a:pt x="2444" y="756"/>
                </a:cubicBezTo>
                <a:cubicBezTo>
                  <a:pt x="2444" y="757"/>
                  <a:pt x="2444" y="758"/>
                  <a:pt x="2443" y="758"/>
                </a:cubicBezTo>
                <a:cubicBezTo>
                  <a:pt x="2443" y="759"/>
                  <a:pt x="2442" y="758"/>
                  <a:pt x="2442" y="759"/>
                </a:cubicBezTo>
                <a:cubicBezTo>
                  <a:pt x="2441" y="760"/>
                  <a:pt x="2442" y="761"/>
                  <a:pt x="2441" y="761"/>
                </a:cubicBezTo>
                <a:cubicBezTo>
                  <a:pt x="2440" y="761"/>
                  <a:pt x="2441" y="760"/>
                  <a:pt x="2440" y="760"/>
                </a:cubicBezTo>
                <a:cubicBezTo>
                  <a:pt x="2439" y="759"/>
                  <a:pt x="2439" y="760"/>
                  <a:pt x="2438" y="760"/>
                </a:cubicBezTo>
                <a:cubicBezTo>
                  <a:pt x="2438" y="760"/>
                  <a:pt x="2437" y="759"/>
                  <a:pt x="2437" y="759"/>
                </a:cubicBezTo>
                <a:cubicBezTo>
                  <a:pt x="2437" y="758"/>
                  <a:pt x="2437" y="757"/>
                  <a:pt x="2436" y="757"/>
                </a:cubicBezTo>
                <a:cubicBezTo>
                  <a:pt x="2436" y="756"/>
                  <a:pt x="2435" y="755"/>
                  <a:pt x="2435" y="754"/>
                </a:cubicBezTo>
                <a:cubicBezTo>
                  <a:pt x="2434" y="752"/>
                  <a:pt x="2435" y="751"/>
                  <a:pt x="2435" y="750"/>
                </a:cubicBezTo>
                <a:cubicBezTo>
                  <a:pt x="2435" y="749"/>
                  <a:pt x="2435" y="748"/>
                  <a:pt x="2436" y="747"/>
                </a:cubicBezTo>
                <a:cubicBezTo>
                  <a:pt x="2436" y="746"/>
                  <a:pt x="2438" y="745"/>
                  <a:pt x="2438" y="743"/>
                </a:cubicBezTo>
                <a:cubicBezTo>
                  <a:pt x="2437" y="743"/>
                  <a:pt x="2437" y="743"/>
                  <a:pt x="2436" y="743"/>
                </a:cubicBezTo>
                <a:cubicBezTo>
                  <a:pt x="2436" y="742"/>
                  <a:pt x="2437" y="742"/>
                  <a:pt x="2437" y="741"/>
                </a:cubicBezTo>
                <a:cubicBezTo>
                  <a:pt x="2437" y="739"/>
                  <a:pt x="2434" y="738"/>
                  <a:pt x="2434" y="737"/>
                </a:cubicBezTo>
                <a:cubicBezTo>
                  <a:pt x="2434" y="736"/>
                  <a:pt x="2433" y="735"/>
                  <a:pt x="2433" y="736"/>
                </a:cubicBezTo>
                <a:cubicBezTo>
                  <a:pt x="2432" y="736"/>
                  <a:pt x="2433" y="737"/>
                  <a:pt x="2432" y="738"/>
                </a:cubicBezTo>
                <a:cubicBezTo>
                  <a:pt x="2432" y="737"/>
                  <a:pt x="2432" y="736"/>
                  <a:pt x="2431" y="736"/>
                </a:cubicBezTo>
                <a:cubicBezTo>
                  <a:pt x="2431" y="738"/>
                  <a:pt x="2432" y="739"/>
                  <a:pt x="2430" y="740"/>
                </a:cubicBezTo>
                <a:cubicBezTo>
                  <a:pt x="2429" y="740"/>
                  <a:pt x="2428" y="741"/>
                  <a:pt x="2429" y="743"/>
                </a:cubicBezTo>
                <a:cubicBezTo>
                  <a:pt x="2429" y="744"/>
                  <a:pt x="2430" y="745"/>
                  <a:pt x="2429" y="746"/>
                </a:cubicBezTo>
                <a:cubicBezTo>
                  <a:pt x="2428" y="746"/>
                  <a:pt x="2427" y="747"/>
                  <a:pt x="2428" y="748"/>
                </a:cubicBezTo>
                <a:cubicBezTo>
                  <a:pt x="2429" y="748"/>
                  <a:pt x="2429" y="747"/>
                  <a:pt x="2430" y="747"/>
                </a:cubicBezTo>
                <a:cubicBezTo>
                  <a:pt x="2431" y="747"/>
                  <a:pt x="2430" y="748"/>
                  <a:pt x="2429" y="748"/>
                </a:cubicBezTo>
                <a:cubicBezTo>
                  <a:pt x="2429" y="749"/>
                  <a:pt x="2429" y="749"/>
                  <a:pt x="2429" y="750"/>
                </a:cubicBezTo>
                <a:cubicBezTo>
                  <a:pt x="2429" y="750"/>
                  <a:pt x="2430" y="751"/>
                  <a:pt x="2429" y="752"/>
                </a:cubicBezTo>
                <a:cubicBezTo>
                  <a:pt x="2429" y="752"/>
                  <a:pt x="2429" y="751"/>
                  <a:pt x="2428" y="751"/>
                </a:cubicBezTo>
                <a:cubicBezTo>
                  <a:pt x="2428" y="750"/>
                  <a:pt x="2427" y="750"/>
                  <a:pt x="2427" y="751"/>
                </a:cubicBezTo>
                <a:cubicBezTo>
                  <a:pt x="2427" y="752"/>
                  <a:pt x="2428" y="752"/>
                  <a:pt x="2428" y="753"/>
                </a:cubicBezTo>
                <a:cubicBezTo>
                  <a:pt x="2428" y="753"/>
                  <a:pt x="2427" y="753"/>
                  <a:pt x="2427" y="754"/>
                </a:cubicBezTo>
                <a:cubicBezTo>
                  <a:pt x="2426" y="755"/>
                  <a:pt x="2426" y="756"/>
                  <a:pt x="2425" y="756"/>
                </a:cubicBezTo>
                <a:cubicBezTo>
                  <a:pt x="2423" y="756"/>
                  <a:pt x="2423" y="754"/>
                  <a:pt x="2423" y="753"/>
                </a:cubicBezTo>
                <a:cubicBezTo>
                  <a:pt x="2424" y="753"/>
                  <a:pt x="2424" y="752"/>
                  <a:pt x="2424" y="752"/>
                </a:cubicBezTo>
                <a:cubicBezTo>
                  <a:pt x="2424" y="751"/>
                  <a:pt x="2423" y="751"/>
                  <a:pt x="2423" y="750"/>
                </a:cubicBezTo>
                <a:cubicBezTo>
                  <a:pt x="2423" y="749"/>
                  <a:pt x="2424" y="748"/>
                  <a:pt x="2424" y="746"/>
                </a:cubicBezTo>
                <a:cubicBezTo>
                  <a:pt x="2424" y="746"/>
                  <a:pt x="2425" y="745"/>
                  <a:pt x="2425" y="745"/>
                </a:cubicBezTo>
                <a:cubicBezTo>
                  <a:pt x="2425" y="744"/>
                  <a:pt x="2425" y="744"/>
                  <a:pt x="2425" y="743"/>
                </a:cubicBezTo>
                <a:cubicBezTo>
                  <a:pt x="2426" y="741"/>
                  <a:pt x="2428" y="739"/>
                  <a:pt x="2428" y="737"/>
                </a:cubicBezTo>
                <a:cubicBezTo>
                  <a:pt x="2428" y="735"/>
                  <a:pt x="2429" y="734"/>
                  <a:pt x="2430" y="734"/>
                </a:cubicBezTo>
                <a:cubicBezTo>
                  <a:pt x="2431" y="734"/>
                  <a:pt x="2431" y="734"/>
                  <a:pt x="2431" y="734"/>
                </a:cubicBezTo>
                <a:cubicBezTo>
                  <a:pt x="2432" y="734"/>
                  <a:pt x="2432" y="734"/>
                  <a:pt x="2432" y="734"/>
                </a:cubicBezTo>
                <a:cubicBezTo>
                  <a:pt x="2433" y="734"/>
                  <a:pt x="2434" y="734"/>
                  <a:pt x="2434" y="734"/>
                </a:cubicBezTo>
                <a:cubicBezTo>
                  <a:pt x="2435" y="734"/>
                  <a:pt x="2435" y="734"/>
                  <a:pt x="2435" y="733"/>
                </a:cubicBezTo>
                <a:cubicBezTo>
                  <a:pt x="2436" y="735"/>
                  <a:pt x="2434" y="735"/>
                  <a:pt x="2434" y="736"/>
                </a:cubicBezTo>
                <a:cubicBezTo>
                  <a:pt x="2435" y="737"/>
                  <a:pt x="2435" y="737"/>
                  <a:pt x="2436" y="737"/>
                </a:cubicBezTo>
                <a:cubicBezTo>
                  <a:pt x="2436" y="737"/>
                  <a:pt x="2436" y="737"/>
                  <a:pt x="2436" y="737"/>
                </a:cubicBezTo>
                <a:cubicBezTo>
                  <a:pt x="2437" y="737"/>
                  <a:pt x="2436" y="737"/>
                  <a:pt x="2437" y="737"/>
                </a:cubicBezTo>
                <a:cubicBezTo>
                  <a:pt x="2437" y="738"/>
                  <a:pt x="2436" y="738"/>
                  <a:pt x="2437" y="738"/>
                </a:cubicBezTo>
                <a:cubicBezTo>
                  <a:pt x="2437" y="738"/>
                  <a:pt x="2438" y="738"/>
                  <a:pt x="2438" y="737"/>
                </a:cubicBezTo>
                <a:cubicBezTo>
                  <a:pt x="2438" y="737"/>
                  <a:pt x="2438" y="737"/>
                  <a:pt x="2438" y="737"/>
                </a:cubicBezTo>
                <a:cubicBezTo>
                  <a:pt x="2438" y="736"/>
                  <a:pt x="2439" y="737"/>
                  <a:pt x="2439" y="737"/>
                </a:cubicBezTo>
                <a:cubicBezTo>
                  <a:pt x="2440" y="737"/>
                  <a:pt x="2439" y="736"/>
                  <a:pt x="2439" y="736"/>
                </a:cubicBezTo>
                <a:cubicBezTo>
                  <a:pt x="2439" y="735"/>
                  <a:pt x="2439" y="734"/>
                  <a:pt x="2440" y="734"/>
                </a:cubicBezTo>
                <a:cubicBezTo>
                  <a:pt x="2441" y="732"/>
                  <a:pt x="2440" y="732"/>
                  <a:pt x="2440" y="731"/>
                </a:cubicBezTo>
                <a:cubicBezTo>
                  <a:pt x="2439" y="730"/>
                  <a:pt x="2439" y="730"/>
                  <a:pt x="2438" y="729"/>
                </a:cubicBezTo>
                <a:cubicBezTo>
                  <a:pt x="2438" y="729"/>
                  <a:pt x="2438" y="729"/>
                  <a:pt x="2439" y="729"/>
                </a:cubicBezTo>
                <a:cubicBezTo>
                  <a:pt x="2440" y="729"/>
                  <a:pt x="2441" y="730"/>
                  <a:pt x="2441" y="731"/>
                </a:cubicBezTo>
                <a:cubicBezTo>
                  <a:pt x="2441" y="732"/>
                  <a:pt x="2441" y="732"/>
                  <a:pt x="2442" y="733"/>
                </a:cubicBezTo>
                <a:cubicBezTo>
                  <a:pt x="2442" y="733"/>
                  <a:pt x="2443" y="732"/>
                  <a:pt x="2443" y="732"/>
                </a:cubicBezTo>
                <a:cubicBezTo>
                  <a:pt x="2444" y="732"/>
                  <a:pt x="2444" y="733"/>
                  <a:pt x="2445" y="733"/>
                </a:cubicBezTo>
                <a:cubicBezTo>
                  <a:pt x="2446" y="733"/>
                  <a:pt x="2446" y="732"/>
                  <a:pt x="2447" y="732"/>
                </a:cubicBezTo>
                <a:cubicBezTo>
                  <a:pt x="2448" y="731"/>
                  <a:pt x="2449" y="732"/>
                  <a:pt x="2451" y="732"/>
                </a:cubicBezTo>
                <a:cubicBezTo>
                  <a:pt x="2451" y="732"/>
                  <a:pt x="2452" y="732"/>
                  <a:pt x="2452" y="731"/>
                </a:cubicBezTo>
                <a:cubicBezTo>
                  <a:pt x="2453" y="730"/>
                  <a:pt x="2453" y="729"/>
                  <a:pt x="2452" y="728"/>
                </a:cubicBezTo>
                <a:cubicBezTo>
                  <a:pt x="2451" y="727"/>
                  <a:pt x="2451" y="729"/>
                  <a:pt x="2449" y="729"/>
                </a:cubicBezTo>
                <a:cubicBezTo>
                  <a:pt x="2449" y="729"/>
                  <a:pt x="2449" y="728"/>
                  <a:pt x="2448" y="728"/>
                </a:cubicBezTo>
                <a:cubicBezTo>
                  <a:pt x="2447" y="727"/>
                  <a:pt x="2447" y="727"/>
                  <a:pt x="2446" y="728"/>
                </a:cubicBezTo>
                <a:cubicBezTo>
                  <a:pt x="2445" y="728"/>
                  <a:pt x="2444" y="728"/>
                  <a:pt x="2443" y="727"/>
                </a:cubicBezTo>
                <a:cubicBezTo>
                  <a:pt x="2443" y="725"/>
                  <a:pt x="2444" y="725"/>
                  <a:pt x="2445" y="724"/>
                </a:cubicBezTo>
                <a:cubicBezTo>
                  <a:pt x="2447" y="723"/>
                  <a:pt x="2447" y="724"/>
                  <a:pt x="2448" y="726"/>
                </a:cubicBezTo>
                <a:cubicBezTo>
                  <a:pt x="2448" y="726"/>
                  <a:pt x="2448" y="727"/>
                  <a:pt x="2449" y="726"/>
                </a:cubicBezTo>
                <a:cubicBezTo>
                  <a:pt x="2449" y="725"/>
                  <a:pt x="2449" y="725"/>
                  <a:pt x="2450" y="725"/>
                </a:cubicBezTo>
                <a:cubicBezTo>
                  <a:pt x="2451" y="725"/>
                  <a:pt x="2451" y="726"/>
                  <a:pt x="2452" y="725"/>
                </a:cubicBezTo>
                <a:cubicBezTo>
                  <a:pt x="2452" y="724"/>
                  <a:pt x="2452" y="724"/>
                  <a:pt x="2451" y="724"/>
                </a:cubicBezTo>
                <a:cubicBezTo>
                  <a:pt x="2450" y="723"/>
                  <a:pt x="2449" y="723"/>
                  <a:pt x="2450" y="723"/>
                </a:cubicBezTo>
                <a:cubicBezTo>
                  <a:pt x="2451" y="722"/>
                  <a:pt x="2451" y="723"/>
                  <a:pt x="2451" y="723"/>
                </a:cubicBezTo>
                <a:cubicBezTo>
                  <a:pt x="2452" y="724"/>
                  <a:pt x="2453" y="723"/>
                  <a:pt x="2453" y="724"/>
                </a:cubicBezTo>
                <a:cubicBezTo>
                  <a:pt x="2454" y="724"/>
                  <a:pt x="2453" y="725"/>
                  <a:pt x="2453" y="726"/>
                </a:cubicBezTo>
                <a:cubicBezTo>
                  <a:pt x="2453" y="727"/>
                  <a:pt x="2455" y="727"/>
                  <a:pt x="2456" y="727"/>
                </a:cubicBezTo>
                <a:cubicBezTo>
                  <a:pt x="2457" y="727"/>
                  <a:pt x="2457" y="727"/>
                  <a:pt x="2458" y="726"/>
                </a:cubicBezTo>
                <a:cubicBezTo>
                  <a:pt x="2458" y="726"/>
                  <a:pt x="2459" y="725"/>
                  <a:pt x="2459" y="725"/>
                </a:cubicBezTo>
                <a:cubicBezTo>
                  <a:pt x="2459" y="726"/>
                  <a:pt x="2459" y="726"/>
                  <a:pt x="2458" y="727"/>
                </a:cubicBezTo>
                <a:close/>
                <a:moveTo>
                  <a:pt x="2662" y="724"/>
                </a:moveTo>
                <a:cubicBezTo>
                  <a:pt x="2661" y="724"/>
                  <a:pt x="2661" y="725"/>
                  <a:pt x="2661" y="726"/>
                </a:cubicBezTo>
                <a:cubicBezTo>
                  <a:pt x="2659" y="728"/>
                  <a:pt x="2656" y="727"/>
                  <a:pt x="2654" y="727"/>
                </a:cubicBezTo>
                <a:cubicBezTo>
                  <a:pt x="2653" y="727"/>
                  <a:pt x="2652" y="727"/>
                  <a:pt x="2651" y="727"/>
                </a:cubicBezTo>
                <a:cubicBezTo>
                  <a:pt x="2651" y="727"/>
                  <a:pt x="2650" y="726"/>
                  <a:pt x="2649" y="726"/>
                </a:cubicBezTo>
                <a:cubicBezTo>
                  <a:pt x="2647" y="726"/>
                  <a:pt x="2646" y="726"/>
                  <a:pt x="2644" y="725"/>
                </a:cubicBezTo>
                <a:cubicBezTo>
                  <a:pt x="2643" y="725"/>
                  <a:pt x="2642" y="725"/>
                  <a:pt x="2642" y="724"/>
                </a:cubicBezTo>
                <a:cubicBezTo>
                  <a:pt x="2641" y="724"/>
                  <a:pt x="2640" y="724"/>
                  <a:pt x="2639" y="724"/>
                </a:cubicBezTo>
                <a:cubicBezTo>
                  <a:pt x="2637" y="724"/>
                  <a:pt x="2634" y="724"/>
                  <a:pt x="2632" y="724"/>
                </a:cubicBezTo>
                <a:cubicBezTo>
                  <a:pt x="2631" y="724"/>
                  <a:pt x="2629" y="724"/>
                  <a:pt x="2627" y="724"/>
                </a:cubicBezTo>
                <a:cubicBezTo>
                  <a:pt x="2626" y="724"/>
                  <a:pt x="2624" y="724"/>
                  <a:pt x="2623" y="724"/>
                </a:cubicBezTo>
                <a:cubicBezTo>
                  <a:pt x="2623" y="724"/>
                  <a:pt x="2622" y="724"/>
                  <a:pt x="2622" y="724"/>
                </a:cubicBezTo>
                <a:cubicBezTo>
                  <a:pt x="2622" y="724"/>
                  <a:pt x="2621" y="724"/>
                  <a:pt x="2621" y="724"/>
                </a:cubicBezTo>
                <a:cubicBezTo>
                  <a:pt x="2620" y="723"/>
                  <a:pt x="2621" y="725"/>
                  <a:pt x="2620" y="725"/>
                </a:cubicBezTo>
                <a:cubicBezTo>
                  <a:pt x="2620" y="725"/>
                  <a:pt x="2619" y="725"/>
                  <a:pt x="2619" y="725"/>
                </a:cubicBezTo>
                <a:cubicBezTo>
                  <a:pt x="2618" y="725"/>
                  <a:pt x="2618" y="726"/>
                  <a:pt x="2618" y="726"/>
                </a:cubicBezTo>
                <a:cubicBezTo>
                  <a:pt x="2617" y="726"/>
                  <a:pt x="2616" y="726"/>
                  <a:pt x="2615" y="727"/>
                </a:cubicBezTo>
                <a:cubicBezTo>
                  <a:pt x="2615" y="727"/>
                  <a:pt x="2614" y="728"/>
                  <a:pt x="2614" y="729"/>
                </a:cubicBezTo>
                <a:cubicBezTo>
                  <a:pt x="2613" y="729"/>
                  <a:pt x="2613" y="730"/>
                  <a:pt x="2612" y="731"/>
                </a:cubicBezTo>
                <a:cubicBezTo>
                  <a:pt x="2612" y="731"/>
                  <a:pt x="2611" y="732"/>
                  <a:pt x="2610" y="732"/>
                </a:cubicBezTo>
                <a:cubicBezTo>
                  <a:pt x="2609" y="732"/>
                  <a:pt x="2608" y="732"/>
                  <a:pt x="2607" y="732"/>
                </a:cubicBezTo>
                <a:cubicBezTo>
                  <a:pt x="2607" y="732"/>
                  <a:pt x="2605" y="732"/>
                  <a:pt x="2606" y="733"/>
                </a:cubicBezTo>
                <a:cubicBezTo>
                  <a:pt x="2607" y="734"/>
                  <a:pt x="2607" y="734"/>
                  <a:pt x="2607" y="735"/>
                </a:cubicBezTo>
                <a:cubicBezTo>
                  <a:pt x="2606" y="736"/>
                  <a:pt x="2606" y="736"/>
                  <a:pt x="2605" y="737"/>
                </a:cubicBezTo>
                <a:cubicBezTo>
                  <a:pt x="2605" y="738"/>
                  <a:pt x="2605" y="738"/>
                  <a:pt x="2605" y="739"/>
                </a:cubicBezTo>
                <a:cubicBezTo>
                  <a:pt x="2604" y="739"/>
                  <a:pt x="2604" y="741"/>
                  <a:pt x="2604" y="741"/>
                </a:cubicBezTo>
                <a:cubicBezTo>
                  <a:pt x="2605" y="742"/>
                  <a:pt x="2605" y="742"/>
                  <a:pt x="2605" y="742"/>
                </a:cubicBezTo>
                <a:cubicBezTo>
                  <a:pt x="2606" y="742"/>
                  <a:pt x="2605" y="743"/>
                  <a:pt x="2605" y="743"/>
                </a:cubicBezTo>
                <a:cubicBezTo>
                  <a:pt x="2605" y="743"/>
                  <a:pt x="2605" y="744"/>
                  <a:pt x="2605" y="744"/>
                </a:cubicBezTo>
                <a:cubicBezTo>
                  <a:pt x="2605" y="745"/>
                  <a:pt x="2605" y="746"/>
                  <a:pt x="2605" y="747"/>
                </a:cubicBezTo>
                <a:cubicBezTo>
                  <a:pt x="2604" y="747"/>
                  <a:pt x="2604" y="745"/>
                  <a:pt x="2603" y="745"/>
                </a:cubicBezTo>
                <a:cubicBezTo>
                  <a:pt x="2603" y="744"/>
                  <a:pt x="2603" y="744"/>
                  <a:pt x="2602" y="743"/>
                </a:cubicBezTo>
                <a:cubicBezTo>
                  <a:pt x="2602" y="742"/>
                  <a:pt x="2601" y="742"/>
                  <a:pt x="2601" y="741"/>
                </a:cubicBezTo>
                <a:cubicBezTo>
                  <a:pt x="2601" y="740"/>
                  <a:pt x="2600" y="740"/>
                  <a:pt x="2600" y="739"/>
                </a:cubicBezTo>
                <a:cubicBezTo>
                  <a:pt x="2599" y="739"/>
                  <a:pt x="2599" y="738"/>
                  <a:pt x="2598" y="738"/>
                </a:cubicBezTo>
                <a:cubicBezTo>
                  <a:pt x="2598" y="738"/>
                  <a:pt x="2597" y="738"/>
                  <a:pt x="2597" y="737"/>
                </a:cubicBezTo>
                <a:cubicBezTo>
                  <a:pt x="2597" y="737"/>
                  <a:pt x="2597" y="737"/>
                  <a:pt x="2597" y="736"/>
                </a:cubicBezTo>
                <a:cubicBezTo>
                  <a:pt x="2598" y="735"/>
                  <a:pt x="2597" y="735"/>
                  <a:pt x="2598" y="734"/>
                </a:cubicBezTo>
                <a:cubicBezTo>
                  <a:pt x="2598" y="733"/>
                  <a:pt x="2599" y="733"/>
                  <a:pt x="2600" y="733"/>
                </a:cubicBezTo>
                <a:cubicBezTo>
                  <a:pt x="2600" y="733"/>
                  <a:pt x="2601" y="732"/>
                  <a:pt x="2601" y="732"/>
                </a:cubicBezTo>
                <a:cubicBezTo>
                  <a:pt x="2601" y="731"/>
                  <a:pt x="2600" y="732"/>
                  <a:pt x="2600" y="731"/>
                </a:cubicBezTo>
                <a:cubicBezTo>
                  <a:pt x="2599" y="731"/>
                  <a:pt x="2600" y="730"/>
                  <a:pt x="2600" y="730"/>
                </a:cubicBezTo>
                <a:cubicBezTo>
                  <a:pt x="2601" y="729"/>
                  <a:pt x="2602" y="729"/>
                  <a:pt x="2603" y="729"/>
                </a:cubicBezTo>
                <a:cubicBezTo>
                  <a:pt x="2604" y="729"/>
                  <a:pt x="2604" y="729"/>
                  <a:pt x="2604" y="728"/>
                </a:cubicBezTo>
                <a:cubicBezTo>
                  <a:pt x="2604" y="728"/>
                  <a:pt x="2604" y="727"/>
                  <a:pt x="2604" y="727"/>
                </a:cubicBezTo>
                <a:cubicBezTo>
                  <a:pt x="2604" y="727"/>
                  <a:pt x="2605" y="726"/>
                  <a:pt x="2605" y="726"/>
                </a:cubicBezTo>
                <a:cubicBezTo>
                  <a:pt x="2605" y="726"/>
                  <a:pt x="2606" y="726"/>
                  <a:pt x="2606" y="725"/>
                </a:cubicBezTo>
                <a:cubicBezTo>
                  <a:pt x="2606" y="725"/>
                  <a:pt x="2607" y="725"/>
                  <a:pt x="2607" y="724"/>
                </a:cubicBezTo>
                <a:cubicBezTo>
                  <a:pt x="2608" y="724"/>
                  <a:pt x="2608" y="723"/>
                  <a:pt x="2608" y="723"/>
                </a:cubicBezTo>
                <a:cubicBezTo>
                  <a:pt x="2609" y="723"/>
                  <a:pt x="2609" y="722"/>
                  <a:pt x="2609" y="722"/>
                </a:cubicBezTo>
                <a:cubicBezTo>
                  <a:pt x="2610" y="722"/>
                  <a:pt x="2611" y="721"/>
                  <a:pt x="2612" y="721"/>
                </a:cubicBezTo>
                <a:cubicBezTo>
                  <a:pt x="2612" y="721"/>
                  <a:pt x="2613" y="721"/>
                  <a:pt x="2614" y="721"/>
                </a:cubicBezTo>
                <a:cubicBezTo>
                  <a:pt x="2615" y="721"/>
                  <a:pt x="2616" y="721"/>
                  <a:pt x="2617" y="721"/>
                </a:cubicBezTo>
                <a:cubicBezTo>
                  <a:pt x="2618" y="721"/>
                  <a:pt x="2618" y="721"/>
                  <a:pt x="2619" y="721"/>
                </a:cubicBezTo>
                <a:cubicBezTo>
                  <a:pt x="2620" y="721"/>
                  <a:pt x="2621" y="720"/>
                  <a:pt x="2622" y="720"/>
                </a:cubicBezTo>
                <a:cubicBezTo>
                  <a:pt x="2624" y="720"/>
                  <a:pt x="2626" y="720"/>
                  <a:pt x="2627" y="721"/>
                </a:cubicBezTo>
                <a:cubicBezTo>
                  <a:pt x="2628" y="721"/>
                  <a:pt x="2628" y="722"/>
                  <a:pt x="2629" y="722"/>
                </a:cubicBezTo>
                <a:cubicBezTo>
                  <a:pt x="2630" y="722"/>
                  <a:pt x="2631" y="723"/>
                  <a:pt x="2631" y="723"/>
                </a:cubicBezTo>
                <a:cubicBezTo>
                  <a:pt x="2632" y="723"/>
                  <a:pt x="2632" y="723"/>
                  <a:pt x="2633" y="723"/>
                </a:cubicBezTo>
                <a:cubicBezTo>
                  <a:pt x="2633" y="723"/>
                  <a:pt x="2634" y="723"/>
                  <a:pt x="2634" y="723"/>
                </a:cubicBezTo>
                <a:cubicBezTo>
                  <a:pt x="2635" y="723"/>
                  <a:pt x="2636" y="723"/>
                  <a:pt x="2637" y="723"/>
                </a:cubicBezTo>
                <a:cubicBezTo>
                  <a:pt x="2640" y="723"/>
                  <a:pt x="2642" y="723"/>
                  <a:pt x="2644" y="723"/>
                </a:cubicBezTo>
                <a:cubicBezTo>
                  <a:pt x="2646" y="723"/>
                  <a:pt x="2648" y="723"/>
                  <a:pt x="2650" y="724"/>
                </a:cubicBezTo>
                <a:cubicBezTo>
                  <a:pt x="2651" y="724"/>
                  <a:pt x="2651" y="724"/>
                  <a:pt x="2652" y="725"/>
                </a:cubicBezTo>
                <a:cubicBezTo>
                  <a:pt x="2652" y="725"/>
                  <a:pt x="2652" y="725"/>
                  <a:pt x="2652" y="725"/>
                </a:cubicBezTo>
                <a:cubicBezTo>
                  <a:pt x="2653" y="726"/>
                  <a:pt x="2653" y="725"/>
                  <a:pt x="2653" y="725"/>
                </a:cubicBezTo>
                <a:cubicBezTo>
                  <a:pt x="2653" y="724"/>
                  <a:pt x="2653" y="723"/>
                  <a:pt x="2653" y="723"/>
                </a:cubicBezTo>
                <a:cubicBezTo>
                  <a:pt x="2654" y="722"/>
                  <a:pt x="2655" y="723"/>
                  <a:pt x="2656" y="722"/>
                </a:cubicBezTo>
                <a:cubicBezTo>
                  <a:pt x="2656" y="722"/>
                  <a:pt x="2657" y="721"/>
                  <a:pt x="2658" y="722"/>
                </a:cubicBezTo>
                <a:cubicBezTo>
                  <a:pt x="2658" y="722"/>
                  <a:pt x="2659" y="723"/>
                  <a:pt x="2659" y="723"/>
                </a:cubicBezTo>
                <a:cubicBezTo>
                  <a:pt x="2659" y="723"/>
                  <a:pt x="2660" y="723"/>
                  <a:pt x="2660" y="723"/>
                </a:cubicBezTo>
                <a:cubicBezTo>
                  <a:pt x="2660" y="722"/>
                  <a:pt x="2659" y="722"/>
                  <a:pt x="2659" y="722"/>
                </a:cubicBezTo>
                <a:cubicBezTo>
                  <a:pt x="2659" y="722"/>
                  <a:pt x="2658" y="721"/>
                  <a:pt x="2658" y="721"/>
                </a:cubicBezTo>
                <a:cubicBezTo>
                  <a:pt x="2659" y="720"/>
                  <a:pt x="2659" y="721"/>
                  <a:pt x="2660" y="721"/>
                </a:cubicBezTo>
                <a:cubicBezTo>
                  <a:pt x="2660" y="721"/>
                  <a:pt x="2661" y="721"/>
                  <a:pt x="2662" y="721"/>
                </a:cubicBezTo>
                <a:cubicBezTo>
                  <a:pt x="2662" y="721"/>
                  <a:pt x="2662" y="721"/>
                  <a:pt x="2662" y="721"/>
                </a:cubicBezTo>
                <a:cubicBezTo>
                  <a:pt x="2663" y="722"/>
                  <a:pt x="2663" y="722"/>
                  <a:pt x="2663" y="722"/>
                </a:cubicBezTo>
                <a:cubicBezTo>
                  <a:pt x="2664" y="723"/>
                  <a:pt x="2663" y="723"/>
                  <a:pt x="2662" y="724"/>
                </a:cubicBezTo>
                <a:close/>
                <a:moveTo>
                  <a:pt x="2735" y="1069"/>
                </a:moveTo>
                <a:cubicBezTo>
                  <a:pt x="2735" y="1069"/>
                  <a:pt x="2735" y="1069"/>
                  <a:pt x="2734" y="1070"/>
                </a:cubicBezTo>
                <a:cubicBezTo>
                  <a:pt x="2734" y="1070"/>
                  <a:pt x="2734" y="1070"/>
                  <a:pt x="2733" y="1070"/>
                </a:cubicBezTo>
                <a:cubicBezTo>
                  <a:pt x="2733" y="1070"/>
                  <a:pt x="2733" y="1070"/>
                  <a:pt x="2732" y="1070"/>
                </a:cubicBezTo>
                <a:cubicBezTo>
                  <a:pt x="2732" y="1070"/>
                  <a:pt x="2731" y="1071"/>
                  <a:pt x="2732" y="1070"/>
                </a:cubicBezTo>
                <a:cubicBezTo>
                  <a:pt x="2732" y="1069"/>
                  <a:pt x="2732" y="1069"/>
                  <a:pt x="2732" y="1069"/>
                </a:cubicBezTo>
                <a:cubicBezTo>
                  <a:pt x="2733" y="1069"/>
                  <a:pt x="2733" y="1068"/>
                  <a:pt x="2733" y="1068"/>
                </a:cubicBezTo>
                <a:cubicBezTo>
                  <a:pt x="2734" y="1068"/>
                  <a:pt x="2734" y="1067"/>
                  <a:pt x="2735" y="1067"/>
                </a:cubicBezTo>
                <a:cubicBezTo>
                  <a:pt x="2736" y="1067"/>
                  <a:pt x="2735" y="1068"/>
                  <a:pt x="2735" y="1069"/>
                </a:cubicBezTo>
                <a:close/>
                <a:moveTo>
                  <a:pt x="2903" y="1210"/>
                </a:moveTo>
                <a:cubicBezTo>
                  <a:pt x="2903" y="1210"/>
                  <a:pt x="2903" y="1210"/>
                  <a:pt x="2904" y="1210"/>
                </a:cubicBezTo>
                <a:cubicBezTo>
                  <a:pt x="2904" y="1211"/>
                  <a:pt x="2904" y="1211"/>
                  <a:pt x="2905" y="1212"/>
                </a:cubicBezTo>
                <a:cubicBezTo>
                  <a:pt x="2905" y="1213"/>
                  <a:pt x="2906" y="1213"/>
                  <a:pt x="2906" y="1214"/>
                </a:cubicBezTo>
                <a:cubicBezTo>
                  <a:pt x="2906" y="1214"/>
                  <a:pt x="2906" y="1214"/>
                  <a:pt x="2906" y="1215"/>
                </a:cubicBezTo>
                <a:cubicBezTo>
                  <a:pt x="2906" y="1215"/>
                  <a:pt x="2906" y="1215"/>
                  <a:pt x="2905" y="1215"/>
                </a:cubicBezTo>
                <a:cubicBezTo>
                  <a:pt x="2905" y="1215"/>
                  <a:pt x="2905" y="1214"/>
                  <a:pt x="2905" y="1214"/>
                </a:cubicBezTo>
                <a:cubicBezTo>
                  <a:pt x="2905" y="1214"/>
                  <a:pt x="2904" y="1213"/>
                  <a:pt x="2904" y="1213"/>
                </a:cubicBezTo>
                <a:cubicBezTo>
                  <a:pt x="2904" y="1213"/>
                  <a:pt x="2904" y="1212"/>
                  <a:pt x="2903" y="1212"/>
                </a:cubicBezTo>
                <a:cubicBezTo>
                  <a:pt x="2903" y="1212"/>
                  <a:pt x="2903" y="1212"/>
                  <a:pt x="2903" y="1211"/>
                </a:cubicBezTo>
                <a:cubicBezTo>
                  <a:pt x="2902" y="1211"/>
                  <a:pt x="2902" y="1210"/>
                  <a:pt x="2902" y="1209"/>
                </a:cubicBezTo>
                <a:cubicBezTo>
                  <a:pt x="2903" y="1209"/>
                  <a:pt x="2903" y="1209"/>
                  <a:pt x="2903" y="1210"/>
                </a:cubicBezTo>
                <a:close/>
                <a:moveTo>
                  <a:pt x="2964" y="1177"/>
                </a:moveTo>
                <a:cubicBezTo>
                  <a:pt x="2965" y="1177"/>
                  <a:pt x="2965" y="1178"/>
                  <a:pt x="2966" y="1179"/>
                </a:cubicBezTo>
                <a:cubicBezTo>
                  <a:pt x="2966" y="1179"/>
                  <a:pt x="2967" y="1179"/>
                  <a:pt x="2968" y="1179"/>
                </a:cubicBezTo>
                <a:cubicBezTo>
                  <a:pt x="2968" y="1179"/>
                  <a:pt x="2968" y="1179"/>
                  <a:pt x="2969" y="1179"/>
                </a:cubicBezTo>
                <a:cubicBezTo>
                  <a:pt x="2969" y="1180"/>
                  <a:pt x="2969" y="1180"/>
                  <a:pt x="2969" y="1180"/>
                </a:cubicBezTo>
                <a:cubicBezTo>
                  <a:pt x="2970" y="1181"/>
                  <a:pt x="2970" y="1181"/>
                  <a:pt x="2970" y="1181"/>
                </a:cubicBezTo>
                <a:cubicBezTo>
                  <a:pt x="2970" y="1181"/>
                  <a:pt x="2971" y="1181"/>
                  <a:pt x="2971" y="1182"/>
                </a:cubicBezTo>
                <a:cubicBezTo>
                  <a:pt x="2971" y="1182"/>
                  <a:pt x="2971" y="1182"/>
                  <a:pt x="2970" y="1182"/>
                </a:cubicBezTo>
                <a:cubicBezTo>
                  <a:pt x="2970" y="1182"/>
                  <a:pt x="2970" y="1181"/>
                  <a:pt x="2970" y="1181"/>
                </a:cubicBezTo>
                <a:cubicBezTo>
                  <a:pt x="2969" y="1181"/>
                  <a:pt x="2968" y="1180"/>
                  <a:pt x="2968" y="1180"/>
                </a:cubicBezTo>
                <a:cubicBezTo>
                  <a:pt x="2967" y="1179"/>
                  <a:pt x="2967" y="1179"/>
                  <a:pt x="2966" y="1179"/>
                </a:cubicBezTo>
                <a:cubicBezTo>
                  <a:pt x="2965" y="1179"/>
                  <a:pt x="2965" y="1178"/>
                  <a:pt x="2964" y="1178"/>
                </a:cubicBezTo>
                <a:cubicBezTo>
                  <a:pt x="2963" y="1177"/>
                  <a:pt x="2963" y="1177"/>
                  <a:pt x="2962" y="1177"/>
                </a:cubicBezTo>
                <a:cubicBezTo>
                  <a:pt x="2961" y="1176"/>
                  <a:pt x="2962" y="1176"/>
                  <a:pt x="2961" y="1175"/>
                </a:cubicBezTo>
                <a:cubicBezTo>
                  <a:pt x="2961" y="1175"/>
                  <a:pt x="2961" y="1174"/>
                  <a:pt x="2962" y="1174"/>
                </a:cubicBezTo>
                <a:cubicBezTo>
                  <a:pt x="2962" y="1174"/>
                  <a:pt x="2962" y="1175"/>
                  <a:pt x="2962" y="1175"/>
                </a:cubicBezTo>
                <a:cubicBezTo>
                  <a:pt x="2962" y="1175"/>
                  <a:pt x="2963" y="1175"/>
                  <a:pt x="2963" y="1176"/>
                </a:cubicBezTo>
                <a:cubicBezTo>
                  <a:pt x="2963" y="1176"/>
                  <a:pt x="2963" y="1176"/>
                  <a:pt x="2964" y="1176"/>
                </a:cubicBezTo>
                <a:cubicBezTo>
                  <a:pt x="2964" y="1177"/>
                  <a:pt x="2964" y="1177"/>
                  <a:pt x="2964" y="1177"/>
                </a:cubicBezTo>
                <a:close/>
                <a:moveTo>
                  <a:pt x="3013" y="587"/>
                </a:moveTo>
                <a:cubicBezTo>
                  <a:pt x="3012" y="588"/>
                  <a:pt x="3013" y="589"/>
                  <a:pt x="3013" y="590"/>
                </a:cubicBezTo>
                <a:cubicBezTo>
                  <a:pt x="3013" y="590"/>
                  <a:pt x="3012" y="590"/>
                  <a:pt x="3012" y="590"/>
                </a:cubicBezTo>
                <a:cubicBezTo>
                  <a:pt x="3012" y="591"/>
                  <a:pt x="3012" y="591"/>
                  <a:pt x="3012" y="592"/>
                </a:cubicBezTo>
                <a:cubicBezTo>
                  <a:pt x="3012" y="593"/>
                  <a:pt x="3011" y="594"/>
                  <a:pt x="3011" y="595"/>
                </a:cubicBezTo>
                <a:cubicBezTo>
                  <a:pt x="3011" y="595"/>
                  <a:pt x="3012" y="595"/>
                  <a:pt x="3012" y="595"/>
                </a:cubicBezTo>
                <a:cubicBezTo>
                  <a:pt x="3012" y="596"/>
                  <a:pt x="3012" y="596"/>
                  <a:pt x="3012" y="596"/>
                </a:cubicBezTo>
                <a:cubicBezTo>
                  <a:pt x="3011" y="597"/>
                  <a:pt x="3011" y="598"/>
                  <a:pt x="3010" y="599"/>
                </a:cubicBezTo>
                <a:cubicBezTo>
                  <a:pt x="3010" y="600"/>
                  <a:pt x="3010" y="601"/>
                  <a:pt x="3009" y="602"/>
                </a:cubicBezTo>
                <a:cubicBezTo>
                  <a:pt x="3009" y="602"/>
                  <a:pt x="3009" y="603"/>
                  <a:pt x="3009" y="604"/>
                </a:cubicBezTo>
                <a:cubicBezTo>
                  <a:pt x="3009" y="605"/>
                  <a:pt x="3008" y="606"/>
                  <a:pt x="3008" y="607"/>
                </a:cubicBezTo>
                <a:cubicBezTo>
                  <a:pt x="3008" y="607"/>
                  <a:pt x="3009" y="608"/>
                  <a:pt x="3009" y="609"/>
                </a:cubicBezTo>
                <a:cubicBezTo>
                  <a:pt x="3009" y="610"/>
                  <a:pt x="3009" y="611"/>
                  <a:pt x="3008" y="611"/>
                </a:cubicBezTo>
                <a:cubicBezTo>
                  <a:pt x="3008" y="612"/>
                  <a:pt x="3008" y="613"/>
                  <a:pt x="3007" y="613"/>
                </a:cubicBezTo>
                <a:cubicBezTo>
                  <a:pt x="3007" y="614"/>
                  <a:pt x="3007" y="615"/>
                  <a:pt x="3007" y="616"/>
                </a:cubicBezTo>
                <a:cubicBezTo>
                  <a:pt x="3006" y="617"/>
                  <a:pt x="3005" y="617"/>
                  <a:pt x="3005" y="618"/>
                </a:cubicBezTo>
                <a:cubicBezTo>
                  <a:pt x="3005" y="619"/>
                  <a:pt x="3004" y="619"/>
                  <a:pt x="3003" y="619"/>
                </a:cubicBezTo>
                <a:cubicBezTo>
                  <a:pt x="3003" y="619"/>
                  <a:pt x="3003" y="618"/>
                  <a:pt x="3003" y="618"/>
                </a:cubicBezTo>
                <a:cubicBezTo>
                  <a:pt x="3003" y="617"/>
                  <a:pt x="3004" y="617"/>
                  <a:pt x="3004" y="617"/>
                </a:cubicBezTo>
                <a:cubicBezTo>
                  <a:pt x="3004" y="617"/>
                  <a:pt x="3004" y="617"/>
                  <a:pt x="3003" y="616"/>
                </a:cubicBezTo>
                <a:cubicBezTo>
                  <a:pt x="3003" y="616"/>
                  <a:pt x="3003" y="616"/>
                  <a:pt x="3002" y="616"/>
                </a:cubicBezTo>
                <a:cubicBezTo>
                  <a:pt x="3001" y="616"/>
                  <a:pt x="3001" y="616"/>
                  <a:pt x="3000" y="617"/>
                </a:cubicBezTo>
                <a:cubicBezTo>
                  <a:pt x="3000" y="618"/>
                  <a:pt x="2999" y="618"/>
                  <a:pt x="2999" y="619"/>
                </a:cubicBezTo>
                <a:cubicBezTo>
                  <a:pt x="2999" y="619"/>
                  <a:pt x="2997" y="620"/>
                  <a:pt x="2997" y="621"/>
                </a:cubicBezTo>
                <a:cubicBezTo>
                  <a:pt x="2998" y="621"/>
                  <a:pt x="2998" y="620"/>
                  <a:pt x="2999" y="620"/>
                </a:cubicBezTo>
                <a:cubicBezTo>
                  <a:pt x="2999" y="619"/>
                  <a:pt x="3000" y="619"/>
                  <a:pt x="3000" y="619"/>
                </a:cubicBezTo>
                <a:cubicBezTo>
                  <a:pt x="3001" y="619"/>
                  <a:pt x="3002" y="619"/>
                  <a:pt x="3002" y="621"/>
                </a:cubicBezTo>
                <a:cubicBezTo>
                  <a:pt x="3003" y="621"/>
                  <a:pt x="3003" y="622"/>
                  <a:pt x="3002" y="623"/>
                </a:cubicBezTo>
                <a:cubicBezTo>
                  <a:pt x="3002" y="623"/>
                  <a:pt x="3001" y="624"/>
                  <a:pt x="3000" y="624"/>
                </a:cubicBezTo>
                <a:cubicBezTo>
                  <a:pt x="2999" y="624"/>
                  <a:pt x="2999" y="624"/>
                  <a:pt x="2998" y="625"/>
                </a:cubicBezTo>
                <a:cubicBezTo>
                  <a:pt x="2997" y="625"/>
                  <a:pt x="2996" y="626"/>
                  <a:pt x="2996" y="626"/>
                </a:cubicBezTo>
                <a:cubicBezTo>
                  <a:pt x="2995" y="627"/>
                  <a:pt x="2994" y="628"/>
                  <a:pt x="2994" y="629"/>
                </a:cubicBezTo>
                <a:cubicBezTo>
                  <a:pt x="2993" y="629"/>
                  <a:pt x="2992" y="630"/>
                  <a:pt x="2991" y="631"/>
                </a:cubicBezTo>
                <a:cubicBezTo>
                  <a:pt x="2991" y="632"/>
                  <a:pt x="2990" y="632"/>
                  <a:pt x="2989" y="633"/>
                </a:cubicBezTo>
                <a:cubicBezTo>
                  <a:pt x="2989" y="633"/>
                  <a:pt x="2988" y="633"/>
                  <a:pt x="2988" y="633"/>
                </a:cubicBezTo>
                <a:cubicBezTo>
                  <a:pt x="2987" y="633"/>
                  <a:pt x="2987" y="633"/>
                  <a:pt x="2986" y="633"/>
                </a:cubicBezTo>
                <a:cubicBezTo>
                  <a:pt x="2986" y="633"/>
                  <a:pt x="2985" y="633"/>
                  <a:pt x="2985" y="634"/>
                </a:cubicBezTo>
                <a:cubicBezTo>
                  <a:pt x="2984" y="634"/>
                  <a:pt x="2984" y="634"/>
                  <a:pt x="2983" y="635"/>
                </a:cubicBezTo>
                <a:cubicBezTo>
                  <a:pt x="2981" y="636"/>
                  <a:pt x="2980" y="638"/>
                  <a:pt x="2978" y="639"/>
                </a:cubicBezTo>
                <a:cubicBezTo>
                  <a:pt x="2977" y="639"/>
                  <a:pt x="2976" y="639"/>
                  <a:pt x="2975" y="639"/>
                </a:cubicBezTo>
                <a:cubicBezTo>
                  <a:pt x="2974" y="639"/>
                  <a:pt x="2971" y="639"/>
                  <a:pt x="2972" y="641"/>
                </a:cubicBezTo>
                <a:cubicBezTo>
                  <a:pt x="2972" y="641"/>
                  <a:pt x="2972" y="641"/>
                  <a:pt x="2972" y="642"/>
                </a:cubicBezTo>
                <a:cubicBezTo>
                  <a:pt x="2972" y="642"/>
                  <a:pt x="2971" y="643"/>
                  <a:pt x="2971" y="643"/>
                </a:cubicBezTo>
                <a:cubicBezTo>
                  <a:pt x="2970" y="644"/>
                  <a:pt x="2970" y="644"/>
                  <a:pt x="2970" y="645"/>
                </a:cubicBezTo>
                <a:cubicBezTo>
                  <a:pt x="2969" y="646"/>
                  <a:pt x="2968" y="647"/>
                  <a:pt x="2967" y="648"/>
                </a:cubicBezTo>
                <a:cubicBezTo>
                  <a:pt x="2965" y="649"/>
                  <a:pt x="2964" y="649"/>
                  <a:pt x="2963" y="649"/>
                </a:cubicBezTo>
                <a:cubicBezTo>
                  <a:pt x="2962" y="649"/>
                  <a:pt x="2961" y="650"/>
                  <a:pt x="2960" y="650"/>
                </a:cubicBezTo>
                <a:cubicBezTo>
                  <a:pt x="2958" y="651"/>
                  <a:pt x="2956" y="651"/>
                  <a:pt x="2955" y="651"/>
                </a:cubicBezTo>
                <a:cubicBezTo>
                  <a:pt x="2953" y="652"/>
                  <a:pt x="2951" y="652"/>
                  <a:pt x="2950" y="651"/>
                </a:cubicBezTo>
                <a:cubicBezTo>
                  <a:pt x="2949" y="651"/>
                  <a:pt x="2948" y="651"/>
                  <a:pt x="2947" y="651"/>
                </a:cubicBezTo>
                <a:cubicBezTo>
                  <a:pt x="2946" y="650"/>
                  <a:pt x="2946" y="650"/>
                  <a:pt x="2945" y="649"/>
                </a:cubicBezTo>
                <a:cubicBezTo>
                  <a:pt x="2944" y="649"/>
                  <a:pt x="2943" y="649"/>
                  <a:pt x="2943" y="648"/>
                </a:cubicBezTo>
                <a:cubicBezTo>
                  <a:pt x="2942" y="647"/>
                  <a:pt x="2944" y="648"/>
                  <a:pt x="2945" y="648"/>
                </a:cubicBezTo>
                <a:cubicBezTo>
                  <a:pt x="2947" y="647"/>
                  <a:pt x="2949" y="647"/>
                  <a:pt x="2950" y="647"/>
                </a:cubicBezTo>
                <a:cubicBezTo>
                  <a:pt x="2953" y="647"/>
                  <a:pt x="2955" y="646"/>
                  <a:pt x="2957" y="645"/>
                </a:cubicBezTo>
                <a:cubicBezTo>
                  <a:pt x="2958" y="645"/>
                  <a:pt x="2959" y="645"/>
                  <a:pt x="2960" y="645"/>
                </a:cubicBezTo>
                <a:cubicBezTo>
                  <a:pt x="2961" y="645"/>
                  <a:pt x="2961" y="644"/>
                  <a:pt x="2962" y="643"/>
                </a:cubicBezTo>
                <a:cubicBezTo>
                  <a:pt x="2964" y="642"/>
                  <a:pt x="2965" y="640"/>
                  <a:pt x="2966" y="638"/>
                </a:cubicBezTo>
                <a:cubicBezTo>
                  <a:pt x="2967" y="638"/>
                  <a:pt x="2968" y="637"/>
                  <a:pt x="2969" y="637"/>
                </a:cubicBezTo>
                <a:cubicBezTo>
                  <a:pt x="2970" y="636"/>
                  <a:pt x="2970" y="635"/>
                  <a:pt x="2971" y="635"/>
                </a:cubicBezTo>
                <a:cubicBezTo>
                  <a:pt x="2972" y="635"/>
                  <a:pt x="2972" y="635"/>
                  <a:pt x="2973" y="635"/>
                </a:cubicBezTo>
                <a:cubicBezTo>
                  <a:pt x="2973" y="635"/>
                  <a:pt x="2973" y="634"/>
                  <a:pt x="2973" y="634"/>
                </a:cubicBezTo>
                <a:cubicBezTo>
                  <a:pt x="2974" y="633"/>
                  <a:pt x="2975" y="633"/>
                  <a:pt x="2976" y="633"/>
                </a:cubicBezTo>
                <a:cubicBezTo>
                  <a:pt x="2976" y="632"/>
                  <a:pt x="2977" y="632"/>
                  <a:pt x="2977" y="631"/>
                </a:cubicBezTo>
                <a:cubicBezTo>
                  <a:pt x="2977" y="630"/>
                  <a:pt x="2977" y="630"/>
                  <a:pt x="2978" y="629"/>
                </a:cubicBezTo>
                <a:cubicBezTo>
                  <a:pt x="2978" y="629"/>
                  <a:pt x="2977" y="628"/>
                  <a:pt x="2977" y="628"/>
                </a:cubicBezTo>
                <a:cubicBezTo>
                  <a:pt x="2978" y="628"/>
                  <a:pt x="2978" y="627"/>
                  <a:pt x="2978" y="627"/>
                </a:cubicBezTo>
                <a:cubicBezTo>
                  <a:pt x="2979" y="627"/>
                  <a:pt x="2980" y="626"/>
                  <a:pt x="2980" y="625"/>
                </a:cubicBezTo>
                <a:cubicBezTo>
                  <a:pt x="2981" y="625"/>
                  <a:pt x="2982" y="624"/>
                  <a:pt x="2983" y="624"/>
                </a:cubicBezTo>
                <a:cubicBezTo>
                  <a:pt x="2984" y="623"/>
                  <a:pt x="2985" y="622"/>
                  <a:pt x="2986" y="622"/>
                </a:cubicBezTo>
                <a:cubicBezTo>
                  <a:pt x="2986" y="621"/>
                  <a:pt x="2986" y="621"/>
                  <a:pt x="2987" y="621"/>
                </a:cubicBezTo>
                <a:cubicBezTo>
                  <a:pt x="2987" y="620"/>
                  <a:pt x="2988" y="620"/>
                  <a:pt x="2988" y="619"/>
                </a:cubicBezTo>
                <a:cubicBezTo>
                  <a:pt x="2989" y="619"/>
                  <a:pt x="2990" y="618"/>
                  <a:pt x="2991" y="617"/>
                </a:cubicBezTo>
                <a:cubicBezTo>
                  <a:pt x="2992" y="617"/>
                  <a:pt x="2992" y="616"/>
                  <a:pt x="2993" y="615"/>
                </a:cubicBezTo>
                <a:cubicBezTo>
                  <a:pt x="2994" y="614"/>
                  <a:pt x="2995" y="613"/>
                  <a:pt x="2995" y="612"/>
                </a:cubicBezTo>
                <a:cubicBezTo>
                  <a:pt x="2995" y="611"/>
                  <a:pt x="2996" y="610"/>
                  <a:pt x="2996" y="610"/>
                </a:cubicBezTo>
                <a:cubicBezTo>
                  <a:pt x="2997" y="609"/>
                  <a:pt x="2997" y="608"/>
                  <a:pt x="2998" y="607"/>
                </a:cubicBezTo>
                <a:cubicBezTo>
                  <a:pt x="2998" y="606"/>
                  <a:pt x="2999" y="605"/>
                  <a:pt x="3000" y="603"/>
                </a:cubicBezTo>
                <a:cubicBezTo>
                  <a:pt x="3000" y="603"/>
                  <a:pt x="3000" y="602"/>
                  <a:pt x="3001" y="601"/>
                </a:cubicBezTo>
                <a:cubicBezTo>
                  <a:pt x="3001" y="601"/>
                  <a:pt x="3001" y="600"/>
                  <a:pt x="3002" y="600"/>
                </a:cubicBezTo>
                <a:cubicBezTo>
                  <a:pt x="3002" y="600"/>
                  <a:pt x="3002" y="599"/>
                  <a:pt x="3002" y="598"/>
                </a:cubicBezTo>
                <a:cubicBezTo>
                  <a:pt x="3002" y="598"/>
                  <a:pt x="3003" y="597"/>
                  <a:pt x="3003" y="596"/>
                </a:cubicBezTo>
                <a:cubicBezTo>
                  <a:pt x="3003" y="596"/>
                  <a:pt x="3003" y="595"/>
                  <a:pt x="3003" y="594"/>
                </a:cubicBezTo>
                <a:cubicBezTo>
                  <a:pt x="3003" y="594"/>
                  <a:pt x="3004" y="593"/>
                  <a:pt x="3004" y="593"/>
                </a:cubicBezTo>
                <a:cubicBezTo>
                  <a:pt x="3004" y="592"/>
                  <a:pt x="3004" y="592"/>
                  <a:pt x="3004" y="592"/>
                </a:cubicBezTo>
                <a:cubicBezTo>
                  <a:pt x="3004" y="591"/>
                  <a:pt x="3005" y="590"/>
                  <a:pt x="3005" y="589"/>
                </a:cubicBezTo>
                <a:cubicBezTo>
                  <a:pt x="3006" y="588"/>
                  <a:pt x="3006" y="588"/>
                  <a:pt x="3006" y="588"/>
                </a:cubicBezTo>
                <a:cubicBezTo>
                  <a:pt x="3007" y="587"/>
                  <a:pt x="3007" y="587"/>
                  <a:pt x="3008" y="586"/>
                </a:cubicBezTo>
                <a:cubicBezTo>
                  <a:pt x="3008" y="585"/>
                  <a:pt x="3009" y="585"/>
                  <a:pt x="3009" y="585"/>
                </a:cubicBezTo>
                <a:cubicBezTo>
                  <a:pt x="3010" y="585"/>
                  <a:pt x="3011" y="585"/>
                  <a:pt x="3011" y="585"/>
                </a:cubicBezTo>
                <a:cubicBezTo>
                  <a:pt x="3012" y="585"/>
                  <a:pt x="3012" y="585"/>
                  <a:pt x="3013" y="585"/>
                </a:cubicBezTo>
                <a:cubicBezTo>
                  <a:pt x="3013" y="585"/>
                  <a:pt x="3013" y="586"/>
                  <a:pt x="3013" y="586"/>
                </a:cubicBezTo>
                <a:cubicBezTo>
                  <a:pt x="3013" y="587"/>
                  <a:pt x="3013" y="587"/>
                  <a:pt x="3013" y="587"/>
                </a:cubicBezTo>
                <a:close/>
                <a:moveTo>
                  <a:pt x="2040" y="831"/>
                </a:moveTo>
                <a:cubicBezTo>
                  <a:pt x="2040" y="831"/>
                  <a:pt x="2040" y="831"/>
                  <a:pt x="2040" y="832"/>
                </a:cubicBezTo>
                <a:cubicBezTo>
                  <a:pt x="2040" y="832"/>
                  <a:pt x="2041" y="832"/>
                  <a:pt x="2041" y="832"/>
                </a:cubicBezTo>
                <a:cubicBezTo>
                  <a:pt x="2041" y="831"/>
                  <a:pt x="2040" y="831"/>
                  <a:pt x="2040" y="830"/>
                </a:cubicBezTo>
                <a:cubicBezTo>
                  <a:pt x="2040" y="830"/>
                  <a:pt x="2040" y="828"/>
                  <a:pt x="2039" y="829"/>
                </a:cubicBezTo>
                <a:cubicBezTo>
                  <a:pt x="2038" y="829"/>
                  <a:pt x="2040" y="830"/>
                  <a:pt x="2040" y="831"/>
                </a:cubicBezTo>
                <a:close/>
                <a:moveTo>
                  <a:pt x="2062" y="827"/>
                </a:moveTo>
                <a:cubicBezTo>
                  <a:pt x="2063" y="828"/>
                  <a:pt x="2063" y="828"/>
                  <a:pt x="2063" y="828"/>
                </a:cubicBezTo>
                <a:cubicBezTo>
                  <a:pt x="2064" y="828"/>
                  <a:pt x="2063" y="827"/>
                  <a:pt x="2063" y="826"/>
                </a:cubicBezTo>
                <a:cubicBezTo>
                  <a:pt x="2062" y="826"/>
                  <a:pt x="2062" y="826"/>
                  <a:pt x="2062" y="826"/>
                </a:cubicBezTo>
                <a:cubicBezTo>
                  <a:pt x="2062" y="825"/>
                  <a:pt x="2061" y="825"/>
                  <a:pt x="2061" y="825"/>
                </a:cubicBezTo>
                <a:cubicBezTo>
                  <a:pt x="2060" y="825"/>
                  <a:pt x="2061" y="824"/>
                  <a:pt x="2060" y="823"/>
                </a:cubicBezTo>
                <a:cubicBezTo>
                  <a:pt x="2059" y="823"/>
                  <a:pt x="2059" y="824"/>
                  <a:pt x="2058" y="824"/>
                </a:cubicBezTo>
                <a:cubicBezTo>
                  <a:pt x="2057" y="824"/>
                  <a:pt x="2057" y="824"/>
                  <a:pt x="2057" y="824"/>
                </a:cubicBezTo>
                <a:cubicBezTo>
                  <a:pt x="2056" y="825"/>
                  <a:pt x="2056" y="824"/>
                  <a:pt x="2055" y="824"/>
                </a:cubicBezTo>
                <a:cubicBezTo>
                  <a:pt x="2055" y="824"/>
                  <a:pt x="2055" y="825"/>
                  <a:pt x="2055" y="825"/>
                </a:cubicBezTo>
                <a:cubicBezTo>
                  <a:pt x="2055" y="825"/>
                  <a:pt x="2056" y="825"/>
                  <a:pt x="2056" y="825"/>
                </a:cubicBezTo>
                <a:cubicBezTo>
                  <a:pt x="2057" y="825"/>
                  <a:pt x="2058" y="826"/>
                  <a:pt x="2058" y="826"/>
                </a:cubicBezTo>
                <a:cubicBezTo>
                  <a:pt x="2059" y="827"/>
                  <a:pt x="2057" y="827"/>
                  <a:pt x="2058" y="828"/>
                </a:cubicBezTo>
                <a:cubicBezTo>
                  <a:pt x="2058" y="828"/>
                  <a:pt x="2058" y="828"/>
                  <a:pt x="2059" y="828"/>
                </a:cubicBezTo>
                <a:cubicBezTo>
                  <a:pt x="2059" y="828"/>
                  <a:pt x="2059" y="828"/>
                  <a:pt x="2059" y="828"/>
                </a:cubicBezTo>
                <a:cubicBezTo>
                  <a:pt x="2059" y="828"/>
                  <a:pt x="2059" y="828"/>
                  <a:pt x="2060" y="828"/>
                </a:cubicBezTo>
                <a:cubicBezTo>
                  <a:pt x="2060" y="829"/>
                  <a:pt x="2060" y="829"/>
                  <a:pt x="2061" y="829"/>
                </a:cubicBezTo>
                <a:cubicBezTo>
                  <a:pt x="2061" y="829"/>
                  <a:pt x="2062" y="829"/>
                  <a:pt x="2062" y="829"/>
                </a:cubicBezTo>
                <a:cubicBezTo>
                  <a:pt x="2063" y="829"/>
                  <a:pt x="2062" y="828"/>
                  <a:pt x="2062" y="827"/>
                </a:cubicBezTo>
                <a:cubicBezTo>
                  <a:pt x="2061" y="827"/>
                  <a:pt x="2062" y="827"/>
                  <a:pt x="2062" y="827"/>
                </a:cubicBezTo>
                <a:close/>
                <a:moveTo>
                  <a:pt x="2044" y="850"/>
                </a:moveTo>
                <a:cubicBezTo>
                  <a:pt x="2045" y="849"/>
                  <a:pt x="2044" y="849"/>
                  <a:pt x="2044" y="849"/>
                </a:cubicBezTo>
                <a:cubicBezTo>
                  <a:pt x="2044" y="849"/>
                  <a:pt x="2044" y="850"/>
                  <a:pt x="2044" y="850"/>
                </a:cubicBezTo>
                <a:close/>
                <a:moveTo>
                  <a:pt x="2042" y="854"/>
                </a:moveTo>
                <a:cubicBezTo>
                  <a:pt x="2041" y="854"/>
                  <a:pt x="2041" y="855"/>
                  <a:pt x="2041" y="855"/>
                </a:cubicBezTo>
                <a:cubicBezTo>
                  <a:pt x="2041" y="855"/>
                  <a:pt x="2041" y="855"/>
                  <a:pt x="2042" y="856"/>
                </a:cubicBezTo>
                <a:cubicBezTo>
                  <a:pt x="2042" y="856"/>
                  <a:pt x="2042" y="856"/>
                  <a:pt x="2042" y="856"/>
                </a:cubicBezTo>
                <a:cubicBezTo>
                  <a:pt x="2042" y="856"/>
                  <a:pt x="2042" y="855"/>
                  <a:pt x="2042" y="855"/>
                </a:cubicBezTo>
                <a:cubicBezTo>
                  <a:pt x="2042" y="855"/>
                  <a:pt x="2042" y="854"/>
                  <a:pt x="2042" y="854"/>
                </a:cubicBezTo>
                <a:close/>
                <a:moveTo>
                  <a:pt x="2042" y="805"/>
                </a:moveTo>
                <a:cubicBezTo>
                  <a:pt x="2042" y="804"/>
                  <a:pt x="2042" y="804"/>
                  <a:pt x="2041" y="804"/>
                </a:cubicBezTo>
                <a:cubicBezTo>
                  <a:pt x="2041" y="804"/>
                  <a:pt x="2041" y="804"/>
                  <a:pt x="2041" y="805"/>
                </a:cubicBezTo>
                <a:cubicBezTo>
                  <a:pt x="2040" y="805"/>
                  <a:pt x="2040" y="805"/>
                  <a:pt x="2040" y="805"/>
                </a:cubicBezTo>
                <a:cubicBezTo>
                  <a:pt x="2039" y="805"/>
                  <a:pt x="2039" y="806"/>
                  <a:pt x="2040" y="806"/>
                </a:cubicBezTo>
                <a:cubicBezTo>
                  <a:pt x="2040" y="806"/>
                  <a:pt x="2040" y="806"/>
                  <a:pt x="2041" y="807"/>
                </a:cubicBezTo>
                <a:cubicBezTo>
                  <a:pt x="2041" y="807"/>
                  <a:pt x="2040" y="808"/>
                  <a:pt x="2041" y="808"/>
                </a:cubicBezTo>
                <a:cubicBezTo>
                  <a:pt x="2041" y="808"/>
                  <a:pt x="2041" y="807"/>
                  <a:pt x="2041" y="807"/>
                </a:cubicBezTo>
                <a:cubicBezTo>
                  <a:pt x="2042" y="807"/>
                  <a:pt x="2042" y="807"/>
                  <a:pt x="2042" y="806"/>
                </a:cubicBezTo>
                <a:cubicBezTo>
                  <a:pt x="2043" y="806"/>
                  <a:pt x="2043" y="806"/>
                  <a:pt x="2043" y="805"/>
                </a:cubicBezTo>
                <a:cubicBezTo>
                  <a:pt x="2042" y="805"/>
                  <a:pt x="2042" y="805"/>
                  <a:pt x="2042" y="805"/>
                </a:cubicBezTo>
                <a:close/>
                <a:moveTo>
                  <a:pt x="2055" y="838"/>
                </a:moveTo>
                <a:cubicBezTo>
                  <a:pt x="2055" y="839"/>
                  <a:pt x="2056" y="839"/>
                  <a:pt x="2056" y="839"/>
                </a:cubicBezTo>
                <a:cubicBezTo>
                  <a:pt x="2056" y="839"/>
                  <a:pt x="2056" y="840"/>
                  <a:pt x="2056" y="840"/>
                </a:cubicBezTo>
                <a:cubicBezTo>
                  <a:pt x="2057" y="840"/>
                  <a:pt x="2057" y="838"/>
                  <a:pt x="2058" y="838"/>
                </a:cubicBezTo>
                <a:cubicBezTo>
                  <a:pt x="2058" y="837"/>
                  <a:pt x="2058" y="837"/>
                  <a:pt x="2058" y="836"/>
                </a:cubicBezTo>
                <a:cubicBezTo>
                  <a:pt x="2058" y="836"/>
                  <a:pt x="2058" y="836"/>
                  <a:pt x="2058" y="835"/>
                </a:cubicBezTo>
                <a:cubicBezTo>
                  <a:pt x="2058" y="835"/>
                  <a:pt x="2058" y="834"/>
                  <a:pt x="2058" y="834"/>
                </a:cubicBezTo>
                <a:cubicBezTo>
                  <a:pt x="2057" y="834"/>
                  <a:pt x="2057" y="833"/>
                  <a:pt x="2056" y="833"/>
                </a:cubicBezTo>
                <a:cubicBezTo>
                  <a:pt x="2055" y="833"/>
                  <a:pt x="2055" y="835"/>
                  <a:pt x="2055" y="836"/>
                </a:cubicBezTo>
                <a:cubicBezTo>
                  <a:pt x="2055" y="837"/>
                  <a:pt x="2054" y="838"/>
                  <a:pt x="2055" y="838"/>
                </a:cubicBezTo>
                <a:close/>
                <a:moveTo>
                  <a:pt x="2071" y="856"/>
                </a:moveTo>
                <a:cubicBezTo>
                  <a:pt x="2070" y="856"/>
                  <a:pt x="2069" y="857"/>
                  <a:pt x="2068" y="858"/>
                </a:cubicBezTo>
                <a:cubicBezTo>
                  <a:pt x="2068" y="858"/>
                  <a:pt x="2067" y="858"/>
                  <a:pt x="2067" y="859"/>
                </a:cubicBezTo>
                <a:cubicBezTo>
                  <a:pt x="2068" y="859"/>
                  <a:pt x="2068" y="858"/>
                  <a:pt x="2069" y="858"/>
                </a:cubicBezTo>
                <a:cubicBezTo>
                  <a:pt x="2070" y="858"/>
                  <a:pt x="2070" y="858"/>
                  <a:pt x="2071" y="857"/>
                </a:cubicBezTo>
                <a:cubicBezTo>
                  <a:pt x="2071" y="857"/>
                  <a:pt x="2072" y="857"/>
                  <a:pt x="2071" y="856"/>
                </a:cubicBezTo>
                <a:close/>
                <a:moveTo>
                  <a:pt x="2067" y="854"/>
                </a:moveTo>
                <a:cubicBezTo>
                  <a:pt x="2067" y="854"/>
                  <a:pt x="2067" y="854"/>
                  <a:pt x="2067" y="854"/>
                </a:cubicBezTo>
                <a:cubicBezTo>
                  <a:pt x="2067" y="855"/>
                  <a:pt x="2067" y="855"/>
                  <a:pt x="2067" y="855"/>
                </a:cubicBezTo>
                <a:cubicBezTo>
                  <a:pt x="2067" y="856"/>
                  <a:pt x="2067" y="856"/>
                  <a:pt x="2068" y="856"/>
                </a:cubicBezTo>
                <a:cubicBezTo>
                  <a:pt x="2068" y="855"/>
                  <a:pt x="2068" y="855"/>
                  <a:pt x="2068" y="855"/>
                </a:cubicBezTo>
                <a:cubicBezTo>
                  <a:pt x="2067" y="854"/>
                  <a:pt x="2068" y="854"/>
                  <a:pt x="2067" y="854"/>
                </a:cubicBezTo>
                <a:close/>
                <a:moveTo>
                  <a:pt x="2054" y="814"/>
                </a:moveTo>
                <a:cubicBezTo>
                  <a:pt x="2054" y="814"/>
                  <a:pt x="2055" y="814"/>
                  <a:pt x="2055" y="814"/>
                </a:cubicBezTo>
                <a:cubicBezTo>
                  <a:pt x="2055" y="813"/>
                  <a:pt x="2056" y="813"/>
                  <a:pt x="2056" y="813"/>
                </a:cubicBezTo>
                <a:cubicBezTo>
                  <a:pt x="2056" y="812"/>
                  <a:pt x="2054" y="812"/>
                  <a:pt x="2054" y="814"/>
                </a:cubicBezTo>
                <a:close/>
                <a:moveTo>
                  <a:pt x="2070" y="870"/>
                </a:moveTo>
                <a:cubicBezTo>
                  <a:pt x="2070" y="870"/>
                  <a:pt x="2069" y="872"/>
                  <a:pt x="2069" y="872"/>
                </a:cubicBezTo>
                <a:cubicBezTo>
                  <a:pt x="2069" y="872"/>
                  <a:pt x="2069" y="873"/>
                  <a:pt x="2069" y="873"/>
                </a:cubicBezTo>
                <a:cubicBezTo>
                  <a:pt x="2069" y="874"/>
                  <a:pt x="2069" y="875"/>
                  <a:pt x="2070" y="875"/>
                </a:cubicBezTo>
                <a:cubicBezTo>
                  <a:pt x="2071" y="875"/>
                  <a:pt x="2070" y="874"/>
                  <a:pt x="2070" y="873"/>
                </a:cubicBezTo>
                <a:cubicBezTo>
                  <a:pt x="2070" y="872"/>
                  <a:pt x="2070" y="872"/>
                  <a:pt x="2070" y="871"/>
                </a:cubicBezTo>
                <a:cubicBezTo>
                  <a:pt x="2071" y="871"/>
                  <a:pt x="2071" y="870"/>
                  <a:pt x="2070" y="870"/>
                </a:cubicBezTo>
                <a:close/>
                <a:moveTo>
                  <a:pt x="2058" y="848"/>
                </a:moveTo>
                <a:cubicBezTo>
                  <a:pt x="2059" y="847"/>
                  <a:pt x="2060" y="847"/>
                  <a:pt x="2060" y="847"/>
                </a:cubicBezTo>
                <a:cubicBezTo>
                  <a:pt x="2061" y="846"/>
                  <a:pt x="2059" y="846"/>
                  <a:pt x="2059" y="847"/>
                </a:cubicBezTo>
                <a:cubicBezTo>
                  <a:pt x="2059" y="847"/>
                  <a:pt x="2058" y="847"/>
                  <a:pt x="2058" y="847"/>
                </a:cubicBezTo>
                <a:cubicBezTo>
                  <a:pt x="2058" y="847"/>
                  <a:pt x="2057" y="848"/>
                  <a:pt x="2057" y="848"/>
                </a:cubicBezTo>
                <a:cubicBezTo>
                  <a:pt x="2057" y="848"/>
                  <a:pt x="2056" y="849"/>
                  <a:pt x="2056" y="849"/>
                </a:cubicBezTo>
                <a:cubicBezTo>
                  <a:pt x="2057" y="849"/>
                  <a:pt x="2058" y="848"/>
                  <a:pt x="2058" y="848"/>
                </a:cubicBezTo>
                <a:close/>
                <a:moveTo>
                  <a:pt x="2050" y="849"/>
                </a:moveTo>
                <a:cubicBezTo>
                  <a:pt x="2049" y="849"/>
                  <a:pt x="2049" y="850"/>
                  <a:pt x="2050" y="849"/>
                </a:cubicBezTo>
                <a:cubicBezTo>
                  <a:pt x="2051" y="849"/>
                  <a:pt x="2050" y="848"/>
                  <a:pt x="2050" y="849"/>
                </a:cubicBezTo>
                <a:close/>
                <a:moveTo>
                  <a:pt x="2044" y="843"/>
                </a:moveTo>
                <a:cubicBezTo>
                  <a:pt x="2044" y="843"/>
                  <a:pt x="2043" y="843"/>
                  <a:pt x="2043" y="842"/>
                </a:cubicBezTo>
                <a:cubicBezTo>
                  <a:pt x="2043" y="842"/>
                  <a:pt x="2043" y="842"/>
                  <a:pt x="2043" y="842"/>
                </a:cubicBezTo>
                <a:cubicBezTo>
                  <a:pt x="2042" y="842"/>
                  <a:pt x="2042" y="842"/>
                  <a:pt x="2042" y="842"/>
                </a:cubicBezTo>
                <a:cubicBezTo>
                  <a:pt x="2042" y="843"/>
                  <a:pt x="2042" y="843"/>
                  <a:pt x="2043" y="844"/>
                </a:cubicBezTo>
                <a:cubicBezTo>
                  <a:pt x="2044" y="844"/>
                  <a:pt x="2044" y="845"/>
                  <a:pt x="2044" y="846"/>
                </a:cubicBezTo>
                <a:cubicBezTo>
                  <a:pt x="2045" y="846"/>
                  <a:pt x="2045" y="847"/>
                  <a:pt x="2046" y="847"/>
                </a:cubicBezTo>
                <a:cubicBezTo>
                  <a:pt x="2046" y="847"/>
                  <a:pt x="2047" y="848"/>
                  <a:pt x="2047" y="848"/>
                </a:cubicBezTo>
                <a:cubicBezTo>
                  <a:pt x="2047" y="848"/>
                  <a:pt x="2047" y="847"/>
                  <a:pt x="2047" y="847"/>
                </a:cubicBezTo>
                <a:cubicBezTo>
                  <a:pt x="2047" y="847"/>
                  <a:pt x="2047" y="847"/>
                  <a:pt x="2047" y="847"/>
                </a:cubicBezTo>
                <a:cubicBezTo>
                  <a:pt x="2047" y="847"/>
                  <a:pt x="2047" y="846"/>
                  <a:pt x="2047" y="846"/>
                </a:cubicBezTo>
                <a:cubicBezTo>
                  <a:pt x="2047" y="846"/>
                  <a:pt x="2046" y="846"/>
                  <a:pt x="2046" y="846"/>
                </a:cubicBezTo>
                <a:cubicBezTo>
                  <a:pt x="2046" y="846"/>
                  <a:pt x="2045" y="846"/>
                  <a:pt x="2045" y="846"/>
                </a:cubicBezTo>
                <a:cubicBezTo>
                  <a:pt x="2045" y="846"/>
                  <a:pt x="2045" y="845"/>
                  <a:pt x="2045" y="845"/>
                </a:cubicBezTo>
                <a:cubicBezTo>
                  <a:pt x="2045" y="844"/>
                  <a:pt x="2045" y="844"/>
                  <a:pt x="2044" y="843"/>
                </a:cubicBezTo>
                <a:close/>
                <a:moveTo>
                  <a:pt x="2038" y="847"/>
                </a:moveTo>
                <a:cubicBezTo>
                  <a:pt x="2038" y="847"/>
                  <a:pt x="2037" y="848"/>
                  <a:pt x="2037" y="848"/>
                </a:cubicBezTo>
                <a:cubicBezTo>
                  <a:pt x="2038" y="848"/>
                  <a:pt x="2038" y="847"/>
                  <a:pt x="2038" y="847"/>
                </a:cubicBezTo>
                <a:cubicBezTo>
                  <a:pt x="2038" y="847"/>
                  <a:pt x="2039" y="846"/>
                  <a:pt x="2038" y="846"/>
                </a:cubicBezTo>
                <a:cubicBezTo>
                  <a:pt x="2038" y="846"/>
                  <a:pt x="2038" y="846"/>
                  <a:pt x="2038" y="847"/>
                </a:cubicBezTo>
                <a:close/>
                <a:moveTo>
                  <a:pt x="2037" y="860"/>
                </a:moveTo>
                <a:cubicBezTo>
                  <a:pt x="2038" y="860"/>
                  <a:pt x="2038" y="859"/>
                  <a:pt x="2039" y="859"/>
                </a:cubicBezTo>
                <a:cubicBezTo>
                  <a:pt x="2039" y="859"/>
                  <a:pt x="2039" y="859"/>
                  <a:pt x="2040" y="859"/>
                </a:cubicBezTo>
                <a:cubicBezTo>
                  <a:pt x="2040" y="859"/>
                  <a:pt x="2040" y="858"/>
                  <a:pt x="2039" y="858"/>
                </a:cubicBezTo>
                <a:cubicBezTo>
                  <a:pt x="2039" y="858"/>
                  <a:pt x="2038" y="859"/>
                  <a:pt x="2038" y="859"/>
                </a:cubicBezTo>
                <a:cubicBezTo>
                  <a:pt x="2038" y="859"/>
                  <a:pt x="2037" y="859"/>
                  <a:pt x="2037" y="860"/>
                </a:cubicBezTo>
                <a:close/>
                <a:moveTo>
                  <a:pt x="2038" y="850"/>
                </a:moveTo>
                <a:cubicBezTo>
                  <a:pt x="2038" y="850"/>
                  <a:pt x="2038" y="850"/>
                  <a:pt x="2038" y="850"/>
                </a:cubicBezTo>
                <a:cubicBezTo>
                  <a:pt x="2039" y="850"/>
                  <a:pt x="2038" y="849"/>
                  <a:pt x="2038" y="850"/>
                </a:cubicBezTo>
                <a:close/>
                <a:moveTo>
                  <a:pt x="2028" y="845"/>
                </a:moveTo>
                <a:cubicBezTo>
                  <a:pt x="2028" y="845"/>
                  <a:pt x="2028" y="845"/>
                  <a:pt x="2028" y="845"/>
                </a:cubicBezTo>
                <a:cubicBezTo>
                  <a:pt x="2028" y="844"/>
                  <a:pt x="2027" y="845"/>
                  <a:pt x="2027" y="845"/>
                </a:cubicBezTo>
                <a:cubicBezTo>
                  <a:pt x="2027" y="846"/>
                  <a:pt x="2027" y="846"/>
                  <a:pt x="2028" y="846"/>
                </a:cubicBezTo>
                <a:cubicBezTo>
                  <a:pt x="2028" y="846"/>
                  <a:pt x="2028" y="846"/>
                  <a:pt x="2028" y="846"/>
                </a:cubicBezTo>
                <a:cubicBezTo>
                  <a:pt x="2029" y="846"/>
                  <a:pt x="2029" y="845"/>
                  <a:pt x="2028" y="845"/>
                </a:cubicBezTo>
                <a:close/>
                <a:moveTo>
                  <a:pt x="2049" y="861"/>
                </a:moveTo>
                <a:cubicBezTo>
                  <a:pt x="2049" y="861"/>
                  <a:pt x="2049" y="862"/>
                  <a:pt x="2049" y="862"/>
                </a:cubicBezTo>
                <a:cubicBezTo>
                  <a:pt x="2049" y="863"/>
                  <a:pt x="2050" y="862"/>
                  <a:pt x="2050" y="863"/>
                </a:cubicBezTo>
                <a:cubicBezTo>
                  <a:pt x="2050" y="863"/>
                  <a:pt x="2050" y="864"/>
                  <a:pt x="2050" y="864"/>
                </a:cubicBezTo>
                <a:cubicBezTo>
                  <a:pt x="2051" y="863"/>
                  <a:pt x="2050" y="863"/>
                  <a:pt x="2050" y="862"/>
                </a:cubicBezTo>
                <a:cubicBezTo>
                  <a:pt x="2050" y="862"/>
                  <a:pt x="2050" y="861"/>
                  <a:pt x="2049" y="861"/>
                </a:cubicBezTo>
                <a:close/>
                <a:moveTo>
                  <a:pt x="2052" y="809"/>
                </a:moveTo>
                <a:cubicBezTo>
                  <a:pt x="2052" y="809"/>
                  <a:pt x="2051" y="809"/>
                  <a:pt x="2051" y="809"/>
                </a:cubicBezTo>
                <a:cubicBezTo>
                  <a:pt x="2051" y="809"/>
                  <a:pt x="2051" y="808"/>
                  <a:pt x="2051" y="808"/>
                </a:cubicBezTo>
                <a:cubicBezTo>
                  <a:pt x="2050" y="809"/>
                  <a:pt x="2050" y="809"/>
                  <a:pt x="2050" y="809"/>
                </a:cubicBezTo>
                <a:cubicBezTo>
                  <a:pt x="2051" y="809"/>
                  <a:pt x="2052" y="810"/>
                  <a:pt x="2052" y="809"/>
                </a:cubicBezTo>
                <a:cubicBezTo>
                  <a:pt x="2053" y="809"/>
                  <a:pt x="2053" y="809"/>
                  <a:pt x="2052" y="809"/>
                </a:cubicBezTo>
                <a:close/>
                <a:moveTo>
                  <a:pt x="2031" y="877"/>
                </a:moveTo>
                <a:cubicBezTo>
                  <a:pt x="2032" y="877"/>
                  <a:pt x="2032" y="878"/>
                  <a:pt x="2033" y="878"/>
                </a:cubicBezTo>
                <a:cubicBezTo>
                  <a:pt x="2034" y="878"/>
                  <a:pt x="2035" y="878"/>
                  <a:pt x="2036" y="878"/>
                </a:cubicBezTo>
                <a:cubicBezTo>
                  <a:pt x="2037" y="878"/>
                  <a:pt x="2037" y="879"/>
                  <a:pt x="2038" y="879"/>
                </a:cubicBezTo>
                <a:cubicBezTo>
                  <a:pt x="2039" y="879"/>
                  <a:pt x="2040" y="879"/>
                  <a:pt x="2041" y="880"/>
                </a:cubicBezTo>
                <a:cubicBezTo>
                  <a:pt x="2041" y="880"/>
                  <a:pt x="2041" y="880"/>
                  <a:pt x="2042" y="880"/>
                </a:cubicBezTo>
                <a:cubicBezTo>
                  <a:pt x="2042" y="880"/>
                  <a:pt x="2043" y="880"/>
                  <a:pt x="2043" y="881"/>
                </a:cubicBezTo>
                <a:cubicBezTo>
                  <a:pt x="2043" y="881"/>
                  <a:pt x="2042" y="881"/>
                  <a:pt x="2042" y="882"/>
                </a:cubicBezTo>
                <a:cubicBezTo>
                  <a:pt x="2042" y="882"/>
                  <a:pt x="2043" y="882"/>
                  <a:pt x="2043" y="882"/>
                </a:cubicBezTo>
                <a:cubicBezTo>
                  <a:pt x="2044" y="881"/>
                  <a:pt x="2045" y="881"/>
                  <a:pt x="2046" y="881"/>
                </a:cubicBezTo>
                <a:cubicBezTo>
                  <a:pt x="2047" y="881"/>
                  <a:pt x="2047" y="882"/>
                  <a:pt x="2048" y="881"/>
                </a:cubicBezTo>
                <a:cubicBezTo>
                  <a:pt x="2048" y="881"/>
                  <a:pt x="2048" y="881"/>
                  <a:pt x="2049" y="881"/>
                </a:cubicBezTo>
                <a:cubicBezTo>
                  <a:pt x="2049" y="880"/>
                  <a:pt x="2051" y="880"/>
                  <a:pt x="2052" y="880"/>
                </a:cubicBezTo>
                <a:cubicBezTo>
                  <a:pt x="2053" y="880"/>
                  <a:pt x="2054" y="881"/>
                  <a:pt x="2055" y="881"/>
                </a:cubicBezTo>
                <a:cubicBezTo>
                  <a:pt x="2056" y="881"/>
                  <a:pt x="2057" y="881"/>
                  <a:pt x="2058" y="880"/>
                </a:cubicBezTo>
                <a:cubicBezTo>
                  <a:pt x="2058" y="880"/>
                  <a:pt x="2059" y="880"/>
                  <a:pt x="2059" y="880"/>
                </a:cubicBezTo>
                <a:cubicBezTo>
                  <a:pt x="2059" y="880"/>
                  <a:pt x="2059" y="879"/>
                  <a:pt x="2059" y="879"/>
                </a:cubicBezTo>
                <a:cubicBezTo>
                  <a:pt x="2059" y="878"/>
                  <a:pt x="2061" y="877"/>
                  <a:pt x="2060" y="877"/>
                </a:cubicBezTo>
                <a:cubicBezTo>
                  <a:pt x="2060" y="877"/>
                  <a:pt x="2060" y="877"/>
                  <a:pt x="2060" y="877"/>
                </a:cubicBezTo>
                <a:cubicBezTo>
                  <a:pt x="2060" y="877"/>
                  <a:pt x="2059" y="877"/>
                  <a:pt x="2059" y="878"/>
                </a:cubicBezTo>
                <a:cubicBezTo>
                  <a:pt x="2059" y="878"/>
                  <a:pt x="2058" y="878"/>
                  <a:pt x="2058" y="878"/>
                </a:cubicBezTo>
                <a:cubicBezTo>
                  <a:pt x="2057" y="878"/>
                  <a:pt x="2057" y="878"/>
                  <a:pt x="2057" y="878"/>
                </a:cubicBezTo>
                <a:cubicBezTo>
                  <a:pt x="2056" y="878"/>
                  <a:pt x="2056" y="879"/>
                  <a:pt x="2055" y="879"/>
                </a:cubicBezTo>
                <a:cubicBezTo>
                  <a:pt x="2055" y="879"/>
                  <a:pt x="2053" y="879"/>
                  <a:pt x="2053" y="878"/>
                </a:cubicBezTo>
                <a:cubicBezTo>
                  <a:pt x="2054" y="877"/>
                  <a:pt x="2054" y="877"/>
                  <a:pt x="2054" y="877"/>
                </a:cubicBezTo>
                <a:cubicBezTo>
                  <a:pt x="2053" y="876"/>
                  <a:pt x="2053" y="877"/>
                  <a:pt x="2052" y="877"/>
                </a:cubicBezTo>
                <a:cubicBezTo>
                  <a:pt x="2052" y="877"/>
                  <a:pt x="2052" y="877"/>
                  <a:pt x="2051" y="877"/>
                </a:cubicBezTo>
                <a:cubicBezTo>
                  <a:pt x="2051" y="877"/>
                  <a:pt x="2051" y="877"/>
                  <a:pt x="2050" y="877"/>
                </a:cubicBezTo>
                <a:cubicBezTo>
                  <a:pt x="2050" y="877"/>
                  <a:pt x="2049" y="877"/>
                  <a:pt x="2048" y="877"/>
                </a:cubicBezTo>
                <a:cubicBezTo>
                  <a:pt x="2047" y="876"/>
                  <a:pt x="2046" y="876"/>
                  <a:pt x="2045" y="876"/>
                </a:cubicBezTo>
                <a:cubicBezTo>
                  <a:pt x="2043" y="876"/>
                  <a:pt x="2042" y="876"/>
                  <a:pt x="2040" y="877"/>
                </a:cubicBezTo>
                <a:cubicBezTo>
                  <a:pt x="2039" y="877"/>
                  <a:pt x="2038" y="877"/>
                  <a:pt x="2038" y="876"/>
                </a:cubicBezTo>
                <a:cubicBezTo>
                  <a:pt x="2037" y="876"/>
                  <a:pt x="2037" y="875"/>
                  <a:pt x="2036" y="875"/>
                </a:cubicBezTo>
                <a:cubicBezTo>
                  <a:pt x="2036" y="875"/>
                  <a:pt x="2035" y="875"/>
                  <a:pt x="2035" y="874"/>
                </a:cubicBezTo>
                <a:cubicBezTo>
                  <a:pt x="2035" y="874"/>
                  <a:pt x="2036" y="874"/>
                  <a:pt x="2036" y="874"/>
                </a:cubicBezTo>
                <a:cubicBezTo>
                  <a:pt x="2036" y="873"/>
                  <a:pt x="2035" y="873"/>
                  <a:pt x="2035" y="873"/>
                </a:cubicBezTo>
                <a:cubicBezTo>
                  <a:pt x="2034" y="873"/>
                  <a:pt x="2034" y="874"/>
                  <a:pt x="2033" y="874"/>
                </a:cubicBezTo>
                <a:cubicBezTo>
                  <a:pt x="2032" y="874"/>
                  <a:pt x="2032" y="874"/>
                  <a:pt x="2031" y="874"/>
                </a:cubicBezTo>
                <a:cubicBezTo>
                  <a:pt x="2031" y="873"/>
                  <a:pt x="2031" y="873"/>
                  <a:pt x="2031" y="872"/>
                </a:cubicBezTo>
                <a:cubicBezTo>
                  <a:pt x="2031" y="872"/>
                  <a:pt x="2030" y="873"/>
                  <a:pt x="2030" y="873"/>
                </a:cubicBezTo>
                <a:cubicBezTo>
                  <a:pt x="2030" y="874"/>
                  <a:pt x="2029" y="874"/>
                  <a:pt x="2029" y="875"/>
                </a:cubicBezTo>
                <a:cubicBezTo>
                  <a:pt x="2029" y="875"/>
                  <a:pt x="2027" y="876"/>
                  <a:pt x="2028" y="877"/>
                </a:cubicBezTo>
                <a:cubicBezTo>
                  <a:pt x="2028" y="877"/>
                  <a:pt x="2030" y="877"/>
                  <a:pt x="2031" y="877"/>
                </a:cubicBezTo>
                <a:close/>
                <a:moveTo>
                  <a:pt x="2050" y="853"/>
                </a:moveTo>
                <a:cubicBezTo>
                  <a:pt x="2050" y="854"/>
                  <a:pt x="2049" y="854"/>
                  <a:pt x="2049" y="854"/>
                </a:cubicBezTo>
                <a:cubicBezTo>
                  <a:pt x="2048" y="854"/>
                  <a:pt x="2048" y="853"/>
                  <a:pt x="2047" y="853"/>
                </a:cubicBezTo>
                <a:cubicBezTo>
                  <a:pt x="2046" y="854"/>
                  <a:pt x="2046" y="855"/>
                  <a:pt x="2047" y="855"/>
                </a:cubicBezTo>
                <a:cubicBezTo>
                  <a:pt x="2048" y="855"/>
                  <a:pt x="2048" y="854"/>
                  <a:pt x="2048" y="854"/>
                </a:cubicBezTo>
                <a:cubicBezTo>
                  <a:pt x="2049" y="854"/>
                  <a:pt x="2049" y="855"/>
                  <a:pt x="2049" y="855"/>
                </a:cubicBezTo>
                <a:cubicBezTo>
                  <a:pt x="2050" y="855"/>
                  <a:pt x="2050" y="856"/>
                  <a:pt x="2051" y="856"/>
                </a:cubicBezTo>
                <a:cubicBezTo>
                  <a:pt x="2051" y="855"/>
                  <a:pt x="2051" y="855"/>
                  <a:pt x="2051" y="855"/>
                </a:cubicBezTo>
                <a:cubicBezTo>
                  <a:pt x="2051" y="854"/>
                  <a:pt x="2051" y="854"/>
                  <a:pt x="2052" y="854"/>
                </a:cubicBezTo>
                <a:cubicBezTo>
                  <a:pt x="2053" y="852"/>
                  <a:pt x="2050" y="851"/>
                  <a:pt x="2050" y="853"/>
                </a:cubicBezTo>
                <a:close/>
                <a:moveTo>
                  <a:pt x="2049" y="816"/>
                </a:moveTo>
                <a:cubicBezTo>
                  <a:pt x="2048" y="816"/>
                  <a:pt x="2048" y="815"/>
                  <a:pt x="2048" y="815"/>
                </a:cubicBezTo>
                <a:cubicBezTo>
                  <a:pt x="2047" y="815"/>
                  <a:pt x="2047" y="815"/>
                  <a:pt x="2047" y="815"/>
                </a:cubicBezTo>
                <a:cubicBezTo>
                  <a:pt x="2047" y="815"/>
                  <a:pt x="2046" y="815"/>
                  <a:pt x="2046" y="815"/>
                </a:cubicBezTo>
                <a:cubicBezTo>
                  <a:pt x="2045" y="816"/>
                  <a:pt x="2045" y="818"/>
                  <a:pt x="2047" y="817"/>
                </a:cubicBezTo>
                <a:cubicBezTo>
                  <a:pt x="2047" y="817"/>
                  <a:pt x="2047" y="817"/>
                  <a:pt x="2047" y="816"/>
                </a:cubicBezTo>
                <a:cubicBezTo>
                  <a:pt x="2048" y="816"/>
                  <a:pt x="2048" y="817"/>
                  <a:pt x="2048" y="818"/>
                </a:cubicBezTo>
                <a:cubicBezTo>
                  <a:pt x="2049" y="818"/>
                  <a:pt x="2049" y="817"/>
                  <a:pt x="2049" y="817"/>
                </a:cubicBezTo>
                <a:cubicBezTo>
                  <a:pt x="2049" y="816"/>
                  <a:pt x="2049" y="816"/>
                  <a:pt x="2050" y="816"/>
                </a:cubicBezTo>
                <a:cubicBezTo>
                  <a:pt x="2050" y="815"/>
                  <a:pt x="2050" y="815"/>
                  <a:pt x="2050" y="815"/>
                </a:cubicBezTo>
                <a:cubicBezTo>
                  <a:pt x="2049" y="815"/>
                  <a:pt x="2049" y="816"/>
                  <a:pt x="2049" y="816"/>
                </a:cubicBezTo>
                <a:close/>
                <a:moveTo>
                  <a:pt x="2048" y="858"/>
                </a:moveTo>
                <a:cubicBezTo>
                  <a:pt x="2048" y="858"/>
                  <a:pt x="2048" y="859"/>
                  <a:pt x="2049" y="859"/>
                </a:cubicBezTo>
                <a:cubicBezTo>
                  <a:pt x="2049" y="859"/>
                  <a:pt x="2049" y="859"/>
                  <a:pt x="2049" y="859"/>
                </a:cubicBezTo>
                <a:cubicBezTo>
                  <a:pt x="2049" y="859"/>
                  <a:pt x="2049" y="858"/>
                  <a:pt x="2049" y="858"/>
                </a:cubicBezTo>
                <a:cubicBezTo>
                  <a:pt x="2049" y="857"/>
                  <a:pt x="2049" y="858"/>
                  <a:pt x="2048" y="858"/>
                </a:cubicBezTo>
                <a:close/>
                <a:moveTo>
                  <a:pt x="3334" y="1723"/>
                </a:moveTo>
                <a:cubicBezTo>
                  <a:pt x="3334" y="1723"/>
                  <a:pt x="3334" y="1723"/>
                  <a:pt x="3333" y="1722"/>
                </a:cubicBezTo>
                <a:cubicBezTo>
                  <a:pt x="3332" y="1722"/>
                  <a:pt x="3333" y="1723"/>
                  <a:pt x="3332" y="1723"/>
                </a:cubicBezTo>
                <a:cubicBezTo>
                  <a:pt x="3331" y="1723"/>
                  <a:pt x="3330" y="1722"/>
                  <a:pt x="3330" y="1722"/>
                </a:cubicBezTo>
                <a:cubicBezTo>
                  <a:pt x="3329" y="1721"/>
                  <a:pt x="3329" y="1721"/>
                  <a:pt x="3328" y="1721"/>
                </a:cubicBezTo>
                <a:cubicBezTo>
                  <a:pt x="3327" y="1720"/>
                  <a:pt x="3327" y="1720"/>
                  <a:pt x="3326" y="1721"/>
                </a:cubicBezTo>
                <a:cubicBezTo>
                  <a:pt x="3325" y="1721"/>
                  <a:pt x="3324" y="1721"/>
                  <a:pt x="3323" y="1721"/>
                </a:cubicBezTo>
                <a:cubicBezTo>
                  <a:pt x="3323" y="1722"/>
                  <a:pt x="3323" y="1722"/>
                  <a:pt x="3322" y="1722"/>
                </a:cubicBezTo>
                <a:cubicBezTo>
                  <a:pt x="3322" y="1722"/>
                  <a:pt x="3321" y="1722"/>
                  <a:pt x="3321" y="1722"/>
                </a:cubicBezTo>
                <a:cubicBezTo>
                  <a:pt x="3320" y="1722"/>
                  <a:pt x="3318" y="1722"/>
                  <a:pt x="3317" y="1724"/>
                </a:cubicBezTo>
                <a:cubicBezTo>
                  <a:pt x="3317" y="1724"/>
                  <a:pt x="3317" y="1724"/>
                  <a:pt x="3317" y="1725"/>
                </a:cubicBezTo>
                <a:cubicBezTo>
                  <a:pt x="3317" y="1725"/>
                  <a:pt x="3318" y="1725"/>
                  <a:pt x="3318" y="1726"/>
                </a:cubicBezTo>
                <a:cubicBezTo>
                  <a:pt x="3318" y="1726"/>
                  <a:pt x="3318" y="1726"/>
                  <a:pt x="3318" y="1726"/>
                </a:cubicBezTo>
                <a:cubicBezTo>
                  <a:pt x="3319" y="1727"/>
                  <a:pt x="3319" y="1726"/>
                  <a:pt x="3320" y="1726"/>
                </a:cubicBezTo>
                <a:cubicBezTo>
                  <a:pt x="3321" y="1726"/>
                  <a:pt x="3322" y="1726"/>
                  <a:pt x="3323" y="1726"/>
                </a:cubicBezTo>
                <a:cubicBezTo>
                  <a:pt x="3323" y="1727"/>
                  <a:pt x="3324" y="1727"/>
                  <a:pt x="3324" y="1726"/>
                </a:cubicBezTo>
                <a:cubicBezTo>
                  <a:pt x="3325" y="1726"/>
                  <a:pt x="3325" y="1726"/>
                  <a:pt x="3325" y="1726"/>
                </a:cubicBezTo>
                <a:cubicBezTo>
                  <a:pt x="3325" y="1725"/>
                  <a:pt x="3326" y="1726"/>
                  <a:pt x="3326" y="1726"/>
                </a:cubicBezTo>
                <a:cubicBezTo>
                  <a:pt x="3327" y="1726"/>
                  <a:pt x="3327" y="1726"/>
                  <a:pt x="3327" y="1727"/>
                </a:cubicBezTo>
                <a:cubicBezTo>
                  <a:pt x="3327" y="1728"/>
                  <a:pt x="3328" y="1726"/>
                  <a:pt x="3328" y="1725"/>
                </a:cubicBezTo>
                <a:cubicBezTo>
                  <a:pt x="3329" y="1725"/>
                  <a:pt x="3329" y="1725"/>
                  <a:pt x="3329" y="1725"/>
                </a:cubicBezTo>
                <a:cubicBezTo>
                  <a:pt x="3330" y="1725"/>
                  <a:pt x="3330" y="1724"/>
                  <a:pt x="3331" y="1724"/>
                </a:cubicBezTo>
                <a:cubicBezTo>
                  <a:pt x="3331" y="1724"/>
                  <a:pt x="3331" y="1724"/>
                  <a:pt x="3332" y="1724"/>
                </a:cubicBezTo>
                <a:cubicBezTo>
                  <a:pt x="3332" y="1724"/>
                  <a:pt x="3333" y="1724"/>
                  <a:pt x="3333" y="1724"/>
                </a:cubicBezTo>
                <a:cubicBezTo>
                  <a:pt x="3333" y="1724"/>
                  <a:pt x="3335" y="1725"/>
                  <a:pt x="3335" y="1724"/>
                </a:cubicBezTo>
                <a:cubicBezTo>
                  <a:pt x="3335" y="1723"/>
                  <a:pt x="3334" y="1723"/>
                  <a:pt x="3334" y="1723"/>
                </a:cubicBezTo>
                <a:close/>
                <a:moveTo>
                  <a:pt x="1257" y="515"/>
                </a:moveTo>
                <a:cubicBezTo>
                  <a:pt x="1257" y="515"/>
                  <a:pt x="1257" y="515"/>
                  <a:pt x="1256" y="514"/>
                </a:cubicBezTo>
                <a:cubicBezTo>
                  <a:pt x="1256" y="514"/>
                  <a:pt x="1256" y="514"/>
                  <a:pt x="1256" y="513"/>
                </a:cubicBezTo>
                <a:cubicBezTo>
                  <a:pt x="1255" y="513"/>
                  <a:pt x="1254" y="513"/>
                  <a:pt x="1254" y="514"/>
                </a:cubicBezTo>
                <a:cubicBezTo>
                  <a:pt x="1254" y="514"/>
                  <a:pt x="1253" y="515"/>
                  <a:pt x="1253" y="515"/>
                </a:cubicBezTo>
                <a:cubicBezTo>
                  <a:pt x="1254" y="515"/>
                  <a:pt x="1254" y="515"/>
                  <a:pt x="1255" y="515"/>
                </a:cubicBezTo>
                <a:cubicBezTo>
                  <a:pt x="1255" y="516"/>
                  <a:pt x="1253" y="516"/>
                  <a:pt x="1253" y="516"/>
                </a:cubicBezTo>
                <a:cubicBezTo>
                  <a:pt x="1253" y="517"/>
                  <a:pt x="1254" y="516"/>
                  <a:pt x="1254" y="516"/>
                </a:cubicBezTo>
                <a:cubicBezTo>
                  <a:pt x="1255" y="516"/>
                  <a:pt x="1255" y="517"/>
                  <a:pt x="1255" y="517"/>
                </a:cubicBezTo>
                <a:cubicBezTo>
                  <a:pt x="1256" y="517"/>
                  <a:pt x="1256" y="516"/>
                  <a:pt x="1257" y="515"/>
                </a:cubicBezTo>
                <a:cubicBezTo>
                  <a:pt x="1257" y="515"/>
                  <a:pt x="1258" y="515"/>
                  <a:pt x="1258" y="515"/>
                </a:cubicBezTo>
                <a:cubicBezTo>
                  <a:pt x="1258" y="515"/>
                  <a:pt x="1258" y="515"/>
                  <a:pt x="1257" y="515"/>
                </a:cubicBezTo>
                <a:close/>
                <a:moveTo>
                  <a:pt x="1176" y="334"/>
                </a:moveTo>
                <a:cubicBezTo>
                  <a:pt x="1176" y="334"/>
                  <a:pt x="1175" y="334"/>
                  <a:pt x="1175" y="335"/>
                </a:cubicBezTo>
                <a:cubicBezTo>
                  <a:pt x="1174" y="336"/>
                  <a:pt x="1175" y="336"/>
                  <a:pt x="1176" y="337"/>
                </a:cubicBezTo>
                <a:cubicBezTo>
                  <a:pt x="1176" y="337"/>
                  <a:pt x="1176" y="338"/>
                  <a:pt x="1177" y="339"/>
                </a:cubicBezTo>
                <a:cubicBezTo>
                  <a:pt x="1178" y="339"/>
                  <a:pt x="1178" y="339"/>
                  <a:pt x="1179" y="338"/>
                </a:cubicBezTo>
                <a:cubicBezTo>
                  <a:pt x="1179" y="337"/>
                  <a:pt x="1178" y="336"/>
                  <a:pt x="1179" y="335"/>
                </a:cubicBezTo>
                <a:cubicBezTo>
                  <a:pt x="1179" y="335"/>
                  <a:pt x="1183" y="333"/>
                  <a:pt x="1181" y="332"/>
                </a:cubicBezTo>
                <a:cubicBezTo>
                  <a:pt x="1181" y="331"/>
                  <a:pt x="1180" y="331"/>
                  <a:pt x="1179" y="331"/>
                </a:cubicBezTo>
                <a:cubicBezTo>
                  <a:pt x="1179" y="331"/>
                  <a:pt x="1178" y="331"/>
                  <a:pt x="1178" y="331"/>
                </a:cubicBezTo>
                <a:cubicBezTo>
                  <a:pt x="1177" y="331"/>
                  <a:pt x="1176" y="331"/>
                  <a:pt x="1176" y="331"/>
                </a:cubicBezTo>
                <a:cubicBezTo>
                  <a:pt x="1176" y="331"/>
                  <a:pt x="1175" y="331"/>
                  <a:pt x="1175" y="332"/>
                </a:cubicBezTo>
                <a:cubicBezTo>
                  <a:pt x="1174" y="332"/>
                  <a:pt x="1176" y="332"/>
                  <a:pt x="1176" y="332"/>
                </a:cubicBezTo>
                <a:cubicBezTo>
                  <a:pt x="1177" y="332"/>
                  <a:pt x="1177" y="333"/>
                  <a:pt x="1176" y="334"/>
                </a:cubicBezTo>
                <a:close/>
                <a:moveTo>
                  <a:pt x="1191" y="1293"/>
                </a:moveTo>
                <a:cubicBezTo>
                  <a:pt x="1191" y="1293"/>
                  <a:pt x="1191" y="1293"/>
                  <a:pt x="1190" y="1294"/>
                </a:cubicBezTo>
                <a:cubicBezTo>
                  <a:pt x="1190" y="1294"/>
                  <a:pt x="1189" y="1294"/>
                  <a:pt x="1189" y="1294"/>
                </a:cubicBezTo>
                <a:cubicBezTo>
                  <a:pt x="1188" y="1294"/>
                  <a:pt x="1187" y="1295"/>
                  <a:pt x="1186" y="1295"/>
                </a:cubicBezTo>
                <a:cubicBezTo>
                  <a:pt x="1185" y="1295"/>
                  <a:pt x="1185" y="1296"/>
                  <a:pt x="1186" y="1296"/>
                </a:cubicBezTo>
                <a:cubicBezTo>
                  <a:pt x="1186" y="1297"/>
                  <a:pt x="1187" y="1297"/>
                  <a:pt x="1188" y="1297"/>
                </a:cubicBezTo>
                <a:cubicBezTo>
                  <a:pt x="1189" y="1297"/>
                  <a:pt x="1190" y="1297"/>
                  <a:pt x="1190" y="1297"/>
                </a:cubicBezTo>
                <a:cubicBezTo>
                  <a:pt x="1191" y="1296"/>
                  <a:pt x="1191" y="1296"/>
                  <a:pt x="1192" y="1295"/>
                </a:cubicBezTo>
                <a:cubicBezTo>
                  <a:pt x="1193" y="1295"/>
                  <a:pt x="1194" y="1294"/>
                  <a:pt x="1194" y="1293"/>
                </a:cubicBezTo>
                <a:cubicBezTo>
                  <a:pt x="1193" y="1293"/>
                  <a:pt x="1192" y="1293"/>
                  <a:pt x="1191" y="1293"/>
                </a:cubicBezTo>
                <a:close/>
                <a:moveTo>
                  <a:pt x="1294" y="439"/>
                </a:moveTo>
                <a:cubicBezTo>
                  <a:pt x="1294" y="439"/>
                  <a:pt x="1293" y="440"/>
                  <a:pt x="1292" y="440"/>
                </a:cubicBezTo>
                <a:cubicBezTo>
                  <a:pt x="1292" y="441"/>
                  <a:pt x="1292" y="441"/>
                  <a:pt x="1292" y="441"/>
                </a:cubicBezTo>
                <a:cubicBezTo>
                  <a:pt x="1292" y="441"/>
                  <a:pt x="1293" y="441"/>
                  <a:pt x="1293" y="441"/>
                </a:cubicBezTo>
                <a:cubicBezTo>
                  <a:pt x="1293" y="441"/>
                  <a:pt x="1294" y="441"/>
                  <a:pt x="1294" y="441"/>
                </a:cubicBezTo>
                <a:cubicBezTo>
                  <a:pt x="1295" y="441"/>
                  <a:pt x="1296" y="441"/>
                  <a:pt x="1296" y="440"/>
                </a:cubicBezTo>
                <a:cubicBezTo>
                  <a:pt x="1296" y="440"/>
                  <a:pt x="1296" y="440"/>
                  <a:pt x="1295" y="440"/>
                </a:cubicBezTo>
                <a:cubicBezTo>
                  <a:pt x="1295" y="440"/>
                  <a:pt x="1295" y="439"/>
                  <a:pt x="1294" y="439"/>
                </a:cubicBezTo>
                <a:close/>
                <a:moveTo>
                  <a:pt x="1478" y="341"/>
                </a:moveTo>
                <a:cubicBezTo>
                  <a:pt x="1478" y="340"/>
                  <a:pt x="1480" y="341"/>
                  <a:pt x="1480" y="341"/>
                </a:cubicBezTo>
                <a:cubicBezTo>
                  <a:pt x="1481" y="342"/>
                  <a:pt x="1481" y="342"/>
                  <a:pt x="1482" y="342"/>
                </a:cubicBezTo>
                <a:cubicBezTo>
                  <a:pt x="1482" y="342"/>
                  <a:pt x="1483" y="341"/>
                  <a:pt x="1483" y="341"/>
                </a:cubicBezTo>
                <a:cubicBezTo>
                  <a:pt x="1483" y="341"/>
                  <a:pt x="1484" y="341"/>
                  <a:pt x="1484" y="341"/>
                </a:cubicBezTo>
                <a:cubicBezTo>
                  <a:pt x="1485" y="341"/>
                  <a:pt x="1485" y="340"/>
                  <a:pt x="1485" y="339"/>
                </a:cubicBezTo>
                <a:cubicBezTo>
                  <a:pt x="1485" y="339"/>
                  <a:pt x="1485" y="339"/>
                  <a:pt x="1484" y="339"/>
                </a:cubicBezTo>
                <a:cubicBezTo>
                  <a:pt x="1484" y="339"/>
                  <a:pt x="1484" y="338"/>
                  <a:pt x="1484" y="338"/>
                </a:cubicBezTo>
                <a:cubicBezTo>
                  <a:pt x="1484" y="338"/>
                  <a:pt x="1485" y="338"/>
                  <a:pt x="1485" y="338"/>
                </a:cubicBezTo>
                <a:cubicBezTo>
                  <a:pt x="1486" y="338"/>
                  <a:pt x="1486" y="338"/>
                  <a:pt x="1486" y="338"/>
                </a:cubicBezTo>
                <a:cubicBezTo>
                  <a:pt x="1487" y="338"/>
                  <a:pt x="1487" y="338"/>
                  <a:pt x="1487" y="339"/>
                </a:cubicBezTo>
                <a:cubicBezTo>
                  <a:pt x="1488" y="339"/>
                  <a:pt x="1488" y="339"/>
                  <a:pt x="1488" y="339"/>
                </a:cubicBezTo>
                <a:cubicBezTo>
                  <a:pt x="1488" y="339"/>
                  <a:pt x="1488" y="338"/>
                  <a:pt x="1489" y="338"/>
                </a:cubicBezTo>
                <a:cubicBezTo>
                  <a:pt x="1489" y="338"/>
                  <a:pt x="1489" y="338"/>
                  <a:pt x="1490" y="337"/>
                </a:cubicBezTo>
                <a:cubicBezTo>
                  <a:pt x="1490" y="336"/>
                  <a:pt x="1490" y="336"/>
                  <a:pt x="1490" y="336"/>
                </a:cubicBezTo>
                <a:cubicBezTo>
                  <a:pt x="1489" y="335"/>
                  <a:pt x="1489" y="335"/>
                  <a:pt x="1489" y="335"/>
                </a:cubicBezTo>
                <a:cubicBezTo>
                  <a:pt x="1489" y="334"/>
                  <a:pt x="1491" y="334"/>
                  <a:pt x="1491" y="334"/>
                </a:cubicBezTo>
                <a:cubicBezTo>
                  <a:pt x="1492" y="334"/>
                  <a:pt x="1493" y="334"/>
                  <a:pt x="1494" y="334"/>
                </a:cubicBezTo>
                <a:cubicBezTo>
                  <a:pt x="1495" y="334"/>
                  <a:pt x="1495" y="333"/>
                  <a:pt x="1496" y="333"/>
                </a:cubicBezTo>
                <a:cubicBezTo>
                  <a:pt x="1497" y="333"/>
                  <a:pt x="1497" y="335"/>
                  <a:pt x="1497" y="334"/>
                </a:cubicBezTo>
                <a:cubicBezTo>
                  <a:pt x="1498" y="333"/>
                  <a:pt x="1497" y="332"/>
                  <a:pt x="1496" y="332"/>
                </a:cubicBezTo>
                <a:cubicBezTo>
                  <a:pt x="1495" y="332"/>
                  <a:pt x="1494" y="332"/>
                  <a:pt x="1495" y="331"/>
                </a:cubicBezTo>
                <a:cubicBezTo>
                  <a:pt x="1496" y="331"/>
                  <a:pt x="1497" y="331"/>
                  <a:pt x="1498" y="331"/>
                </a:cubicBezTo>
                <a:cubicBezTo>
                  <a:pt x="1499" y="331"/>
                  <a:pt x="1499" y="331"/>
                  <a:pt x="1500" y="331"/>
                </a:cubicBezTo>
                <a:cubicBezTo>
                  <a:pt x="1501" y="331"/>
                  <a:pt x="1502" y="330"/>
                  <a:pt x="1503" y="330"/>
                </a:cubicBezTo>
                <a:cubicBezTo>
                  <a:pt x="1504" y="330"/>
                  <a:pt x="1504" y="329"/>
                  <a:pt x="1505" y="329"/>
                </a:cubicBezTo>
                <a:cubicBezTo>
                  <a:pt x="1506" y="329"/>
                  <a:pt x="1507" y="328"/>
                  <a:pt x="1507" y="328"/>
                </a:cubicBezTo>
                <a:cubicBezTo>
                  <a:pt x="1508" y="327"/>
                  <a:pt x="1508" y="326"/>
                  <a:pt x="1507" y="326"/>
                </a:cubicBezTo>
                <a:cubicBezTo>
                  <a:pt x="1507" y="326"/>
                  <a:pt x="1506" y="326"/>
                  <a:pt x="1505" y="326"/>
                </a:cubicBezTo>
                <a:cubicBezTo>
                  <a:pt x="1503" y="326"/>
                  <a:pt x="1502" y="326"/>
                  <a:pt x="1500" y="326"/>
                </a:cubicBezTo>
                <a:cubicBezTo>
                  <a:pt x="1498" y="325"/>
                  <a:pt x="1497" y="325"/>
                  <a:pt x="1495" y="325"/>
                </a:cubicBezTo>
                <a:cubicBezTo>
                  <a:pt x="1493" y="325"/>
                  <a:pt x="1491" y="325"/>
                  <a:pt x="1490" y="325"/>
                </a:cubicBezTo>
                <a:cubicBezTo>
                  <a:pt x="1488" y="325"/>
                  <a:pt x="1486" y="325"/>
                  <a:pt x="1485" y="325"/>
                </a:cubicBezTo>
                <a:cubicBezTo>
                  <a:pt x="1483" y="325"/>
                  <a:pt x="1481" y="324"/>
                  <a:pt x="1480" y="324"/>
                </a:cubicBezTo>
                <a:cubicBezTo>
                  <a:pt x="1479" y="323"/>
                  <a:pt x="1477" y="323"/>
                  <a:pt x="1476" y="322"/>
                </a:cubicBezTo>
                <a:cubicBezTo>
                  <a:pt x="1475" y="322"/>
                  <a:pt x="1473" y="322"/>
                  <a:pt x="1473" y="321"/>
                </a:cubicBezTo>
                <a:cubicBezTo>
                  <a:pt x="1472" y="321"/>
                  <a:pt x="1472" y="320"/>
                  <a:pt x="1471" y="321"/>
                </a:cubicBezTo>
                <a:cubicBezTo>
                  <a:pt x="1470" y="321"/>
                  <a:pt x="1469" y="321"/>
                  <a:pt x="1469" y="322"/>
                </a:cubicBezTo>
                <a:cubicBezTo>
                  <a:pt x="1468" y="322"/>
                  <a:pt x="1467" y="322"/>
                  <a:pt x="1466" y="323"/>
                </a:cubicBezTo>
                <a:cubicBezTo>
                  <a:pt x="1466" y="323"/>
                  <a:pt x="1465" y="323"/>
                  <a:pt x="1465" y="323"/>
                </a:cubicBezTo>
                <a:cubicBezTo>
                  <a:pt x="1463" y="324"/>
                  <a:pt x="1461" y="325"/>
                  <a:pt x="1458" y="325"/>
                </a:cubicBezTo>
                <a:cubicBezTo>
                  <a:pt x="1457" y="325"/>
                  <a:pt x="1456" y="326"/>
                  <a:pt x="1455" y="326"/>
                </a:cubicBezTo>
                <a:cubicBezTo>
                  <a:pt x="1454" y="326"/>
                  <a:pt x="1453" y="326"/>
                  <a:pt x="1452" y="326"/>
                </a:cubicBezTo>
                <a:cubicBezTo>
                  <a:pt x="1452" y="326"/>
                  <a:pt x="1451" y="326"/>
                  <a:pt x="1451" y="327"/>
                </a:cubicBezTo>
                <a:cubicBezTo>
                  <a:pt x="1450" y="327"/>
                  <a:pt x="1449" y="328"/>
                  <a:pt x="1449" y="328"/>
                </a:cubicBezTo>
                <a:cubicBezTo>
                  <a:pt x="1449" y="329"/>
                  <a:pt x="1449" y="329"/>
                  <a:pt x="1448" y="330"/>
                </a:cubicBezTo>
                <a:cubicBezTo>
                  <a:pt x="1447" y="330"/>
                  <a:pt x="1447" y="330"/>
                  <a:pt x="1446" y="330"/>
                </a:cubicBezTo>
                <a:cubicBezTo>
                  <a:pt x="1445" y="330"/>
                  <a:pt x="1444" y="330"/>
                  <a:pt x="1443" y="330"/>
                </a:cubicBezTo>
                <a:cubicBezTo>
                  <a:pt x="1442" y="329"/>
                  <a:pt x="1442" y="329"/>
                  <a:pt x="1441" y="329"/>
                </a:cubicBezTo>
                <a:cubicBezTo>
                  <a:pt x="1440" y="329"/>
                  <a:pt x="1439" y="329"/>
                  <a:pt x="1439" y="328"/>
                </a:cubicBezTo>
                <a:cubicBezTo>
                  <a:pt x="1438" y="328"/>
                  <a:pt x="1437" y="328"/>
                  <a:pt x="1436" y="328"/>
                </a:cubicBezTo>
                <a:cubicBezTo>
                  <a:pt x="1436" y="328"/>
                  <a:pt x="1435" y="328"/>
                  <a:pt x="1435" y="328"/>
                </a:cubicBezTo>
                <a:cubicBezTo>
                  <a:pt x="1435" y="327"/>
                  <a:pt x="1436" y="327"/>
                  <a:pt x="1436" y="327"/>
                </a:cubicBezTo>
                <a:cubicBezTo>
                  <a:pt x="1436" y="326"/>
                  <a:pt x="1437" y="326"/>
                  <a:pt x="1438" y="326"/>
                </a:cubicBezTo>
                <a:cubicBezTo>
                  <a:pt x="1439" y="326"/>
                  <a:pt x="1440" y="326"/>
                  <a:pt x="1440" y="327"/>
                </a:cubicBezTo>
                <a:cubicBezTo>
                  <a:pt x="1442" y="328"/>
                  <a:pt x="1443" y="327"/>
                  <a:pt x="1445" y="326"/>
                </a:cubicBezTo>
                <a:cubicBezTo>
                  <a:pt x="1445" y="326"/>
                  <a:pt x="1446" y="326"/>
                  <a:pt x="1446" y="326"/>
                </a:cubicBezTo>
                <a:cubicBezTo>
                  <a:pt x="1446" y="326"/>
                  <a:pt x="1447" y="326"/>
                  <a:pt x="1447" y="325"/>
                </a:cubicBezTo>
                <a:cubicBezTo>
                  <a:pt x="1448" y="325"/>
                  <a:pt x="1449" y="324"/>
                  <a:pt x="1449" y="324"/>
                </a:cubicBezTo>
                <a:cubicBezTo>
                  <a:pt x="1451" y="323"/>
                  <a:pt x="1452" y="323"/>
                  <a:pt x="1454" y="323"/>
                </a:cubicBezTo>
                <a:cubicBezTo>
                  <a:pt x="1455" y="323"/>
                  <a:pt x="1456" y="323"/>
                  <a:pt x="1457" y="323"/>
                </a:cubicBezTo>
                <a:cubicBezTo>
                  <a:pt x="1457" y="323"/>
                  <a:pt x="1458" y="323"/>
                  <a:pt x="1458" y="323"/>
                </a:cubicBezTo>
                <a:cubicBezTo>
                  <a:pt x="1458" y="322"/>
                  <a:pt x="1459" y="322"/>
                  <a:pt x="1459" y="322"/>
                </a:cubicBezTo>
                <a:cubicBezTo>
                  <a:pt x="1459" y="322"/>
                  <a:pt x="1459" y="322"/>
                  <a:pt x="1459" y="322"/>
                </a:cubicBezTo>
                <a:cubicBezTo>
                  <a:pt x="1460" y="321"/>
                  <a:pt x="1459" y="321"/>
                  <a:pt x="1458" y="320"/>
                </a:cubicBezTo>
                <a:cubicBezTo>
                  <a:pt x="1458" y="320"/>
                  <a:pt x="1458" y="320"/>
                  <a:pt x="1458" y="320"/>
                </a:cubicBezTo>
                <a:cubicBezTo>
                  <a:pt x="1457" y="319"/>
                  <a:pt x="1456" y="319"/>
                  <a:pt x="1455" y="319"/>
                </a:cubicBezTo>
                <a:cubicBezTo>
                  <a:pt x="1455" y="319"/>
                  <a:pt x="1454" y="319"/>
                  <a:pt x="1454" y="319"/>
                </a:cubicBezTo>
                <a:cubicBezTo>
                  <a:pt x="1454" y="319"/>
                  <a:pt x="1453" y="320"/>
                  <a:pt x="1453" y="320"/>
                </a:cubicBezTo>
                <a:cubicBezTo>
                  <a:pt x="1452" y="320"/>
                  <a:pt x="1451" y="320"/>
                  <a:pt x="1451" y="320"/>
                </a:cubicBezTo>
                <a:cubicBezTo>
                  <a:pt x="1450" y="320"/>
                  <a:pt x="1449" y="319"/>
                  <a:pt x="1448" y="320"/>
                </a:cubicBezTo>
                <a:cubicBezTo>
                  <a:pt x="1447" y="320"/>
                  <a:pt x="1447" y="320"/>
                  <a:pt x="1446" y="320"/>
                </a:cubicBezTo>
                <a:cubicBezTo>
                  <a:pt x="1445" y="320"/>
                  <a:pt x="1444" y="320"/>
                  <a:pt x="1443" y="320"/>
                </a:cubicBezTo>
                <a:cubicBezTo>
                  <a:pt x="1443" y="321"/>
                  <a:pt x="1443" y="321"/>
                  <a:pt x="1442" y="321"/>
                </a:cubicBezTo>
                <a:cubicBezTo>
                  <a:pt x="1442" y="321"/>
                  <a:pt x="1441" y="321"/>
                  <a:pt x="1441" y="321"/>
                </a:cubicBezTo>
                <a:cubicBezTo>
                  <a:pt x="1440" y="322"/>
                  <a:pt x="1439" y="322"/>
                  <a:pt x="1439" y="321"/>
                </a:cubicBezTo>
                <a:cubicBezTo>
                  <a:pt x="1438" y="321"/>
                  <a:pt x="1437" y="321"/>
                  <a:pt x="1437" y="320"/>
                </a:cubicBezTo>
                <a:cubicBezTo>
                  <a:pt x="1437" y="319"/>
                  <a:pt x="1437" y="318"/>
                  <a:pt x="1436" y="319"/>
                </a:cubicBezTo>
                <a:cubicBezTo>
                  <a:pt x="1435" y="319"/>
                  <a:pt x="1434" y="319"/>
                  <a:pt x="1433" y="319"/>
                </a:cubicBezTo>
                <a:cubicBezTo>
                  <a:pt x="1433" y="319"/>
                  <a:pt x="1432" y="319"/>
                  <a:pt x="1431" y="319"/>
                </a:cubicBezTo>
                <a:cubicBezTo>
                  <a:pt x="1430" y="319"/>
                  <a:pt x="1429" y="320"/>
                  <a:pt x="1429" y="321"/>
                </a:cubicBezTo>
                <a:cubicBezTo>
                  <a:pt x="1428" y="321"/>
                  <a:pt x="1427" y="321"/>
                  <a:pt x="1427" y="320"/>
                </a:cubicBezTo>
                <a:cubicBezTo>
                  <a:pt x="1427" y="319"/>
                  <a:pt x="1428" y="320"/>
                  <a:pt x="1429" y="319"/>
                </a:cubicBezTo>
                <a:cubicBezTo>
                  <a:pt x="1430" y="319"/>
                  <a:pt x="1430" y="319"/>
                  <a:pt x="1431" y="319"/>
                </a:cubicBezTo>
                <a:cubicBezTo>
                  <a:pt x="1432" y="319"/>
                  <a:pt x="1433" y="318"/>
                  <a:pt x="1434" y="318"/>
                </a:cubicBezTo>
                <a:cubicBezTo>
                  <a:pt x="1436" y="318"/>
                  <a:pt x="1437" y="318"/>
                  <a:pt x="1438" y="316"/>
                </a:cubicBezTo>
                <a:cubicBezTo>
                  <a:pt x="1439" y="316"/>
                  <a:pt x="1439" y="315"/>
                  <a:pt x="1439" y="314"/>
                </a:cubicBezTo>
                <a:cubicBezTo>
                  <a:pt x="1440" y="313"/>
                  <a:pt x="1440" y="313"/>
                  <a:pt x="1440" y="312"/>
                </a:cubicBezTo>
                <a:cubicBezTo>
                  <a:pt x="1441" y="312"/>
                  <a:pt x="1441" y="311"/>
                  <a:pt x="1440" y="311"/>
                </a:cubicBezTo>
                <a:cubicBezTo>
                  <a:pt x="1440" y="310"/>
                  <a:pt x="1440" y="311"/>
                  <a:pt x="1439" y="310"/>
                </a:cubicBezTo>
                <a:cubicBezTo>
                  <a:pt x="1439" y="310"/>
                  <a:pt x="1439" y="310"/>
                  <a:pt x="1439" y="310"/>
                </a:cubicBezTo>
                <a:cubicBezTo>
                  <a:pt x="1438" y="309"/>
                  <a:pt x="1438" y="309"/>
                  <a:pt x="1437" y="309"/>
                </a:cubicBezTo>
                <a:cubicBezTo>
                  <a:pt x="1437" y="309"/>
                  <a:pt x="1436" y="309"/>
                  <a:pt x="1437" y="309"/>
                </a:cubicBezTo>
                <a:cubicBezTo>
                  <a:pt x="1437" y="309"/>
                  <a:pt x="1438" y="309"/>
                  <a:pt x="1438" y="309"/>
                </a:cubicBezTo>
                <a:cubicBezTo>
                  <a:pt x="1439" y="309"/>
                  <a:pt x="1439" y="309"/>
                  <a:pt x="1440" y="309"/>
                </a:cubicBezTo>
                <a:cubicBezTo>
                  <a:pt x="1441" y="309"/>
                  <a:pt x="1442" y="309"/>
                  <a:pt x="1443" y="309"/>
                </a:cubicBezTo>
                <a:cubicBezTo>
                  <a:pt x="1443" y="310"/>
                  <a:pt x="1444" y="310"/>
                  <a:pt x="1445" y="310"/>
                </a:cubicBezTo>
                <a:cubicBezTo>
                  <a:pt x="1445" y="309"/>
                  <a:pt x="1444" y="308"/>
                  <a:pt x="1444" y="308"/>
                </a:cubicBezTo>
                <a:cubicBezTo>
                  <a:pt x="1443" y="308"/>
                  <a:pt x="1442" y="307"/>
                  <a:pt x="1442" y="307"/>
                </a:cubicBezTo>
                <a:cubicBezTo>
                  <a:pt x="1441" y="306"/>
                  <a:pt x="1442" y="306"/>
                  <a:pt x="1443" y="306"/>
                </a:cubicBezTo>
                <a:cubicBezTo>
                  <a:pt x="1444" y="306"/>
                  <a:pt x="1444" y="307"/>
                  <a:pt x="1445" y="308"/>
                </a:cubicBezTo>
                <a:cubicBezTo>
                  <a:pt x="1445" y="308"/>
                  <a:pt x="1445" y="309"/>
                  <a:pt x="1446" y="309"/>
                </a:cubicBezTo>
                <a:cubicBezTo>
                  <a:pt x="1447" y="310"/>
                  <a:pt x="1447" y="310"/>
                  <a:pt x="1448" y="310"/>
                </a:cubicBezTo>
                <a:cubicBezTo>
                  <a:pt x="1449" y="310"/>
                  <a:pt x="1450" y="310"/>
                  <a:pt x="1451" y="310"/>
                </a:cubicBezTo>
                <a:cubicBezTo>
                  <a:pt x="1452" y="310"/>
                  <a:pt x="1452" y="310"/>
                  <a:pt x="1453" y="310"/>
                </a:cubicBezTo>
                <a:cubicBezTo>
                  <a:pt x="1454" y="310"/>
                  <a:pt x="1452" y="310"/>
                  <a:pt x="1452" y="311"/>
                </a:cubicBezTo>
                <a:cubicBezTo>
                  <a:pt x="1451" y="311"/>
                  <a:pt x="1451" y="311"/>
                  <a:pt x="1450" y="311"/>
                </a:cubicBezTo>
                <a:cubicBezTo>
                  <a:pt x="1448" y="312"/>
                  <a:pt x="1447" y="314"/>
                  <a:pt x="1446" y="314"/>
                </a:cubicBezTo>
                <a:cubicBezTo>
                  <a:pt x="1445" y="315"/>
                  <a:pt x="1444" y="314"/>
                  <a:pt x="1443" y="315"/>
                </a:cubicBezTo>
                <a:cubicBezTo>
                  <a:pt x="1442" y="315"/>
                  <a:pt x="1442" y="316"/>
                  <a:pt x="1441" y="316"/>
                </a:cubicBezTo>
                <a:cubicBezTo>
                  <a:pt x="1440" y="317"/>
                  <a:pt x="1439" y="317"/>
                  <a:pt x="1439" y="318"/>
                </a:cubicBezTo>
                <a:cubicBezTo>
                  <a:pt x="1439" y="318"/>
                  <a:pt x="1439" y="319"/>
                  <a:pt x="1439" y="319"/>
                </a:cubicBezTo>
                <a:cubicBezTo>
                  <a:pt x="1439" y="319"/>
                  <a:pt x="1439" y="320"/>
                  <a:pt x="1439" y="320"/>
                </a:cubicBezTo>
                <a:cubicBezTo>
                  <a:pt x="1439" y="321"/>
                  <a:pt x="1441" y="320"/>
                  <a:pt x="1441" y="320"/>
                </a:cubicBezTo>
                <a:cubicBezTo>
                  <a:pt x="1442" y="320"/>
                  <a:pt x="1443" y="320"/>
                  <a:pt x="1444" y="320"/>
                </a:cubicBezTo>
                <a:cubicBezTo>
                  <a:pt x="1445" y="320"/>
                  <a:pt x="1445" y="320"/>
                  <a:pt x="1446" y="320"/>
                </a:cubicBezTo>
                <a:cubicBezTo>
                  <a:pt x="1447" y="320"/>
                  <a:pt x="1447" y="320"/>
                  <a:pt x="1447" y="319"/>
                </a:cubicBezTo>
                <a:cubicBezTo>
                  <a:pt x="1448" y="319"/>
                  <a:pt x="1449" y="319"/>
                  <a:pt x="1449" y="319"/>
                </a:cubicBezTo>
                <a:cubicBezTo>
                  <a:pt x="1450" y="319"/>
                  <a:pt x="1451" y="319"/>
                  <a:pt x="1451" y="318"/>
                </a:cubicBezTo>
                <a:cubicBezTo>
                  <a:pt x="1452" y="318"/>
                  <a:pt x="1453" y="318"/>
                  <a:pt x="1454" y="319"/>
                </a:cubicBezTo>
                <a:cubicBezTo>
                  <a:pt x="1455" y="319"/>
                  <a:pt x="1456" y="319"/>
                  <a:pt x="1457" y="318"/>
                </a:cubicBezTo>
                <a:cubicBezTo>
                  <a:pt x="1457" y="318"/>
                  <a:pt x="1458" y="317"/>
                  <a:pt x="1459" y="317"/>
                </a:cubicBezTo>
                <a:cubicBezTo>
                  <a:pt x="1460" y="317"/>
                  <a:pt x="1461" y="317"/>
                  <a:pt x="1462" y="317"/>
                </a:cubicBezTo>
                <a:cubicBezTo>
                  <a:pt x="1462" y="318"/>
                  <a:pt x="1462" y="318"/>
                  <a:pt x="1462" y="318"/>
                </a:cubicBezTo>
                <a:cubicBezTo>
                  <a:pt x="1463" y="319"/>
                  <a:pt x="1463" y="318"/>
                  <a:pt x="1464" y="318"/>
                </a:cubicBezTo>
                <a:cubicBezTo>
                  <a:pt x="1464" y="318"/>
                  <a:pt x="1464" y="318"/>
                  <a:pt x="1465" y="317"/>
                </a:cubicBezTo>
                <a:cubicBezTo>
                  <a:pt x="1465" y="317"/>
                  <a:pt x="1466" y="317"/>
                  <a:pt x="1466" y="317"/>
                </a:cubicBezTo>
                <a:cubicBezTo>
                  <a:pt x="1467" y="316"/>
                  <a:pt x="1468" y="316"/>
                  <a:pt x="1469" y="316"/>
                </a:cubicBezTo>
                <a:cubicBezTo>
                  <a:pt x="1470" y="316"/>
                  <a:pt x="1470" y="316"/>
                  <a:pt x="1470" y="316"/>
                </a:cubicBezTo>
                <a:cubicBezTo>
                  <a:pt x="1471" y="316"/>
                  <a:pt x="1472" y="315"/>
                  <a:pt x="1471" y="314"/>
                </a:cubicBezTo>
                <a:cubicBezTo>
                  <a:pt x="1471" y="314"/>
                  <a:pt x="1471" y="314"/>
                  <a:pt x="1471" y="313"/>
                </a:cubicBezTo>
                <a:cubicBezTo>
                  <a:pt x="1470" y="313"/>
                  <a:pt x="1471" y="312"/>
                  <a:pt x="1471" y="311"/>
                </a:cubicBezTo>
                <a:cubicBezTo>
                  <a:pt x="1471" y="310"/>
                  <a:pt x="1470" y="310"/>
                  <a:pt x="1469" y="309"/>
                </a:cubicBezTo>
                <a:cubicBezTo>
                  <a:pt x="1469" y="309"/>
                  <a:pt x="1468" y="309"/>
                  <a:pt x="1467" y="309"/>
                </a:cubicBezTo>
                <a:cubicBezTo>
                  <a:pt x="1467" y="308"/>
                  <a:pt x="1468" y="307"/>
                  <a:pt x="1466" y="307"/>
                </a:cubicBezTo>
                <a:cubicBezTo>
                  <a:pt x="1466" y="307"/>
                  <a:pt x="1465" y="308"/>
                  <a:pt x="1464" y="308"/>
                </a:cubicBezTo>
                <a:cubicBezTo>
                  <a:pt x="1463" y="308"/>
                  <a:pt x="1462" y="308"/>
                  <a:pt x="1462" y="308"/>
                </a:cubicBezTo>
                <a:cubicBezTo>
                  <a:pt x="1461" y="308"/>
                  <a:pt x="1460" y="309"/>
                  <a:pt x="1459" y="309"/>
                </a:cubicBezTo>
                <a:cubicBezTo>
                  <a:pt x="1460" y="308"/>
                  <a:pt x="1461" y="308"/>
                  <a:pt x="1462" y="307"/>
                </a:cubicBezTo>
                <a:cubicBezTo>
                  <a:pt x="1463" y="307"/>
                  <a:pt x="1463" y="307"/>
                  <a:pt x="1464" y="307"/>
                </a:cubicBezTo>
                <a:cubicBezTo>
                  <a:pt x="1465" y="306"/>
                  <a:pt x="1467" y="306"/>
                  <a:pt x="1467" y="305"/>
                </a:cubicBezTo>
                <a:cubicBezTo>
                  <a:pt x="1468" y="305"/>
                  <a:pt x="1467" y="305"/>
                  <a:pt x="1467" y="304"/>
                </a:cubicBezTo>
                <a:cubicBezTo>
                  <a:pt x="1467" y="304"/>
                  <a:pt x="1468" y="304"/>
                  <a:pt x="1468" y="304"/>
                </a:cubicBezTo>
                <a:cubicBezTo>
                  <a:pt x="1469" y="305"/>
                  <a:pt x="1469" y="304"/>
                  <a:pt x="1469" y="303"/>
                </a:cubicBezTo>
                <a:cubicBezTo>
                  <a:pt x="1469" y="302"/>
                  <a:pt x="1469" y="301"/>
                  <a:pt x="1468" y="301"/>
                </a:cubicBezTo>
                <a:cubicBezTo>
                  <a:pt x="1468" y="300"/>
                  <a:pt x="1467" y="299"/>
                  <a:pt x="1467" y="299"/>
                </a:cubicBezTo>
                <a:cubicBezTo>
                  <a:pt x="1466" y="298"/>
                  <a:pt x="1465" y="299"/>
                  <a:pt x="1465" y="299"/>
                </a:cubicBezTo>
                <a:cubicBezTo>
                  <a:pt x="1463" y="299"/>
                  <a:pt x="1462" y="298"/>
                  <a:pt x="1461" y="298"/>
                </a:cubicBezTo>
                <a:cubicBezTo>
                  <a:pt x="1461" y="298"/>
                  <a:pt x="1461" y="298"/>
                  <a:pt x="1460" y="298"/>
                </a:cubicBezTo>
                <a:cubicBezTo>
                  <a:pt x="1460" y="298"/>
                  <a:pt x="1459" y="298"/>
                  <a:pt x="1459" y="298"/>
                </a:cubicBezTo>
                <a:cubicBezTo>
                  <a:pt x="1458" y="298"/>
                  <a:pt x="1457" y="298"/>
                  <a:pt x="1456" y="298"/>
                </a:cubicBezTo>
                <a:cubicBezTo>
                  <a:pt x="1455" y="299"/>
                  <a:pt x="1455" y="298"/>
                  <a:pt x="1454" y="298"/>
                </a:cubicBezTo>
                <a:cubicBezTo>
                  <a:pt x="1453" y="298"/>
                  <a:pt x="1453" y="298"/>
                  <a:pt x="1452" y="298"/>
                </a:cubicBezTo>
                <a:cubicBezTo>
                  <a:pt x="1451" y="298"/>
                  <a:pt x="1450" y="298"/>
                  <a:pt x="1450" y="298"/>
                </a:cubicBezTo>
                <a:cubicBezTo>
                  <a:pt x="1449" y="298"/>
                  <a:pt x="1449" y="299"/>
                  <a:pt x="1448" y="298"/>
                </a:cubicBezTo>
                <a:cubicBezTo>
                  <a:pt x="1448" y="298"/>
                  <a:pt x="1448" y="298"/>
                  <a:pt x="1448" y="298"/>
                </a:cubicBezTo>
                <a:cubicBezTo>
                  <a:pt x="1448" y="297"/>
                  <a:pt x="1449" y="296"/>
                  <a:pt x="1448" y="296"/>
                </a:cubicBezTo>
                <a:cubicBezTo>
                  <a:pt x="1448" y="296"/>
                  <a:pt x="1447" y="296"/>
                  <a:pt x="1446" y="296"/>
                </a:cubicBezTo>
                <a:cubicBezTo>
                  <a:pt x="1445" y="296"/>
                  <a:pt x="1444" y="296"/>
                  <a:pt x="1444" y="296"/>
                </a:cubicBezTo>
                <a:cubicBezTo>
                  <a:pt x="1443" y="296"/>
                  <a:pt x="1443" y="296"/>
                  <a:pt x="1442" y="296"/>
                </a:cubicBezTo>
                <a:cubicBezTo>
                  <a:pt x="1442" y="296"/>
                  <a:pt x="1441" y="297"/>
                  <a:pt x="1440" y="297"/>
                </a:cubicBezTo>
                <a:cubicBezTo>
                  <a:pt x="1440" y="297"/>
                  <a:pt x="1439" y="297"/>
                  <a:pt x="1438" y="297"/>
                </a:cubicBezTo>
                <a:cubicBezTo>
                  <a:pt x="1437" y="297"/>
                  <a:pt x="1436" y="297"/>
                  <a:pt x="1436" y="298"/>
                </a:cubicBezTo>
                <a:cubicBezTo>
                  <a:pt x="1437" y="296"/>
                  <a:pt x="1438" y="297"/>
                  <a:pt x="1439" y="297"/>
                </a:cubicBezTo>
                <a:cubicBezTo>
                  <a:pt x="1440" y="296"/>
                  <a:pt x="1441" y="297"/>
                  <a:pt x="1442" y="296"/>
                </a:cubicBezTo>
                <a:cubicBezTo>
                  <a:pt x="1442" y="296"/>
                  <a:pt x="1443" y="296"/>
                  <a:pt x="1443" y="295"/>
                </a:cubicBezTo>
                <a:cubicBezTo>
                  <a:pt x="1444" y="295"/>
                  <a:pt x="1444" y="295"/>
                  <a:pt x="1444" y="295"/>
                </a:cubicBezTo>
                <a:cubicBezTo>
                  <a:pt x="1445" y="295"/>
                  <a:pt x="1445" y="295"/>
                  <a:pt x="1446" y="295"/>
                </a:cubicBezTo>
                <a:cubicBezTo>
                  <a:pt x="1446" y="296"/>
                  <a:pt x="1447" y="295"/>
                  <a:pt x="1447" y="294"/>
                </a:cubicBezTo>
                <a:cubicBezTo>
                  <a:pt x="1447" y="293"/>
                  <a:pt x="1445" y="292"/>
                  <a:pt x="1444" y="292"/>
                </a:cubicBezTo>
                <a:cubicBezTo>
                  <a:pt x="1443" y="291"/>
                  <a:pt x="1443" y="291"/>
                  <a:pt x="1442" y="290"/>
                </a:cubicBezTo>
                <a:cubicBezTo>
                  <a:pt x="1441" y="289"/>
                  <a:pt x="1441" y="289"/>
                  <a:pt x="1440" y="289"/>
                </a:cubicBezTo>
                <a:cubicBezTo>
                  <a:pt x="1439" y="289"/>
                  <a:pt x="1438" y="289"/>
                  <a:pt x="1437" y="289"/>
                </a:cubicBezTo>
                <a:cubicBezTo>
                  <a:pt x="1437" y="289"/>
                  <a:pt x="1436" y="288"/>
                  <a:pt x="1435" y="288"/>
                </a:cubicBezTo>
                <a:cubicBezTo>
                  <a:pt x="1435" y="287"/>
                  <a:pt x="1436" y="286"/>
                  <a:pt x="1437" y="287"/>
                </a:cubicBezTo>
                <a:cubicBezTo>
                  <a:pt x="1438" y="287"/>
                  <a:pt x="1439" y="288"/>
                  <a:pt x="1440" y="288"/>
                </a:cubicBezTo>
                <a:cubicBezTo>
                  <a:pt x="1441" y="288"/>
                  <a:pt x="1441" y="288"/>
                  <a:pt x="1442" y="288"/>
                </a:cubicBezTo>
                <a:cubicBezTo>
                  <a:pt x="1443" y="288"/>
                  <a:pt x="1444" y="289"/>
                  <a:pt x="1444" y="290"/>
                </a:cubicBezTo>
                <a:cubicBezTo>
                  <a:pt x="1445" y="290"/>
                  <a:pt x="1445" y="291"/>
                  <a:pt x="1446" y="291"/>
                </a:cubicBezTo>
                <a:cubicBezTo>
                  <a:pt x="1447" y="292"/>
                  <a:pt x="1448" y="292"/>
                  <a:pt x="1448" y="292"/>
                </a:cubicBezTo>
                <a:cubicBezTo>
                  <a:pt x="1449" y="293"/>
                  <a:pt x="1450" y="293"/>
                  <a:pt x="1450" y="294"/>
                </a:cubicBezTo>
                <a:cubicBezTo>
                  <a:pt x="1451" y="295"/>
                  <a:pt x="1451" y="295"/>
                  <a:pt x="1452" y="296"/>
                </a:cubicBezTo>
                <a:cubicBezTo>
                  <a:pt x="1452" y="296"/>
                  <a:pt x="1453" y="297"/>
                  <a:pt x="1453" y="297"/>
                </a:cubicBezTo>
                <a:cubicBezTo>
                  <a:pt x="1454" y="297"/>
                  <a:pt x="1455" y="297"/>
                  <a:pt x="1456" y="297"/>
                </a:cubicBezTo>
                <a:cubicBezTo>
                  <a:pt x="1457" y="297"/>
                  <a:pt x="1458" y="296"/>
                  <a:pt x="1458" y="296"/>
                </a:cubicBezTo>
                <a:cubicBezTo>
                  <a:pt x="1459" y="296"/>
                  <a:pt x="1460" y="297"/>
                  <a:pt x="1461" y="297"/>
                </a:cubicBezTo>
                <a:cubicBezTo>
                  <a:pt x="1462" y="297"/>
                  <a:pt x="1462" y="297"/>
                  <a:pt x="1463" y="297"/>
                </a:cubicBezTo>
                <a:cubicBezTo>
                  <a:pt x="1464" y="297"/>
                  <a:pt x="1464" y="297"/>
                  <a:pt x="1465" y="297"/>
                </a:cubicBezTo>
                <a:cubicBezTo>
                  <a:pt x="1467" y="297"/>
                  <a:pt x="1469" y="298"/>
                  <a:pt x="1471" y="300"/>
                </a:cubicBezTo>
                <a:cubicBezTo>
                  <a:pt x="1472" y="301"/>
                  <a:pt x="1473" y="303"/>
                  <a:pt x="1475" y="302"/>
                </a:cubicBezTo>
                <a:cubicBezTo>
                  <a:pt x="1476" y="302"/>
                  <a:pt x="1476" y="301"/>
                  <a:pt x="1477" y="301"/>
                </a:cubicBezTo>
                <a:cubicBezTo>
                  <a:pt x="1477" y="301"/>
                  <a:pt x="1478" y="301"/>
                  <a:pt x="1478" y="301"/>
                </a:cubicBezTo>
                <a:cubicBezTo>
                  <a:pt x="1479" y="302"/>
                  <a:pt x="1478" y="302"/>
                  <a:pt x="1478" y="302"/>
                </a:cubicBezTo>
                <a:cubicBezTo>
                  <a:pt x="1478" y="303"/>
                  <a:pt x="1479" y="303"/>
                  <a:pt x="1479" y="303"/>
                </a:cubicBezTo>
                <a:cubicBezTo>
                  <a:pt x="1479" y="303"/>
                  <a:pt x="1479" y="303"/>
                  <a:pt x="1480" y="304"/>
                </a:cubicBezTo>
                <a:cubicBezTo>
                  <a:pt x="1480" y="304"/>
                  <a:pt x="1480" y="305"/>
                  <a:pt x="1481" y="305"/>
                </a:cubicBezTo>
                <a:cubicBezTo>
                  <a:pt x="1482" y="306"/>
                  <a:pt x="1483" y="306"/>
                  <a:pt x="1484" y="308"/>
                </a:cubicBezTo>
                <a:cubicBezTo>
                  <a:pt x="1484" y="309"/>
                  <a:pt x="1484" y="311"/>
                  <a:pt x="1484" y="312"/>
                </a:cubicBezTo>
                <a:cubicBezTo>
                  <a:pt x="1485" y="314"/>
                  <a:pt x="1486" y="314"/>
                  <a:pt x="1486" y="315"/>
                </a:cubicBezTo>
                <a:cubicBezTo>
                  <a:pt x="1487" y="316"/>
                  <a:pt x="1487" y="317"/>
                  <a:pt x="1488" y="317"/>
                </a:cubicBezTo>
                <a:cubicBezTo>
                  <a:pt x="1489" y="318"/>
                  <a:pt x="1490" y="318"/>
                  <a:pt x="1490" y="319"/>
                </a:cubicBezTo>
                <a:cubicBezTo>
                  <a:pt x="1491" y="319"/>
                  <a:pt x="1492" y="319"/>
                  <a:pt x="1493" y="320"/>
                </a:cubicBezTo>
                <a:cubicBezTo>
                  <a:pt x="1494" y="320"/>
                  <a:pt x="1496" y="321"/>
                  <a:pt x="1497" y="321"/>
                </a:cubicBezTo>
                <a:cubicBezTo>
                  <a:pt x="1498" y="321"/>
                  <a:pt x="1499" y="321"/>
                  <a:pt x="1500" y="320"/>
                </a:cubicBezTo>
                <a:cubicBezTo>
                  <a:pt x="1501" y="320"/>
                  <a:pt x="1501" y="320"/>
                  <a:pt x="1501" y="320"/>
                </a:cubicBezTo>
                <a:cubicBezTo>
                  <a:pt x="1502" y="320"/>
                  <a:pt x="1502" y="319"/>
                  <a:pt x="1503" y="319"/>
                </a:cubicBezTo>
                <a:cubicBezTo>
                  <a:pt x="1503" y="318"/>
                  <a:pt x="1503" y="317"/>
                  <a:pt x="1503" y="317"/>
                </a:cubicBezTo>
                <a:cubicBezTo>
                  <a:pt x="1503" y="316"/>
                  <a:pt x="1503" y="316"/>
                  <a:pt x="1503" y="315"/>
                </a:cubicBezTo>
                <a:cubicBezTo>
                  <a:pt x="1503" y="315"/>
                  <a:pt x="1503" y="314"/>
                  <a:pt x="1503" y="313"/>
                </a:cubicBezTo>
                <a:cubicBezTo>
                  <a:pt x="1503" y="313"/>
                  <a:pt x="1503" y="312"/>
                  <a:pt x="1503" y="312"/>
                </a:cubicBezTo>
                <a:cubicBezTo>
                  <a:pt x="1504" y="311"/>
                  <a:pt x="1504" y="313"/>
                  <a:pt x="1504" y="314"/>
                </a:cubicBezTo>
                <a:cubicBezTo>
                  <a:pt x="1504" y="315"/>
                  <a:pt x="1504" y="316"/>
                  <a:pt x="1504" y="316"/>
                </a:cubicBezTo>
                <a:cubicBezTo>
                  <a:pt x="1504" y="317"/>
                  <a:pt x="1504" y="318"/>
                  <a:pt x="1504" y="319"/>
                </a:cubicBezTo>
                <a:cubicBezTo>
                  <a:pt x="1504" y="319"/>
                  <a:pt x="1504" y="319"/>
                  <a:pt x="1505" y="319"/>
                </a:cubicBezTo>
                <a:cubicBezTo>
                  <a:pt x="1505" y="320"/>
                  <a:pt x="1505" y="320"/>
                  <a:pt x="1505" y="320"/>
                </a:cubicBezTo>
                <a:cubicBezTo>
                  <a:pt x="1505" y="321"/>
                  <a:pt x="1507" y="320"/>
                  <a:pt x="1507" y="319"/>
                </a:cubicBezTo>
                <a:cubicBezTo>
                  <a:pt x="1507" y="319"/>
                  <a:pt x="1508" y="318"/>
                  <a:pt x="1509" y="319"/>
                </a:cubicBezTo>
                <a:cubicBezTo>
                  <a:pt x="1509" y="319"/>
                  <a:pt x="1510" y="320"/>
                  <a:pt x="1509" y="320"/>
                </a:cubicBezTo>
                <a:cubicBezTo>
                  <a:pt x="1509" y="321"/>
                  <a:pt x="1509" y="321"/>
                  <a:pt x="1509" y="321"/>
                </a:cubicBezTo>
                <a:cubicBezTo>
                  <a:pt x="1509" y="321"/>
                  <a:pt x="1509" y="322"/>
                  <a:pt x="1509" y="322"/>
                </a:cubicBezTo>
                <a:cubicBezTo>
                  <a:pt x="1510" y="321"/>
                  <a:pt x="1510" y="321"/>
                  <a:pt x="1510" y="321"/>
                </a:cubicBezTo>
                <a:cubicBezTo>
                  <a:pt x="1510" y="321"/>
                  <a:pt x="1511" y="321"/>
                  <a:pt x="1511" y="321"/>
                </a:cubicBezTo>
                <a:cubicBezTo>
                  <a:pt x="1512" y="321"/>
                  <a:pt x="1514" y="320"/>
                  <a:pt x="1514" y="319"/>
                </a:cubicBezTo>
                <a:cubicBezTo>
                  <a:pt x="1513" y="318"/>
                  <a:pt x="1513" y="318"/>
                  <a:pt x="1513" y="318"/>
                </a:cubicBezTo>
                <a:cubicBezTo>
                  <a:pt x="1513" y="318"/>
                  <a:pt x="1512" y="318"/>
                  <a:pt x="1512" y="318"/>
                </a:cubicBezTo>
                <a:cubicBezTo>
                  <a:pt x="1512" y="317"/>
                  <a:pt x="1513" y="317"/>
                  <a:pt x="1513" y="316"/>
                </a:cubicBezTo>
                <a:cubicBezTo>
                  <a:pt x="1513" y="316"/>
                  <a:pt x="1513" y="316"/>
                  <a:pt x="1513" y="316"/>
                </a:cubicBezTo>
                <a:cubicBezTo>
                  <a:pt x="1513" y="315"/>
                  <a:pt x="1514" y="315"/>
                  <a:pt x="1514" y="315"/>
                </a:cubicBezTo>
                <a:cubicBezTo>
                  <a:pt x="1514" y="314"/>
                  <a:pt x="1513" y="315"/>
                  <a:pt x="1513" y="315"/>
                </a:cubicBezTo>
                <a:cubicBezTo>
                  <a:pt x="1513" y="314"/>
                  <a:pt x="1513" y="314"/>
                  <a:pt x="1513" y="314"/>
                </a:cubicBezTo>
                <a:cubicBezTo>
                  <a:pt x="1513" y="313"/>
                  <a:pt x="1512" y="313"/>
                  <a:pt x="1512" y="313"/>
                </a:cubicBezTo>
                <a:cubicBezTo>
                  <a:pt x="1512" y="313"/>
                  <a:pt x="1512" y="311"/>
                  <a:pt x="1512" y="311"/>
                </a:cubicBezTo>
                <a:cubicBezTo>
                  <a:pt x="1513" y="310"/>
                  <a:pt x="1513" y="311"/>
                  <a:pt x="1513" y="310"/>
                </a:cubicBezTo>
                <a:cubicBezTo>
                  <a:pt x="1514" y="310"/>
                  <a:pt x="1514" y="310"/>
                  <a:pt x="1513" y="310"/>
                </a:cubicBezTo>
                <a:cubicBezTo>
                  <a:pt x="1513" y="309"/>
                  <a:pt x="1513" y="310"/>
                  <a:pt x="1512" y="309"/>
                </a:cubicBezTo>
                <a:cubicBezTo>
                  <a:pt x="1512" y="309"/>
                  <a:pt x="1512" y="309"/>
                  <a:pt x="1512" y="309"/>
                </a:cubicBezTo>
                <a:cubicBezTo>
                  <a:pt x="1512" y="308"/>
                  <a:pt x="1512" y="308"/>
                  <a:pt x="1512" y="308"/>
                </a:cubicBezTo>
                <a:cubicBezTo>
                  <a:pt x="1512" y="308"/>
                  <a:pt x="1512" y="307"/>
                  <a:pt x="1512" y="307"/>
                </a:cubicBezTo>
                <a:cubicBezTo>
                  <a:pt x="1511" y="307"/>
                  <a:pt x="1509" y="308"/>
                  <a:pt x="1509" y="307"/>
                </a:cubicBezTo>
                <a:cubicBezTo>
                  <a:pt x="1509" y="306"/>
                  <a:pt x="1511" y="307"/>
                  <a:pt x="1512" y="306"/>
                </a:cubicBezTo>
                <a:cubicBezTo>
                  <a:pt x="1512" y="306"/>
                  <a:pt x="1511" y="306"/>
                  <a:pt x="1512" y="305"/>
                </a:cubicBezTo>
                <a:cubicBezTo>
                  <a:pt x="1512" y="305"/>
                  <a:pt x="1512" y="306"/>
                  <a:pt x="1512" y="305"/>
                </a:cubicBezTo>
                <a:cubicBezTo>
                  <a:pt x="1513" y="305"/>
                  <a:pt x="1512" y="304"/>
                  <a:pt x="1512" y="304"/>
                </a:cubicBezTo>
                <a:cubicBezTo>
                  <a:pt x="1512" y="304"/>
                  <a:pt x="1512" y="304"/>
                  <a:pt x="1512" y="304"/>
                </a:cubicBezTo>
                <a:cubicBezTo>
                  <a:pt x="1512" y="303"/>
                  <a:pt x="1511" y="304"/>
                  <a:pt x="1511" y="304"/>
                </a:cubicBezTo>
                <a:cubicBezTo>
                  <a:pt x="1511" y="304"/>
                  <a:pt x="1510" y="304"/>
                  <a:pt x="1510" y="304"/>
                </a:cubicBezTo>
                <a:cubicBezTo>
                  <a:pt x="1509" y="303"/>
                  <a:pt x="1510" y="303"/>
                  <a:pt x="1511" y="303"/>
                </a:cubicBezTo>
                <a:cubicBezTo>
                  <a:pt x="1511" y="303"/>
                  <a:pt x="1511" y="302"/>
                  <a:pt x="1512" y="302"/>
                </a:cubicBezTo>
                <a:cubicBezTo>
                  <a:pt x="1512" y="302"/>
                  <a:pt x="1513" y="302"/>
                  <a:pt x="1513" y="302"/>
                </a:cubicBezTo>
                <a:cubicBezTo>
                  <a:pt x="1513" y="302"/>
                  <a:pt x="1513" y="302"/>
                  <a:pt x="1512" y="302"/>
                </a:cubicBezTo>
                <a:cubicBezTo>
                  <a:pt x="1512" y="302"/>
                  <a:pt x="1511" y="302"/>
                  <a:pt x="1511" y="301"/>
                </a:cubicBezTo>
                <a:cubicBezTo>
                  <a:pt x="1511" y="301"/>
                  <a:pt x="1512" y="301"/>
                  <a:pt x="1512" y="301"/>
                </a:cubicBezTo>
                <a:cubicBezTo>
                  <a:pt x="1513" y="300"/>
                  <a:pt x="1511" y="300"/>
                  <a:pt x="1511" y="300"/>
                </a:cubicBezTo>
                <a:cubicBezTo>
                  <a:pt x="1510" y="299"/>
                  <a:pt x="1512" y="299"/>
                  <a:pt x="1512" y="298"/>
                </a:cubicBezTo>
                <a:cubicBezTo>
                  <a:pt x="1511" y="297"/>
                  <a:pt x="1510" y="298"/>
                  <a:pt x="1509" y="298"/>
                </a:cubicBezTo>
                <a:cubicBezTo>
                  <a:pt x="1508" y="298"/>
                  <a:pt x="1508" y="298"/>
                  <a:pt x="1507" y="298"/>
                </a:cubicBezTo>
                <a:cubicBezTo>
                  <a:pt x="1506" y="299"/>
                  <a:pt x="1505" y="299"/>
                  <a:pt x="1505" y="300"/>
                </a:cubicBezTo>
                <a:cubicBezTo>
                  <a:pt x="1505" y="301"/>
                  <a:pt x="1505" y="302"/>
                  <a:pt x="1505" y="303"/>
                </a:cubicBezTo>
                <a:cubicBezTo>
                  <a:pt x="1504" y="304"/>
                  <a:pt x="1503" y="300"/>
                  <a:pt x="1503" y="299"/>
                </a:cubicBezTo>
                <a:cubicBezTo>
                  <a:pt x="1503" y="299"/>
                  <a:pt x="1503" y="297"/>
                  <a:pt x="1504" y="297"/>
                </a:cubicBezTo>
                <a:cubicBezTo>
                  <a:pt x="1505" y="296"/>
                  <a:pt x="1506" y="297"/>
                  <a:pt x="1506" y="297"/>
                </a:cubicBezTo>
                <a:cubicBezTo>
                  <a:pt x="1507" y="296"/>
                  <a:pt x="1507" y="296"/>
                  <a:pt x="1507" y="296"/>
                </a:cubicBezTo>
                <a:cubicBezTo>
                  <a:pt x="1507" y="295"/>
                  <a:pt x="1507" y="295"/>
                  <a:pt x="1508" y="295"/>
                </a:cubicBezTo>
                <a:cubicBezTo>
                  <a:pt x="1508" y="295"/>
                  <a:pt x="1508" y="295"/>
                  <a:pt x="1509" y="294"/>
                </a:cubicBezTo>
                <a:cubicBezTo>
                  <a:pt x="1509" y="294"/>
                  <a:pt x="1509" y="294"/>
                  <a:pt x="1509" y="294"/>
                </a:cubicBezTo>
                <a:cubicBezTo>
                  <a:pt x="1510" y="294"/>
                  <a:pt x="1510" y="294"/>
                  <a:pt x="1510" y="293"/>
                </a:cubicBezTo>
                <a:cubicBezTo>
                  <a:pt x="1511" y="293"/>
                  <a:pt x="1510" y="293"/>
                  <a:pt x="1509" y="293"/>
                </a:cubicBezTo>
                <a:cubicBezTo>
                  <a:pt x="1509" y="293"/>
                  <a:pt x="1509" y="293"/>
                  <a:pt x="1509" y="293"/>
                </a:cubicBezTo>
                <a:cubicBezTo>
                  <a:pt x="1509" y="293"/>
                  <a:pt x="1508" y="293"/>
                  <a:pt x="1508" y="294"/>
                </a:cubicBezTo>
                <a:cubicBezTo>
                  <a:pt x="1508" y="294"/>
                  <a:pt x="1507" y="294"/>
                  <a:pt x="1507" y="293"/>
                </a:cubicBezTo>
                <a:cubicBezTo>
                  <a:pt x="1507" y="293"/>
                  <a:pt x="1507" y="293"/>
                  <a:pt x="1506" y="292"/>
                </a:cubicBezTo>
                <a:cubicBezTo>
                  <a:pt x="1506" y="291"/>
                  <a:pt x="1506" y="293"/>
                  <a:pt x="1505" y="294"/>
                </a:cubicBezTo>
                <a:cubicBezTo>
                  <a:pt x="1505" y="294"/>
                  <a:pt x="1505" y="295"/>
                  <a:pt x="1505" y="295"/>
                </a:cubicBezTo>
                <a:cubicBezTo>
                  <a:pt x="1504" y="295"/>
                  <a:pt x="1504" y="295"/>
                  <a:pt x="1503" y="295"/>
                </a:cubicBezTo>
                <a:cubicBezTo>
                  <a:pt x="1503" y="295"/>
                  <a:pt x="1503" y="296"/>
                  <a:pt x="1502" y="296"/>
                </a:cubicBezTo>
                <a:cubicBezTo>
                  <a:pt x="1502" y="296"/>
                  <a:pt x="1502" y="295"/>
                  <a:pt x="1502" y="295"/>
                </a:cubicBezTo>
                <a:cubicBezTo>
                  <a:pt x="1503" y="294"/>
                  <a:pt x="1504" y="294"/>
                  <a:pt x="1504" y="293"/>
                </a:cubicBezTo>
                <a:cubicBezTo>
                  <a:pt x="1504" y="291"/>
                  <a:pt x="1503" y="292"/>
                  <a:pt x="1502" y="293"/>
                </a:cubicBezTo>
                <a:cubicBezTo>
                  <a:pt x="1502" y="293"/>
                  <a:pt x="1501" y="293"/>
                  <a:pt x="1500" y="293"/>
                </a:cubicBezTo>
                <a:cubicBezTo>
                  <a:pt x="1499" y="294"/>
                  <a:pt x="1499" y="294"/>
                  <a:pt x="1498" y="295"/>
                </a:cubicBezTo>
                <a:cubicBezTo>
                  <a:pt x="1497" y="296"/>
                  <a:pt x="1497" y="294"/>
                  <a:pt x="1497" y="294"/>
                </a:cubicBezTo>
                <a:cubicBezTo>
                  <a:pt x="1498" y="293"/>
                  <a:pt x="1499" y="293"/>
                  <a:pt x="1499" y="292"/>
                </a:cubicBezTo>
                <a:cubicBezTo>
                  <a:pt x="1500" y="292"/>
                  <a:pt x="1500" y="291"/>
                  <a:pt x="1501" y="291"/>
                </a:cubicBezTo>
                <a:cubicBezTo>
                  <a:pt x="1502" y="290"/>
                  <a:pt x="1503" y="290"/>
                  <a:pt x="1503" y="289"/>
                </a:cubicBezTo>
                <a:cubicBezTo>
                  <a:pt x="1503" y="289"/>
                  <a:pt x="1502" y="288"/>
                  <a:pt x="1501" y="288"/>
                </a:cubicBezTo>
                <a:cubicBezTo>
                  <a:pt x="1501" y="288"/>
                  <a:pt x="1500" y="288"/>
                  <a:pt x="1500" y="288"/>
                </a:cubicBezTo>
                <a:cubicBezTo>
                  <a:pt x="1500" y="288"/>
                  <a:pt x="1499" y="288"/>
                  <a:pt x="1499" y="288"/>
                </a:cubicBezTo>
                <a:cubicBezTo>
                  <a:pt x="1499" y="287"/>
                  <a:pt x="1498" y="287"/>
                  <a:pt x="1498" y="287"/>
                </a:cubicBezTo>
                <a:cubicBezTo>
                  <a:pt x="1497" y="288"/>
                  <a:pt x="1496" y="288"/>
                  <a:pt x="1496" y="287"/>
                </a:cubicBezTo>
                <a:cubicBezTo>
                  <a:pt x="1495" y="287"/>
                  <a:pt x="1495" y="286"/>
                  <a:pt x="1495" y="285"/>
                </a:cubicBezTo>
                <a:cubicBezTo>
                  <a:pt x="1494" y="285"/>
                  <a:pt x="1494" y="285"/>
                  <a:pt x="1493" y="285"/>
                </a:cubicBezTo>
                <a:cubicBezTo>
                  <a:pt x="1492" y="285"/>
                  <a:pt x="1492" y="284"/>
                  <a:pt x="1491" y="284"/>
                </a:cubicBezTo>
                <a:cubicBezTo>
                  <a:pt x="1490" y="284"/>
                  <a:pt x="1489" y="285"/>
                  <a:pt x="1488" y="285"/>
                </a:cubicBezTo>
                <a:cubicBezTo>
                  <a:pt x="1488" y="284"/>
                  <a:pt x="1488" y="283"/>
                  <a:pt x="1487" y="282"/>
                </a:cubicBezTo>
                <a:cubicBezTo>
                  <a:pt x="1487" y="281"/>
                  <a:pt x="1486" y="281"/>
                  <a:pt x="1485" y="281"/>
                </a:cubicBezTo>
                <a:cubicBezTo>
                  <a:pt x="1484" y="281"/>
                  <a:pt x="1482" y="281"/>
                  <a:pt x="1481" y="280"/>
                </a:cubicBezTo>
                <a:cubicBezTo>
                  <a:pt x="1480" y="278"/>
                  <a:pt x="1478" y="278"/>
                  <a:pt x="1476" y="278"/>
                </a:cubicBezTo>
                <a:cubicBezTo>
                  <a:pt x="1475" y="279"/>
                  <a:pt x="1474" y="279"/>
                  <a:pt x="1474" y="279"/>
                </a:cubicBezTo>
                <a:cubicBezTo>
                  <a:pt x="1473" y="279"/>
                  <a:pt x="1473" y="280"/>
                  <a:pt x="1473" y="280"/>
                </a:cubicBezTo>
                <a:cubicBezTo>
                  <a:pt x="1472" y="280"/>
                  <a:pt x="1472" y="280"/>
                  <a:pt x="1472" y="280"/>
                </a:cubicBezTo>
                <a:cubicBezTo>
                  <a:pt x="1471" y="281"/>
                  <a:pt x="1471" y="282"/>
                  <a:pt x="1470" y="282"/>
                </a:cubicBezTo>
                <a:cubicBezTo>
                  <a:pt x="1470" y="283"/>
                  <a:pt x="1470" y="284"/>
                  <a:pt x="1469" y="285"/>
                </a:cubicBezTo>
                <a:cubicBezTo>
                  <a:pt x="1469" y="284"/>
                  <a:pt x="1470" y="282"/>
                  <a:pt x="1470" y="281"/>
                </a:cubicBezTo>
                <a:cubicBezTo>
                  <a:pt x="1470" y="281"/>
                  <a:pt x="1471" y="280"/>
                  <a:pt x="1470" y="279"/>
                </a:cubicBezTo>
                <a:cubicBezTo>
                  <a:pt x="1469" y="279"/>
                  <a:pt x="1468" y="279"/>
                  <a:pt x="1468" y="279"/>
                </a:cubicBezTo>
                <a:cubicBezTo>
                  <a:pt x="1467" y="279"/>
                  <a:pt x="1467" y="279"/>
                  <a:pt x="1466" y="279"/>
                </a:cubicBezTo>
                <a:cubicBezTo>
                  <a:pt x="1466" y="278"/>
                  <a:pt x="1467" y="278"/>
                  <a:pt x="1467" y="278"/>
                </a:cubicBezTo>
                <a:cubicBezTo>
                  <a:pt x="1468" y="278"/>
                  <a:pt x="1469" y="278"/>
                  <a:pt x="1470" y="278"/>
                </a:cubicBezTo>
                <a:cubicBezTo>
                  <a:pt x="1471" y="279"/>
                  <a:pt x="1473" y="278"/>
                  <a:pt x="1475" y="278"/>
                </a:cubicBezTo>
                <a:cubicBezTo>
                  <a:pt x="1476" y="278"/>
                  <a:pt x="1477" y="278"/>
                  <a:pt x="1477" y="277"/>
                </a:cubicBezTo>
                <a:cubicBezTo>
                  <a:pt x="1478" y="277"/>
                  <a:pt x="1478" y="277"/>
                  <a:pt x="1478" y="277"/>
                </a:cubicBezTo>
                <a:cubicBezTo>
                  <a:pt x="1479" y="276"/>
                  <a:pt x="1478" y="276"/>
                  <a:pt x="1478" y="275"/>
                </a:cubicBezTo>
                <a:cubicBezTo>
                  <a:pt x="1478" y="275"/>
                  <a:pt x="1478" y="274"/>
                  <a:pt x="1478" y="273"/>
                </a:cubicBezTo>
                <a:cubicBezTo>
                  <a:pt x="1478" y="273"/>
                  <a:pt x="1477" y="272"/>
                  <a:pt x="1476" y="272"/>
                </a:cubicBezTo>
                <a:cubicBezTo>
                  <a:pt x="1475" y="272"/>
                  <a:pt x="1475" y="272"/>
                  <a:pt x="1474" y="271"/>
                </a:cubicBezTo>
                <a:cubicBezTo>
                  <a:pt x="1473" y="271"/>
                  <a:pt x="1473" y="271"/>
                  <a:pt x="1472" y="270"/>
                </a:cubicBezTo>
                <a:cubicBezTo>
                  <a:pt x="1471" y="270"/>
                  <a:pt x="1470" y="270"/>
                  <a:pt x="1470" y="270"/>
                </a:cubicBezTo>
                <a:cubicBezTo>
                  <a:pt x="1469" y="269"/>
                  <a:pt x="1468" y="269"/>
                  <a:pt x="1468" y="270"/>
                </a:cubicBezTo>
                <a:cubicBezTo>
                  <a:pt x="1467" y="270"/>
                  <a:pt x="1466" y="271"/>
                  <a:pt x="1465" y="271"/>
                </a:cubicBezTo>
                <a:cubicBezTo>
                  <a:pt x="1464" y="272"/>
                  <a:pt x="1463" y="272"/>
                  <a:pt x="1462" y="272"/>
                </a:cubicBezTo>
                <a:cubicBezTo>
                  <a:pt x="1462" y="272"/>
                  <a:pt x="1461" y="272"/>
                  <a:pt x="1461" y="272"/>
                </a:cubicBezTo>
                <a:cubicBezTo>
                  <a:pt x="1461" y="272"/>
                  <a:pt x="1461" y="273"/>
                  <a:pt x="1461" y="273"/>
                </a:cubicBezTo>
                <a:cubicBezTo>
                  <a:pt x="1460" y="273"/>
                  <a:pt x="1460" y="273"/>
                  <a:pt x="1459" y="274"/>
                </a:cubicBezTo>
                <a:cubicBezTo>
                  <a:pt x="1459" y="274"/>
                  <a:pt x="1459" y="275"/>
                  <a:pt x="1458" y="275"/>
                </a:cubicBezTo>
                <a:cubicBezTo>
                  <a:pt x="1459" y="275"/>
                  <a:pt x="1458" y="274"/>
                  <a:pt x="1459" y="273"/>
                </a:cubicBezTo>
                <a:cubicBezTo>
                  <a:pt x="1459" y="272"/>
                  <a:pt x="1459" y="272"/>
                  <a:pt x="1459" y="272"/>
                </a:cubicBezTo>
                <a:cubicBezTo>
                  <a:pt x="1458" y="272"/>
                  <a:pt x="1455" y="273"/>
                  <a:pt x="1455" y="272"/>
                </a:cubicBezTo>
                <a:cubicBezTo>
                  <a:pt x="1455" y="272"/>
                  <a:pt x="1455" y="271"/>
                  <a:pt x="1455" y="271"/>
                </a:cubicBezTo>
                <a:cubicBezTo>
                  <a:pt x="1455" y="270"/>
                  <a:pt x="1455" y="270"/>
                  <a:pt x="1455" y="270"/>
                </a:cubicBezTo>
                <a:cubicBezTo>
                  <a:pt x="1454" y="269"/>
                  <a:pt x="1453" y="270"/>
                  <a:pt x="1453" y="270"/>
                </a:cubicBezTo>
                <a:cubicBezTo>
                  <a:pt x="1452" y="270"/>
                  <a:pt x="1451" y="270"/>
                  <a:pt x="1450" y="270"/>
                </a:cubicBezTo>
                <a:cubicBezTo>
                  <a:pt x="1452" y="270"/>
                  <a:pt x="1453" y="269"/>
                  <a:pt x="1454" y="269"/>
                </a:cubicBezTo>
                <a:cubicBezTo>
                  <a:pt x="1455" y="269"/>
                  <a:pt x="1456" y="269"/>
                  <a:pt x="1457" y="269"/>
                </a:cubicBezTo>
                <a:cubicBezTo>
                  <a:pt x="1457" y="270"/>
                  <a:pt x="1458" y="270"/>
                  <a:pt x="1459" y="270"/>
                </a:cubicBezTo>
                <a:cubicBezTo>
                  <a:pt x="1460" y="270"/>
                  <a:pt x="1461" y="271"/>
                  <a:pt x="1461" y="271"/>
                </a:cubicBezTo>
                <a:cubicBezTo>
                  <a:pt x="1462" y="271"/>
                  <a:pt x="1463" y="270"/>
                  <a:pt x="1463" y="270"/>
                </a:cubicBezTo>
                <a:cubicBezTo>
                  <a:pt x="1464" y="270"/>
                  <a:pt x="1465" y="269"/>
                  <a:pt x="1466" y="269"/>
                </a:cubicBezTo>
                <a:cubicBezTo>
                  <a:pt x="1467" y="268"/>
                  <a:pt x="1468" y="268"/>
                  <a:pt x="1468" y="268"/>
                </a:cubicBezTo>
                <a:cubicBezTo>
                  <a:pt x="1469" y="268"/>
                  <a:pt x="1470" y="268"/>
                  <a:pt x="1471" y="268"/>
                </a:cubicBezTo>
                <a:cubicBezTo>
                  <a:pt x="1472" y="268"/>
                  <a:pt x="1473" y="267"/>
                  <a:pt x="1473" y="266"/>
                </a:cubicBezTo>
                <a:cubicBezTo>
                  <a:pt x="1473" y="266"/>
                  <a:pt x="1474" y="264"/>
                  <a:pt x="1473" y="264"/>
                </a:cubicBezTo>
                <a:cubicBezTo>
                  <a:pt x="1472" y="264"/>
                  <a:pt x="1471" y="264"/>
                  <a:pt x="1470" y="264"/>
                </a:cubicBezTo>
                <a:cubicBezTo>
                  <a:pt x="1469" y="264"/>
                  <a:pt x="1467" y="263"/>
                  <a:pt x="1466" y="262"/>
                </a:cubicBezTo>
                <a:cubicBezTo>
                  <a:pt x="1465" y="262"/>
                  <a:pt x="1464" y="261"/>
                  <a:pt x="1463" y="261"/>
                </a:cubicBezTo>
                <a:cubicBezTo>
                  <a:pt x="1463" y="261"/>
                  <a:pt x="1462" y="262"/>
                  <a:pt x="1461" y="262"/>
                </a:cubicBezTo>
                <a:cubicBezTo>
                  <a:pt x="1461" y="262"/>
                  <a:pt x="1460" y="262"/>
                  <a:pt x="1460" y="262"/>
                </a:cubicBezTo>
                <a:cubicBezTo>
                  <a:pt x="1460" y="262"/>
                  <a:pt x="1459" y="262"/>
                  <a:pt x="1459" y="262"/>
                </a:cubicBezTo>
                <a:cubicBezTo>
                  <a:pt x="1458" y="262"/>
                  <a:pt x="1458" y="262"/>
                  <a:pt x="1458" y="262"/>
                </a:cubicBezTo>
                <a:cubicBezTo>
                  <a:pt x="1457" y="262"/>
                  <a:pt x="1457" y="263"/>
                  <a:pt x="1456" y="263"/>
                </a:cubicBezTo>
                <a:cubicBezTo>
                  <a:pt x="1456" y="264"/>
                  <a:pt x="1455" y="264"/>
                  <a:pt x="1454" y="263"/>
                </a:cubicBezTo>
                <a:cubicBezTo>
                  <a:pt x="1453" y="263"/>
                  <a:pt x="1453" y="263"/>
                  <a:pt x="1452" y="263"/>
                </a:cubicBezTo>
                <a:cubicBezTo>
                  <a:pt x="1452" y="262"/>
                  <a:pt x="1451" y="263"/>
                  <a:pt x="1450" y="263"/>
                </a:cubicBezTo>
                <a:cubicBezTo>
                  <a:pt x="1450" y="263"/>
                  <a:pt x="1448" y="263"/>
                  <a:pt x="1448" y="264"/>
                </a:cubicBezTo>
                <a:cubicBezTo>
                  <a:pt x="1448" y="264"/>
                  <a:pt x="1448" y="265"/>
                  <a:pt x="1448" y="266"/>
                </a:cubicBezTo>
                <a:cubicBezTo>
                  <a:pt x="1448" y="267"/>
                  <a:pt x="1447" y="267"/>
                  <a:pt x="1446" y="267"/>
                </a:cubicBezTo>
                <a:cubicBezTo>
                  <a:pt x="1446" y="267"/>
                  <a:pt x="1447" y="267"/>
                  <a:pt x="1447" y="266"/>
                </a:cubicBezTo>
                <a:cubicBezTo>
                  <a:pt x="1447" y="266"/>
                  <a:pt x="1447" y="265"/>
                  <a:pt x="1447" y="265"/>
                </a:cubicBezTo>
                <a:cubicBezTo>
                  <a:pt x="1447" y="264"/>
                  <a:pt x="1448" y="264"/>
                  <a:pt x="1448" y="263"/>
                </a:cubicBezTo>
                <a:cubicBezTo>
                  <a:pt x="1447" y="263"/>
                  <a:pt x="1447" y="262"/>
                  <a:pt x="1447" y="262"/>
                </a:cubicBezTo>
                <a:cubicBezTo>
                  <a:pt x="1447" y="262"/>
                  <a:pt x="1447" y="262"/>
                  <a:pt x="1448" y="262"/>
                </a:cubicBezTo>
                <a:cubicBezTo>
                  <a:pt x="1448" y="263"/>
                  <a:pt x="1449" y="263"/>
                  <a:pt x="1449" y="262"/>
                </a:cubicBezTo>
                <a:cubicBezTo>
                  <a:pt x="1450" y="262"/>
                  <a:pt x="1451" y="262"/>
                  <a:pt x="1452" y="262"/>
                </a:cubicBezTo>
                <a:cubicBezTo>
                  <a:pt x="1453" y="262"/>
                  <a:pt x="1455" y="264"/>
                  <a:pt x="1456" y="262"/>
                </a:cubicBezTo>
                <a:cubicBezTo>
                  <a:pt x="1456" y="261"/>
                  <a:pt x="1456" y="261"/>
                  <a:pt x="1457" y="261"/>
                </a:cubicBezTo>
                <a:cubicBezTo>
                  <a:pt x="1457" y="261"/>
                  <a:pt x="1457" y="260"/>
                  <a:pt x="1457" y="260"/>
                </a:cubicBezTo>
                <a:cubicBezTo>
                  <a:pt x="1457" y="259"/>
                  <a:pt x="1456" y="259"/>
                  <a:pt x="1455" y="259"/>
                </a:cubicBezTo>
                <a:cubicBezTo>
                  <a:pt x="1455" y="259"/>
                  <a:pt x="1454" y="259"/>
                  <a:pt x="1453" y="259"/>
                </a:cubicBezTo>
                <a:cubicBezTo>
                  <a:pt x="1452" y="258"/>
                  <a:pt x="1452" y="259"/>
                  <a:pt x="1451" y="258"/>
                </a:cubicBezTo>
                <a:cubicBezTo>
                  <a:pt x="1450" y="257"/>
                  <a:pt x="1450" y="257"/>
                  <a:pt x="1449" y="256"/>
                </a:cubicBezTo>
                <a:cubicBezTo>
                  <a:pt x="1449" y="256"/>
                  <a:pt x="1448" y="256"/>
                  <a:pt x="1447" y="256"/>
                </a:cubicBezTo>
                <a:cubicBezTo>
                  <a:pt x="1449" y="255"/>
                  <a:pt x="1451" y="256"/>
                  <a:pt x="1452" y="257"/>
                </a:cubicBezTo>
                <a:cubicBezTo>
                  <a:pt x="1453" y="258"/>
                  <a:pt x="1454" y="259"/>
                  <a:pt x="1456" y="259"/>
                </a:cubicBezTo>
                <a:cubicBezTo>
                  <a:pt x="1457" y="259"/>
                  <a:pt x="1457" y="259"/>
                  <a:pt x="1458" y="259"/>
                </a:cubicBezTo>
                <a:cubicBezTo>
                  <a:pt x="1459" y="259"/>
                  <a:pt x="1460" y="259"/>
                  <a:pt x="1460" y="260"/>
                </a:cubicBezTo>
                <a:cubicBezTo>
                  <a:pt x="1461" y="260"/>
                  <a:pt x="1461" y="261"/>
                  <a:pt x="1462" y="261"/>
                </a:cubicBezTo>
                <a:cubicBezTo>
                  <a:pt x="1463" y="261"/>
                  <a:pt x="1464" y="261"/>
                  <a:pt x="1464" y="261"/>
                </a:cubicBezTo>
                <a:cubicBezTo>
                  <a:pt x="1466" y="260"/>
                  <a:pt x="1467" y="259"/>
                  <a:pt x="1468" y="258"/>
                </a:cubicBezTo>
                <a:cubicBezTo>
                  <a:pt x="1469" y="257"/>
                  <a:pt x="1470" y="257"/>
                  <a:pt x="1471" y="256"/>
                </a:cubicBezTo>
                <a:cubicBezTo>
                  <a:pt x="1472" y="255"/>
                  <a:pt x="1474" y="254"/>
                  <a:pt x="1474" y="252"/>
                </a:cubicBezTo>
                <a:cubicBezTo>
                  <a:pt x="1474" y="251"/>
                  <a:pt x="1473" y="251"/>
                  <a:pt x="1473" y="250"/>
                </a:cubicBezTo>
                <a:cubicBezTo>
                  <a:pt x="1472" y="249"/>
                  <a:pt x="1471" y="250"/>
                  <a:pt x="1470" y="249"/>
                </a:cubicBezTo>
                <a:cubicBezTo>
                  <a:pt x="1470" y="249"/>
                  <a:pt x="1469" y="248"/>
                  <a:pt x="1469" y="247"/>
                </a:cubicBezTo>
                <a:cubicBezTo>
                  <a:pt x="1469" y="247"/>
                  <a:pt x="1467" y="246"/>
                  <a:pt x="1468" y="246"/>
                </a:cubicBezTo>
                <a:cubicBezTo>
                  <a:pt x="1468" y="246"/>
                  <a:pt x="1469" y="247"/>
                  <a:pt x="1470" y="247"/>
                </a:cubicBezTo>
                <a:cubicBezTo>
                  <a:pt x="1470" y="248"/>
                  <a:pt x="1471" y="248"/>
                  <a:pt x="1471" y="249"/>
                </a:cubicBezTo>
                <a:cubicBezTo>
                  <a:pt x="1472" y="249"/>
                  <a:pt x="1473" y="250"/>
                  <a:pt x="1474" y="250"/>
                </a:cubicBezTo>
                <a:cubicBezTo>
                  <a:pt x="1474" y="250"/>
                  <a:pt x="1475" y="250"/>
                  <a:pt x="1475" y="251"/>
                </a:cubicBezTo>
                <a:cubicBezTo>
                  <a:pt x="1475" y="252"/>
                  <a:pt x="1475" y="253"/>
                  <a:pt x="1476" y="253"/>
                </a:cubicBezTo>
                <a:cubicBezTo>
                  <a:pt x="1477" y="253"/>
                  <a:pt x="1478" y="253"/>
                  <a:pt x="1479" y="253"/>
                </a:cubicBezTo>
                <a:cubicBezTo>
                  <a:pt x="1479" y="253"/>
                  <a:pt x="1479" y="254"/>
                  <a:pt x="1480" y="254"/>
                </a:cubicBezTo>
                <a:cubicBezTo>
                  <a:pt x="1480" y="254"/>
                  <a:pt x="1481" y="254"/>
                  <a:pt x="1481" y="254"/>
                </a:cubicBezTo>
                <a:cubicBezTo>
                  <a:pt x="1481" y="254"/>
                  <a:pt x="1481" y="253"/>
                  <a:pt x="1481" y="253"/>
                </a:cubicBezTo>
                <a:cubicBezTo>
                  <a:pt x="1481" y="252"/>
                  <a:pt x="1481" y="252"/>
                  <a:pt x="1481" y="251"/>
                </a:cubicBezTo>
                <a:cubicBezTo>
                  <a:pt x="1481" y="250"/>
                  <a:pt x="1483" y="249"/>
                  <a:pt x="1484" y="249"/>
                </a:cubicBezTo>
                <a:cubicBezTo>
                  <a:pt x="1484" y="249"/>
                  <a:pt x="1485" y="249"/>
                  <a:pt x="1485" y="249"/>
                </a:cubicBezTo>
                <a:cubicBezTo>
                  <a:pt x="1486" y="249"/>
                  <a:pt x="1486" y="249"/>
                  <a:pt x="1486" y="249"/>
                </a:cubicBezTo>
                <a:cubicBezTo>
                  <a:pt x="1486" y="249"/>
                  <a:pt x="1487" y="249"/>
                  <a:pt x="1487" y="250"/>
                </a:cubicBezTo>
                <a:cubicBezTo>
                  <a:pt x="1487" y="250"/>
                  <a:pt x="1487" y="250"/>
                  <a:pt x="1486" y="250"/>
                </a:cubicBezTo>
                <a:cubicBezTo>
                  <a:pt x="1486" y="250"/>
                  <a:pt x="1485" y="251"/>
                  <a:pt x="1486" y="252"/>
                </a:cubicBezTo>
                <a:cubicBezTo>
                  <a:pt x="1486" y="252"/>
                  <a:pt x="1486" y="252"/>
                  <a:pt x="1486" y="252"/>
                </a:cubicBezTo>
                <a:cubicBezTo>
                  <a:pt x="1487" y="253"/>
                  <a:pt x="1487" y="253"/>
                  <a:pt x="1487" y="253"/>
                </a:cubicBezTo>
                <a:cubicBezTo>
                  <a:pt x="1487" y="254"/>
                  <a:pt x="1488" y="254"/>
                  <a:pt x="1488" y="254"/>
                </a:cubicBezTo>
                <a:cubicBezTo>
                  <a:pt x="1489" y="254"/>
                  <a:pt x="1490" y="255"/>
                  <a:pt x="1490" y="255"/>
                </a:cubicBezTo>
                <a:cubicBezTo>
                  <a:pt x="1491" y="256"/>
                  <a:pt x="1491" y="256"/>
                  <a:pt x="1492" y="256"/>
                </a:cubicBezTo>
                <a:cubicBezTo>
                  <a:pt x="1493" y="257"/>
                  <a:pt x="1494" y="257"/>
                  <a:pt x="1495" y="257"/>
                </a:cubicBezTo>
                <a:cubicBezTo>
                  <a:pt x="1495" y="257"/>
                  <a:pt x="1495" y="257"/>
                  <a:pt x="1496" y="258"/>
                </a:cubicBezTo>
                <a:cubicBezTo>
                  <a:pt x="1496" y="258"/>
                  <a:pt x="1496" y="258"/>
                  <a:pt x="1497" y="258"/>
                </a:cubicBezTo>
                <a:cubicBezTo>
                  <a:pt x="1497" y="258"/>
                  <a:pt x="1497" y="258"/>
                  <a:pt x="1498" y="258"/>
                </a:cubicBezTo>
                <a:cubicBezTo>
                  <a:pt x="1498" y="259"/>
                  <a:pt x="1498" y="259"/>
                  <a:pt x="1499" y="259"/>
                </a:cubicBezTo>
                <a:cubicBezTo>
                  <a:pt x="1500" y="259"/>
                  <a:pt x="1501" y="259"/>
                  <a:pt x="1501" y="259"/>
                </a:cubicBezTo>
                <a:cubicBezTo>
                  <a:pt x="1502" y="259"/>
                  <a:pt x="1503" y="260"/>
                  <a:pt x="1504" y="260"/>
                </a:cubicBezTo>
                <a:cubicBezTo>
                  <a:pt x="1504" y="260"/>
                  <a:pt x="1505" y="261"/>
                  <a:pt x="1506" y="261"/>
                </a:cubicBezTo>
                <a:cubicBezTo>
                  <a:pt x="1507" y="261"/>
                  <a:pt x="1507" y="260"/>
                  <a:pt x="1508" y="259"/>
                </a:cubicBezTo>
                <a:cubicBezTo>
                  <a:pt x="1509" y="258"/>
                  <a:pt x="1511" y="258"/>
                  <a:pt x="1513" y="258"/>
                </a:cubicBezTo>
                <a:cubicBezTo>
                  <a:pt x="1514" y="257"/>
                  <a:pt x="1514" y="257"/>
                  <a:pt x="1514" y="256"/>
                </a:cubicBezTo>
                <a:cubicBezTo>
                  <a:pt x="1514" y="256"/>
                  <a:pt x="1514" y="256"/>
                  <a:pt x="1514" y="256"/>
                </a:cubicBezTo>
                <a:cubicBezTo>
                  <a:pt x="1515" y="255"/>
                  <a:pt x="1515" y="255"/>
                  <a:pt x="1516" y="256"/>
                </a:cubicBezTo>
                <a:cubicBezTo>
                  <a:pt x="1517" y="256"/>
                  <a:pt x="1517" y="256"/>
                  <a:pt x="1518" y="256"/>
                </a:cubicBezTo>
                <a:cubicBezTo>
                  <a:pt x="1519" y="256"/>
                  <a:pt x="1520" y="256"/>
                  <a:pt x="1521" y="256"/>
                </a:cubicBezTo>
                <a:cubicBezTo>
                  <a:pt x="1522" y="256"/>
                  <a:pt x="1522" y="256"/>
                  <a:pt x="1523" y="256"/>
                </a:cubicBezTo>
                <a:cubicBezTo>
                  <a:pt x="1524" y="256"/>
                  <a:pt x="1525" y="256"/>
                  <a:pt x="1525" y="256"/>
                </a:cubicBezTo>
                <a:cubicBezTo>
                  <a:pt x="1526" y="256"/>
                  <a:pt x="1527" y="256"/>
                  <a:pt x="1527" y="255"/>
                </a:cubicBezTo>
                <a:cubicBezTo>
                  <a:pt x="1527" y="254"/>
                  <a:pt x="1527" y="254"/>
                  <a:pt x="1527" y="253"/>
                </a:cubicBezTo>
                <a:cubicBezTo>
                  <a:pt x="1526" y="253"/>
                  <a:pt x="1526" y="253"/>
                  <a:pt x="1526" y="252"/>
                </a:cubicBezTo>
                <a:cubicBezTo>
                  <a:pt x="1526" y="251"/>
                  <a:pt x="1526" y="251"/>
                  <a:pt x="1526" y="250"/>
                </a:cubicBezTo>
                <a:cubicBezTo>
                  <a:pt x="1527" y="249"/>
                  <a:pt x="1528" y="249"/>
                  <a:pt x="1528" y="248"/>
                </a:cubicBezTo>
                <a:cubicBezTo>
                  <a:pt x="1529" y="248"/>
                  <a:pt x="1529" y="247"/>
                  <a:pt x="1528" y="246"/>
                </a:cubicBezTo>
                <a:cubicBezTo>
                  <a:pt x="1528" y="246"/>
                  <a:pt x="1527" y="246"/>
                  <a:pt x="1526" y="246"/>
                </a:cubicBezTo>
                <a:cubicBezTo>
                  <a:pt x="1525" y="246"/>
                  <a:pt x="1524" y="245"/>
                  <a:pt x="1523" y="245"/>
                </a:cubicBezTo>
                <a:cubicBezTo>
                  <a:pt x="1522" y="245"/>
                  <a:pt x="1521" y="245"/>
                  <a:pt x="1521" y="245"/>
                </a:cubicBezTo>
                <a:cubicBezTo>
                  <a:pt x="1520" y="245"/>
                  <a:pt x="1520" y="244"/>
                  <a:pt x="1519" y="244"/>
                </a:cubicBezTo>
                <a:cubicBezTo>
                  <a:pt x="1519" y="244"/>
                  <a:pt x="1519" y="244"/>
                  <a:pt x="1518" y="244"/>
                </a:cubicBezTo>
                <a:cubicBezTo>
                  <a:pt x="1517" y="244"/>
                  <a:pt x="1517" y="243"/>
                  <a:pt x="1516" y="243"/>
                </a:cubicBezTo>
                <a:cubicBezTo>
                  <a:pt x="1515" y="243"/>
                  <a:pt x="1514" y="243"/>
                  <a:pt x="1514" y="243"/>
                </a:cubicBezTo>
                <a:cubicBezTo>
                  <a:pt x="1512" y="242"/>
                  <a:pt x="1510" y="243"/>
                  <a:pt x="1510" y="244"/>
                </a:cubicBezTo>
                <a:cubicBezTo>
                  <a:pt x="1510" y="245"/>
                  <a:pt x="1510" y="245"/>
                  <a:pt x="1510" y="245"/>
                </a:cubicBezTo>
                <a:cubicBezTo>
                  <a:pt x="1511" y="245"/>
                  <a:pt x="1511" y="246"/>
                  <a:pt x="1511" y="246"/>
                </a:cubicBezTo>
                <a:cubicBezTo>
                  <a:pt x="1511" y="247"/>
                  <a:pt x="1512" y="247"/>
                  <a:pt x="1512" y="248"/>
                </a:cubicBezTo>
                <a:cubicBezTo>
                  <a:pt x="1512" y="249"/>
                  <a:pt x="1512" y="250"/>
                  <a:pt x="1512" y="251"/>
                </a:cubicBezTo>
                <a:cubicBezTo>
                  <a:pt x="1512" y="251"/>
                  <a:pt x="1512" y="251"/>
                  <a:pt x="1512" y="252"/>
                </a:cubicBezTo>
                <a:cubicBezTo>
                  <a:pt x="1511" y="252"/>
                  <a:pt x="1511" y="251"/>
                  <a:pt x="1511" y="250"/>
                </a:cubicBezTo>
                <a:cubicBezTo>
                  <a:pt x="1511" y="250"/>
                  <a:pt x="1511" y="250"/>
                  <a:pt x="1511" y="249"/>
                </a:cubicBezTo>
                <a:cubicBezTo>
                  <a:pt x="1511" y="248"/>
                  <a:pt x="1511" y="248"/>
                  <a:pt x="1510" y="247"/>
                </a:cubicBezTo>
                <a:cubicBezTo>
                  <a:pt x="1510" y="246"/>
                  <a:pt x="1510" y="246"/>
                  <a:pt x="1509" y="246"/>
                </a:cubicBezTo>
                <a:cubicBezTo>
                  <a:pt x="1509" y="245"/>
                  <a:pt x="1508" y="245"/>
                  <a:pt x="1508" y="244"/>
                </a:cubicBezTo>
                <a:cubicBezTo>
                  <a:pt x="1507" y="244"/>
                  <a:pt x="1506" y="243"/>
                  <a:pt x="1505" y="243"/>
                </a:cubicBezTo>
                <a:cubicBezTo>
                  <a:pt x="1505" y="243"/>
                  <a:pt x="1504" y="243"/>
                  <a:pt x="1504" y="242"/>
                </a:cubicBezTo>
                <a:cubicBezTo>
                  <a:pt x="1504" y="242"/>
                  <a:pt x="1505" y="242"/>
                  <a:pt x="1505" y="242"/>
                </a:cubicBezTo>
                <a:cubicBezTo>
                  <a:pt x="1506" y="242"/>
                  <a:pt x="1507" y="242"/>
                  <a:pt x="1507" y="241"/>
                </a:cubicBezTo>
                <a:cubicBezTo>
                  <a:pt x="1507" y="241"/>
                  <a:pt x="1507" y="240"/>
                  <a:pt x="1507" y="240"/>
                </a:cubicBezTo>
                <a:cubicBezTo>
                  <a:pt x="1507" y="239"/>
                  <a:pt x="1508" y="239"/>
                  <a:pt x="1508" y="239"/>
                </a:cubicBezTo>
                <a:cubicBezTo>
                  <a:pt x="1508" y="239"/>
                  <a:pt x="1509" y="239"/>
                  <a:pt x="1508" y="238"/>
                </a:cubicBezTo>
                <a:cubicBezTo>
                  <a:pt x="1508" y="238"/>
                  <a:pt x="1507" y="238"/>
                  <a:pt x="1507" y="238"/>
                </a:cubicBezTo>
                <a:cubicBezTo>
                  <a:pt x="1507" y="238"/>
                  <a:pt x="1506" y="237"/>
                  <a:pt x="1507" y="237"/>
                </a:cubicBezTo>
                <a:cubicBezTo>
                  <a:pt x="1507" y="237"/>
                  <a:pt x="1508" y="237"/>
                  <a:pt x="1508" y="237"/>
                </a:cubicBezTo>
                <a:cubicBezTo>
                  <a:pt x="1509" y="237"/>
                  <a:pt x="1509" y="237"/>
                  <a:pt x="1509" y="237"/>
                </a:cubicBezTo>
                <a:cubicBezTo>
                  <a:pt x="1510" y="236"/>
                  <a:pt x="1510" y="236"/>
                  <a:pt x="1510" y="236"/>
                </a:cubicBezTo>
                <a:cubicBezTo>
                  <a:pt x="1511" y="235"/>
                  <a:pt x="1511" y="233"/>
                  <a:pt x="1510" y="232"/>
                </a:cubicBezTo>
                <a:cubicBezTo>
                  <a:pt x="1509" y="232"/>
                  <a:pt x="1509" y="232"/>
                  <a:pt x="1509" y="232"/>
                </a:cubicBezTo>
                <a:cubicBezTo>
                  <a:pt x="1509" y="231"/>
                  <a:pt x="1509" y="231"/>
                  <a:pt x="1510" y="231"/>
                </a:cubicBezTo>
                <a:cubicBezTo>
                  <a:pt x="1510" y="232"/>
                  <a:pt x="1510" y="233"/>
                  <a:pt x="1511" y="233"/>
                </a:cubicBezTo>
                <a:cubicBezTo>
                  <a:pt x="1511" y="233"/>
                  <a:pt x="1512" y="233"/>
                  <a:pt x="1512" y="233"/>
                </a:cubicBezTo>
                <a:cubicBezTo>
                  <a:pt x="1513" y="233"/>
                  <a:pt x="1513" y="234"/>
                  <a:pt x="1513" y="234"/>
                </a:cubicBezTo>
                <a:cubicBezTo>
                  <a:pt x="1514" y="234"/>
                  <a:pt x="1515" y="234"/>
                  <a:pt x="1516" y="234"/>
                </a:cubicBezTo>
                <a:cubicBezTo>
                  <a:pt x="1517" y="233"/>
                  <a:pt x="1517" y="233"/>
                  <a:pt x="1518" y="233"/>
                </a:cubicBezTo>
                <a:cubicBezTo>
                  <a:pt x="1520" y="234"/>
                  <a:pt x="1521" y="233"/>
                  <a:pt x="1523" y="234"/>
                </a:cubicBezTo>
                <a:cubicBezTo>
                  <a:pt x="1524" y="234"/>
                  <a:pt x="1527" y="233"/>
                  <a:pt x="1528" y="235"/>
                </a:cubicBezTo>
                <a:cubicBezTo>
                  <a:pt x="1528" y="235"/>
                  <a:pt x="1528" y="236"/>
                  <a:pt x="1529" y="237"/>
                </a:cubicBezTo>
                <a:cubicBezTo>
                  <a:pt x="1529" y="237"/>
                  <a:pt x="1530" y="238"/>
                  <a:pt x="1531" y="238"/>
                </a:cubicBezTo>
                <a:cubicBezTo>
                  <a:pt x="1531" y="239"/>
                  <a:pt x="1532" y="239"/>
                  <a:pt x="1533" y="238"/>
                </a:cubicBezTo>
                <a:cubicBezTo>
                  <a:pt x="1534" y="238"/>
                  <a:pt x="1535" y="238"/>
                  <a:pt x="1536" y="238"/>
                </a:cubicBezTo>
                <a:cubicBezTo>
                  <a:pt x="1538" y="239"/>
                  <a:pt x="1540" y="238"/>
                  <a:pt x="1541" y="237"/>
                </a:cubicBezTo>
                <a:cubicBezTo>
                  <a:pt x="1541" y="236"/>
                  <a:pt x="1542" y="235"/>
                  <a:pt x="1543" y="235"/>
                </a:cubicBezTo>
                <a:cubicBezTo>
                  <a:pt x="1543" y="234"/>
                  <a:pt x="1544" y="234"/>
                  <a:pt x="1544" y="233"/>
                </a:cubicBezTo>
                <a:cubicBezTo>
                  <a:pt x="1544" y="233"/>
                  <a:pt x="1543" y="233"/>
                  <a:pt x="1542" y="233"/>
                </a:cubicBezTo>
                <a:cubicBezTo>
                  <a:pt x="1542" y="233"/>
                  <a:pt x="1542" y="233"/>
                  <a:pt x="1541" y="232"/>
                </a:cubicBezTo>
                <a:cubicBezTo>
                  <a:pt x="1541" y="232"/>
                  <a:pt x="1541" y="232"/>
                  <a:pt x="1540" y="232"/>
                </a:cubicBezTo>
                <a:cubicBezTo>
                  <a:pt x="1540" y="232"/>
                  <a:pt x="1540" y="232"/>
                  <a:pt x="1539" y="231"/>
                </a:cubicBezTo>
                <a:cubicBezTo>
                  <a:pt x="1539" y="231"/>
                  <a:pt x="1540" y="230"/>
                  <a:pt x="1540" y="230"/>
                </a:cubicBezTo>
                <a:cubicBezTo>
                  <a:pt x="1540" y="230"/>
                  <a:pt x="1541" y="230"/>
                  <a:pt x="1540" y="229"/>
                </a:cubicBezTo>
                <a:cubicBezTo>
                  <a:pt x="1540" y="229"/>
                  <a:pt x="1539" y="229"/>
                  <a:pt x="1539" y="229"/>
                </a:cubicBezTo>
                <a:cubicBezTo>
                  <a:pt x="1538" y="229"/>
                  <a:pt x="1537" y="229"/>
                  <a:pt x="1537" y="230"/>
                </a:cubicBezTo>
                <a:cubicBezTo>
                  <a:pt x="1536" y="230"/>
                  <a:pt x="1535" y="230"/>
                  <a:pt x="1534" y="230"/>
                </a:cubicBezTo>
                <a:cubicBezTo>
                  <a:pt x="1533" y="230"/>
                  <a:pt x="1533" y="230"/>
                  <a:pt x="1532" y="230"/>
                </a:cubicBezTo>
                <a:cubicBezTo>
                  <a:pt x="1532" y="229"/>
                  <a:pt x="1532" y="229"/>
                  <a:pt x="1531" y="229"/>
                </a:cubicBezTo>
                <a:cubicBezTo>
                  <a:pt x="1531" y="229"/>
                  <a:pt x="1530" y="229"/>
                  <a:pt x="1530" y="229"/>
                </a:cubicBezTo>
                <a:cubicBezTo>
                  <a:pt x="1529" y="229"/>
                  <a:pt x="1528" y="229"/>
                  <a:pt x="1528" y="229"/>
                </a:cubicBezTo>
                <a:cubicBezTo>
                  <a:pt x="1527" y="229"/>
                  <a:pt x="1526" y="229"/>
                  <a:pt x="1526" y="229"/>
                </a:cubicBezTo>
                <a:cubicBezTo>
                  <a:pt x="1525" y="229"/>
                  <a:pt x="1524" y="230"/>
                  <a:pt x="1524" y="230"/>
                </a:cubicBezTo>
                <a:cubicBezTo>
                  <a:pt x="1523" y="229"/>
                  <a:pt x="1522" y="229"/>
                  <a:pt x="1522" y="230"/>
                </a:cubicBezTo>
                <a:cubicBezTo>
                  <a:pt x="1521" y="230"/>
                  <a:pt x="1520" y="230"/>
                  <a:pt x="1520" y="229"/>
                </a:cubicBezTo>
                <a:cubicBezTo>
                  <a:pt x="1520" y="229"/>
                  <a:pt x="1521" y="229"/>
                  <a:pt x="1521" y="229"/>
                </a:cubicBezTo>
                <a:cubicBezTo>
                  <a:pt x="1521" y="229"/>
                  <a:pt x="1522" y="229"/>
                  <a:pt x="1522" y="229"/>
                </a:cubicBezTo>
                <a:cubicBezTo>
                  <a:pt x="1523" y="229"/>
                  <a:pt x="1524" y="229"/>
                  <a:pt x="1524" y="228"/>
                </a:cubicBezTo>
                <a:cubicBezTo>
                  <a:pt x="1525" y="227"/>
                  <a:pt x="1523" y="227"/>
                  <a:pt x="1523" y="226"/>
                </a:cubicBezTo>
                <a:cubicBezTo>
                  <a:pt x="1523" y="225"/>
                  <a:pt x="1524" y="224"/>
                  <a:pt x="1524" y="223"/>
                </a:cubicBezTo>
                <a:cubicBezTo>
                  <a:pt x="1523" y="223"/>
                  <a:pt x="1523" y="223"/>
                  <a:pt x="1523" y="222"/>
                </a:cubicBezTo>
                <a:cubicBezTo>
                  <a:pt x="1523" y="222"/>
                  <a:pt x="1524" y="222"/>
                  <a:pt x="1524" y="221"/>
                </a:cubicBezTo>
                <a:cubicBezTo>
                  <a:pt x="1524" y="221"/>
                  <a:pt x="1524" y="220"/>
                  <a:pt x="1524" y="220"/>
                </a:cubicBezTo>
                <a:cubicBezTo>
                  <a:pt x="1523" y="220"/>
                  <a:pt x="1522" y="220"/>
                  <a:pt x="1521" y="220"/>
                </a:cubicBezTo>
                <a:cubicBezTo>
                  <a:pt x="1521" y="220"/>
                  <a:pt x="1521" y="220"/>
                  <a:pt x="1521" y="219"/>
                </a:cubicBezTo>
                <a:cubicBezTo>
                  <a:pt x="1520" y="219"/>
                  <a:pt x="1520" y="219"/>
                  <a:pt x="1520" y="219"/>
                </a:cubicBezTo>
                <a:cubicBezTo>
                  <a:pt x="1520" y="218"/>
                  <a:pt x="1521" y="219"/>
                  <a:pt x="1521" y="219"/>
                </a:cubicBezTo>
                <a:cubicBezTo>
                  <a:pt x="1521" y="219"/>
                  <a:pt x="1521" y="218"/>
                  <a:pt x="1522" y="218"/>
                </a:cubicBezTo>
                <a:cubicBezTo>
                  <a:pt x="1522" y="218"/>
                  <a:pt x="1522" y="218"/>
                  <a:pt x="1523" y="218"/>
                </a:cubicBezTo>
                <a:cubicBezTo>
                  <a:pt x="1523" y="219"/>
                  <a:pt x="1523" y="218"/>
                  <a:pt x="1524" y="218"/>
                </a:cubicBezTo>
                <a:cubicBezTo>
                  <a:pt x="1524" y="219"/>
                  <a:pt x="1525" y="219"/>
                  <a:pt x="1525" y="218"/>
                </a:cubicBezTo>
                <a:cubicBezTo>
                  <a:pt x="1525" y="218"/>
                  <a:pt x="1524" y="217"/>
                  <a:pt x="1524" y="216"/>
                </a:cubicBezTo>
                <a:cubicBezTo>
                  <a:pt x="1523" y="216"/>
                  <a:pt x="1522" y="215"/>
                  <a:pt x="1522" y="215"/>
                </a:cubicBezTo>
                <a:cubicBezTo>
                  <a:pt x="1521" y="215"/>
                  <a:pt x="1520" y="214"/>
                  <a:pt x="1520" y="214"/>
                </a:cubicBezTo>
                <a:cubicBezTo>
                  <a:pt x="1519" y="213"/>
                  <a:pt x="1518" y="213"/>
                  <a:pt x="1517" y="213"/>
                </a:cubicBezTo>
                <a:cubicBezTo>
                  <a:pt x="1516" y="213"/>
                  <a:pt x="1516" y="212"/>
                  <a:pt x="1515" y="212"/>
                </a:cubicBezTo>
                <a:cubicBezTo>
                  <a:pt x="1515" y="211"/>
                  <a:pt x="1515" y="210"/>
                  <a:pt x="1514" y="210"/>
                </a:cubicBezTo>
                <a:cubicBezTo>
                  <a:pt x="1513" y="209"/>
                  <a:pt x="1513" y="209"/>
                  <a:pt x="1512" y="208"/>
                </a:cubicBezTo>
                <a:cubicBezTo>
                  <a:pt x="1512" y="208"/>
                  <a:pt x="1511" y="208"/>
                  <a:pt x="1511" y="208"/>
                </a:cubicBezTo>
                <a:cubicBezTo>
                  <a:pt x="1511" y="208"/>
                  <a:pt x="1510" y="208"/>
                  <a:pt x="1510" y="208"/>
                </a:cubicBezTo>
                <a:cubicBezTo>
                  <a:pt x="1512" y="208"/>
                  <a:pt x="1513" y="208"/>
                  <a:pt x="1515" y="209"/>
                </a:cubicBezTo>
                <a:cubicBezTo>
                  <a:pt x="1515" y="209"/>
                  <a:pt x="1516" y="209"/>
                  <a:pt x="1517" y="210"/>
                </a:cubicBezTo>
                <a:cubicBezTo>
                  <a:pt x="1517" y="211"/>
                  <a:pt x="1518" y="211"/>
                  <a:pt x="1518" y="212"/>
                </a:cubicBezTo>
                <a:cubicBezTo>
                  <a:pt x="1519" y="212"/>
                  <a:pt x="1519" y="213"/>
                  <a:pt x="1520" y="213"/>
                </a:cubicBezTo>
                <a:cubicBezTo>
                  <a:pt x="1521" y="213"/>
                  <a:pt x="1522" y="213"/>
                  <a:pt x="1522" y="214"/>
                </a:cubicBezTo>
                <a:cubicBezTo>
                  <a:pt x="1523" y="214"/>
                  <a:pt x="1524" y="215"/>
                  <a:pt x="1524" y="215"/>
                </a:cubicBezTo>
                <a:cubicBezTo>
                  <a:pt x="1526" y="215"/>
                  <a:pt x="1526" y="214"/>
                  <a:pt x="1527" y="214"/>
                </a:cubicBezTo>
                <a:cubicBezTo>
                  <a:pt x="1528" y="213"/>
                  <a:pt x="1531" y="213"/>
                  <a:pt x="1532" y="214"/>
                </a:cubicBezTo>
                <a:cubicBezTo>
                  <a:pt x="1532" y="215"/>
                  <a:pt x="1531" y="216"/>
                  <a:pt x="1531" y="216"/>
                </a:cubicBezTo>
                <a:cubicBezTo>
                  <a:pt x="1531" y="217"/>
                  <a:pt x="1532" y="217"/>
                  <a:pt x="1533" y="218"/>
                </a:cubicBezTo>
                <a:cubicBezTo>
                  <a:pt x="1534" y="218"/>
                  <a:pt x="1534" y="218"/>
                  <a:pt x="1535" y="218"/>
                </a:cubicBezTo>
                <a:cubicBezTo>
                  <a:pt x="1536" y="218"/>
                  <a:pt x="1537" y="218"/>
                  <a:pt x="1538" y="217"/>
                </a:cubicBezTo>
                <a:cubicBezTo>
                  <a:pt x="1538" y="216"/>
                  <a:pt x="1539" y="215"/>
                  <a:pt x="1539" y="214"/>
                </a:cubicBezTo>
                <a:cubicBezTo>
                  <a:pt x="1539" y="213"/>
                  <a:pt x="1539" y="213"/>
                  <a:pt x="1539" y="212"/>
                </a:cubicBezTo>
                <a:cubicBezTo>
                  <a:pt x="1539" y="211"/>
                  <a:pt x="1539" y="211"/>
                  <a:pt x="1538" y="210"/>
                </a:cubicBezTo>
                <a:cubicBezTo>
                  <a:pt x="1538" y="210"/>
                  <a:pt x="1538" y="209"/>
                  <a:pt x="1538" y="209"/>
                </a:cubicBezTo>
                <a:cubicBezTo>
                  <a:pt x="1538" y="208"/>
                  <a:pt x="1537" y="207"/>
                  <a:pt x="1537" y="207"/>
                </a:cubicBezTo>
                <a:cubicBezTo>
                  <a:pt x="1536" y="206"/>
                  <a:pt x="1536" y="205"/>
                  <a:pt x="1537" y="205"/>
                </a:cubicBezTo>
                <a:cubicBezTo>
                  <a:pt x="1537" y="205"/>
                  <a:pt x="1539" y="205"/>
                  <a:pt x="1539" y="204"/>
                </a:cubicBezTo>
                <a:cubicBezTo>
                  <a:pt x="1539" y="204"/>
                  <a:pt x="1537" y="203"/>
                  <a:pt x="1537" y="203"/>
                </a:cubicBezTo>
                <a:cubicBezTo>
                  <a:pt x="1536" y="203"/>
                  <a:pt x="1536" y="202"/>
                  <a:pt x="1535" y="201"/>
                </a:cubicBezTo>
                <a:cubicBezTo>
                  <a:pt x="1534" y="200"/>
                  <a:pt x="1533" y="200"/>
                  <a:pt x="1533" y="200"/>
                </a:cubicBezTo>
                <a:cubicBezTo>
                  <a:pt x="1532" y="200"/>
                  <a:pt x="1531" y="200"/>
                  <a:pt x="1530" y="200"/>
                </a:cubicBezTo>
                <a:cubicBezTo>
                  <a:pt x="1528" y="200"/>
                  <a:pt x="1526" y="200"/>
                  <a:pt x="1524" y="199"/>
                </a:cubicBezTo>
                <a:cubicBezTo>
                  <a:pt x="1522" y="199"/>
                  <a:pt x="1521" y="199"/>
                  <a:pt x="1519" y="199"/>
                </a:cubicBezTo>
                <a:cubicBezTo>
                  <a:pt x="1518" y="199"/>
                  <a:pt x="1517" y="199"/>
                  <a:pt x="1516" y="199"/>
                </a:cubicBezTo>
                <a:cubicBezTo>
                  <a:pt x="1515" y="199"/>
                  <a:pt x="1514" y="200"/>
                  <a:pt x="1514" y="199"/>
                </a:cubicBezTo>
                <a:cubicBezTo>
                  <a:pt x="1513" y="199"/>
                  <a:pt x="1512" y="199"/>
                  <a:pt x="1511" y="199"/>
                </a:cubicBezTo>
                <a:cubicBezTo>
                  <a:pt x="1510" y="199"/>
                  <a:pt x="1510" y="198"/>
                  <a:pt x="1510" y="198"/>
                </a:cubicBezTo>
                <a:cubicBezTo>
                  <a:pt x="1511" y="198"/>
                  <a:pt x="1512" y="199"/>
                  <a:pt x="1513" y="199"/>
                </a:cubicBezTo>
                <a:cubicBezTo>
                  <a:pt x="1514" y="199"/>
                  <a:pt x="1515" y="199"/>
                  <a:pt x="1515" y="198"/>
                </a:cubicBezTo>
                <a:cubicBezTo>
                  <a:pt x="1516" y="198"/>
                  <a:pt x="1517" y="198"/>
                  <a:pt x="1518" y="198"/>
                </a:cubicBezTo>
                <a:cubicBezTo>
                  <a:pt x="1520" y="198"/>
                  <a:pt x="1523" y="198"/>
                  <a:pt x="1525" y="198"/>
                </a:cubicBezTo>
                <a:cubicBezTo>
                  <a:pt x="1526" y="199"/>
                  <a:pt x="1527" y="199"/>
                  <a:pt x="1528" y="199"/>
                </a:cubicBezTo>
                <a:cubicBezTo>
                  <a:pt x="1529" y="198"/>
                  <a:pt x="1530" y="198"/>
                  <a:pt x="1531" y="197"/>
                </a:cubicBezTo>
                <a:cubicBezTo>
                  <a:pt x="1531" y="197"/>
                  <a:pt x="1532" y="196"/>
                  <a:pt x="1533" y="197"/>
                </a:cubicBezTo>
                <a:cubicBezTo>
                  <a:pt x="1533" y="197"/>
                  <a:pt x="1533" y="197"/>
                  <a:pt x="1534" y="197"/>
                </a:cubicBezTo>
                <a:cubicBezTo>
                  <a:pt x="1534" y="197"/>
                  <a:pt x="1535" y="197"/>
                  <a:pt x="1535" y="197"/>
                </a:cubicBezTo>
                <a:cubicBezTo>
                  <a:pt x="1535" y="196"/>
                  <a:pt x="1535" y="195"/>
                  <a:pt x="1535" y="195"/>
                </a:cubicBezTo>
                <a:cubicBezTo>
                  <a:pt x="1534" y="194"/>
                  <a:pt x="1534" y="194"/>
                  <a:pt x="1533" y="194"/>
                </a:cubicBezTo>
                <a:cubicBezTo>
                  <a:pt x="1533" y="194"/>
                  <a:pt x="1533" y="193"/>
                  <a:pt x="1532" y="193"/>
                </a:cubicBezTo>
                <a:cubicBezTo>
                  <a:pt x="1532" y="193"/>
                  <a:pt x="1531" y="193"/>
                  <a:pt x="1530" y="193"/>
                </a:cubicBezTo>
                <a:cubicBezTo>
                  <a:pt x="1529" y="193"/>
                  <a:pt x="1528" y="193"/>
                  <a:pt x="1528" y="193"/>
                </a:cubicBezTo>
                <a:cubicBezTo>
                  <a:pt x="1527" y="193"/>
                  <a:pt x="1527" y="193"/>
                  <a:pt x="1526" y="193"/>
                </a:cubicBezTo>
                <a:cubicBezTo>
                  <a:pt x="1526" y="193"/>
                  <a:pt x="1525" y="193"/>
                  <a:pt x="1525" y="193"/>
                </a:cubicBezTo>
                <a:cubicBezTo>
                  <a:pt x="1524" y="192"/>
                  <a:pt x="1524" y="192"/>
                  <a:pt x="1523" y="192"/>
                </a:cubicBezTo>
                <a:cubicBezTo>
                  <a:pt x="1522" y="191"/>
                  <a:pt x="1521" y="191"/>
                  <a:pt x="1521" y="191"/>
                </a:cubicBezTo>
                <a:cubicBezTo>
                  <a:pt x="1520" y="191"/>
                  <a:pt x="1520" y="192"/>
                  <a:pt x="1519" y="192"/>
                </a:cubicBezTo>
                <a:cubicBezTo>
                  <a:pt x="1519" y="192"/>
                  <a:pt x="1519" y="192"/>
                  <a:pt x="1519" y="192"/>
                </a:cubicBezTo>
                <a:cubicBezTo>
                  <a:pt x="1518" y="192"/>
                  <a:pt x="1518" y="192"/>
                  <a:pt x="1518" y="192"/>
                </a:cubicBezTo>
                <a:cubicBezTo>
                  <a:pt x="1517" y="192"/>
                  <a:pt x="1517" y="192"/>
                  <a:pt x="1517" y="192"/>
                </a:cubicBezTo>
                <a:cubicBezTo>
                  <a:pt x="1516" y="192"/>
                  <a:pt x="1516" y="192"/>
                  <a:pt x="1516" y="192"/>
                </a:cubicBezTo>
                <a:cubicBezTo>
                  <a:pt x="1515" y="192"/>
                  <a:pt x="1515" y="192"/>
                  <a:pt x="1515" y="193"/>
                </a:cubicBezTo>
                <a:cubicBezTo>
                  <a:pt x="1514" y="193"/>
                  <a:pt x="1513" y="193"/>
                  <a:pt x="1513" y="192"/>
                </a:cubicBezTo>
                <a:cubicBezTo>
                  <a:pt x="1512" y="192"/>
                  <a:pt x="1514" y="191"/>
                  <a:pt x="1514" y="190"/>
                </a:cubicBezTo>
                <a:cubicBezTo>
                  <a:pt x="1514" y="189"/>
                  <a:pt x="1513" y="189"/>
                  <a:pt x="1513" y="189"/>
                </a:cubicBezTo>
                <a:cubicBezTo>
                  <a:pt x="1512" y="188"/>
                  <a:pt x="1513" y="188"/>
                  <a:pt x="1512" y="188"/>
                </a:cubicBezTo>
                <a:cubicBezTo>
                  <a:pt x="1512" y="187"/>
                  <a:pt x="1512" y="187"/>
                  <a:pt x="1512" y="187"/>
                </a:cubicBezTo>
                <a:cubicBezTo>
                  <a:pt x="1512" y="186"/>
                  <a:pt x="1512" y="187"/>
                  <a:pt x="1512" y="186"/>
                </a:cubicBezTo>
                <a:cubicBezTo>
                  <a:pt x="1512" y="185"/>
                  <a:pt x="1511" y="186"/>
                  <a:pt x="1510" y="186"/>
                </a:cubicBezTo>
                <a:cubicBezTo>
                  <a:pt x="1510" y="186"/>
                  <a:pt x="1509" y="185"/>
                  <a:pt x="1510" y="185"/>
                </a:cubicBezTo>
                <a:cubicBezTo>
                  <a:pt x="1510" y="185"/>
                  <a:pt x="1510" y="185"/>
                  <a:pt x="1511" y="185"/>
                </a:cubicBezTo>
                <a:cubicBezTo>
                  <a:pt x="1511" y="184"/>
                  <a:pt x="1510" y="184"/>
                  <a:pt x="1510" y="184"/>
                </a:cubicBezTo>
                <a:cubicBezTo>
                  <a:pt x="1509" y="184"/>
                  <a:pt x="1509" y="184"/>
                  <a:pt x="1508" y="184"/>
                </a:cubicBezTo>
                <a:cubicBezTo>
                  <a:pt x="1508" y="183"/>
                  <a:pt x="1508" y="183"/>
                  <a:pt x="1507" y="183"/>
                </a:cubicBezTo>
                <a:cubicBezTo>
                  <a:pt x="1507" y="183"/>
                  <a:pt x="1507" y="184"/>
                  <a:pt x="1506" y="184"/>
                </a:cubicBezTo>
                <a:cubicBezTo>
                  <a:pt x="1506" y="184"/>
                  <a:pt x="1505" y="184"/>
                  <a:pt x="1505" y="185"/>
                </a:cubicBezTo>
                <a:cubicBezTo>
                  <a:pt x="1505" y="185"/>
                  <a:pt x="1505" y="185"/>
                  <a:pt x="1505" y="186"/>
                </a:cubicBezTo>
                <a:cubicBezTo>
                  <a:pt x="1504" y="186"/>
                  <a:pt x="1504" y="184"/>
                  <a:pt x="1504" y="184"/>
                </a:cubicBezTo>
                <a:cubicBezTo>
                  <a:pt x="1503" y="184"/>
                  <a:pt x="1503" y="183"/>
                  <a:pt x="1503" y="183"/>
                </a:cubicBezTo>
                <a:cubicBezTo>
                  <a:pt x="1503" y="183"/>
                  <a:pt x="1502" y="183"/>
                  <a:pt x="1502" y="182"/>
                </a:cubicBezTo>
                <a:cubicBezTo>
                  <a:pt x="1501" y="182"/>
                  <a:pt x="1501" y="181"/>
                  <a:pt x="1502" y="181"/>
                </a:cubicBezTo>
                <a:cubicBezTo>
                  <a:pt x="1503" y="180"/>
                  <a:pt x="1504" y="181"/>
                  <a:pt x="1505" y="181"/>
                </a:cubicBezTo>
                <a:cubicBezTo>
                  <a:pt x="1506" y="181"/>
                  <a:pt x="1504" y="180"/>
                  <a:pt x="1504" y="179"/>
                </a:cubicBezTo>
                <a:cubicBezTo>
                  <a:pt x="1505" y="178"/>
                  <a:pt x="1506" y="178"/>
                  <a:pt x="1506" y="178"/>
                </a:cubicBezTo>
                <a:cubicBezTo>
                  <a:pt x="1507" y="178"/>
                  <a:pt x="1507" y="179"/>
                  <a:pt x="1508" y="179"/>
                </a:cubicBezTo>
                <a:cubicBezTo>
                  <a:pt x="1508" y="180"/>
                  <a:pt x="1509" y="180"/>
                  <a:pt x="1510" y="180"/>
                </a:cubicBezTo>
                <a:cubicBezTo>
                  <a:pt x="1511" y="181"/>
                  <a:pt x="1511" y="181"/>
                  <a:pt x="1511" y="182"/>
                </a:cubicBezTo>
                <a:cubicBezTo>
                  <a:pt x="1511" y="183"/>
                  <a:pt x="1512" y="183"/>
                  <a:pt x="1513" y="183"/>
                </a:cubicBezTo>
                <a:cubicBezTo>
                  <a:pt x="1515" y="183"/>
                  <a:pt x="1516" y="181"/>
                  <a:pt x="1517" y="180"/>
                </a:cubicBezTo>
                <a:cubicBezTo>
                  <a:pt x="1518" y="180"/>
                  <a:pt x="1518" y="180"/>
                  <a:pt x="1519" y="180"/>
                </a:cubicBezTo>
                <a:cubicBezTo>
                  <a:pt x="1519" y="180"/>
                  <a:pt x="1519" y="180"/>
                  <a:pt x="1520" y="180"/>
                </a:cubicBezTo>
                <a:cubicBezTo>
                  <a:pt x="1520" y="179"/>
                  <a:pt x="1521" y="180"/>
                  <a:pt x="1522" y="179"/>
                </a:cubicBezTo>
                <a:cubicBezTo>
                  <a:pt x="1523" y="178"/>
                  <a:pt x="1521" y="178"/>
                  <a:pt x="1521" y="178"/>
                </a:cubicBezTo>
                <a:cubicBezTo>
                  <a:pt x="1520" y="178"/>
                  <a:pt x="1519" y="178"/>
                  <a:pt x="1518" y="178"/>
                </a:cubicBezTo>
                <a:cubicBezTo>
                  <a:pt x="1517" y="178"/>
                  <a:pt x="1516" y="178"/>
                  <a:pt x="1515" y="178"/>
                </a:cubicBezTo>
                <a:cubicBezTo>
                  <a:pt x="1515" y="178"/>
                  <a:pt x="1514" y="178"/>
                  <a:pt x="1514" y="177"/>
                </a:cubicBezTo>
                <a:cubicBezTo>
                  <a:pt x="1514" y="177"/>
                  <a:pt x="1514" y="177"/>
                  <a:pt x="1514" y="177"/>
                </a:cubicBezTo>
                <a:cubicBezTo>
                  <a:pt x="1515" y="177"/>
                  <a:pt x="1516" y="177"/>
                  <a:pt x="1517" y="177"/>
                </a:cubicBezTo>
                <a:cubicBezTo>
                  <a:pt x="1518" y="177"/>
                  <a:pt x="1519" y="177"/>
                  <a:pt x="1520" y="177"/>
                </a:cubicBezTo>
                <a:cubicBezTo>
                  <a:pt x="1520" y="177"/>
                  <a:pt x="1520" y="177"/>
                  <a:pt x="1521" y="177"/>
                </a:cubicBezTo>
                <a:cubicBezTo>
                  <a:pt x="1521" y="177"/>
                  <a:pt x="1522" y="178"/>
                  <a:pt x="1522" y="178"/>
                </a:cubicBezTo>
                <a:cubicBezTo>
                  <a:pt x="1522" y="177"/>
                  <a:pt x="1523" y="177"/>
                  <a:pt x="1523" y="177"/>
                </a:cubicBezTo>
                <a:cubicBezTo>
                  <a:pt x="1523" y="177"/>
                  <a:pt x="1524" y="177"/>
                  <a:pt x="1524" y="177"/>
                </a:cubicBezTo>
                <a:cubicBezTo>
                  <a:pt x="1525" y="177"/>
                  <a:pt x="1524" y="176"/>
                  <a:pt x="1523" y="176"/>
                </a:cubicBezTo>
                <a:cubicBezTo>
                  <a:pt x="1523" y="176"/>
                  <a:pt x="1522" y="176"/>
                  <a:pt x="1521" y="175"/>
                </a:cubicBezTo>
                <a:cubicBezTo>
                  <a:pt x="1522" y="175"/>
                  <a:pt x="1524" y="175"/>
                  <a:pt x="1524" y="175"/>
                </a:cubicBezTo>
                <a:cubicBezTo>
                  <a:pt x="1525" y="175"/>
                  <a:pt x="1526" y="175"/>
                  <a:pt x="1526" y="175"/>
                </a:cubicBezTo>
                <a:cubicBezTo>
                  <a:pt x="1527" y="175"/>
                  <a:pt x="1527" y="175"/>
                  <a:pt x="1528" y="176"/>
                </a:cubicBezTo>
                <a:cubicBezTo>
                  <a:pt x="1528" y="176"/>
                  <a:pt x="1529" y="175"/>
                  <a:pt x="1530" y="175"/>
                </a:cubicBezTo>
                <a:cubicBezTo>
                  <a:pt x="1531" y="175"/>
                  <a:pt x="1532" y="176"/>
                  <a:pt x="1533" y="176"/>
                </a:cubicBezTo>
                <a:cubicBezTo>
                  <a:pt x="1534" y="176"/>
                  <a:pt x="1535" y="176"/>
                  <a:pt x="1535" y="176"/>
                </a:cubicBezTo>
                <a:cubicBezTo>
                  <a:pt x="1536" y="176"/>
                  <a:pt x="1537" y="177"/>
                  <a:pt x="1537" y="177"/>
                </a:cubicBezTo>
                <a:cubicBezTo>
                  <a:pt x="1538" y="177"/>
                  <a:pt x="1539" y="178"/>
                  <a:pt x="1540" y="178"/>
                </a:cubicBezTo>
                <a:cubicBezTo>
                  <a:pt x="1541" y="178"/>
                  <a:pt x="1541" y="178"/>
                  <a:pt x="1542" y="178"/>
                </a:cubicBezTo>
                <a:cubicBezTo>
                  <a:pt x="1543" y="178"/>
                  <a:pt x="1544" y="178"/>
                  <a:pt x="1545" y="178"/>
                </a:cubicBezTo>
                <a:cubicBezTo>
                  <a:pt x="1545" y="179"/>
                  <a:pt x="1545" y="179"/>
                  <a:pt x="1546" y="179"/>
                </a:cubicBezTo>
                <a:cubicBezTo>
                  <a:pt x="1547" y="179"/>
                  <a:pt x="1548" y="179"/>
                  <a:pt x="1549" y="180"/>
                </a:cubicBezTo>
                <a:cubicBezTo>
                  <a:pt x="1549" y="180"/>
                  <a:pt x="1549" y="182"/>
                  <a:pt x="1550" y="181"/>
                </a:cubicBezTo>
                <a:cubicBezTo>
                  <a:pt x="1550" y="181"/>
                  <a:pt x="1550" y="180"/>
                  <a:pt x="1549" y="180"/>
                </a:cubicBezTo>
                <a:cubicBezTo>
                  <a:pt x="1549" y="180"/>
                  <a:pt x="1549" y="180"/>
                  <a:pt x="1549" y="179"/>
                </a:cubicBezTo>
                <a:cubicBezTo>
                  <a:pt x="1549" y="179"/>
                  <a:pt x="1550" y="179"/>
                  <a:pt x="1551" y="179"/>
                </a:cubicBezTo>
                <a:cubicBezTo>
                  <a:pt x="1551" y="179"/>
                  <a:pt x="1551" y="178"/>
                  <a:pt x="1551" y="178"/>
                </a:cubicBezTo>
                <a:cubicBezTo>
                  <a:pt x="1551" y="178"/>
                  <a:pt x="1551" y="178"/>
                  <a:pt x="1552" y="178"/>
                </a:cubicBezTo>
                <a:cubicBezTo>
                  <a:pt x="1553" y="177"/>
                  <a:pt x="1553" y="177"/>
                  <a:pt x="1553" y="176"/>
                </a:cubicBezTo>
                <a:cubicBezTo>
                  <a:pt x="1552" y="175"/>
                  <a:pt x="1553" y="174"/>
                  <a:pt x="1553" y="173"/>
                </a:cubicBezTo>
                <a:cubicBezTo>
                  <a:pt x="1553" y="172"/>
                  <a:pt x="1553" y="172"/>
                  <a:pt x="1553" y="171"/>
                </a:cubicBezTo>
                <a:cubicBezTo>
                  <a:pt x="1553" y="171"/>
                  <a:pt x="1552" y="171"/>
                  <a:pt x="1552" y="170"/>
                </a:cubicBezTo>
                <a:cubicBezTo>
                  <a:pt x="1552" y="170"/>
                  <a:pt x="1552" y="169"/>
                  <a:pt x="1552" y="169"/>
                </a:cubicBezTo>
                <a:cubicBezTo>
                  <a:pt x="1552" y="168"/>
                  <a:pt x="1552" y="168"/>
                  <a:pt x="1551" y="168"/>
                </a:cubicBezTo>
                <a:cubicBezTo>
                  <a:pt x="1550" y="168"/>
                  <a:pt x="1549" y="168"/>
                  <a:pt x="1548" y="168"/>
                </a:cubicBezTo>
                <a:cubicBezTo>
                  <a:pt x="1547" y="168"/>
                  <a:pt x="1546" y="167"/>
                  <a:pt x="1545" y="168"/>
                </a:cubicBezTo>
                <a:cubicBezTo>
                  <a:pt x="1544" y="168"/>
                  <a:pt x="1543" y="168"/>
                  <a:pt x="1542" y="169"/>
                </a:cubicBezTo>
                <a:cubicBezTo>
                  <a:pt x="1542" y="169"/>
                  <a:pt x="1541" y="169"/>
                  <a:pt x="1540" y="169"/>
                </a:cubicBezTo>
                <a:cubicBezTo>
                  <a:pt x="1539" y="168"/>
                  <a:pt x="1538" y="168"/>
                  <a:pt x="1537" y="168"/>
                </a:cubicBezTo>
                <a:cubicBezTo>
                  <a:pt x="1536" y="167"/>
                  <a:pt x="1535" y="166"/>
                  <a:pt x="1535" y="166"/>
                </a:cubicBezTo>
                <a:cubicBezTo>
                  <a:pt x="1533" y="164"/>
                  <a:pt x="1531" y="164"/>
                  <a:pt x="1530" y="163"/>
                </a:cubicBezTo>
                <a:cubicBezTo>
                  <a:pt x="1529" y="162"/>
                  <a:pt x="1529" y="161"/>
                  <a:pt x="1528" y="161"/>
                </a:cubicBezTo>
                <a:cubicBezTo>
                  <a:pt x="1528" y="161"/>
                  <a:pt x="1527" y="162"/>
                  <a:pt x="1527" y="161"/>
                </a:cubicBezTo>
                <a:cubicBezTo>
                  <a:pt x="1527" y="161"/>
                  <a:pt x="1527" y="161"/>
                  <a:pt x="1528" y="161"/>
                </a:cubicBezTo>
                <a:cubicBezTo>
                  <a:pt x="1528" y="161"/>
                  <a:pt x="1529" y="161"/>
                  <a:pt x="1528" y="160"/>
                </a:cubicBezTo>
                <a:cubicBezTo>
                  <a:pt x="1528" y="160"/>
                  <a:pt x="1528" y="160"/>
                  <a:pt x="1527" y="160"/>
                </a:cubicBezTo>
                <a:cubicBezTo>
                  <a:pt x="1526" y="160"/>
                  <a:pt x="1526" y="159"/>
                  <a:pt x="1525" y="159"/>
                </a:cubicBezTo>
                <a:cubicBezTo>
                  <a:pt x="1524" y="159"/>
                  <a:pt x="1523" y="157"/>
                  <a:pt x="1524" y="157"/>
                </a:cubicBezTo>
                <a:cubicBezTo>
                  <a:pt x="1525" y="157"/>
                  <a:pt x="1526" y="157"/>
                  <a:pt x="1527" y="158"/>
                </a:cubicBezTo>
                <a:cubicBezTo>
                  <a:pt x="1529" y="158"/>
                  <a:pt x="1530" y="156"/>
                  <a:pt x="1532" y="157"/>
                </a:cubicBezTo>
                <a:cubicBezTo>
                  <a:pt x="1533" y="158"/>
                  <a:pt x="1533" y="158"/>
                  <a:pt x="1534" y="159"/>
                </a:cubicBezTo>
                <a:cubicBezTo>
                  <a:pt x="1535" y="159"/>
                  <a:pt x="1536" y="159"/>
                  <a:pt x="1537" y="159"/>
                </a:cubicBezTo>
                <a:cubicBezTo>
                  <a:pt x="1538" y="160"/>
                  <a:pt x="1538" y="160"/>
                  <a:pt x="1539" y="161"/>
                </a:cubicBezTo>
                <a:cubicBezTo>
                  <a:pt x="1540" y="161"/>
                  <a:pt x="1540" y="160"/>
                  <a:pt x="1541" y="160"/>
                </a:cubicBezTo>
                <a:cubicBezTo>
                  <a:pt x="1542" y="160"/>
                  <a:pt x="1543" y="161"/>
                  <a:pt x="1543" y="159"/>
                </a:cubicBezTo>
                <a:cubicBezTo>
                  <a:pt x="1543" y="159"/>
                  <a:pt x="1543" y="158"/>
                  <a:pt x="1542" y="157"/>
                </a:cubicBezTo>
                <a:cubicBezTo>
                  <a:pt x="1541" y="157"/>
                  <a:pt x="1541" y="156"/>
                  <a:pt x="1540" y="156"/>
                </a:cubicBezTo>
                <a:cubicBezTo>
                  <a:pt x="1540" y="155"/>
                  <a:pt x="1539" y="155"/>
                  <a:pt x="1538" y="155"/>
                </a:cubicBezTo>
                <a:cubicBezTo>
                  <a:pt x="1537" y="155"/>
                  <a:pt x="1536" y="154"/>
                  <a:pt x="1535" y="154"/>
                </a:cubicBezTo>
                <a:cubicBezTo>
                  <a:pt x="1534" y="154"/>
                  <a:pt x="1534" y="154"/>
                  <a:pt x="1533" y="153"/>
                </a:cubicBezTo>
                <a:cubicBezTo>
                  <a:pt x="1532" y="153"/>
                  <a:pt x="1531" y="153"/>
                  <a:pt x="1530" y="152"/>
                </a:cubicBezTo>
                <a:cubicBezTo>
                  <a:pt x="1529" y="152"/>
                  <a:pt x="1529" y="152"/>
                  <a:pt x="1528" y="152"/>
                </a:cubicBezTo>
                <a:cubicBezTo>
                  <a:pt x="1528" y="151"/>
                  <a:pt x="1527" y="151"/>
                  <a:pt x="1527" y="151"/>
                </a:cubicBezTo>
                <a:cubicBezTo>
                  <a:pt x="1526" y="151"/>
                  <a:pt x="1526" y="152"/>
                  <a:pt x="1526" y="152"/>
                </a:cubicBezTo>
                <a:cubicBezTo>
                  <a:pt x="1527" y="152"/>
                  <a:pt x="1527" y="152"/>
                  <a:pt x="1527" y="152"/>
                </a:cubicBezTo>
                <a:cubicBezTo>
                  <a:pt x="1528" y="152"/>
                  <a:pt x="1528" y="152"/>
                  <a:pt x="1529" y="153"/>
                </a:cubicBezTo>
                <a:cubicBezTo>
                  <a:pt x="1529" y="153"/>
                  <a:pt x="1530" y="153"/>
                  <a:pt x="1531" y="154"/>
                </a:cubicBezTo>
                <a:cubicBezTo>
                  <a:pt x="1531" y="154"/>
                  <a:pt x="1533" y="154"/>
                  <a:pt x="1533" y="154"/>
                </a:cubicBezTo>
                <a:cubicBezTo>
                  <a:pt x="1532" y="154"/>
                  <a:pt x="1531" y="154"/>
                  <a:pt x="1530" y="154"/>
                </a:cubicBezTo>
                <a:cubicBezTo>
                  <a:pt x="1530" y="154"/>
                  <a:pt x="1529" y="153"/>
                  <a:pt x="1528" y="153"/>
                </a:cubicBezTo>
                <a:cubicBezTo>
                  <a:pt x="1528" y="153"/>
                  <a:pt x="1527" y="153"/>
                  <a:pt x="1526" y="152"/>
                </a:cubicBezTo>
                <a:cubicBezTo>
                  <a:pt x="1526" y="152"/>
                  <a:pt x="1525" y="152"/>
                  <a:pt x="1525" y="152"/>
                </a:cubicBezTo>
                <a:cubicBezTo>
                  <a:pt x="1525" y="151"/>
                  <a:pt x="1525" y="151"/>
                  <a:pt x="1524" y="150"/>
                </a:cubicBezTo>
                <a:cubicBezTo>
                  <a:pt x="1524" y="150"/>
                  <a:pt x="1523" y="150"/>
                  <a:pt x="1522" y="150"/>
                </a:cubicBezTo>
                <a:cubicBezTo>
                  <a:pt x="1522" y="150"/>
                  <a:pt x="1521" y="151"/>
                  <a:pt x="1521" y="151"/>
                </a:cubicBezTo>
                <a:cubicBezTo>
                  <a:pt x="1520" y="152"/>
                  <a:pt x="1519" y="152"/>
                  <a:pt x="1519" y="153"/>
                </a:cubicBezTo>
                <a:cubicBezTo>
                  <a:pt x="1518" y="154"/>
                  <a:pt x="1518" y="155"/>
                  <a:pt x="1517" y="156"/>
                </a:cubicBezTo>
                <a:cubicBezTo>
                  <a:pt x="1516" y="156"/>
                  <a:pt x="1516" y="157"/>
                  <a:pt x="1516" y="158"/>
                </a:cubicBezTo>
                <a:cubicBezTo>
                  <a:pt x="1516" y="158"/>
                  <a:pt x="1516" y="158"/>
                  <a:pt x="1516" y="158"/>
                </a:cubicBezTo>
                <a:cubicBezTo>
                  <a:pt x="1517" y="159"/>
                  <a:pt x="1517" y="159"/>
                  <a:pt x="1517" y="159"/>
                </a:cubicBezTo>
                <a:cubicBezTo>
                  <a:pt x="1517" y="159"/>
                  <a:pt x="1516" y="159"/>
                  <a:pt x="1516" y="160"/>
                </a:cubicBezTo>
                <a:cubicBezTo>
                  <a:pt x="1516" y="160"/>
                  <a:pt x="1515" y="160"/>
                  <a:pt x="1515" y="160"/>
                </a:cubicBezTo>
                <a:cubicBezTo>
                  <a:pt x="1515" y="161"/>
                  <a:pt x="1514" y="161"/>
                  <a:pt x="1514" y="160"/>
                </a:cubicBezTo>
                <a:cubicBezTo>
                  <a:pt x="1515" y="160"/>
                  <a:pt x="1515" y="160"/>
                  <a:pt x="1515" y="159"/>
                </a:cubicBezTo>
                <a:cubicBezTo>
                  <a:pt x="1516" y="159"/>
                  <a:pt x="1515" y="159"/>
                  <a:pt x="1515" y="159"/>
                </a:cubicBezTo>
                <a:cubicBezTo>
                  <a:pt x="1515" y="158"/>
                  <a:pt x="1514" y="158"/>
                  <a:pt x="1514" y="158"/>
                </a:cubicBezTo>
                <a:cubicBezTo>
                  <a:pt x="1513" y="158"/>
                  <a:pt x="1512" y="158"/>
                  <a:pt x="1511" y="158"/>
                </a:cubicBezTo>
                <a:cubicBezTo>
                  <a:pt x="1511" y="158"/>
                  <a:pt x="1509" y="158"/>
                  <a:pt x="1510" y="157"/>
                </a:cubicBezTo>
                <a:cubicBezTo>
                  <a:pt x="1510" y="156"/>
                  <a:pt x="1511" y="156"/>
                  <a:pt x="1511" y="155"/>
                </a:cubicBezTo>
                <a:cubicBezTo>
                  <a:pt x="1512" y="154"/>
                  <a:pt x="1512" y="154"/>
                  <a:pt x="1512" y="153"/>
                </a:cubicBezTo>
                <a:cubicBezTo>
                  <a:pt x="1513" y="153"/>
                  <a:pt x="1515" y="151"/>
                  <a:pt x="1513" y="151"/>
                </a:cubicBezTo>
                <a:cubicBezTo>
                  <a:pt x="1513" y="151"/>
                  <a:pt x="1511" y="153"/>
                  <a:pt x="1512" y="152"/>
                </a:cubicBezTo>
                <a:cubicBezTo>
                  <a:pt x="1512" y="151"/>
                  <a:pt x="1513" y="150"/>
                  <a:pt x="1513" y="150"/>
                </a:cubicBezTo>
                <a:cubicBezTo>
                  <a:pt x="1514" y="150"/>
                  <a:pt x="1516" y="148"/>
                  <a:pt x="1515" y="148"/>
                </a:cubicBezTo>
                <a:cubicBezTo>
                  <a:pt x="1514" y="147"/>
                  <a:pt x="1514" y="147"/>
                  <a:pt x="1514" y="147"/>
                </a:cubicBezTo>
                <a:cubicBezTo>
                  <a:pt x="1515" y="147"/>
                  <a:pt x="1515" y="147"/>
                  <a:pt x="1516" y="147"/>
                </a:cubicBezTo>
                <a:cubicBezTo>
                  <a:pt x="1516" y="147"/>
                  <a:pt x="1516" y="146"/>
                  <a:pt x="1517" y="146"/>
                </a:cubicBezTo>
                <a:cubicBezTo>
                  <a:pt x="1517" y="146"/>
                  <a:pt x="1517" y="145"/>
                  <a:pt x="1517" y="145"/>
                </a:cubicBezTo>
                <a:cubicBezTo>
                  <a:pt x="1517" y="144"/>
                  <a:pt x="1517" y="144"/>
                  <a:pt x="1516" y="144"/>
                </a:cubicBezTo>
                <a:cubicBezTo>
                  <a:pt x="1516" y="143"/>
                  <a:pt x="1516" y="142"/>
                  <a:pt x="1517" y="142"/>
                </a:cubicBezTo>
                <a:cubicBezTo>
                  <a:pt x="1517" y="141"/>
                  <a:pt x="1518" y="140"/>
                  <a:pt x="1518" y="140"/>
                </a:cubicBezTo>
                <a:cubicBezTo>
                  <a:pt x="1518" y="139"/>
                  <a:pt x="1519" y="138"/>
                  <a:pt x="1519" y="137"/>
                </a:cubicBezTo>
                <a:cubicBezTo>
                  <a:pt x="1519" y="137"/>
                  <a:pt x="1520" y="136"/>
                  <a:pt x="1521" y="136"/>
                </a:cubicBezTo>
                <a:cubicBezTo>
                  <a:pt x="1521" y="135"/>
                  <a:pt x="1521" y="135"/>
                  <a:pt x="1521" y="135"/>
                </a:cubicBezTo>
                <a:cubicBezTo>
                  <a:pt x="1520" y="134"/>
                  <a:pt x="1519" y="134"/>
                  <a:pt x="1518" y="134"/>
                </a:cubicBezTo>
                <a:cubicBezTo>
                  <a:pt x="1518" y="134"/>
                  <a:pt x="1516" y="134"/>
                  <a:pt x="1517" y="134"/>
                </a:cubicBezTo>
                <a:cubicBezTo>
                  <a:pt x="1518" y="133"/>
                  <a:pt x="1519" y="133"/>
                  <a:pt x="1520" y="133"/>
                </a:cubicBezTo>
                <a:cubicBezTo>
                  <a:pt x="1520" y="134"/>
                  <a:pt x="1521" y="134"/>
                  <a:pt x="1521" y="133"/>
                </a:cubicBezTo>
                <a:cubicBezTo>
                  <a:pt x="1521" y="132"/>
                  <a:pt x="1520" y="133"/>
                  <a:pt x="1520" y="133"/>
                </a:cubicBezTo>
                <a:cubicBezTo>
                  <a:pt x="1519" y="133"/>
                  <a:pt x="1518" y="133"/>
                  <a:pt x="1519" y="132"/>
                </a:cubicBezTo>
                <a:cubicBezTo>
                  <a:pt x="1520" y="131"/>
                  <a:pt x="1519" y="130"/>
                  <a:pt x="1520" y="130"/>
                </a:cubicBezTo>
                <a:cubicBezTo>
                  <a:pt x="1521" y="129"/>
                  <a:pt x="1522" y="130"/>
                  <a:pt x="1523" y="130"/>
                </a:cubicBezTo>
                <a:cubicBezTo>
                  <a:pt x="1523" y="129"/>
                  <a:pt x="1524" y="128"/>
                  <a:pt x="1525" y="128"/>
                </a:cubicBezTo>
                <a:cubicBezTo>
                  <a:pt x="1525" y="128"/>
                  <a:pt x="1526" y="129"/>
                  <a:pt x="1527" y="129"/>
                </a:cubicBezTo>
                <a:cubicBezTo>
                  <a:pt x="1528" y="129"/>
                  <a:pt x="1529" y="129"/>
                  <a:pt x="1530" y="129"/>
                </a:cubicBezTo>
                <a:cubicBezTo>
                  <a:pt x="1530" y="129"/>
                  <a:pt x="1531" y="129"/>
                  <a:pt x="1531" y="128"/>
                </a:cubicBezTo>
                <a:cubicBezTo>
                  <a:pt x="1532" y="128"/>
                  <a:pt x="1532" y="127"/>
                  <a:pt x="1532" y="127"/>
                </a:cubicBezTo>
                <a:cubicBezTo>
                  <a:pt x="1532" y="126"/>
                  <a:pt x="1532" y="125"/>
                  <a:pt x="1532" y="125"/>
                </a:cubicBezTo>
                <a:cubicBezTo>
                  <a:pt x="1532" y="124"/>
                  <a:pt x="1532" y="123"/>
                  <a:pt x="1532" y="123"/>
                </a:cubicBezTo>
                <a:cubicBezTo>
                  <a:pt x="1533" y="122"/>
                  <a:pt x="1534" y="122"/>
                  <a:pt x="1535" y="122"/>
                </a:cubicBezTo>
                <a:cubicBezTo>
                  <a:pt x="1536" y="122"/>
                  <a:pt x="1537" y="123"/>
                  <a:pt x="1537" y="122"/>
                </a:cubicBezTo>
                <a:cubicBezTo>
                  <a:pt x="1538" y="122"/>
                  <a:pt x="1538" y="121"/>
                  <a:pt x="1538" y="120"/>
                </a:cubicBezTo>
                <a:cubicBezTo>
                  <a:pt x="1538" y="120"/>
                  <a:pt x="1538" y="120"/>
                  <a:pt x="1539" y="120"/>
                </a:cubicBezTo>
                <a:cubicBezTo>
                  <a:pt x="1539" y="120"/>
                  <a:pt x="1539" y="119"/>
                  <a:pt x="1539" y="119"/>
                </a:cubicBezTo>
                <a:cubicBezTo>
                  <a:pt x="1539" y="118"/>
                  <a:pt x="1541" y="118"/>
                  <a:pt x="1541" y="119"/>
                </a:cubicBezTo>
                <a:cubicBezTo>
                  <a:pt x="1542" y="120"/>
                  <a:pt x="1540" y="120"/>
                  <a:pt x="1540" y="121"/>
                </a:cubicBezTo>
                <a:cubicBezTo>
                  <a:pt x="1540" y="122"/>
                  <a:pt x="1542" y="121"/>
                  <a:pt x="1542" y="121"/>
                </a:cubicBezTo>
                <a:cubicBezTo>
                  <a:pt x="1544" y="119"/>
                  <a:pt x="1542" y="117"/>
                  <a:pt x="1541" y="117"/>
                </a:cubicBezTo>
                <a:cubicBezTo>
                  <a:pt x="1540" y="118"/>
                  <a:pt x="1540" y="118"/>
                  <a:pt x="1539" y="118"/>
                </a:cubicBezTo>
                <a:cubicBezTo>
                  <a:pt x="1539" y="118"/>
                  <a:pt x="1539" y="117"/>
                  <a:pt x="1539" y="117"/>
                </a:cubicBezTo>
                <a:cubicBezTo>
                  <a:pt x="1538" y="116"/>
                  <a:pt x="1537" y="117"/>
                  <a:pt x="1536" y="117"/>
                </a:cubicBezTo>
                <a:cubicBezTo>
                  <a:pt x="1536" y="118"/>
                  <a:pt x="1536" y="119"/>
                  <a:pt x="1535" y="120"/>
                </a:cubicBezTo>
                <a:cubicBezTo>
                  <a:pt x="1535" y="120"/>
                  <a:pt x="1534" y="120"/>
                  <a:pt x="1534" y="120"/>
                </a:cubicBezTo>
                <a:cubicBezTo>
                  <a:pt x="1534" y="119"/>
                  <a:pt x="1535" y="119"/>
                  <a:pt x="1535" y="119"/>
                </a:cubicBezTo>
                <a:cubicBezTo>
                  <a:pt x="1536" y="118"/>
                  <a:pt x="1536" y="117"/>
                  <a:pt x="1536" y="116"/>
                </a:cubicBezTo>
                <a:cubicBezTo>
                  <a:pt x="1536" y="116"/>
                  <a:pt x="1536" y="115"/>
                  <a:pt x="1536" y="114"/>
                </a:cubicBezTo>
                <a:cubicBezTo>
                  <a:pt x="1536" y="114"/>
                  <a:pt x="1536" y="113"/>
                  <a:pt x="1536" y="113"/>
                </a:cubicBezTo>
                <a:cubicBezTo>
                  <a:pt x="1536" y="112"/>
                  <a:pt x="1536" y="111"/>
                  <a:pt x="1537" y="111"/>
                </a:cubicBezTo>
                <a:cubicBezTo>
                  <a:pt x="1537" y="110"/>
                  <a:pt x="1537" y="110"/>
                  <a:pt x="1537" y="109"/>
                </a:cubicBezTo>
                <a:cubicBezTo>
                  <a:pt x="1537" y="108"/>
                  <a:pt x="1538" y="108"/>
                  <a:pt x="1539" y="107"/>
                </a:cubicBezTo>
                <a:cubicBezTo>
                  <a:pt x="1539" y="106"/>
                  <a:pt x="1540" y="106"/>
                  <a:pt x="1541" y="106"/>
                </a:cubicBezTo>
                <a:cubicBezTo>
                  <a:pt x="1541" y="105"/>
                  <a:pt x="1542" y="105"/>
                  <a:pt x="1543" y="105"/>
                </a:cubicBezTo>
                <a:cubicBezTo>
                  <a:pt x="1544" y="105"/>
                  <a:pt x="1545" y="105"/>
                  <a:pt x="1546" y="106"/>
                </a:cubicBezTo>
                <a:cubicBezTo>
                  <a:pt x="1547" y="106"/>
                  <a:pt x="1547" y="106"/>
                  <a:pt x="1548" y="106"/>
                </a:cubicBezTo>
                <a:cubicBezTo>
                  <a:pt x="1550" y="107"/>
                  <a:pt x="1552" y="107"/>
                  <a:pt x="1553" y="106"/>
                </a:cubicBezTo>
                <a:cubicBezTo>
                  <a:pt x="1555" y="105"/>
                  <a:pt x="1557" y="103"/>
                  <a:pt x="1558" y="102"/>
                </a:cubicBezTo>
                <a:cubicBezTo>
                  <a:pt x="1559" y="101"/>
                  <a:pt x="1559" y="100"/>
                  <a:pt x="1560" y="100"/>
                </a:cubicBezTo>
                <a:cubicBezTo>
                  <a:pt x="1560" y="100"/>
                  <a:pt x="1562" y="99"/>
                  <a:pt x="1561" y="99"/>
                </a:cubicBezTo>
                <a:cubicBezTo>
                  <a:pt x="1560" y="98"/>
                  <a:pt x="1559" y="99"/>
                  <a:pt x="1558" y="99"/>
                </a:cubicBezTo>
                <a:cubicBezTo>
                  <a:pt x="1557" y="99"/>
                  <a:pt x="1556" y="99"/>
                  <a:pt x="1555" y="99"/>
                </a:cubicBezTo>
                <a:cubicBezTo>
                  <a:pt x="1554" y="99"/>
                  <a:pt x="1552" y="99"/>
                  <a:pt x="1551" y="99"/>
                </a:cubicBezTo>
                <a:cubicBezTo>
                  <a:pt x="1550" y="99"/>
                  <a:pt x="1550" y="100"/>
                  <a:pt x="1549" y="100"/>
                </a:cubicBezTo>
                <a:cubicBezTo>
                  <a:pt x="1548" y="100"/>
                  <a:pt x="1548" y="100"/>
                  <a:pt x="1547" y="100"/>
                </a:cubicBezTo>
                <a:cubicBezTo>
                  <a:pt x="1547" y="100"/>
                  <a:pt x="1547" y="100"/>
                  <a:pt x="1546" y="100"/>
                </a:cubicBezTo>
                <a:cubicBezTo>
                  <a:pt x="1545" y="100"/>
                  <a:pt x="1544" y="100"/>
                  <a:pt x="1543" y="100"/>
                </a:cubicBezTo>
                <a:cubicBezTo>
                  <a:pt x="1542" y="100"/>
                  <a:pt x="1540" y="101"/>
                  <a:pt x="1539" y="101"/>
                </a:cubicBezTo>
                <a:cubicBezTo>
                  <a:pt x="1538" y="101"/>
                  <a:pt x="1537" y="101"/>
                  <a:pt x="1536" y="101"/>
                </a:cubicBezTo>
                <a:cubicBezTo>
                  <a:pt x="1535" y="101"/>
                  <a:pt x="1534" y="101"/>
                  <a:pt x="1533" y="101"/>
                </a:cubicBezTo>
                <a:cubicBezTo>
                  <a:pt x="1533" y="101"/>
                  <a:pt x="1532" y="102"/>
                  <a:pt x="1531" y="102"/>
                </a:cubicBezTo>
                <a:cubicBezTo>
                  <a:pt x="1531" y="102"/>
                  <a:pt x="1530" y="102"/>
                  <a:pt x="1529" y="102"/>
                </a:cubicBezTo>
                <a:cubicBezTo>
                  <a:pt x="1529" y="103"/>
                  <a:pt x="1529" y="104"/>
                  <a:pt x="1529" y="104"/>
                </a:cubicBezTo>
                <a:cubicBezTo>
                  <a:pt x="1530" y="105"/>
                  <a:pt x="1530" y="104"/>
                  <a:pt x="1531" y="104"/>
                </a:cubicBezTo>
                <a:cubicBezTo>
                  <a:pt x="1531" y="105"/>
                  <a:pt x="1530" y="105"/>
                  <a:pt x="1530" y="105"/>
                </a:cubicBezTo>
                <a:cubicBezTo>
                  <a:pt x="1529" y="105"/>
                  <a:pt x="1529" y="106"/>
                  <a:pt x="1529" y="106"/>
                </a:cubicBezTo>
                <a:cubicBezTo>
                  <a:pt x="1527" y="106"/>
                  <a:pt x="1527" y="104"/>
                  <a:pt x="1526" y="104"/>
                </a:cubicBezTo>
                <a:cubicBezTo>
                  <a:pt x="1526" y="103"/>
                  <a:pt x="1525" y="103"/>
                  <a:pt x="1525" y="103"/>
                </a:cubicBezTo>
                <a:cubicBezTo>
                  <a:pt x="1525" y="103"/>
                  <a:pt x="1524" y="104"/>
                  <a:pt x="1524" y="103"/>
                </a:cubicBezTo>
                <a:cubicBezTo>
                  <a:pt x="1524" y="103"/>
                  <a:pt x="1525" y="102"/>
                  <a:pt x="1525" y="101"/>
                </a:cubicBezTo>
                <a:cubicBezTo>
                  <a:pt x="1526" y="101"/>
                  <a:pt x="1527" y="100"/>
                  <a:pt x="1527" y="99"/>
                </a:cubicBezTo>
                <a:cubicBezTo>
                  <a:pt x="1527" y="99"/>
                  <a:pt x="1527" y="98"/>
                  <a:pt x="1527" y="98"/>
                </a:cubicBezTo>
                <a:cubicBezTo>
                  <a:pt x="1527" y="97"/>
                  <a:pt x="1526" y="97"/>
                  <a:pt x="1527" y="97"/>
                </a:cubicBezTo>
                <a:cubicBezTo>
                  <a:pt x="1527" y="96"/>
                  <a:pt x="1528" y="96"/>
                  <a:pt x="1528" y="96"/>
                </a:cubicBezTo>
                <a:cubicBezTo>
                  <a:pt x="1529" y="95"/>
                  <a:pt x="1529" y="95"/>
                  <a:pt x="1530" y="94"/>
                </a:cubicBezTo>
                <a:cubicBezTo>
                  <a:pt x="1531" y="94"/>
                  <a:pt x="1532" y="94"/>
                  <a:pt x="1533" y="93"/>
                </a:cubicBezTo>
                <a:cubicBezTo>
                  <a:pt x="1533" y="93"/>
                  <a:pt x="1534" y="93"/>
                  <a:pt x="1535" y="93"/>
                </a:cubicBezTo>
                <a:cubicBezTo>
                  <a:pt x="1536" y="92"/>
                  <a:pt x="1537" y="92"/>
                  <a:pt x="1538" y="92"/>
                </a:cubicBezTo>
                <a:cubicBezTo>
                  <a:pt x="1539" y="92"/>
                  <a:pt x="1540" y="93"/>
                  <a:pt x="1541" y="93"/>
                </a:cubicBezTo>
                <a:cubicBezTo>
                  <a:pt x="1542" y="93"/>
                  <a:pt x="1543" y="94"/>
                  <a:pt x="1544" y="94"/>
                </a:cubicBezTo>
                <a:cubicBezTo>
                  <a:pt x="1546" y="94"/>
                  <a:pt x="1549" y="94"/>
                  <a:pt x="1551" y="94"/>
                </a:cubicBezTo>
                <a:cubicBezTo>
                  <a:pt x="1555" y="94"/>
                  <a:pt x="1558" y="93"/>
                  <a:pt x="1561" y="93"/>
                </a:cubicBezTo>
                <a:cubicBezTo>
                  <a:pt x="1563" y="93"/>
                  <a:pt x="1566" y="94"/>
                  <a:pt x="1568" y="93"/>
                </a:cubicBezTo>
                <a:cubicBezTo>
                  <a:pt x="1569" y="93"/>
                  <a:pt x="1570" y="93"/>
                  <a:pt x="1571" y="92"/>
                </a:cubicBezTo>
                <a:cubicBezTo>
                  <a:pt x="1572" y="91"/>
                  <a:pt x="1572" y="91"/>
                  <a:pt x="1573" y="90"/>
                </a:cubicBezTo>
                <a:cubicBezTo>
                  <a:pt x="1574" y="89"/>
                  <a:pt x="1575" y="88"/>
                  <a:pt x="1576" y="88"/>
                </a:cubicBezTo>
                <a:cubicBezTo>
                  <a:pt x="1576" y="87"/>
                  <a:pt x="1577" y="87"/>
                  <a:pt x="1577" y="86"/>
                </a:cubicBezTo>
                <a:cubicBezTo>
                  <a:pt x="1577" y="86"/>
                  <a:pt x="1576" y="86"/>
                  <a:pt x="1576" y="86"/>
                </a:cubicBezTo>
                <a:cubicBezTo>
                  <a:pt x="1575" y="86"/>
                  <a:pt x="1574" y="85"/>
                  <a:pt x="1573" y="85"/>
                </a:cubicBezTo>
                <a:cubicBezTo>
                  <a:pt x="1572" y="85"/>
                  <a:pt x="1571" y="85"/>
                  <a:pt x="1570" y="85"/>
                </a:cubicBezTo>
                <a:cubicBezTo>
                  <a:pt x="1569" y="85"/>
                  <a:pt x="1568" y="85"/>
                  <a:pt x="1567" y="85"/>
                </a:cubicBezTo>
                <a:cubicBezTo>
                  <a:pt x="1566" y="85"/>
                  <a:pt x="1565" y="84"/>
                  <a:pt x="1564" y="84"/>
                </a:cubicBezTo>
                <a:cubicBezTo>
                  <a:pt x="1564" y="83"/>
                  <a:pt x="1563" y="83"/>
                  <a:pt x="1562" y="83"/>
                </a:cubicBezTo>
                <a:cubicBezTo>
                  <a:pt x="1560" y="83"/>
                  <a:pt x="1558" y="84"/>
                  <a:pt x="1556" y="85"/>
                </a:cubicBezTo>
                <a:cubicBezTo>
                  <a:pt x="1555" y="85"/>
                  <a:pt x="1554" y="85"/>
                  <a:pt x="1553" y="85"/>
                </a:cubicBezTo>
                <a:cubicBezTo>
                  <a:pt x="1552" y="85"/>
                  <a:pt x="1551" y="85"/>
                  <a:pt x="1550" y="85"/>
                </a:cubicBezTo>
                <a:cubicBezTo>
                  <a:pt x="1549" y="85"/>
                  <a:pt x="1548" y="85"/>
                  <a:pt x="1547" y="85"/>
                </a:cubicBezTo>
                <a:cubicBezTo>
                  <a:pt x="1547" y="85"/>
                  <a:pt x="1546" y="84"/>
                  <a:pt x="1545" y="84"/>
                </a:cubicBezTo>
                <a:cubicBezTo>
                  <a:pt x="1544" y="84"/>
                  <a:pt x="1543" y="84"/>
                  <a:pt x="1542" y="84"/>
                </a:cubicBezTo>
                <a:cubicBezTo>
                  <a:pt x="1541" y="84"/>
                  <a:pt x="1540" y="84"/>
                  <a:pt x="1539" y="84"/>
                </a:cubicBezTo>
                <a:cubicBezTo>
                  <a:pt x="1538" y="84"/>
                  <a:pt x="1537" y="83"/>
                  <a:pt x="1536" y="83"/>
                </a:cubicBezTo>
                <a:cubicBezTo>
                  <a:pt x="1536" y="83"/>
                  <a:pt x="1535" y="82"/>
                  <a:pt x="1534" y="82"/>
                </a:cubicBezTo>
                <a:cubicBezTo>
                  <a:pt x="1533" y="82"/>
                  <a:pt x="1532" y="82"/>
                  <a:pt x="1531" y="83"/>
                </a:cubicBezTo>
                <a:cubicBezTo>
                  <a:pt x="1530" y="83"/>
                  <a:pt x="1529" y="84"/>
                  <a:pt x="1529" y="84"/>
                </a:cubicBezTo>
                <a:cubicBezTo>
                  <a:pt x="1528" y="85"/>
                  <a:pt x="1527" y="85"/>
                  <a:pt x="1526" y="85"/>
                </a:cubicBezTo>
                <a:cubicBezTo>
                  <a:pt x="1526" y="85"/>
                  <a:pt x="1525" y="86"/>
                  <a:pt x="1524" y="86"/>
                </a:cubicBezTo>
                <a:cubicBezTo>
                  <a:pt x="1524" y="85"/>
                  <a:pt x="1523" y="85"/>
                  <a:pt x="1523" y="85"/>
                </a:cubicBezTo>
                <a:cubicBezTo>
                  <a:pt x="1523" y="85"/>
                  <a:pt x="1522" y="85"/>
                  <a:pt x="1522" y="85"/>
                </a:cubicBezTo>
                <a:cubicBezTo>
                  <a:pt x="1521" y="85"/>
                  <a:pt x="1520" y="85"/>
                  <a:pt x="1519" y="85"/>
                </a:cubicBezTo>
                <a:cubicBezTo>
                  <a:pt x="1521" y="85"/>
                  <a:pt x="1522" y="85"/>
                  <a:pt x="1524" y="85"/>
                </a:cubicBezTo>
                <a:cubicBezTo>
                  <a:pt x="1525" y="84"/>
                  <a:pt x="1527" y="83"/>
                  <a:pt x="1528" y="82"/>
                </a:cubicBezTo>
                <a:cubicBezTo>
                  <a:pt x="1530" y="82"/>
                  <a:pt x="1532" y="82"/>
                  <a:pt x="1534" y="82"/>
                </a:cubicBezTo>
                <a:cubicBezTo>
                  <a:pt x="1535" y="82"/>
                  <a:pt x="1536" y="82"/>
                  <a:pt x="1537" y="82"/>
                </a:cubicBezTo>
                <a:cubicBezTo>
                  <a:pt x="1538" y="82"/>
                  <a:pt x="1538" y="82"/>
                  <a:pt x="1539" y="83"/>
                </a:cubicBezTo>
                <a:cubicBezTo>
                  <a:pt x="1540" y="83"/>
                  <a:pt x="1541" y="83"/>
                  <a:pt x="1543" y="83"/>
                </a:cubicBezTo>
                <a:cubicBezTo>
                  <a:pt x="1544" y="83"/>
                  <a:pt x="1545" y="83"/>
                  <a:pt x="1547" y="83"/>
                </a:cubicBezTo>
                <a:cubicBezTo>
                  <a:pt x="1548" y="83"/>
                  <a:pt x="1550" y="82"/>
                  <a:pt x="1551" y="81"/>
                </a:cubicBezTo>
                <a:cubicBezTo>
                  <a:pt x="1552" y="81"/>
                  <a:pt x="1553" y="79"/>
                  <a:pt x="1555" y="79"/>
                </a:cubicBezTo>
                <a:cubicBezTo>
                  <a:pt x="1555" y="79"/>
                  <a:pt x="1556" y="79"/>
                  <a:pt x="1556" y="79"/>
                </a:cubicBezTo>
                <a:cubicBezTo>
                  <a:pt x="1557" y="79"/>
                  <a:pt x="1557" y="79"/>
                  <a:pt x="1557" y="79"/>
                </a:cubicBezTo>
                <a:cubicBezTo>
                  <a:pt x="1558" y="79"/>
                  <a:pt x="1558" y="80"/>
                  <a:pt x="1559" y="80"/>
                </a:cubicBezTo>
                <a:cubicBezTo>
                  <a:pt x="1559" y="80"/>
                  <a:pt x="1560" y="80"/>
                  <a:pt x="1560" y="80"/>
                </a:cubicBezTo>
                <a:cubicBezTo>
                  <a:pt x="1562" y="80"/>
                  <a:pt x="1563" y="80"/>
                  <a:pt x="1564" y="80"/>
                </a:cubicBezTo>
                <a:cubicBezTo>
                  <a:pt x="1565" y="80"/>
                  <a:pt x="1566" y="80"/>
                  <a:pt x="1567" y="80"/>
                </a:cubicBezTo>
                <a:cubicBezTo>
                  <a:pt x="1568" y="80"/>
                  <a:pt x="1569" y="81"/>
                  <a:pt x="1570" y="81"/>
                </a:cubicBezTo>
                <a:cubicBezTo>
                  <a:pt x="1572" y="81"/>
                  <a:pt x="1574" y="80"/>
                  <a:pt x="1576" y="79"/>
                </a:cubicBezTo>
                <a:cubicBezTo>
                  <a:pt x="1578" y="79"/>
                  <a:pt x="1579" y="78"/>
                  <a:pt x="1580" y="78"/>
                </a:cubicBezTo>
                <a:cubicBezTo>
                  <a:pt x="1582" y="77"/>
                  <a:pt x="1584" y="77"/>
                  <a:pt x="1585" y="77"/>
                </a:cubicBezTo>
                <a:cubicBezTo>
                  <a:pt x="1587" y="77"/>
                  <a:pt x="1588" y="77"/>
                  <a:pt x="1589" y="77"/>
                </a:cubicBezTo>
                <a:cubicBezTo>
                  <a:pt x="1590" y="77"/>
                  <a:pt x="1591" y="77"/>
                  <a:pt x="1592" y="76"/>
                </a:cubicBezTo>
                <a:cubicBezTo>
                  <a:pt x="1592" y="76"/>
                  <a:pt x="1593" y="76"/>
                  <a:pt x="1594" y="76"/>
                </a:cubicBezTo>
                <a:cubicBezTo>
                  <a:pt x="1594" y="75"/>
                  <a:pt x="1595" y="75"/>
                  <a:pt x="1594" y="75"/>
                </a:cubicBezTo>
                <a:cubicBezTo>
                  <a:pt x="1594" y="74"/>
                  <a:pt x="1593" y="75"/>
                  <a:pt x="1593" y="74"/>
                </a:cubicBezTo>
                <a:cubicBezTo>
                  <a:pt x="1594" y="73"/>
                  <a:pt x="1596" y="73"/>
                  <a:pt x="1596" y="72"/>
                </a:cubicBezTo>
                <a:cubicBezTo>
                  <a:pt x="1598" y="71"/>
                  <a:pt x="1599" y="71"/>
                  <a:pt x="1601" y="70"/>
                </a:cubicBezTo>
                <a:cubicBezTo>
                  <a:pt x="1603" y="68"/>
                  <a:pt x="1605" y="67"/>
                  <a:pt x="1608" y="67"/>
                </a:cubicBezTo>
                <a:cubicBezTo>
                  <a:pt x="1610" y="66"/>
                  <a:pt x="1612" y="64"/>
                  <a:pt x="1614" y="63"/>
                </a:cubicBezTo>
                <a:cubicBezTo>
                  <a:pt x="1615" y="62"/>
                  <a:pt x="1616" y="62"/>
                  <a:pt x="1617" y="61"/>
                </a:cubicBezTo>
                <a:cubicBezTo>
                  <a:pt x="1619" y="60"/>
                  <a:pt x="1620" y="59"/>
                  <a:pt x="1622" y="58"/>
                </a:cubicBezTo>
                <a:cubicBezTo>
                  <a:pt x="1622" y="58"/>
                  <a:pt x="1623" y="58"/>
                  <a:pt x="1623" y="58"/>
                </a:cubicBezTo>
                <a:cubicBezTo>
                  <a:pt x="1624" y="58"/>
                  <a:pt x="1625" y="58"/>
                  <a:pt x="1624" y="57"/>
                </a:cubicBezTo>
                <a:cubicBezTo>
                  <a:pt x="1624" y="57"/>
                  <a:pt x="1624" y="57"/>
                  <a:pt x="1623" y="57"/>
                </a:cubicBezTo>
                <a:cubicBezTo>
                  <a:pt x="1621" y="56"/>
                  <a:pt x="1619" y="56"/>
                  <a:pt x="1617" y="55"/>
                </a:cubicBezTo>
                <a:cubicBezTo>
                  <a:pt x="1615" y="55"/>
                  <a:pt x="1613" y="55"/>
                  <a:pt x="1612" y="54"/>
                </a:cubicBezTo>
                <a:cubicBezTo>
                  <a:pt x="1610" y="54"/>
                  <a:pt x="1609" y="53"/>
                  <a:pt x="1607" y="53"/>
                </a:cubicBezTo>
                <a:cubicBezTo>
                  <a:pt x="1606" y="52"/>
                  <a:pt x="1605" y="52"/>
                  <a:pt x="1604" y="52"/>
                </a:cubicBezTo>
                <a:cubicBezTo>
                  <a:pt x="1603" y="52"/>
                  <a:pt x="1602" y="51"/>
                  <a:pt x="1601" y="51"/>
                </a:cubicBezTo>
                <a:cubicBezTo>
                  <a:pt x="1599" y="50"/>
                  <a:pt x="1597" y="49"/>
                  <a:pt x="1595" y="49"/>
                </a:cubicBezTo>
                <a:cubicBezTo>
                  <a:pt x="1593" y="49"/>
                  <a:pt x="1591" y="48"/>
                  <a:pt x="1589" y="48"/>
                </a:cubicBezTo>
                <a:cubicBezTo>
                  <a:pt x="1586" y="48"/>
                  <a:pt x="1584" y="48"/>
                  <a:pt x="1581" y="48"/>
                </a:cubicBezTo>
                <a:cubicBezTo>
                  <a:pt x="1580" y="48"/>
                  <a:pt x="1579" y="48"/>
                  <a:pt x="1578" y="48"/>
                </a:cubicBezTo>
                <a:cubicBezTo>
                  <a:pt x="1577" y="48"/>
                  <a:pt x="1576" y="48"/>
                  <a:pt x="1575" y="48"/>
                </a:cubicBezTo>
                <a:cubicBezTo>
                  <a:pt x="1574" y="48"/>
                  <a:pt x="1573" y="48"/>
                  <a:pt x="1572" y="48"/>
                </a:cubicBezTo>
                <a:cubicBezTo>
                  <a:pt x="1571" y="48"/>
                  <a:pt x="1570" y="48"/>
                  <a:pt x="1569" y="49"/>
                </a:cubicBezTo>
                <a:cubicBezTo>
                  <a:pt x="1569" y="49"/>
                  <a:pt x="1568" y="49"/>
                  <a:pt x="1568" y="49"/>
                </a:cubicBezTo>
                <a:cubicBezTo>
                  <a:pt x="1568" y="49"/>
                  <a:pt x="1568" y="49"/>
                  <a:pt x="1567" y="49"/>
                </a:cubicBezTo>
                <a:cubicBezTo>
                  <a:pt x="1566" y="49"/>
                  <a:pt x="1565" y="49"/>
                  <a:pt x="1564" y="49"/>
                </a:cubicBezTo>
                <a:cubicBezTo>
                  <a:pt x="1564" y="49"/>
                  <a:pt x="1562" y="49"/>
                  <a:pt x="1561" y="50"/>
                </a:cubicBezTo>
                <a:cubicBezTo>
                  <a:pt x="1561" y="50"/>
                  <a:pt x="1561" y="50"/>
                  <a:pt x="1561" y="51"/>
                </a:cubicBezTo>
                <a:cubicBezTo>
                  <a:pt x="1560" y="51"/>
                  <a:pt x="1561" y="51"/>
                  <a:pt x="1561" y="52"/>
                </a:cubicBezTo>
                <a:cubicBezTo>
                  <a:pt x="1562" y="53"/>
                  <a:pt x="1560" y="53"/>
                  <a:pt x="1560" y="53"/>
                </a:cubicBezTo>
                <a:cubicBezTo>
                  <a:pt x="1559" y="53"/>
                  <a:pt x="1557" y="53"/>
                  <a:pt x="1557" y="54"/>
                </a:cubicBezTo>
                <a:cubicBezTo>
                  <a:pt x="1557" y="54"/>
                  <a:pt x="1557" y="55"/>
                  <a:pt x="1557" y="55"/>
                </a:cubicBezTo>
                <a:cubicBezTo>
                  <a:pt x="1556" y="55"/>
                  <a:pt x="1556" y="55"/>
                  <a:pt x="1556" y="56"/>
                </a:cubicBezTo>
                <a:cubicBezTo>
                  <a:pt x="1556" y="56"/>
                  <a:pt x="1556" y="56"/>
                  <a:pt x="1557" y="56"/>
                </a:cubicBezTo>
                <a:cubicBezTo>
                  <a:pt x="1557" y="56"/>
                  <a:pt x="1558" y="56"/>
                  <a:pt x="1557" y="57"/>
                </a:cubicBezTo>
                <a:cubicBezTo>
                  <a:pt x="1557" y="57"/>
                  <a:pt x="1557" y="57"/>
                  <a:pt x="1556" y="57"/>
                </a:cubicBezTo>
                <a:cubicBezTo>
                  <a:pt x="1555" y="57"/>
                  <a:pt x="1555" y="57"/>
                  <a:pt x="1554" y="57"/>
                </a:cubicBezTo>
                <a:cubicBezTo>
                  <a:pt x="1553" y="57"/>
                  <a:pt x="1553" y="57"/>
                  <a:pt x="1553" y="58"/>
                </a:cubicBezTo>
                <a:cubicBezTo>
                  <a:pt x="1553" y="58"/>
                  <a:pt x="1554" y="58"/>
                  <a:pt x="1554" y="59"/>
                </a:cubicBezTo>
                <a:cubicBezTo>
                  <a:pt x="1554" y="59"/>
                  <a:pt x="1554" y="60"/>
                  <a:pt x="1553" y="60"/>
                </a:cubicBezTo>
                <a:cubicBezTo>
                  <a:pt x="1552" y="61"/>
                  <a:pt x="1551" y="61"/>
                  <a:pt x="1550" y="61"/>
                </a:cubicBezTo>
                <a:cubicBezTo>
                  <a:pt x="1549" y="61"/>
                  <a:pt x="1549" y="61"/>
                  <a:pt x="1548" y="60"/>
                </a:cubicBezTo>
                <a:cubicBezTo>
                  <a:pt x="1547" y="60"/>
                  <a:pt x="1545" y="60"/>
                  <a:pt x="1544" y="60"/>
                </a:cubicBezTo>
                <a:cubicBezTo>
                  <a:pt x="1543" y="59"/>
                  <a:pt x="1543" y="59"/>
                  <a:pt x="1541" y="59"/>
                </a:cubicBezTo>
                <a:cubicBezTo>
                  <a:pt x="1541" y="58"/>
                  <a:pt x="1540" y="58"/>
                  <a:pt x="1539" y="58"/>
                </a:cubicBezTo>
                <a:cubicBezTo>
                  <a:pt x="1538" y="58"/>
                  <a:pt x="1537" y="58"/>
                  <a:pt x="1536" y="59"/>
                </a:cubicBezTo>
                <a:cubicBezTo>
                  <a:pt x="1535" y="59"/>
                  <a:pt x="1534" y="60"/>
                  <a:pt x="1533" y="60"/>
                </a:cubicBezTo>
                <a:cubicBezTo>
                  <a:pt x="1532" y="60"/>
                  <a:pt x="1532" y="61"/>
                  <a:pt x="1531" y="61"/>
                </a:cubicBezTo>
                <a:cubicBezTo>
                  <a:pt x="1531" y="61"/>
                  <a:pt x="1530" y="62"/>
                  <a:pt x="1529" y="61"/>
                </a:cubicBezTo>
                <a:cubicBezTo>
                  <a:pt x="1529" y="61"/>
                  <a:pt x="1529" y="60"/>
                  <a:pt x="1529" y="60"/>
                </a:cubicBezTo>
                <a:cubicBezTo>
                  <a:pt x="1529" y="59"/>
                  <a:pt x="1529" y="59"/>
                  <a:pt x="1529" y="58"/>
                </a:cubicBezTo>
                <a:cubicBezTo>
                  <a:pt x="1529" y="57"/>
                  <a:pt x="1530" y="57"/>
                  <a:pt x="1531" y="56"/>
                </a:cubicBezTo>
                <a:cubicBezTo>
                  <a:pt x="1531" y="56"/>
                  <a:pt x="1533" y="56"/>
                  <a:pt x="1532" y="55"/>
                </a:cubicBezTo>
                <a:cubicBezTo>
                  <a:pt x="1532" y="55"/>
                  <a:pt x="1531" y="56"/>
                  <a:pt x="1530" y="56"/>
                </a:cubicBezTo>
                <a:cubicBezTo>
                  <a:pt x="1530" y="56"/>
                  <a:pt x="1529" y="56"/>
                  <a:pt x="1528" y="57"/>
                </a:cubicBezTo>
                <a:cubicBezTo>
                  <a:pt x="1527" y="57"/>
                  <a:pt x="1526" y="57"/>
                  <a:pt x="1526" y="57"/>
                </a:cubicBezTo>
                <a:cubicBezTo>
                  <a:pt x="1525" y="57"/>
                  <a:pt x="1525" y="57"/>
                  <a:pt x="1525" y="57"/>
                </a:cubicBezTo>
                <a:cubicBezTo>
                  <a:pt x="1524" y="58"/>
                  <a:pt x="1523" y="57"/>
                  <a:pt x="1523" y="58"/>
                </a:cubicBezTo>
                <a:cubicBezTo>
                  <a:pt x="1522" y="58"/>
                  <a:pt x="1522" y="58"/>
                  <a:pt x="1522" y="59"/>
                </a:cubicBezTo>
                <a:cubicBezTo>
                  <a:pt x="1521" y="59"/>
                  <a:pt x="1520" y="60"/>
                  <a:pt x="1520" y="60"/>
                </a:cubicBezTo>
                <a:cubicBezTo>
                  <a:pt x="1518" y="61"/>
                  <a:pt x="1517" y="61"/>
                  <a:pt x="1516" y="63"/>
                </a:cubicBezTo>
                <a:cubicBezTo>
                  <a:pt x="1515" y="63"/>
                  <a:pt x="1515" y="64"/>
                  <a:pt x="1514" y="65"/>
                </a:cubicBezTo>
                <a:cubicBezTo>
                  <a:pt x="1514" y="65"/>
                  <a:pt x="1513" y="65"/>
                  <a:pt x="1512" y="66"/>
                </a:cubicBezTo>
                <a:cubicBezTo>
                  <a:pt x="1511" y="66"/>
                  <a:pt x="1510" y="67"/>
                  <a:pt x="1509" y="67"/>
                </a:cubicBezTo>
                <a:cubicBezTo>
                  <a:pt x="1508" y="68"/>
                  <a:pt x="1507" y="69"/>
                  <a:pt x="1506" y="69"/>
                </a:cubicBezTo>
                <a:cubicBezTo>
                  <a:pt x="1504" y="70"/>
                  <a:pt x="1503" y="70"/>
                  <a:pt x="1502" y="71"/>
                </a:cubicBezTo>
                <a:cubicBezTo>
                  <a:pt x="1501" y="72"/>
                  <a:pt x="1500" y="73"/>
                  <a:pt x="1499" y="73"/>
                </a:cubicBezTo>
                <a:cubicBezTo>
                  <a:pt x="1498" y="74"/>
                  <a:pt x="1497" y="74"/>
                  <a:pt x="1496" y="75"/>
                </a:cubicBezTo>
                <a:cubicBezTo>
                  <a:pt x="1495" y="76"/>
                  <a:pt x="1493" y="77"/>
                  <a:pt x="1492" y="77"/>
                </a:cubicBezTo>
                <a:cubicBezTo>
                  <a:pt x="1491" y="78"/>
                  <a:pt x="1490" y="79"/>
                  <a:pt x="1489" y="80"/>
                </a:cubicBezTo>
                <a:cubicBezTo>
                  <a:pt x="1488" y="80"/>
                  <a:pt x="1487" y="81"/>
                  <a:pt x="1486" y="81"/>
                </a:cubicBezTo>
                <a:cubicBezTo>
                  <a:pt x="1485" y="82"/>
                  <a:pt x="1484" y="82"/>
                  <a:pt x="1483" y="83"/>
                </a:cubicBezTo>
                <a:cubicBezTo>
                  <a:pt x="1483" y="83"/>
                  <a:pt x="1482" y="84"/>
                  <a:pt x="1481" y="84"/>
                </a:cubicBezTo>
                <a:cubicBezTo>
                  <a:pt x="1481" y="82"/>
                  <a:pt x="1483" y="82"/>
                  <a:pt x="1484" y="81"/>
                </a:cubicBezTo>
                <a:cubicBezTo>
                  <a:pt x="1486" y="81"/>
                  <a:pt x="1487" y="80"/>
                  <a:pt x="1487" y="78"/>
                </a:cubicBezTo>
                <a:cubicBezTo>
                  <a:pt x="1488" y="76"/>
                  <a:pt x="1489" y="75"/>
                  <a:pt x="1491" y="74"/>
                </a:cubicBezTo>
                <a:cubicBezTo>
                  <a:pt x="1491" y="74"/>
                  <a:pt x="1492" y="73"/>
                  <a:pt x="1493" y="73"/>
                </a:cubicBezTo>
                <a:cubicBezTo>
                  <a:pt x="1494" y="72"/>
                  <a:pt x="1494" y="71"/>
                  <a:pt x="1494" y="71"/>
                </a:cubicBezTo>
                <a:cubicBezTo>
                  <a:pt x="1494" y="70"/>
                  <a:pt x="1495" y="70"/>
                  <a:pt x="1495" y="70"/>
                </a:cubicBezTo>
                <a:cubicBezTo>
                  <a:pt x="1496" y="70"/>
                  <a:pt x="1496" y="70"/>
                  <a:pt x="1497" y="70"/>
                </a:cubicBezTo>
                <a:cubicBezTo>
                  <a:pt x="1497" y="69"/>
                  <a:pt x="1498" y="68"/>
                  <a:pt x="1498" y="67"/>
                </a:cubicBezTo>
                <a:cubicBezTo>
                  <a:pt x="1498" y="67"/>
                  <a:pt x="1498" y="66"/>
                  <a:pt x="1499" y="66"/>
                </a:cubicBezTo>
                <a:cubicBezTo>
                  <a:pt x="1500" y="65"/>
                  <a:pt x="1501" y="65"/>
                  <a:pt x="1501" y="65"/>
                </a:cubicBezTo>
                <a:cubicBezTo>
                  <a:pt x="1502" y="65"/>
                  <a:pt x="1503" y="65"/>
                  <a:pt x="1503" y="64"/>
                </a:cubicBezTo>
                <a:cubicBezTo>
                  <a:pt x="1504" y="64"/>
                  <a:pt x="1504" y="63"/>
                  <a:pt x="1504" y="63"/>
                </a:cubicBezTo>
                <a:cubicBezTo>
                  <a:pt x="1504" y="62"/>
                  <a:pt x="1504" y="62"/>
                  <a:pt x="1505" y="62"/>
                </a:cubicBezTo>
                <a:cubicBezTo>
                  <a:pt x="1505" y="61"/>
                  <a:pt x="1505" y="61"/>
                  <a:pt x="1505" y="61"/>
                </a:cubicBezTo>
                <a:cubicBezTo>
                  <a:pt x="1506" y="60"/>
                  <a:pt x="1506" y="60"/>
                  <a:pt x="1506" y="59"/>
                </a:cubicBezTo>
                <a:cubicBezTo>
                  <a:pt x="1506" y="59"/>
                  <a:pt x="1506" y="59"/>
                  <a:pt x="1506" y="58"/>
                </a:cubicBezTo>
                <a:cubicBezTo>
                  <a:pt x="1506" y="58"/>
                  <a:pt x="1507" y="58"/>
                  <a:pt x="1507" y="57"/>
                </a:cubicBezTo>
                <a:cubicBezTo>
                  <a:pt x="1507" y="57"/>
                  <a:pt x="1507" y="56"/>
                  <a:pt x="1508" y="56"/>
                </a:cubicBezTo>
                <a:cubicBezTo>
                  <a:pt x="1508" y="55"/>
                  <a:pt x="1509" y="55"/>
                  <a:pt x="1509" y="54"/>
                </a:cubicBezTo>
                <a:cubicBezTo>
                  <a:pt x="1509" y="53"/>
                  <a:pt x="1510" y="51"/>
                  <a:pt x="1509" y="50"/>
                </a:cubicBezTo>
                <a:cubicBezTo>
                  <a:pt x="1509" y="49"/>
                  <a:pt x="1509" y="48"/>
                  <a:pt x="1509" y="48"/>
                </a:cubicBezTo>
                <a:cubicBezTo>
                  <a:pt x="1509" y="47"/>
                  <a:pt x="1508" y="47"/>
                  <a:pt x="1508" y="46"/>
                </a:cubicBezTo>
                <a:cubicBezTo>
                  <a:pt x="1507" y="44"/>
                  <a:pt x="1506" y="44"/>
                  <a:pt x="1504" y="44"/>
                </a:cubicBezTo>
                <a:cubicBezTo>
                  <a:pt x="1501" y="44"/>
                  <a:pt x="1498" y="45"/>
                  <a:pt x="1496" y="45"/>
                </a:cubicBezTo>
                <a:cubicBezTo>
                  <a:pt x="1494" y="45"/>
                  <a:pt x="1492" y="45"/>
                  <a:pt x="1491" y="45"/>
                </a:cubicBezTo>
                <a:cubicBezTo>
                  <a:pt x="1490" y="45"/>
                  <a:pt x="1489" y="46"/>
                  <a:pt x="1488" y="46"/>
                </a:cubicBezTo>
                <a:cubicBezTo>
                  <a:pt x="1488" y="46"/>
                  <a:pt x="1487" y="45"/>
                  <a:pt x="1487" y="46"/>
                </a:cubicBezTo>
                <a:cubicBezTo>
                  <a:pt x="1487" y="46"/>
                  <a:pt x="1486" y="46"/>
                  <a:pt x="1486" y="46"/>
                </a:cubicBezTo>
                <a:cubicBezTo>
                  <a:pt x="1485" y="47"/>
                  <a:pt x="1485" y="47"/>
                  <a:pt x="1485" y="47"/>
                </a:cubicBezTo>
                <a:cubicBezTo>
                  <a:pt x="1485" y="48"/>
                  <a:pt x="1485" y="48"/>
                  <a:pt x="1486" y="48"/>
                </a:cubicBezTo>
                <a:cubicBezTo>
                  <a:pt x="1486" y="49"/>
                  <a:pt x="1486" y="49"/>
                  <a:pt x="1485" y="49"/>
                </a:cubicBezTo>
                <a:cubicBezTo>
                  <a:pt x="1485" y="50"/>
                  <a:pt x="1484" y="51"/>
                  <a:pt x="1484" y="52"/>
                </a:cubicBezTo>
                <a:cubicBezTo>
                  <a:pt x="1484" y="53"/>
                  <a:pt x="1484" y="54"/>
                  <a:pt x="1483" y="54"/>
                </a:cubicBezTo>
                <a:cubicBezTo>
                  <a:pt x="1482" y="54"/>
                  <a:pt x="1481" y="54"/>
                  <a:pt x="1480" y="55"/>
                </a:cubicBezTo>
                <a:cubicBezTo>
                  <a:pt x="1479" y="55"/>
                  <a:pt x="1478" y="55"/>
                  <a:pt x="1476" y="56"/>
                </a:cubicBezTo>
                <a:cubicBezTo>
                  <a:pt x="1475" y="56"/>
                  <a:pt x="1473" y="56"/>
                  <a:pt x="1472" y="57"/>
                </a:cubicBezTo>
                <a:cubicBezTo>
                  <a:pt x="1470" y="57"/>
                  <a:pt x="1469" y="57"/>
                  <a:pt x="1468" y="58"/>
                </a:cubicBezTo>
                <a:cubicBezTo>
                  <a:pt x="1466" y="58"/>
                  <a:pt x="1465" y="59"/>
                  <a:pt x="1463" y="59"/>
                </a:cubicBezTo>
                <a:cubicBezTo>
                  <a:pt x="1462" y="59"/>
                  <a:pt x="1461" y="59"/>
                  <a:pt x="1460" y="60"/>
                </a:cubicBezTo>
                <a:cubicBezTo>
                  <a:pt x="1458" y="60"/>
                  <a:pt x="1457" y="61"/>
                  <a:pt x="1456" y="61"/>
                </a:cubicBezTo>
                <a:cubicBezTo>
                  <a:pt x="1455" y="61"/>
                  <a:pt x="1455" y="61"/>
                  <a:pt x="1454" y="61"/>
                </a:cubicBezTo>
                <a:cubicBezTo>
                  <a:pt x="1453" y="62"/>
                  <a:pt x="1453" y="62"/>
                  <a:pt x="1453" y="62"/>
                </a:cubicBezTo>
                <a:cubicBezTo>
                  <a:pt x="1452" y="62"/>
                  <a:pt x="1452" y="62"/>
                  <a:pt x="1451" y="62"/>
                </a:cubicBezTo>
                <a:cubicBezTo>
                  <a:pt x="1451" y="63"/>
                  <a:pt x="1450" y="63"/>
                  <a:pt x="1450" y="64"/>
                </a:cubicBezTo>
                <a:cubicBezTo>
                  <a:pt x="1450" y="63"/>
                  <a:pt x="1450" y="62"/>
                  <a:pt x="1450" y="62"/>
                </a:cubicBezTo>
                <a:cubicBezTo>
                  <a:pt x="1450" y="61"/>
                  <a:pt x="1449" y="61"/>
                  <a:pt x="1448" y="61"/>
                </a:cubicBezTo>
                <a:cubicBezTo>
                  <a:pt x="1447" y="61"/>
                  <a:pt x="1446" y="61"/>
                  <a:pt x="1445" y="60"/>
                </a:cubicBezTo>
                <a:cubicBezTo>
                  <a:pt x="1446" y="59"/>
                  <a:pt x="1448" y="59"/>
                  <a:pt x="1449" y="59"/>
                </a:cubicBezTo>
                <a:cubicBezTo>
                  <a:pt x="1451" y="59"/>
                  <a:pt x="1453" y="58"/>
                  <a:pt x="1455" y="58"/>
                </a:cubicBezTo>
                <a:cubicBezTo>
                  <a:pt x="1457" y="57"/>
                  <a:pt x="1460" y="56"/>
                  <a:pt x="1462" y="55"/>
                </a:cubicBezTo>
                <a:cubicBezTo>
                  <a:pt x="1464" y="55"/>
                  <a:pt x="1465" y="55"/>
                  <a:pt x="1467" y="54"/>
                </a:cubicBezTo>
                <a:cubicBezTo>
                  <a:pt x="1468" y="54"/>
                  <a:pt x="1469" y="54"/>
                  <a:pt x="1471" y="53"/>
                </a:cubicBezTo>
                <a:cubicBezTo>
                  <a:pt x="1472" y="52"/>
                  <a:pt x="1473" y="50"/>
                  <a:pt x="1472" y="49"/>
                </a:cubicBezTo>
                <a:cubicBezTo>
                  <a:pt x="1472" y="48"/>
                  <a:pt x="1470" y="48"/>
                  <a:pt x="1469" y="48"/>
                </a:cubicBezTo>
                <a:cubicBezTo>
                  <a:pt x="1468" y="48"/>
                  <a:pt x="1466" y="48"/>
                  <a:pt x="1464" y="48"/>
                </a:cubicBezTo>
                <a:cubicBezTo>
                  <a:pt x="1463" y="48"/>
                  <a:pt x="1461" y="47"/>
                  <a:pt x="1459" y="47"/>
                </a:cubicBezTo>
                <a:cubicBezTo>
                  <a:pt x="1457" y="47"/>
                  <a:pt x="1455" y="47"/>
                  <a:pt x="1454" y="47"/>
                </a:cubicBezTo>
                <a:cubicBezTo>
                  <a:pt x="1451" y="47"/>
                  <a:pt x="1449" y="46"/>
                  <a:pt x="1446" y="46"/>
                </a:cubicBezTo>
                <a:cubicBezTo>
                  <a:pt x="1445" y="46"/>
                  <a:pt x="1443" y="46"/>
                  <a:pt x="1442" y="46"/>
                </a:cubicBezTo>
                <a:cubicBezTo>
                  <a:pt x="1441" y="46"/>
                  <a:pt x="1440" y="46"/>
                  <a:pt x="1439" y="46"/>
                </a:cubicBezTo>
                <a:cubicBezTo>
                  <a:pt x="1439" y="46"/>
                  <a:pt x="1438" y="46"/>
                  <a:pt x="1438" y="46"/>
                </a:cubicBezTo>
                <a:cubicBezTo>
                  <a:pt x="1435" y="46"/>
                  <a:pt x="1432" y="46"/>
                  <a:pt x="1430" y="46"/>
                </a:cubicBezTo>
                <a:cubicBezTo>
                  <a:pt x="1429" y="46"/>
                  <a:pt x="1428" y="47"/>
                  <a:pt x="1427" y="47"/>
                </a:cubicBezTo>
                <a:cubicBezTo>
                  <a:pt x="1425" y="47"/>
                  <a:pt x="1424" y="47"/>
                  <a:pt x="1423" y="47"/>
                </a:cubicBezTo>
                <a:cubicBezTo>
                  <a:pt x="1421" y="48"/>
                  <a:pt x="1420" y="48"/>
                  <a:pt x="1418" y="48"/>
                </a:cubicBezTo>
                <a:cubicBezTo>
                  <a:pt x="1417" y="48"/>
                  <a:pt x="1415" y="48"/>
                  <a:pt x="1413" y="48"/>
                </a:cubicBezTo>
                <a:cubicBezTo>
                  <a:pt x="1412" y="49"/>
                  <a:pt x="1411" y="49"/>
                  <a:pt x="1409" y="49"/>
                </a:cubicBezTo>
                <a:cubicBezTo>
                  <a:pt x="1408" y="49"/>
                  <a:pt x="1407" y="50"/>
                  <a:pt x="1406" y="50"/>
                </a:cubicBezTo>
                <a:cubicBezTo>
                  <a:pt x="1405" y="50"/>
                  <a:pt x="1404" y="50"/>
                  <a:pt x="1403" y="51"/>
                </a:cubicBezTo>
                <a:cubicBezTo>
                  <a:pt x="1402" y="51"/>
                  <a:pt x="1400" y="51"/>
                  <a:pt x="1399" y="51"/>
                </a:cubicBezTo>
                <a:cubicBezTo>
                  <a:pt x="1396" y="51"/>
                  <a:pt x="1393" y="53"/>
                  <a:pt x="1390" y="53"/>
                </a:cubicBezTo>
                <a:cubicBezTo>
                  <a:pt x="1388" y="54"/>
                  <a:pt x="1387" y="54"/>
                  <a:pt x="1385" y="55"/>
                </a:cubicBezTo>
                <a:cubicBezTo>
                  <a:pt x="1384" y="55"/>
                  <a:pt x="1384" y="56"/>
                  <a:pt x="1383" y="56"/>
                </a:cubicBezTo>
                <a:cubicBezTo>
                  <a:pt x="1383" y="56"/>
                  <a:pt x="1383" y="55"/>
                  <a:pt x="1383" y="55"/>
                </a:cubicBezTo>
                <a:cubicBezTo>
                  <a:pt x="1383" y="54"/>
                  <a:pt x="1383" y="53"/>
                  <a:pt x="1383" y="53"/>
                </a:cubicBezTo>
                <a:cubicBezTo>
                  <a:pt x="1383" y="50"/>
                  <a:pt x="1386" y="50"/>
                  <a:pt x="1388" y="50"/>
                </a:cubicBezTo>
                <a:cubicBezTo>
                  <a:pt x="1389" y="50"/>
                  <a:pt x="1390" y="49"/>
                  <a:pt x="1391" y="49"/>
                </a:cubicBezTo>
                <a:cubicBezTo>
                  <a:pt x="1392" y="49"/>
                  <a:pt x="1392" y="49"/>
                  <a:pt x="1393" y="49"/>
                </a:cubicBezTo>
                <a:cubicBezTo>
                  <a:pt x="1393" y="49"/>
                  <a:pt x="1394" y="49"/>
                  <a:pt x="1394" y="48"/>
                </a:cubicBezTo>
                <a:cubicBezTo>
                  <a:pt x="1395" y="48"/>
                  <a:pt x="1396" y="48"/>
                  <a:pt x="1397" y="48"/>
                </a:cubicBezTo>
                <a:cubicBezTo>
                  <a:pt x="1398" y="48"/>
                  <a:pt x="1399" y="48"/>
                  <a:pt x="1400" y="47"/>
                </a:cubicBezTo>
                <a:cubicBezTo>
                  <a:pt x="1401" y="47"/>
                  <a:pt x="1402" y="47"/>
                  <a:pt x="1403" y="47"/>
                </a:cubicBezTo>
                <a:cubicBezTo>
                  <a:pt x="1404" y="46"/>
                  <a:pt x="1405" y="46"/>
                  <a:pt x="1406" y="46"/>
                </a:cubicBezTo>
                <a:cubicBezTo>
                  <a:pt x="1409" y="45"/>
                  <a:pt x="1413" y="44"/>
                  <a:pt x="1416" y="44"/>
                </a:cubicBezTo>
                <a:cubicBezTo>
                  <a:pt x="1416" y="44"/>
                  <a:pt x="1417" y="44"/>
                  <a:pt x="1417" y="44"/>
                </a:cubicBezTo>
                <a:cubicBezTo>
                  <a:pt x="1417" y="43"/>
                  <a:pt x="1417" y="43"/>
                  <a:pt x="1416" y="43"/>
                </a:cubicBezTo>
                <a:cubicBezTo>
                  <a:pt x="1415" y="43"/>
                  <a:pt x="1414" y="43"/>
                  <a:pt x="1413" y="43"/>
                </a:cubicBezTo>
                <a:cubicBezTo>
                  <a:pt x="1412" y="43"/>
                  <a:pt x="1411" y="42"/>
                  <a:pt x="1410" y="42"/>
                </a:cubicBezTo>
                <a:cubicBezTo>
                  <a:pt x="1409" y="42"/>
                  <a:pt x="1408" y="42"/>
                  <a:pt x="1407" y="42"/>
                </a:cubicBezTo>
                <a:cubicBezTo>
                  <a:pt x="1406" y="42"/>
                  <a:pt x="1406" y="41"/>
                  <a:pt x="1405" y="41"/>
                </a:cubicBezTo>
                <a:cubicBezTo>
                  <a:pt x="1404" y="41"/>
                  <a:pt x="1402" y="41"/>
                  <a:pt x="1402" y="41"/>
                </a:cubicBezTo>
                <a:cubicBezTo>
                  <a:pt x="1403" y="40"/>
                  <a:pt x="1404" y="41"/>
                  <a:pt x="1405" y="41"/>
                </a:cubicBezTo>
                <a:cubicBezTo>
                  <a:pt x="1408" y="41"/>
                  <a:pt x="1410" y="41"/>
                  <a:pt x="1412" y="41"/>
                </a:cubicBezTo>
                <a:cubicBezTo>
                  <a:pt x="1413" y="41"/>
                  <a:pt x="1415" y="41"/>
                  <a:pt x="1416" y="41"/>
                </a:cubicBezTo>
                <a:cubicBezTo>
                  <a:pt x="1417" y="42"/>
                  <a:pt x="1418" y="42"/>
                  <a:pt x="1419" y="42"/>
                </a:cubicBezTo>
                <a:cubicBezTo>
                  <a:pt x="1422" y="43"/>
                  <a:pt x="1425" y="42"/>
                  <a:pt x="1427" y="42"/>
                </a:cubicBezTo>
                <a:cubicBezTo>
                  <a:pt x="1429" y="42"/>
                  <a:pt x="1430" y="42"/>
                  <a:pt x="1432" y="42"/>
                </a:cubicBezTo>
                <a:cubicBezTo>
                  <a:pt x="1432" y="42"/>
                  <a:pt x="1433" y="42"/>
                  <a:pt x="1434" y="42"/>
                </a:cubicBezTo>
                <a:cubicBezTo>
                  <a:pt x="1436" y="41"/>
                  <a:pt x="1438" y="41"/>
                  <a:pt x="1440" y="41"/>
                </a:cubicBezTo>
                <a:cubicBezTo>
                  <a:pt x="1441" y="41"/>
                  <a:pt x="1443" y="41"/>
                  <a:pt x="1445" y="41"/>
                </a:cubicBezTo>
                <a:cubicBezTo>
                  <a:pt x="1448" y="41"/>
                  <a:pt x="1451" y="42"/>
                  <a:pt x="1454" y="42"/>
                </a:cubicBezTo>
                <a:cubicBezTo>
                  <a:pt x="1458" y="42"/>
                  <a:pt x="1461" y="42"/>
                  <a:pt x="1465" y="42"/>
                </a:cubicBezTo>
                <a:cubicBezTo>
                  <a:pt x="1466" y="42"/>
                  <a:pt x="1468" y="42"/>
                  <a:pt x="1470" y="42"/>
                </a:cubicBezTo>
                <a:cubicBezTo>
                  <a:pt x="1470" y="42"/>
                  <a:pt x="1471" y="42"/>
                  <a:pt x="1471" y="42"/>
                </a:cubicBezTo>
                <a:cubicBezTo>
                  <a:pt x="1473" y="42"/>
                  <a:pt x="1475" y="42"/>
                  <a:pt x="1476" y="42"/>
                </a:cubicBezTo>
                <a:cubicBezTo>
                  <a:pt x="1477" y="42"/>
                  <a:pt x="1478" y="41"/>
                  <a:pt x="1480" y="41"/>
                </a:cubicBezTo>
                <a:cubicBezTo>
                  <a:pt x="1481" y="40"/>
                  <a:pt x="1483" y="39"/>
                  <a:pt x="1485" y="39"/>
                </a:cubicBezTo>
                <a:cubicBezTo>
                  <a:pt x="1487" y="38"/>
                  <a:pt x="1489" y="38"/>
                  <a:pt x="1491" y="38"/>
                </a:cubicBezTo>
                <a:cubicBezTo>
                  <a:pt x="1495" y="38"/>
                  <a:pt x="1499" y="38"/>
                  <a:pt x="1503" y="37"/>
                </a:cubicBezTo>
                <a:cubicBezTo>
                  <a:pt x="1504" y="37"/>
                  <a:pt x="1506" y="36"/>
                  <a:pt x="1507" y="35"/>
                </a:cubicBezTo>
                <a:cubicBezTo>
                  <a:pt x="1509" y="34"/>
                  <a:pt x="1510" y="33"/>
                  <a:pt x="1512" y="32"/>
                </a:cubicBezTo>
                <a:cubicBezTo>
                  <a:pt x="1513" y="32"/>
                  <a:pt x="1514" y="31"/>
                  <a:pt x="1514" y="31"/>
                </a:cubicBezTo>
                <a:cubicBezTo>
                  <a:pt x="1515" y="30"/>
                  <a:pt x="1516" y="30"/>
                  <a:pt x="1517" y="30"/>
                </a:cubicBezTo>
                <a:cubicBezTo>
                  <a:pt x="1518" y="28"/>
                  <a:pt x="1514" y="28"/>
                  <a:pt x="1513" y="28"/>
                </a:cubicBezTo>
                <a:cubicBezTo>
                  <a:pt x="1513" y="27"/>
                  <a:pt x="1512" y="27"/>
                  <a:pt x="1511" y="27"/>
                </a:cubicBezTo>
                <a:cubicBezTo>
                  <a:pt x="1510" y="27"/>
                  <a:pt x="1509" y="27"/>
                  <a:pt x="1509" y="26"/>
                </a:cubicBezTo>
                <a:cubicBezTo>
                  <a:pt x="1508" y="26"/>
                  <a:pt x="1507" y="25"/>
                  <a:pt x="1506" y="25"/>
                </a:cubicBezTo>
                <a:cubicBezTo>
                  <a:pt x="1505" y="25"/>
                  <a:pt x="1505" y="24"/>
                  <a:pt x="1504" y="24"/>
                </a:cubicBezTo>
                <a:cubicBezTo>
                  <a:pt x="1502" y="24"/>
                  <a:pt x="1500" y="24"/>
                  <a:pt x="1499" y="24"/>
                </a:cubicBezTo>
                <a:cubicBezTo>
                  <a:pt x="1497" y="24"/>
                  <a:pt x="1495" y="24"/>
                  <a:pt x="1493" y="25"/>
                </a:cubicBezTo>
                <a:cubicBezTo>
                  <a:pt x="1492" y="25"/>
                  <a:pt x="1491" y="25"/>
                  <a:pt x="1490" y="25"/>
                </a:cubicBezTo>
                <a:cubicBezTo>
                  <a:pt x="1489" y="25"/>
                  <a:pt x="1489" y="25"/>
                  <a:pt x="1488" y="25"/>
                </a:cubicBezTo>
                <a:cubicBezTo>
                  <a:pt x="1487" y="25"/>
                  <a:pt x="1488" y="24"/>
                  <a:pt x="1487" y="23"/>
                </a:cubicBezTo>
                <a:cubicBezTo>
                  <a:pt x="1487" y="22"/>
                  <a:pt x="1487" y="22"/>
                  <a:pt x="1486" y="21"/>
                </a:cubicBezTo>
                <a:cubicBezTo>
                  <a:pt x="1485" y="20"/>
                  <a:pt x="1483" y="21"/>
                  <a:pt x="1481" y="21"/>
                </a:cubicBezTo>
                <a:cubicBezTo>
                  <a:pt x="1480" y="21"/>
                  <a:pt x="1479" y="21"/>
                  <a:pt x="1479" y="21"/>
                </a:cubicBezTo>
                <a:cubicBezTo>
                  <a:pt x="1478" y="21"/>
                  <a:pt x="1477" y="22"/>
                  <a:pt x="1475" y="22"/>
                </a:cubicBezTo>
                <a:cubicBezTo>
                  <a:pt x="1475" y="22"/>
                  <a:pt x="1473" y="23"/>
                  <a:pt x="1473" y="22"/>
                </a:cubicBezTo>
                <a:cubicBezTo>
                  <a:pt x="1473" y="22"/>
                  <a:pt x="1475" y="21"/>
                  <a:pt x="1475" y="21"/>
                </a:cubicBezTo>
                <a:cubicBezTo>
                  <a:pt x="1475" y="20"/>
                  <a:pt x="1477" y="20"/>
                  <a:pt x="1477" y="19"/>
                </a:cubicBezTo>
                <a:cubicBezTo>
                  <a:pt x="1477" y="18"/>
                  <a:pt x="1476" y="17"/>
                  <a:pt x="1476" y="17"/>
                </a:cubicBezTo>
                <a:cubicBezTo>
                  <a:pt x="1475" y="16"/>
                  <a:pt x="1474" y="15"/>
                  <a:pt x="1473" y="14"/>
                </a:cubicBezTo>
                <a:cubicBezTo>
                  <a:pt x="1473" y="14"/>
                  <a:pt x="1473" y="14"/>
                  <a:pt x="1472" y="14"/>
                </a:cubicBezTo>
                <a:cubicBezTo>
                  <a:pt x="1471" y="13"/>
                  <a:pt x="1469" y="14"/>
                  <a:pt x="1467" y="14"/>
                </a:cubicBezTo>
                <a:cubicBezTo>
                  <a:pt x="1466" y="14"/>
                  <a:pt x="1465" y="14"/>
                  <a:pt x="1464" y="15"/>
                </a:cubicBezTo>
                <a:cubicBezTo>
                  <a:pt x="1463" y="15"/>
                  <a:pt x="1461" y="15"/>
                  <a:pt x="1460" y="15"/>
                </a:cubicBezTo>
                <a:cubicBezTo>
                  <a:pt x="1459" y="15"/>
                  <a:pt x="1457" y="16"/>
                  <a:pt x="1456" y="15"/>
                </a:cubicBezTo>
                <a:cubicBezTo>
                  <a:pt x="1454" y="15"/>
                  <a:pt x="1452" y="15"/>
                  <a:pt x="1450" y="15"/>
                </a:cubicBezTo>
                <a:cubicBezTo>
                  <a:pt x="1447" y="15"/>
                  <a:pt x="1444" y="15"/>
                  <a:pt x="1442" y="15"/>
                </a:cubicBezTo>
                <a:cubicBezTo>
                  <a:pt x="1441" y="15"/>
                  <a:pt x="1440" y="15"/>
                  <a:pt x="1439" y="15"/>
                </a:cubicBezTo>
                <a:cubicBezTo>
                  <a:pt x="1438" y="15"/>
                  <a:pt x="1437" y="15"/>
                  <a:pt x="1435" y="14"/>
                </a:cubicBezTo>
                <a:cubicBezTo>
                  <a:pt x="1434" y="14"/>
                  <a:pt x="1434" y="14"/>
                  <a:pt x="1433" y="14"/>
                </a:cubicBezTo>
                <a:cubicBezTo>
                  <a:pt x="1432" y="14"/>
                  <a:pt x="1431" y="14"/>
                  <a:pt x="1430" y="14"/>
                </a:cubicBezTo>
                <a:cubicBezTo>
                  <a:pt x="1428" y="14"/>
                  <a:pt x="1427" y="14"/>
                  <a:pt x="1426" y="14"/>
                </a:cubicBezTo>
                <a:cubicBezTo>
                  <a:pt x="1425" y="14"/>
                  <a:pt x="1424" y="14"/>
                  <a:pt x="1422" y="14"/>
                </a:cubicBezTo>
                <a:cubicBezTo>
                  <a:pt x="1421" y="14"/>
                  <a:pt x="1420" y="14"/>
                  <a:pt x="1418" y="14"/>
                </a:cubicBezTo>
                <a:cubicBezTo>
                  <a:pt x="1416" y="14"/>
                  <a:pt x="1415" y="15"/>
                  <a:pt x="1413" y="15"/>
                </a:cubicBezTo>
                <a:cubicBezTo>
                  <a:pt x="1412" y="15"/>
                  <a:pt x="1411" y="16"/>
                  <a:pt x="1411" y="16"/>
                </a:cubicBezTo>
                <a:cubicBezTo>
                  <a:pt x="1410" y="16"/>
                  <a:pt x="1409" y="16"/>
                  <a:pt x="1408" y="16"/>
                </a:cubicBezTo>
                <a:cubicBezTo>
                  <a:pt x="1407" y="16"/>
                  <a:pt x="1407" y="17"/>
                  <a:pt x="1406" y="17"/>
                </a:cubicBezTo>
                <a:cubicBezTo>
                  <a:pt x="1405" y="17"/>
                  <a:pt x="1404" y="17"/>
                  <a:pt x="1403" y="17"/>
                </a:cubicBezTo>
                <a:cubicBezTo>
                  <a:pt x="1403" y="17"/>
                  <a:pt x="1402" y="17"/>
                  <a:pt x="1401" y="18"/>
                </a:cubicBezTo>
                <a:cubicBezTo>
                  <a:pt x="1399" y="18"/>
                  <a:pt x="1398" y="18"/>
                  <a:pt x="1396" y="18"/>
                </a:cubicBezTo>
                <a:cubicBezTo>
                  <a:pt x="1395" y="18"/>
                  <a:pt x="1393" y="19"/>
                  <a:pt x="1392" y="19"/>
                </a:cubicBezTo>
                <a:cubicBezTo>
                  <a:pt x="1391" y="19"/>
                  <a:pt x="1390" y="19"/>
                  <a:pt x="1388" y="19"/>
                </a:cubicBezTo>
                <a:cubicBezTo>
                  <a:pt x="1387" y="19"/>
                  <a:pt x="1386" y="19"/>
                  <a:pt x="1384" y="19"/>
                </a:cubicBezTo>
                <a:cubicBezTo>
                  <a:pt x="1384" y="19"/>
                  <a:pt x="1383" y="19"/>
                  <a:pt x="1382" y="19"/>
                </a:cubicBezTo>
                <a:cubicBezTo>
                  <a:pt x="1382" y="18"/>
                  <a:pt x="1381" y="19"/>
                  <a:pt x="1381" y="19"/>
                </a:cubicBezTo>
                <a:cubicBezTo>
                  <a:pt x="1379" y="19"/>
                  <a:pt x="1377" y="19"/>
                  <a:pt x="1376" y="20"/>
                </a:cubicBezTo>
                <a:cubicBezTo>
                  <a:pt x="1375" y="21"/>
                  <a:pt x="1375" y="21"/>
                  <a:pt x="1375" y="22"/>
                </a:cubicBezTo>
                <a:cubicBezTo>
                  <a:pt x="1374" y="22"/>
                  <a:pt x="1374" y="24"/>
                  <a:pt x="1372" y="24"/>
                </a:cubicBezTo>
                <a:cubicBezTo>
                  <a:pt x="1372" y="24"/>
                  <a:pt x="1372" y="23"/>
                  <a:pt x="1372" y="23"/>
                </a:cubicBezTo>
                <a:cubicBezTo>
                  <a:pt x="1371" y="23"/>
                  <a:pt x="1371" y="23"/>
                  <a:pt x="1371" y="23"/>
                </a:cubicBezTo>
                <a:cubicBezTo>
                  <a:pt x="1370" y="22"/>
                  <a:pt x="1370" y="22"/>
                  <a:pt x="1369" y="22"/>
                </a:cubicBezTo>
                <a:cubicBezTo>
                  <a:pt x="1368" y="22"/>
                  <a:pt x="1368" y="22"/>
                  <a:pt x="1367" y="21"/>
                </a:cubicBezTo>
                <a:cubicBezTo>
                  <a:pt x="1366" y="21"/>
                  <a:pt x="1366" y="21"/>
                  <a:pt x="1365" y="21"/>
                </a:cubicBezTo>
                <a:cubicBezTo>
                  <a:pt x="1364" y="20"/>
                  <a:pt x="1364" y="20"/>
                  <a:pt x="1363" y="20"/>
                </a:cubicBezTo>
                <a:cubicBezTo>
                  <a:pt x="1362" y="20"/>
                  <a:pt x="1362" y="20"/>
                  <a:pt x="1361" y="21"/>
                </a:cubicBezTo>
                <a:cubicBezTo>
                  <a:pt x="1361" y="21"/>
                  <a:pt x="1360" y="21"/>
                  <a:pt x="1360" y="21"/>
                </a:cubicBezTo>
                <a:cubicBezTo>
                  <a:pt x="1359" y="21"/>
                  <a:pt x="1359" y="21"/>
                  <a:pt x="1359" y="21"/>
                </a:cubicBezTo>
                <a:cubicBezTo>
                  <a:pt x="1358" y="22"/>
                  <a:pt x="1358" y="22"/>
                  <a:pt x="1357" y="23"/>
                </a:cubicBezTo>
                <a:cubicBezTo>
                  <a:pt x="1357" y="23"/>
                  <a:pt x="1355" y="24"/>
                  <a:pt x="1355" y="25"/>
                </a:cubicBezTo>
                <a:cubicBezTo>
                  <a:pt x="1355" y="24"/>
                  <a:pt x="1356" y="24"/>
                  <a:pt x="1356" y="23"/>
                </a:cubicBezTo>
                <a:cubicBezTo>
                  <a:pt x="1356" y="23"/>
                  <a:pt x="1356" y="23"/>
                  <a:pt x="1356" y="22"/>
                </a:cubicBezTo>
                <a:cubicBezTo>
                  <a:pt x="1355" y="21"/>
                  <a:pt x="1355" y="21"/>
                  <a:pt x="1355" y="20"/>
                </a:cubicBezTo>
                <a:cubicBezTo>
                  <a:pt x="1355" y="20"/>
                  <a:pt x="1355" y="20"/>
                  <a:pt x="1356" y="20"/>
                </a:cubicBezTo>
                <a:cubicBezTo>
                  <a:pt x="1357" y="20"/>
                  <a:pt x="1358" y="20"/>
                  <a:pt x="1358" y="21"/>
                </a:cubicBezTo>
                <a:cubicBezTo>
                  <a:pt x="1359" y="21"/>
                  <a:pt x="1360" y="20"/>
                  <a:pt x="1361" y="20"/>
                </a:cubicBezTo>
                <a:cubicBezTo>
                  <a:pt x="1362" y="20"/>
                  <a:pt x="1364" y="20"/>
                  <a:pt x="1366" y="20"/>
                </a:cubicBezTo>
                <a:cubicBezTo>
                  <a:pt x="1368" y="20"/>
                  <a:pt x="1369" y="20"/>
                  <a:pt x="1371" y="20"/>
                </a:cubicBezTo>
                <a:cubicBezTo>
                  <a:pt x="1372" y="20"/>
                  <a:pt x="1374" y="20"/>
                  <a:pt x="1375" y="19"/>
                </a:cubicBezTo>
                <a:cubicBezTo>
                  <a:pt x="1376" y="19"/>
                  <a:pt x="1377" y="18"/>
                  <a:pt x="1378" y="18"/>
                </a:cubicBezTo>
                <a:cubicBezTo>
                  <a:pt x="1379" y="18"/>
                  <a:pt x="1380" y="18"/>
                  <a:pt x="1382" y="18"/>
                </a:cubicBezTo>
                <a:cubicBezTo>
                  <a:pt x="1382" y="18"/>
                  <a:pt x="1383" y="18"/>
                  <a:pt x="1383" y="18"/>
                </a:cubicBezTo>
                <a:cubicBezTo>
                  <a:pt x="1384" y="17"/>
                  <a:pt x="1384" y="17"/>
                  <a:pt x="1385" y="17"/>
                </a:cubicBezTo>
                <a:cubicBezTo>
                  <a:pt x="1385" y="17"/>
                  <a:pt x="1385" y="16"/>
                  <a:pt x="1384" y="16"/>
                </a:cubicBezTo>
                <a:cubicBezTo>
                  <a:pt x="1383" y="16"/>
                  <a:pt x="1383" y="16"/>
                  <a:pt x="1382" y="16"/>
                </a:cubicBezTo>
                <a:cubicBezTo>
                  <a:pt x="1382" y="16"/>
                  <a:pt x="1381" y="15"/>
                  <a:pt x="1381" y="15"/>
                </a:cubicBezTo>
                <a:cubicBezTo>
                  <a:pt x="1380" y="15"/>
                  <a:pt x="1379" y="14"/>
                  <a:pt x="1379" y="14"/>
                </a:cubicBezTo>
                <a:cubicBezTo>
                  <a:pt x="1380" y="14"/>
                  <a:pt x="1382" y="14"/>
                  <a:pt x="1383" y="14"/>
                </a:cubicBezTo>
                <a:cubicBezTo>
                  <a:pt x="1384" y="14"/>
                  <a:pt x="1385" y="14"/>
                  <a:pt x="1387" y="14"/>
                </a:cubicBezTo>
                <a:cubicBezTo>
                  <a:pt x="1387" y="15"/>
                  <a:pt x="1388" y="15"/>
                  <a:pt x="1389" y="15"/>
                </a:cubicBezTo>
                <a:cubicBezTo>
                  <a:pt x="1390" y="16"/>
                  <a:pt x="1391" y="16"/>
                  <a:pt x="1392" y="16"/>
                </a:cubicBezTo>
                <a:cubicBezTo>
                  <a:pt x="1394" y="17"/>
                  <a:pt x="1396" y="16"/>
                  <a:pt x="1398" y="16"/>
                </a:cubicBezTo>
                <a:cubicBezTo>
                  <a:pt x="1400" y="16"/>
                  <a:pt x="1401" y="15"/>
                  <a:pt x="1403" y="15"/>
                </a:cubicBezTo>
                <a:cubicBezTo>
                  <a:pt x="1405" y="15"/>
                  <a:pt x="1406" y="15"/>
                  <a:pt x="1408" y="15"/>
                </a:cubicBezTo>
                <a:cubicBezTo>
                  <a:pt x="1410" y="14"/>
                  <a:pt x="1411" y="14"/>
                  <a:pt x="1413" y="14"/>
                </a:cubicBezTo>
                <a:cubicBezTo>
                  <a:pt x="1413" y="14"/>
                  <a:pt x="1414" y="14"/>
                  <a:pt x="1414" y="14"/>
                </a:cubicBezTo>
                <a:cubicBezTo>
                  <a:pt x="1417" y="14"/>
                  <a:pt x="1419" y="13"/>
                  <a:pt x="1421" y="13"/>
                </a:cubicBezTo>
                <a:cubicBezTo>
                  <a:pt x="1422" y="13"/>
                  <a:pt x="1424" y="13"/>
                  <a:pt x="1425" y="13"/>
                </a:cubicBezTo>
                <a:cubicBezTo>
                  <a:pt x="1426" y="13"/>
                  <a:pt x="1427" y="13"/>
                  <a:pt x="1429" y="13"/>
                </a:cubicBezTo>
                <a:cubicBezTo>
                  <a:pt x="1430" y="13"/>
                  <a:pt x="1431" y="13"/>
                  <a:pt x="1433" y="13"/>
                </a:cubicBezTo>
                <a:cubicBezTo>
                  <a:pt x="1435" y="14"/>
                  <a:pt x="1438" y="14"/>
                  <a:pt x="1441" y="14"/>
                </a:cubicBezTo>
                <a:cubicBezTo>
                  <a:pt x="1442" y="14"/>
                  <a:pt x="1444" y="14"/>
                  <a:pt x="1445" y="14"/>
                </a:cubicBezTo>
                <a:cubicBezTo>
                  <a:pt x="1447" y="14"/>
                  <a:pt x="1448" y="14"/>
                  <a:pt x="1450" y="14"/>
                </a:cubicBezTo>
                <a:cubicBezTo>
                  <a:pt x="1452" y="14"/>
                  <a:pt x="1453" y="14"/>
                  <a:pt x="1455" y="13"/>
                </a:cubicBezTo>
                <a:cubicBezTo>
                  <a:pt x="1456" y="13"/>
                  <a:pt x="1457" y="13"/>
                  <a:pt x="1458" y="13"/>
                </a:cubicBezTo>
                <a:cubicBezTo>
                  <a:pt x="1460" y="13"/>
                  <a:pt x="1461" y="13"/>
                  <a:pt x="1462" y="12"/>
                </a:cubicBezTo>
                <a:cubicBezTo>
                  <a:pt x="1463" y="12"/>
                  <a:pt x="1464" y="12"/>
                  <a:pt x="1465" y="11"/>
                </a:cubicBezTo>
                <a:cubicBezTo>
                  <a:pt x="1466" y="11"/>
                  <a:pt x="1467" y="11"/>
                  <a:pt x="1467" y="10"/>
                </a:cubicBezTo>
                <a:cubicBezTo>
                  <a:pt x="1468" y="9"/>
                  <a:pt x="1466" y="9"/>
                  <a:pt x="1466" y="9"/>
                </a:cubicBezTo>
                <a:cubicBezTo>
                  <a:pt x="1464" y="9"/>
                  <a:pt x="1462" y="9"/>
                  <a:pt x="1459" y="8"/>
                </a:cubicBezTo>
                <a:cubicBezTo>
                  <a:pt x="1458" y="8"/>
                  <a:pt x="1457" y="8"/>
                  <a:pt x="1455" y="8"/>
                </a:cubicBezTo>
                <a:cubicBezTo>
                  <a:pt x="1453" y="7"/>
                  <a:pt x="1452" y="7"/>
                  <a:pt x="1450" y="7"/>
                </a:cubicBezTo>
                <a:cubicBezTo>
                  <a:pt x="1447" y="6"/>
                  <a:pt x="1444" y="6"/>
                  <a:pt x="1441" y="5"/>
                </a:cubicBezTo>
                <a:cubicBezTo>
                  <a:pt x="1439" y="5"/>
                  <a:pt x="1437" y="5"/>
                  <a:pt x="1435" y="5"/>
                </a:cubicBezTo>
                <a:cubicBezTo>
                  <a:pt x="1433" y="4"/>
                  <a:pt x="1432" y="4"/>
                  <a:pt x="1430" y="3"/>
                </a:cubicBezTo>
                <a:cubicBezTo>
                  <a:pt x="1428" y="3"/>
                  <a:pt x="1426" y="3"/>
                  <a:pt x="1424" y="2"/>
                </a:cubicBezTo>
                <a:cubicBezTo>
                  <a:pt x="1422" y="2"/>
                  <a:pt x="1420" y="1"/>
                  <a:pt x="1418" y="1"/>
                </a:cubicBezTo>
                <a:cubicBezTo>
                  <a:pt x="1417" y="1"/>
                  <a:pt x="1416" y="1"/>
                  <a:pt x="1416" y="1"/>
                </a:cubicBezTo>
                <a:cubicBezTo>
                  <a:pt x="1414" y="1"/>
                  <a:pt x="1413" y="1"/>
                  <a:pt x="1412" y="1"/>
                </a:cubicBezTo>
                <a:cubicBezTo>
                  <a:pt x="1410" y="1"/>
                  <a:pt x="1408" y="1"/>
                  <a:pt x="1407" y="1"/>
                </a:cubicBezTo>
                <a:cubicBezTo>
                  <a:pt x="1405" y="1"/>
                  <a:pt x="1404" y="1"/>
                  <a:pt x="1402" y="1"/>
                </a:cubicBezTo>
                <a:cubicBezTo>
                  <a:pt x="1397" y="1"/>
                  <a:pt x="1391" y="0"/>
                  <a:pt x="1386" y="0"/>
                </a:cubicBezTo>
                <a:cubicBezTo>
                  <a:pt x="1384" y="0"/>
                  <a:pt x="1381" y="1"/>
                  <a:pt x="1379" y="1"/>
                </a:cubicBezTo>
                <a:cubicBezTo>
                  <a:pt x="1378" y="1"/>
                  <a:pt x="1377" y="1"/>
                  <a:pt x="1376" y="1"/>
                </a:cubicBezTo>
                <a:cubicBezTo>
                  <a:pt x="1374" y="1"/>
                  <a:pt x="1373" y="0"/>
                  <a:pt x="1372" y="2"/>
                </a:cubicBezTo>
                <a:cubicBezTo>
                  <a:pt x="1371" y="2"/>
                  <a:pt x="1371" y="2"/>
                  <a:pt x="1372" y="3"/>
                </a:cubicBezTo>
                <a:cubicBezTo>
                  <a:pt x="1372" y="3"/>
                  <a:pt x="1372" y="3"/>
                  <a:pt x="1372" y="3"/>
                </a:cubicBezTo>
                <a:cubicBezTo>
                  <a:pt x="1372" y="3"/>
                  <a:pt x="1372" y="3"/>
                  <a:pt x="1371" y="3"/>
                </a:cubicBezTo>
                <a:cubicBezTo>
                  <a:pt x="1371" y="3"/>
                  <a:pt x="1371" y="3"/>
                  <a:pt x="1370" y="3"/>
                </a:cubicBezTo>
                <a:cubicBezTo>
                  <a:pt x="1369" y="2"/>
                  <a:pt x="1369" y="2"/>
                  <a:pt x="1368" y="2"/>
                </a:cubicBezTo>
                <a:cubicBezTo>
                  <a:pt x="1367" y="2"/>
                  <a:pt x="1366" y="1"/>
                  <a:pt x="1365" y="1"/>
                </a:cubicBezTo>
                <a:cubicBezTo>
                  <a:pt x="1365" y="0"/>
                  <a:pt x="1363" y="0"/>
                  <a:pt x="1363" y="1"/>
                </a:cubicBezTo>
                <a:cubicBezTo>
                  <a:pt x="1362" y="1"/>
                  <a:pt x="1361" y="2"/>
                  <a:pt x="1360" y="2"/>
                </a:cubicBezTo>
                <a:cubicBezTo>
                  <a:pt x="1359" y="2"/>
                  <a:pt x="1358" y="2"/>
                  <a:pt x="1357" y="2"/>
                </a:cubicBezTo>
                <a:cubicBezTo>
                  <a:pt x="1356" y="2"/>
                  <a:pt x="1354" y="2"/>
                  <a:pt x="1353" y="2"/>
                </a:cubicBezTo>
                <a:cubicBezTo>
                  <a:pt x="1352" y="2"/>
                  <a:pt x="1351" y="2"/>
                  <a:pt x="1350" y="2"/>
                </a:cubicBezTo>
                <a:cubicBezTo>
                  <a:pt x="1349" y="2"/>
                  <a:pt x="1348" y="3"/>
                  <a:pt x="1347" y="3"/>
                </a:cubicBezTo>
                <a:cubicBezTo>
                  <a:pt x="1346" y="3"/>
                  <a:pt x="1344" y="2"/>
                  <a:pt x="1342" y="3"/>
                </a:cubicBezTo>
                <a:cubicBezTo>
                  <a:pt x="1341" y="3"/>
                  <a:pt x="1341" y="3"/>
                  <a:pt x="1341" y="3"/>
                </a:cubicBezTo>
                <a:cubicBezTo>
                  <a:pt x="1341" y="4"/>
                  <a:pt x="1339" y="4"/>
                  <a:pt x="1339" y="4"/>
                </a:cubicBezTo>
                <a:cubicBezTo>
                  <a:pt x="1340" y="5"/>
                  <a:pt x="1340" y="4"/>
                  <a:pt x="1341" y="4"/>
                </a:cubicBezTo>
                <a:cubicBezTo>
                  <a:pt x="1341" y="5"/>
                  <a:pt x="1341" y="5"/>
                  <a:pt x="1341" y="5"/>
                </a:cubicBezTo>
                <a:cubicBezTo>
                  <a:pt x="1342" y="6"/>
                  <a:pt x="1342" y="6"/>
                  <a:pt x="1343" y="6"/>
                </a:cubicBezTo>
                <a:cubicBezTo>
                  <a:pt x="1343" y="6"/>
                  <a:pt x="1343" y="7"/>
                  <a:pt x="1343" y="7"/>
                </a:cubicBezTo>
                <a:cubicBezTo>
                  <a:pt x="1344" y="7"/>
                  <a:pt x="1344" y="8"/>
                  <a:pt x="1343" y="8"/>
                </a:cubicBezTo>
                <a:cubicBezTo>
                  <a:pt x="1343" y="7"/>
                  <a:pt x="1343" y="7"/>
                  <a:pt x="1343" y="7"/>
                </a:cubicBezTo>
                <a:cubicBezTo>
                  <a:pt x="1343" y="7"/>
                  <a:pt x="1342" y="7"/>
                  <a:pt x="1342" y="7"/>
                </a:cubicBezTo>
                <a:cubicBezTo>
                  <a:pt x="1341" y="7"/>
                  <a:pt x="1341" y="7"/>
                  <a:pt x="1340" y="6"/>
                </a:cubicBezTo>
                <a:cubicBezTo>
                  <a:pt x="1340" y="6"/>
                  <a:pt x="1339" y="6"/>
                  <a:pt x="1338" y="6"/>
                </a:cubicBezTo>
                <a:cubicBezTo>
                  <a:pt x="1337" y="6"/>
                  <a:pt x="1337" y="5"/>
                  <a:pt x="1336" y="5"/>
                </a:cubicBezTo>
                <a:cubicBezTo>
                  <a:pt x="1336" y="5"/>
                  <a:pt x="1335" y="5"/>
                  <a:pt x="1334" y="5"/>
                </a:cubicBezTo>
                <a:cubicBezTo>
                  <a:pt x="1333" y="4"/>
                  <a:pt x="1331" y="3"/>
                  <a:pt x="1329" y="4"/>
                </a:cubicBezTo>
                <a:cubicBezTo>
                  <a:pt x="1328" y="4"/>
                  <a:pt x="1327" y="4"/>
                  <a:pt x="1327" y="5"/>
                </a:cubicBezTo>
                <a:cubicBezTo>
                  <a:pt x="1326" y="5"/>
                  <a:pt x="1326" y="6"/>
                  <a:pt x="1327" y="6"/>
                </a:cubicBezTo>
                <a:cubicBezTo>
                  <a:pt x="1327" y="7"/>
                  <a:pt x="1327" y="7"/>
                  <a:pt x="1327" y="7"/>
                </a:cubicBezTo>
                <a:cubicBezTo>
                  <a:pt x="1328" y="8"/>
                  <a:pt x="1327" y="8"/>
                  <a:pt x="1326" y="8"/>
                </a:cubicBezTo>
                <a:cubicBezTo>
                  <a:pt x="1326" y="7"/>
                  <a:pt x="1325" y="7"/>
                  <a:pt x="1325" y="7"/>
                </a:cubicBezTo>
                <a:cubicBezTo>
                  <a:pt x="1324" y="7"/>
                  <a:pt x="1323" y="7"/>
                  <a:pt x="1322" y="7"/>
                </a:cubicBezTo>
                <a:cubicBezTo>
                  <a:pt x="1321" y="6"/>
                  <a:pt x="1321" y="6"/>
                  <a:pt x="1321" y="6"/>
                </a:cubicBezTo>
                <a:cubicBezTo>
                  <a:pt x="1320" y="6"/>
                  <a:pt x="1319" y="6"/>
                  <a:pt x="1319" y="6"/>
                </a:cubicBezTo>
                <a:cubicBezTo>
                  <a:pt x="1318" y="6"/>
                  <a:pt x="1317" y="5"/>
                  <a:pt x="1317" y="6"/>
                </a:cubicBezTo>
                <a:cubicBezTo>
                  <a:pt x="1317" y="7"/>
                  <a:pt x="1318" y="7"/>
                  <a:pt x="1318" y="8"/>
                </a:cubicBezTo>
                <a:cubicBezTo>
                  <a:pt x="1318" y="8"/>
                  <a:pt x="1317" y="9"/>
                  <a:pt x="1317" y="9"/>
                </a:cubicBezTo>
                <a:cubicBezTo>
                  <a:pt x="1317" y="10"/>
                  <a:pt x="1317" y="10"/>
                  <a:pt x="1317" y="10"/>
                </a:cubicBezTo>
                <a:cubicBezTo>
                  <a:pt x="1317" y="11"/>
                  <a:pt x="1318" y="12"/>
                  <a:pt x="1319" y="12"/>
                </a:cubicBezTo>
                <a:cubicBezTo>
                  <a:pt x="1319" y="13"/>
                  <a:pt x="1320" y="12"/>
                  <a:pt x="1321" y="12"/>
                </a:cubicBezTo>
                <a:cubicBezTo>
                  <a:pt x="1322" y="12"/>
                  <a:pt x="1323" y="13"/>
                  <a:pt x="1325" y="13"/>
                </a:cubicBezTo>
                <a:cubicBezTo>
                  <a:pt x="1326" y="13"/>
                  <a:pt x="1327" y="13"/>
                  <a:pt x="1328" y="13"/>
                </a:cubicBezTo>
                <a:cubicBezTo>
                  <a:pt x="1329" y="13"/>
                  <a:pt x="1329" y="14"/>
                  <a:pt x="1330" y="14"/>
                </a:cubicBezTo>
                <a:cubicBezTo>
                  <a:pt x="1331" y="14"/>
                  <a:pt x="1332" y="14"/>
                  <a:pt x="1333" y="14"/>
                </a:cubicBezTo>
                <a:cubicBezTo>
                  <a:pt x="1334" y="14"/>
                  <a:pt x="1335" y="14"/>
                  <a:pt x="1335" y="14"/>
                </a:cubicBezTo>
                <a:cubicBezTo>
                  <a:pt x="1335" y="15"/>
                  <a:pt x="1334" y="15"/>
                  <a:pt x="1334" y="15"/>
                </a:cubicBezTo>
                <a:cubicBezTo>
                  <a:pt x="1331" y="15"/>
                  <a:pt x="1329" y="15"/>
                  <a:pt x="1327" y="15"/>
                </a:cubicBezTo>
                <a:cubicBezTo>
                  <a:pt x="1326" y="15"/>
                  <a:pt x="1325" y="14"/>
                  <a:pt x="1323" y="15"/>
                </a:cubicBezTo>
                <a:cubicBezTo>
                  <a:pt x="1322" y="15"/>
                  <a:pt x="1321" y="16"/>
                  <a:pt x="1320" y="16"/>
                </a:cubicBezTo>
                <a:cubicBezTo>
                  <a:pt x="1320" y="16"/>
                  <a:pt x="1317" y="16"/>
                  <a:pt x="1318" y="17"/>
                </a:cubicBezTo>
                <a:cubicBezTo>
                  <a:pt x="1318" y="17"/>
                  <a:pt x="1319" y="17"/>
                  <a:pt x="1319" y="17"/>
                </a:cubicBezTo>
                <a:cubicBezTo>
                  <a:pt x="1320" y="17"/>
                  <a:pt x="1321" y="17"/>
                  <a:pt x="1321" y="17"/>
                </a:cubicBezTo>
                <a:cubicBezTo>
                  <a:pt x="1323" y="17"/>
                  <a:pt x="1324" y="17"/>
                  <a:pt x="1326" y="17"/>
                </a:cubicBezTo>
                <a:cubicBezTo>
                  <a:pt x="1327" y="17"/>
                  <a:pt x="1328" y="17"/>
                  <a:pt x="1330" y="17"/>
                </a:cubicBezTo>
                <a:cubicBezTo>
                  <a:pt x="1329" y="17"/>
                  <a:pt x="1329" y="17"/>
                  <a:pt x="1329" y="17"/>
                </a:cubicBezTo>
                <a:cubicBezTo>
                  <a:pt x="1328" y="18"/>
                  <a:pt x="1327" y="17"/>
                  <a:pt x="1327" y="17"/>
                </a:cubicBezTo>
                <a:cubicBezTo>
                  <a:pt x="1326" y="18"/>
                  <a:pt x="1324" y="18"/>
                  <a:pt x="1323" y="18"/>
                </a:cubicBezTo>
                <a:cubicBezTo>
                  <a:pt x="1322" y="18"/>
                  <a:pt x="1321" y="18"/>
                  <a:pt x="1320" y="18"/>
                </a:cubicBezTo>
                <a:cubicBezTo>
                  <a:pt x="1319" y="18"/>
                  <a:pt x="1318" y="17"/>
                  <a:pt x="1317" y="18"/>
                </a:cubicBezTo>
                <a:cubicBezTo>
                  <a:pt x="1316" y="18"/>
                  <a:pt x="1316" y="18"/>
                  <a:pt x="1316" y="19"/>
                </a:cubicBezTo>
                <a:cubicBezTo>
                  <a:pt x="1315" y="19"/>
                  <a:pt x="1314" y="18"/>
                  <a:pt x="1314" y="19"/>
                </a:cubicBezTo>
                <a:cubicBezTo>
                  <a:pt x="1313" y="19"/>
                  <a:pt x="1315" y="19"/>
                  <a:pt x="1315" y="20"/>
                </a:cubicBezTo>
                <a:cubicBezTo>
                  <a:pt x="1316" y="20"/>
                  <a:pt x="1317" y="20"/>
                  <a:pt x="1317" y="21"/>
                </a:cubicBezTo>
                <a:cubicBezTo>
                  <a:pt x="1318" y="21"/>
                  <a:pt x="1317" y="22"/>
                  <a:pt x="1318" y="23"/>
                </a:cubicBezTo>
                <a:cubicBezTo>
                  <a:pt x="1318" y="23"/>
                  <a:pt x="1320" y="24"/>
                  <a:pt x="1319" y="25"/>
                </a:cubicBezTo>
                <a:cubicBezTo>
                  <a:pt x="1319" y="25"/>
                  <a:pt x="1319" y="24"/>
                  <a:pt x="1318" y="24"/>
                </a:cubicBezTo>
                <a:cubicBezTo>
                  <a:pt x="1318" y="23"/>
                  <a:pt x="1317" y="23"/>
                  <a:pt x="1316" y="23"/>
                </a:cubicBezTo>
                <a:cubicBezTo>
                  <a:pt x="1316" y="23"/>
                  <a:pt x="1315" y="23"/>
                  <a:pt x="1315" y="22"/>
                </a:cubicBezTo>
                <a:cubicBezTo>
                  <a:pt x="1315" y="22"/>
                  <a:pt x="1315" y="21"/>
                  <a:pt x="1314" y="21"/>
                </a:cubicBezTo>
                <a:cubicBezTo>
                  <a:pt x="1314" y="21"/>
                  <a:pt x="1313" y="21"/>
                  <a:pt x="1313" y="20"/>
                </a:cubicBezTo>
                <a:cubicBezTo>
                  <a:pt x="1312" y="20"/>
                  <a:pt x="1311" y="19"/>
                  <a:pt x="1310" y="19"/>
                </a:cubicBezTo>
                <a:cubicBezTo>
                  <a:pt x="1308" y="19"/>
                  <a:pt x="1306" y="19"/>
                  <a:pt x="1304" y="19"/>
                </a:cubicBezTo>
                <a:cubicBezTo>
                  <a:pt x="1302" y="20"/>
                  <a:pt x="1300" y="19"/>
                  <a:pt x="1299" y="19"/>
                </a:cubicBezTo>
                <a:cubicBezTo>
                  <a:pt x="1298" y="19"/>
                  <a:pt x="1297" y="19"/>
                  <a:pt x="1296" y="19"/>
                </a:cubicBezTo>
                <a:cubicBezTo>
                  <a:pt x="1295" y="19"/>
                  <a:pt x="1294" y="18"/>
                  <a:pt x="1294" y="18"/>
                </a:cubicBezTo>
                <a:cubicBezTo>
                  <a:pt x="1293" y="17"/>
                  <a:pt x="1292" y="17"/>
                  <a:pt x="1291" y="16"/>
                </a:cubicBezTo>
                <a:cubicBezTo>
                  <a:pt x="1291" y="16"/>
                  <a:pt x="1290" y="16"/>
                  <a:pt x="1290" y="16"/>
                </a:cubicBezTo>
                <a:cubicBezTo>
                  <a:pt x="1289" y="16"/>
                  <a:pt x="1289" y="15"/>
                  <a:pt x="1289" y="15"/>
                </a:cubicBezTo>
                <a:cubicBezTo>
                  <a:pt x="1288" y="15"/>
                  <a:pt x="1287" y="15"/>
                  <a:pt x="1286" y="15"/>
                </a:cubicBezTo>
                <a:cubicBezTo>
                  <a:pt x="1285" y="15"/>
                  <a:pt x="1284" y="15"/>
                  <a:pt x="1283" y="15"/>
                </a:cubicBezTo>
                <a:cubicBezTo>
                  <a:pt x="1283" y="15"/>
                  <a:pt x="1282" y="15"/>
                  <a:pt x="1282" y="15"/>
                </a:cubicBezTo>
                <a:cubicBezTo>
                  <a:pt x="1282" y="14"/>
                  <a:pt x="1283" y="14"/>
                  <a:pt x="1283" y="14"/>
                </a:cubicBezTo>
                <a:cubicBezTo>
                  <a:pt x="1283" y="14"/>
                  <a:pt x="1284" y="14"/>
                  <a:pt x="1284" y="13"/>
                </a:cubicBezTo>
                <a:cubicBezTo>
                  <a:pt x="1284" y="13"/>
                  <a:pt x="1284" y="13"/>
                  <a:pt x="1283" y="12"/>
                </a:cubicBezTo>
                <a:cubicBezTo>
                  <a:pt x="1283" y="12"/>
                  <a:pt x="1282" y="12"/>
                  <a:pt x="1281" y="12"/>
                </a:cubicBezTo>
                <a:cubicBezTo>
                  <a:pt x="1280" y="12"/>
                  <a:pt x="1279" y="12"/>
                  <a:pt x="1278" y="11"/>
                </a:cubicBezTo>
                <a:cubicBezTo>
                  <a:pt x="1277" y="11"/>
                  <a:pt x="1276" y="11"/>
                  <a:pt x="1275" y="11"/>
                </a:cubicBezTo>
                <a:cubicBezTo>
                  <a:pt x="1274" y="11"/>
                  <a:pt x="1273" y="11"/>
                  <a:pt x="1272" y="11"/>
                </a:cubicBezTo>
                <a:cubicBezTo>
                  <a:pt x="1271" y="11"/>
                  <a:pt x="1269" y="11"/>
                  <a:pt x="1268" y="11"/>
                </a:cubicBezTo>
                <a:cubicBezTo>
                  <a:pt x="1267" y="11"/>
                  <a:pt x="1266" y="10"/>
                  <a:pt x="1265" y="10"/>
                </a:cubicBezTo>
                <a:cubicBezTo>
                  <a:pt x="1265" y="11"/>
                  <a:pt x="1264" y="11"/>
                  <a:pt x="1263" y="11"/>
                </a:cubicBezTo>
                <a:cubicBezTo>
                  <a:pt x="1263" y="11"/>
                  <a:pt x="1262" y="12"/>
                  <a:pt x="1261" y="12"/>
                </a:cubicBezTo>
                <a:cubicBezTo>
                  <a:pt x="1260" y="12"/>
                  <a:pt x="1260" y="12"/>
                  <a:pt x="1259" y="12"/>
                </a:cubicBezTo>
                <a:cubicBezTo>
                  <a:pt x="1259" y="12"/>
                  <a:pt x="1258" y="12"/>
                  <a:pt x="1258" y="12"/>
                </a:cubicBezTo>
                <a:cubicBezTo>
                  <a:pt x="1258" y="13"/>
                  <a:pt x="1259" y="13"/>
                  <a:pt x="1259" y="13"/>
                </a:cubicBezTo>
                <a:cubicBezTo>
                  <a:pt x="1260" y="13"/>
                  <a:pt x="1261" y="13"/>
                  <a:pt x="1262" y="13"/>
                </a:cubicBezTo>
                <a:cubicBezTo>
                  <a:pt x="1262" y="13"/>
                  <a:pt x="1262" y="14"/>
                  <a:pt x="1263" y="14"/>
                </a:cubicBezTo>
                <a:cubicBezTo>
                  <a:pt x="1263" y="14"/>
                  <a:pt x="1264" y="14"/>
                  <a:pt x="1264" y="14"/>
                </a:cubicBezTo>
                <a:cubicBezTo>
                  <a:pt x="1265" y="14"/>
                  <a:pt x="1265" y="14"/>
                  <a:pt x="1265" y="14"/>
                </a:cubicBezTo>
                <a:cubicBezTo>
                  <a:pt x="1265" y="15"/>
                  <a:pt x="1264" y="14"/>
                  <a:pt x="1264" y="14"/>
                </a:cubicBezTo>
                <a:cubicBezTo>
                  <a:pt x="1263" y="14"/>
                  <a:pt x="1261" y="15"/>
                  <a:pt x="1260" y="15"/>
                </a:cubicBezTo>
                <a:cubicBezTo>
                  <a:pt x="1258" y="15"/>
                  <a:pt x="1257" y="15"/>
                  <a:pt x="1256" y="15"/>
                </a:cubicBezTo>
                <a:cubicBezTo>
                  <a:pt x="1254" y="15"/>
                  <a:pt x="1253" y="14"/>
                  <a:pt x="1251" y="14"/>
                </a:cubicBezTo>
                <a:cubicBezTo>
                  <a:pt x="1250" y="14"/>
                  <a:pt x="1249" y="14"/>
                  <a:pt x="1247" y="14"/>
                </a:cubicBezTo>
                <a:cubicBezTo>
                  <a:pt x="1246" y="14"/>
                  <a:pt x="1245" y="13"/>
                  <a:pt x="1244" y="14"/>
                </a:cubicBezTo>
                <a:cubicBezTo>
                  <a:pt x="1243" y="14"/>
                  <a:pt x="1243" y="14"/>
                  <a:pt x="1242" y="14"/>
                </a:cubicBezTo>
                <a:cubicBezTo>
                  <a:pt x="1242" y="14"/>
                  <a:pt x="1241" y="14"/>
                  <a:pt x="1241" y="14"/>
                </a:cubicBezTo>
                <a:cubicBezTo>
                  <a:pt x="1240" y="15"/>
                  <a:pt x="1241" y="15"/>
                  <a:pt x="1241" y="15"/>
                </a:cubicBezTo>
                <a:cubicBezTo>
                  <a:pt x="1241" y="15"/>
                  <a:pt x="1242" y="15"/>
                  <a:pt x="1242" y="15"/>
                </a:cubicBezTo>
                <a:cubicBezTo>
                  <a:pt x="1242" y="15"/>
                  <a:pt x="1243" y="16"/>
                  <a:pt x="1243" y="16"/>
                </a:cubicBezTo>
                <a:cubicBezTo>
                  <a:pt x="1243" y="16"/>
                  <a:pt x="1243" y="16"/>
                  <a:pt x="1244" y="16"/>
                </a:cubicBezTo>
                <a:cubicBezTo>
                  <a:pt x="1244" y="16"/>
                  <a:pt x="1244" y="17"/>
                  <a:pt x="1245" y="17"/>
                </a:cubicBezTo>
                <a:cubicBezTo>
                  <a:pt x="1245" y="17"/>
                  <a:pt x="1246" y="17"/>
                  <a:pt x="1246" y="17"/>
                </a:cubicBezTo>
                <a:cubicBezTo>
                  <a:pt x="1247" y="18"/>
                  <a:pt x="1248" y="18"/>
                  <a:pt x="1248" y="18"/>
                </a:cubicBezTo>
                <a:cubicBezTo>
                  <a:pt x="1249" y="18"/>
                  <a:pt x="1250" y="18"/>
                  <a:pt x="1251" y="19"/>
                </a:cubicBezTo>
                <a:cubicBezTo>
                  <a:pt x="1252" y="19"/>
                  <a:pt x="1253" y="19"/>
                  <a:pt x="1254" y="19"/>
                </a:cubicBezTo>
                <a:cubicBezTo>
                  <a:pt x="1255" y="19"/>
                  <a:pt x="1256" y="20"/>
                  <a:pt x="1257" y="20"/>
                </a:cubicBezTo>
                <a:cubicBezTo>
                  <a:pt x="1257" y="20"/>
                  <a:pt x="1259" y="20"/>
                  <a:pt x="1260" y="20"/>
                </a:cubicBezTo>
                <a:cubicBezTo>
                  <a:pt x="1260" y="21"/>
                  <a:pt x="1258" y="21"/>
                  <a:pt x="1257" y="21"/>
                </a:cubicBezTo>
                <a:cubicBezTo>
                  <a:pt x="1257" y="21"/>
                  <a:pt x="1256" y="20"/>
                  <a:pt x="1255" y="20"/>
                </a:cubicBezTo>
                <a:cubicBezTo>
                  <a:pt x="1254" y="20"/>
                  <a:pt x="1253" y="20"/>
                  <a:pt x="1253" y="20"/>
                </a:cubicBezTo>
                <a:cubicBezTo>
                  <a:pt x="1252" y="20"/>
                  <a:pt x="1251" y="20"/>
                  <a:pt x="1250" y="20"/>
                </a:cubicBezTo>
                <a:cubicBezTo>
                  <a:pt x="1249" y="20"/>
                  <a:pt x="1248" y="20"/>
                  <a:pt x="1247" y="20"/>
                </a:cubicBezTo>
                <a:cubicBezTo>
                  <a:pt x="1247" y="20"/>
                  <a:pt x="1246" y="20"/>
                  <a:pt x="1245" y="20"/>
                </a:cubicBezTo>
                <a:cubicBezTo>
                  <a:pt x="1244" y="19"/>
                  <a:pt x="1243" y="19"/>
                  <a:pt x="1243" y="19"/>
                </a:cubicBezTo>
                <a:cubicBezTo>
                  <a:pt x="1241" y="19"/>
                  <a:pt x="1239" y="19"/>
                  <a:pt x="1237" y="19"/>
                </a:cubicBezTo>
                <a:cubicBezTo>
                  <a:pt x="1235" y="19"/>
                  <a:pt x="1233" y="19"/>
                  <a:pt x="1231" y="19"/>
                </a:cubicBezTo>
                <a:cubicBezTo>
                  <a:pt x="1231" y="19"/>
                  <a:pt x="1230" y="19"/>
                  <a:pt x="1230" y="20"/>
                </a:cubicBezTo>
                <a:cubicBezTo>
                  <a:pt x="1229" y="20"/>
                  <a:pt x="1230" y="20"/>
                  <a:pt x="1230" y="20"/>
                </a:cubicBezTo>
                <a:cubicBezTo>
                  <a:pt x="1231" y="20"/>
                  <a:pt x="1232" y="20"/>
                  <a:pt x="1233" y="20"/>
                </a:cubicBezTo>
                <a:cubicBezTo>
                  <a:pt x="1236" y="20"/>
                  <a:pt x="1238" y="21"/>
                  <a:pt x="1241" y="21"/>
                </a:cubicBezTo>
                <a:cubicBezTo>
                  <a:pt x="1243" y="21"/>
                  <a:pt x="1246" y="21"/>
                  <a:pt x="1248" y="22"/>
                </a:cubicBezTo>
                <a:cubicBezTo>
                  <a:pt x="1249" y="22"/>
                  <a:pt x="1250" y="22"/>
                  <a:pt x="1252" y="22"/>
                </a:cubicBezTo>
                <a:cubicBezTo>
                  <a:pt x="1253" y="22"/>
                  <a:pt x="1254" y="22"/>
                  <a:pt x="1255" y="22"/>
                </a:cubicBezTo>
                <a:cubicBezTo>
                  <a:pt x="1256" y="22"/>
                  <a:pt x="1257" y="23"/>
                  <a:pt x="1258" y="23"/>
                </a:cubicBezTo>
                <a:cubicBezTo>
                  <a:pt x="1258" y="23"/>
                  <a:pt x="1259" y="22"/>
                  <a:pt x="1259" y="22"/>
                </a:cubicBezTo>
                <a:cubicBezTo>
                  <a:pt x="1261" y="22"/>
                  <a:pt x="1262" y="23"/>
                  <a:pt x="1264" y="23"/>
                </a:cubicBezTo>
                <a:cubicBezTo>
                  <a:pt x="1265" y="23"/>
                  <a:pt x="1266" y="23"/>
                  <a:pt x="1267" y="23"/>
                </a:cubicBezTo>
                <a:cubicBezTo>
                  <a:pt x="1270" y="23"/>
                  <a:pt x="1272" y="23"/>
                  <a:pt x="1275" y="24"/>
                </a:cubicBezTo>
                <a:cubicBezTo>
                  <a:pt x="1276" y="24"/>
                  <a:pt x="1277" y="24"/>
                  <a:pt x="1278" y="24"/>
                </a:cubicBezTo>
                <a:cubicBezTo>
                  <a:pt x="1279" y="24"/>
                  <a:pt x="1279" y="24"/>
                  <a:pt x="1280" y="24"/>
                </a:cubicBezTo>
                <a:cubicBezTo>
                  <a:pt x="1281" y="24"/>
                  <a:pt x="1282" y="24"/>
                  <a:pt x="1283" y="25"/>
                </a:cubicBezTo>
                <a:cubicBezTo>
                  <a:pt x="1284" y="25"/>
                  <a:pt x="1284" y="25"/>
                  <a:pt x="1285" y="25"/>
                </a:cubicBezTo>
                <a:cubicBezTo>
                  <a:pt x="1286" y="25"/>
                  <a:pt x="1287" y="25"/>
                  <a:pt x="1288" y="25"/>
                </a:cubicBezTo>
                <a:cubicBezTo>
                  <a:pt x="1289" y="25"/>
                  <a:pt x="1290" y="25"/>
                  <a:pt x="1292" y="25"/>
                </a:cubicBezTo>
                <a:cubicBezTo>
                  <a:pt x="1293" y="25"/>
                  <a:pt x="1295" y="25"/>
                  <a:pt x="1296" y="25"/>
                </a:cubicBezTo>
                <a:cubicBezTo>
                  <a:pt x="1297" y="26"/>
                  <a:pt x="1299" y="26"/>
                  <a:pt x="1300" y="26"/>
                </a:cubicBezTo>
                <a:cubicBezTo>
                  <a:pt x="1301" y="26"/>
                  <a:pt x="1302" y="26"/>
                  <a:pt x="1303" y="27"/>
                </a:cubicBezTo>
                <a:cubicBezTo>
                  <a:pt x="1303" y="27"/>
                  <a:pt x="1304" y="27"/>
                  <a:pt x="1305" y="27"/>
                </a:cubicBezTo>
                <a:cubicBezTo>
                  <a:pt x="1305" y="28"/>
                  <a:pt x="1305" y="29"/>
                  <a:pt x="1305" y="29"/>
                </a:cubicBezTo>
                <a:cubicBezTo>
                  <a:pt x="1304" y="30"/>
                  <a:pt x="1304" y="30"/>
                  <a:pt x="1304" y="30"/>
                </a:cubicBezTo>
                <a:cubicBezTo>
                  <a:pt x="1304" y="31"/>
                  <a:pt x="1305" y="31"/>
                  <a:pt x="1305" y="32"/>
                </a:cubicBezTo>
                <a:cubicBezTo>
                  <a:pt x="1306" y="32"/>
                  <a:pt x="1306" y="32"/>
                  <a:pt x="1306" y="33"/>
                </a:cubicBezTo>
                <a:cubicBezTo>
                  <a:pt x="1306" y="33"/>
                  <a:pt x="1306" y="33"/>
                  <a:pt x="1305" y="33"/>
                </a:cubicBezTo>
                <a:cubicBezTo>
                  <a:pt x="1305" y="34"/>
                  <a:pt x="1306" y="35"/>
                  <a:pt x="1306" y="36"/>
                </a:cubicBezTo>
                <a:cubicBezTo>
                  <a:pt x="1305" y="37"/>
                  <a:pt x="1305" y="36"/>
                  <a:pt x="1304" y="35"/>
                </a:cubicBezTo>
                <a:cubicBezTo>
                  <a:pt x="1304" y="35"/>
                  <a:pt x="1303" y="35"/>
                  <a:pt x="1303" y="34"/>
                </a:cubicBezTo>
                <a:cubicBezTo>
                  <a:pt x="1303" y="34"/>
                  <a:pt x="1304" y="34"/>
                  <a:pt x="1304" y="33"/>
                </a:cubicBezTo>
                <a:cubicBezTo>
                  <a:pt x="1304" y="32"/>
                  <a:pt x="1303" y="32"/>
                  <a:pt x="1302" y="32"/>
                </a:cubicBezTo>
                <a:cubicBezTo>
                  <a:pt x="1302" y="31"/>
                  <a:pt x="1301" y="31"/>
                  <a:pt x="1301" y="31"/>
                </a:cubicBezTo>
                <a:cubicBezTo>
                  <a:pt x="1300" y="31"/>
                  <a:pt x="1299" y="31"/>
                  <a:pt x="1298" y="31"/>
                </a:cubicBezTo>
                <a:cubicBezTo>
                  <a:pt x="1297" y="30"/>
                  <a:pt x="1296" y="30"/>
                  <a:pt x="1296" y="29"/>
                </a:cubicBezTo>
                <a:cubicBezTo>
                  <a:pt x="1295" y="29"/>
                  <a:pt x="1294" y="28"/>
                  <a:pt x="1293" y="28"/>
                </a:cubicBezTo>
                <a:cubicBezTo>
                  <a:pt x="1292" y="27"/>
                  <a:pt x="1291" y="27"/>
                  <a:pt x="1290" y="27"/>
                </a:cubicBezTo>
                <a:cubicBezTo>
                  <a:pt x="1290" y="27"/>
                  <a:pt x="1289" y="27"/>
                  <a:pt x="1289" y="27"/>
                </a:cubicBezTo>
                <a:cubicBezTo>
                  <a:pt x="1289" y="26"/>
                  <a:pt x="1288" y="26"/>
                  <a:pt x="1288" y="26"/>
                </a:cubicBezTo>
                <a:cubicBezTo>
                  <a:pt x="1287" y="26"/>
                  <a:pt x="1286" y="26"/>
                  <a:pt x="1285" y="26"/>
                </a:cubicBezTo>
                <a:cubicBezTo>
                  <a:pt x="1285" y="26"/>
                  <a:pt x="1283" y="25"/>
                  <a:pt x="1283" y="26"/>
                </a:cubicBezTo>
                <a:cubicBezTo>
                  <a:pt x="1283" y="26"/>
                  <a:pt x="1284" y="27"/>
                  <a:pt x="1284" y="27"/>
                </a:cubicBezTo>
                <a:cubicBezTo>
                  <a:pt x="1285" y="27"/>
                  <a:pt x="1285" y="28"/>
                  <a:pt x="1285" y="28"/>
                </a:cubicBezTo>
                <a:cubicBezTo>
                  <a:pt x="1285" y="28"/>
                  <a:pt x="1285" y="29"/>
                  <a:pt x="1285" y="29"/>
                </a:cubicBezTo>
                <a:cubicBezTo>
                  <a:pt x="1285" y="29"/>
                  <a:pt x="1285" y="30"/>
                  <a:pt x="1285" y="30"/>
                </a:cubicBezTo>
                <a:cubicBezTo>
                  <a:pt x="1285" y="31"/>
                  <a:pt x="1286" y="31"/>
                  <a:pt x="1286" y="31"/>
                </a:cubicBezTo>
                <a:cubicBezTo>
                  <a:pt x="1286" y="32"/>
                  <a:pt x="1285" y="33"/>
                  <a:pt x="1284" y="33"/>
                </a:cubicBezTo>
                <a:cubicBezTo>
                  <a:pt x="1284" y="33"/>
                  <a:pt x="1283" y="30"/>
                  <a:pt x="1283" y="30"/>
                </a:cubicBezTo>
                <a:cubicBezTo>
                  <a:pt x="1283" y="29"/>
                  <a:pt x="1283" y="29"/>
                  <a:pt x="1283" y="28"/>
                </a:cubicBezTo>
                <a:cubicBezTo>
                  <a:pt x="1282" y="27"/>
                  <a:pt x="1281" y="26"/>
                  <a:pt x="1281" y="26"/>
                </a:cubicBezTo>
                <a:cubicBezTo>
                  <a:pt x="1280" y="25"/>
                  <a:pt x="1279" y="25"/>
                  <a:pt x="1278" y="25"/>
                </a:cubicBezTo>
                <a:cubicBezTo>
                  <a:pt x="1277" y="24"/>
                  <a:pt x="1276" y="25"/>
                  <a:pt x="1275" y="25"/>
                </a:cubicBezTo>
                <a:cubicBezTo>
                  <a:pt x="1272" y="24"/>
                  <a:pt x="1269" y="24"/>
                  <a:pt x="1266" y="24"/>
                </a:cubicBezTo>
                <a:cubicBezTo>
                  <a:pt x="1262" y="24"/>
                  <a:pt x="1257" y="25"/>
                  <a:pt x="1252" y="25"/>
                </a:cubicBezTo>
                <a:cubicBezTo>
                  <a:pt x="1251" y="25"/>
                  <a:pt x="1251" y="24"/>
                  <a:pt x="1250" y="24"/>
                </a:cubicBezTo>
                <a:cubicBezTo>
                  <a:pt x="1249" y="24"/>
                  <a:pt x="1248" y="25"/>
                  <a:pt x="1247" y="25"/>
                </a:cubicBezTo>
                <a:cubicBezTo>
                  <a:pt x="1246" y="25"/>
                  <a:pt x="1245" y="24"/>
                  <a:pt x="1244" y="24"/>
                </a:cubicBezTo>
                <a:cubicBezTo>
                  <a:pt x="1244" y="24"/>
                  <a:pt x="1243" y="24"/>
                  <a:pt x="1242" y="24"/>
                </a:cubicBezTo>
                <a:cubicBezTo>
                  <a:pt x="1242" y="25"/>
                  <a:pt x="1243" y="26"/>
                  <a:pt x="1244" y="26"/>
                </a:cubicBezTo>
                <a:cubicBezTo>
                  <a:pt x="1246" y="27"/>
                  <a:pt x="1247" y="28"/>
                  <a:pt x="1249" y="29"/>
                </a:cubicBezTo>
                <a:cubicBezTo>
                  <a:pt x="1250" y="30"/>
                  <a:pt x="1251" y="30"/>
                  <a:pt x="1252" y="31"/>
                </a:cubicBezTo>
                <a:cubicBezTo>
                  <a:pt x="1252" y="31"/>
                  <a:pt x="1253" y="32"/>
                  <a:pt x="1254" y="32"/>
                </a:cubicBezTo>
                <a:cubicBezTo>
                  <a:pt x="1255" y="33"/>
                  <a:pt x="1255" y="33"/>
                  <a:pt x="1256" y="34"/>
                </a:cubicBezTo>
                <a:cubicBezTo>
                  <a:pt x="1257" y="34"/>
                  <a:pt x="1257" y="35"/>
                  <a:pt x="1258" y="36"/>
                </a:cubicBezTo>
                <a:cubicBezTo>
                  <a:pt x="1259" y="36"/>
                  <a:pt x="1260" y="37"/>
                  <a:pt x="1260" y="37"/>
                </a:cubicBezTo>
                <a:cubicBezTo>
                  <a:pt x="1262" y="37"/>
                  <a:pt x="1263" y="37"/>
                  <a:pt x="1264" y="38"/>
                </a:cubicBezTo>
                <a:cubicBezTo>
                  <a:pt x="1265" y="38"/>
                  <a:pt x="1265" y="38"/>
                  <a:pt x="1266" y="38"/>
                </a:cubicBezTo>
                <a:cubicBezTo>
                  <a:pt x="1267" y="38"/>
                  <a:pt x="1269" y="38"/>
                  <a:pt x="1269" y="39"/>
                </a:cubicBezTo>
                <a:cubicBezTo>
                  <a:pt x="1268" y="39"/>
                  <a:pt x="1267" y="39"/>
                  <a:pt x="1266" y="39"/>
                </a:cubicBezTo>
                <a:cubicBezTo>
                  <a:pt x="1265" y="39"/>
                  <a:pt x="1264" y="39"/>
                  <a:pt x="1263" y="39"/>
                </a:cubicBezTo>
                <a:cubicBezTo>
                  <a:pt x="1262" y="38"/>
                  <a:pt x="1261" y="38"/>
                  <a:pt x="1261" y="38"/>
                </a:cubicBezTo>
                <a:cubicBezTo>
                  <a:pt x="1260" y="38"/>
                  <a:pt x="1259" y="38"/>
                  <a:pt x="1258" y="38"/>
                </a:cubicBezTo>
                <a:cubicBezTo>
                  <a:pt x="1258" y="38"/>
                  <a:pt x="1257" y="38"/>
                  <a:pt x="1257" y="38"/>
                </a:cubicBezTo>
                <a:cubicBezTo>
                  <a:pt x="1255" y="38"/>
                  <a:pt x="1254" y="38"/>
                  <a:pt x="1253" y="38"/>
                </a:cubicBezTo>
                <a:cubicBezTo>
                  <a:pt x="1252" y="38"/>
                  <a:pt x="1251" y="38"/>
                  <a:pt x="1251" y="39"/>
                </a:cubicBezTo>
                <a:cubicBezTo>
                  <a:pt x="1250" y="40"/>
                  <a:pt x="1251" y="40"/>
                  <a:pt x="1251" y="41"/>
                </a:cubicBezTo>
                <a:cubicBezTo>
                  <a:pt x="1252" y="41"/>
                  <a:pt x="1252" y="42"/>
                  <a:pt x="1252" y="42"/>
                </a:cubicBezTo>
                <a:cubicBezTo>
                  <a:pt x="1253" y="43"/>
                  <a:pt x="1254" y="43"/>
                  <a:pt x="1253" y="43"/>
                </a:cubicBezTo>
                <a:cubicBezTo>
                  <a:pt x="1253" y="44"/>
                  <a:pt x="1252" y="44"/>
                  <a:pt x="1252" y="44"/>
                </a:cubicBezTo>
                <a:cubicBezTo>
                  <a:pt x="1252" y="44"/>
                  <a:pt x="1252" y="44"/>
                  <a:pt x="1252" y="44"/>
                </a:cubicBezTo>
                <a:cubicBezTo>
                  <a:pt x="1251" y="45"/>
                  <a:pt x="1252" y="46"/>
                  <a:pt x="1252" y="47"/>
                </a:cubicBezTo>
                <a:cubicBezTo>
                  <a:pt x="1252" y="47"/>
                  <a:pt x="1253" y="47"/>
                  <a:pt x="1253" y="48"/>
                </a:cubicBezTo>
                <a:cubicBezTo>
                  <a:pt x="1253" y="48"/>
                  <a:pt x="1253" y="49"/>
                  <a:pt x="1253" y="49"/>
                </a:cubicBezTo>
                <a:cubicBezTo>
                  <a:pt x="1253" y="50"/>
                  <a:pt x="1254" y="50"/>
                  <a:pt x="1254" y="51"/>
                </a:cubicBezTo>
                <a:cubicBezTo>
                  <a:pt x="1254" y="52"/>
                  <a:pt x="1251" y="52"/>
                  <a:pt x="1250" y="52"/>
                </a:cubicBezTo>
                <a:cubicBezTo>
                  <a:pt x="1250" y="52"/>
                  <a:pt x="1249" y="52"/>
                  <a:pt x="1249" y="52"/>
                </a:cubicBezTo>
                <a:cubicBezTo>
                  <a:pt x="1247" y="52"/>
                  <a:pt x="1245" y="52"/>
                  <a:pt x="1244" y="51"/>
                </a:cubicBezTo>
                <a:cubicBezTo>
                  <a:pt x="1243" y="51"/>
                  <a:pt x="1242" y="50"/>
                  <a:pt x="1242" y="49"/>
                </a:cubicBezTo>
                <a:cubicBezTo>
                  <a:pt x="1241" y="49"/>
                  <a:pt x="1240" y="49"/>
                  <a:pt x="1239" y="48"/>
                </a:cubicBezTo>
                <a:cubicBezTo>
                  <a:pt x="1238" y="48"/>
                  <a:pt x="1237" y="48"/>
                  <a:pt x="1236" y="48"/>
                </a:cubicBezTo>
                <a:cubicBezTo>
                  <a:pt x="1235" y="47"/>
                  <a:pt x="1236" y="46"/>
                  <a:pt x="1235" y="45"/>
                </a:cubicBezTo>
                <a:cubicBezTo>
                  <a:pt x="1235" y="45"/>
                  <a:pt x="1234" y="44"/>
                  <a:pt x="1233" y="44"/>
                </a:cubicBezTo>
                <a:cubicBezTo>
                  <a:pt x="1232" y="43"/>
                  <a:pt x="1231" y="44"/>
                  <a:pt x="1230" y="43"/>
                </a:cubicBezTo>
                <a:cubicBezTo>
                  <a:pt x="1229" y="43"/>
                  <a:pt x="1228" y="43"/>
                  <a:pt x="1227" y="43"/>
                </a:cubicBezTo>
                <a:cubicBezTo>
                  <a:pt x="1226" y="43"/>
                  <a:pt x="1225" y="43"/>
                  <a:pt x="1224" y="43"/>
                </a:cubicBezTo>
                <a:cubicBezTo>
                  <a:pt x="1223" y="43"/>
                  <a:pt x="1222" y="42"/>
                  <a:pt x="1222" y="42"/>
                </a:cubicBezTo>
                <a:cubicBezTo>
                  <a:pt x="1221" y="42"/>
                  <a:pt x="1221" y="42"/>
                  <a:pt x="1220" y="42"/>
                </a:cubicBezTo>
                <a:cubicBezTo>
                  <a:pt x="1220" y="42"/>
                  <a:pt x="1219" y="41"/>
                  <a:pt x="1218" y="42"/>
                </a:cubicBezTo>
                <a:cubicBezTo>
                  <a:pt x="1218" y="42"/>
                  <a:pt x="1217" y="42"/>
                  <a:pt x="1217" y="41"/>
                </a:cubicBezTo>
                <a:cubicBezTo>
                  <a:pt x="1217" y="41"/>
                  <a:pt x="1218" y="41"/>
                  <a:pt x="1217" y="40"/>
                </a:cubicBezTo>
                <a:cubicBezTo>
                  <a:pt x="1217" y="40"/>
                  <a:pt x="1216" y="40"/>
                  <a:pt x="1216" y="40"/>
                </a:cubicBezTo>
                <a:cubicBezTo>
                  <a:pt x="1215" y="39"/>
                  <a:pt x="1215" y="39"/>
                  <a:pt x="1214" y="39"/>
                </a:cubicBezTo>
                <a:cubicBezTo>
                  <a:pt x="1214" y="38"/>
                  <a:pt x="1213" y="38"/>
                  <a:pt x="1213" y="38"/>
                </a:cubicBezTo>
                <a:cubicBezTo>
                  <a:pt x="1212" y="38"/>
                  <a:pt x="1211" y="37"/>
                  <a:pt x="1210" y="37"/>
                </a:cubicBezTo>
                <a:cubicBezTo>
                  <a:pt x="1207" y="37"/>
                  <a:pt x="1205" y="37"/>
                  <a:pt x="1204" y="35"/>
                </a:cubicBezTo>
                <a:cubicBezTo>
                  <a:pt x="1203" y="35"/>
                  <a:pt x="1202" y="34"/>
                  <a:pt x="1201" y="33"/>
                </a:cubicBezTo>
                <a:cubicBezTo>
                  <a:pt x="1200" y="33"/>
                  <a:pt x="1199" y="33"/>
                  <a:pt x="1198" y="33"/>
                </a:cubicBezTo>
                <a:cubicBezTo>
                  <a:pt x="1197" y="33"/>
                  <a:pt x="1196" y="32"/>
                  <a:pt x="1194" y="32"/>
                </a:cubicBezTo>
                <a:cubicBezTo>
                  <a:pt x="1193" y="32"/>
                  <a:pt x="1192" y="32"/>
                  <a:pt x="1190" y="32"/>
                </a:cubicBezTo>
                <a:cubicBezTo>
                  <a:pt x="1188" y="32"/>
                  <a:pt x="1186" y="32"/>
                  <a:pt x="1184" y="32"/>
                </a:cubicBezTo>
                <a:cubicBezTo>
                  <a:pt x="1182" y="33"/>
                  <a:pt x="1180" y="32"/>
                  <a:pt x="1178" y="32"/>
                </a:cubicBezTo>
                <a:cubicBezTo>
                  <a:pt x="1178" y="32"/>
                  <a:pt x="1177" y="32"/>
                  <a:pt x="1177" y="32"/>
                </a:cubicBezTo>
                <a:cubicBezTo>
                  <a:pt x="1177" y="32"/>
                  <a:pt x="1177" y="33"/>
                  <a:pt x="1178" y="34"/>
                </a:cubicBezTo>
                <a:cubicBezTo>
                  <a:pt x="1178" y="34"/>
                  <a:pt x="1179" y="35"/>
                  <a:pt x="1179" y="35"/>
                </a:cubicBezTo>
                <a:cubicBezTo>
                  <a:pt x="1180" y="36"/>
                  <a:pt x="1180" y="37"/>
                  <a:pt x="1180" y="37"/>
                </a:cubicBezTo>
                <a:cubicBezTo>
                  <a:pt x="1181" y="38"/>
                  <a:pt x="1181" y="39"/>
                  <a:pt x="1181" y="40"/>
                </a:cubicBezTo>
                <a:cubicBezTo>
                  <a:pt x="1182" y="41"/>
                  <a:pt x="1183" y="42"/>
                  <a:pt x="1185" y="43"/>
                </a:cubicBezTo>
                <a:cubicBezTo>
                  <a:pt x="1185" y="43"/>
                  <a:pt x="1185" y="43"/>
                  <a:pt x="1186" y="43"/>
                </a:cubicBezTo>
                <a:cubicBezTo>
                  <a:pt x="1186" y="44"/>
                  <a:pt x="1187" y="44"/>
                  <a:pt x="1188" y="45"/>
                </a:cubicBezTo>
                <a:cubicBezTo>
                  <a:pt x="1189" y="45"/>
                  <a:pt x="1190" y="45"/>
                  <a:pt x="1190" y="46"/>
                </a:cubicBezTo>
                <a:cubicBezTo>
                  <a:pt x="1191" y="46"/>
                  <a:pt x="1192" y="47"/>
                  <a:pt x="1193" y="47"/>
                </a:cubicBezTo>
                <a:cubicBezTo>
                  <a:pt x="1193" y="48"/>
                  <a:pt x="1195" y="47"/>
                  <a:pt x="1195" y="48"/>
                </a:cubicBezTo>
                <a:cubicBezTo>
                  <a:pt x="1195" y="48"/>
                  <a:pt x="1195" y="49"/>
                  <a:pt x="1195" y="49"/>
                </a:cubicBezTo>
                <a:cubicBezTo>
                  <a:pt x="1195" y="49"/>
                  <a:pt x="1194" y="49"/>
                  <a:pt x="1194" y="49"/>
                </a:cubicBezTo>
                <a:cubicBezTo>
                  <a:pt x="1193" y="49"/>
                  <a:pt x="1192" y="50"/>
                  <a:pt x="1191" y="49"/>
                </a:cubicBezTo>
                <a:cubicBezTo>
                  <a:pt x="1191" y="49"/>
                  <a:pt x="1190" y="49"/>
                  <a:pt x="1189" y="49"/>
                </a:cubicBezTo>
                <a:cubicBezTo>
                  <a:pt x="1188" y="49"/>
                  <a:pt x="1186" y="49"/>
                  <a:pt x="1185" y="49"/>
                </a:cubicBezTo>
                <a:cubicBezTo>
                  <a:pt x="1183" y="48"/>
                  <a:pt x="1181" y="48"/>
                  <a:pt x="1179" y="48"/>
                </a:cubicBezTo>
                <a:cubicBezTo>
                  <a:pt x="1179" y="48"/>
                  <a:pt x="1178" y="48"/>
                  <a:pt x="1178" y="48"/>
                </a:cubicBezTo>
                <a:cubicBezTo>
                  <a:pt x="1178" y="48"/>
                  <a:pt x="1178" y="48"/>
                  <a:pt x="1178" y="49"/>
                </a:cubicBezTo>
                <a:cubicBezTo>
                  <a:pt x="1179" y="50"/>
                  <a:pt x="1180" y="50"/>
                  <a:pt x="1180" y="50"/>
                </a:cubicBezTo>
                <a:cubicBezTo>
                  <a:pt x="1181" y="50"/>
                  <a:pt x="1182" y="50"/>
                  <a:pt x="1183" y="51"/>
                </a:cubicBezTo>
                <a:cubicBezTo>
                  <a:pt x="1183" y="51"/>
                  <a:pt x="1183" y="52"/>
                  <a:pt x="1183" y="52"/>
                </a:cubicBezTo>
                <a:cubicBezTo>
                  <a:pt x="1183" y="52"/>
                  <a:pt x="1184" y="52"/>
                  <a:pt x="1184" y="52"/>
                </a:cubicBezTo>
                <a:cubicBezTo>
                  <a:pt x="1185" y="52"/>
                  <a:pt x="1185" y="52"/>
                  <a:pt x="1185" y="52"/>
                </a:cubicBezTo>
                <a:cubicBezTo>
                  <a:pt x="1186" y="53"/>
                  <a:pt x="1186" y="53"/>
                  <a:pt x="1187" y="53"/>
                </a:cubicBezTo>
                <a:cubicBezTo>
                  <a:pt x="1187" y="53"/>
                  <a:pt x="1188" y="53"/>
                  <a:pt x="1189" y="53"/>
                </a:cubicBezTo>
                <a:cubicBezTo>
                  <a:pt x="1189" y="54"/>
                  <a:pt x="1190" y="54"/>
                  <a:pt x="1190" y="54"/>
                </a:cubicBezTo>
                <a:cubicBezTo>
                  <a:pt x="1191" y="55"/>
                  <a:pt x="1191" y="55"/>
                  <a:pt x="1191" y="55"/>
                </a:cubicBezTo>
                <a:cubicBezTo>
                  <a:pt x="1191" y="56"/>
                  <a:pt x="1193" y="55"/>
                  <a:pt x="1193" y="56"/>
                </a:cubicBezTo>
                <a:cubicBezTo>
                  <a:pt x="1192" y="57"/>
                  <a:pt x="1192" y="57"/>
                  <a:pt x="1191" y="57"/>
                </a:cubicBezTo>
                <a:cubicBezTo>
                  <a:pt x="1190" y="57"/>
                  <a:pt x="1189" y="57"/>
                  <a:pt x="1189" y="56"/>
                </a:cubicBezTo>
                <a:cubicBezTo>
                  <a:pt x="1188" y="56"/>
                  <a:pt x="1188" y="55"/>
                  <a:pt x="1187" y="55"/>
                </a:cubicBezTo>
                <a:cubicBezTo>
                  <a:pt x="1187" y="54"/>
                  <a:pt x="1187" y="54"/>
                  <a:pt x="1186" y="54"/>
                </a:cubicBezTo>
                <a:cubicBezTo>
                  <a:pt x="1186" y="54"/>
                  <a:pt x="1186" y="53"/>
                  <a:pt x="1185" y="53"/>
                </a:cubicBezTo>
                <a:cubicBezTo>
                  <a:pt x="1184" y="53"/>
                  <a:pt x="1183" y="53"/>
                  <a:pt x="1182" y="53"/>
                </a:cubicBezTo>
                <a:cubicBezTo>
                  <a:pt x="1181" y="53"/>
                  <a:pt x="1181" y="52"/>
                  <a:pt x="1180" y="52"/>
                </a:cubicBezTo>
                <a:cubicBezTo>
                  <a:pt x="1180" y="51"/>
                  <a:pt x="1179" y="51"/>
                  <a:pt x="1179" y="51"/>
                </a:cubicBezTo>
                <a:cubicBezTo>
                  <a:pt x="1178" y="51"/>
                  <a:pt x="1178" y="51"/>
                  <a:pt x="1178" y="50"/>
                </a:cubicBezTo>
                <a:cubicBezTo>
                  <a:pt x="1176" y="50"/>
                  <a:pt x="1174" y="49"/>
                  <a:pt x="1172" y="49"/>
                </a:cubicBezTo>
                <a:cubicBezTo>
                  <a:pt x="1170" y="48"/>
                  <a:pt x="1168" y="48"/>
                  <a:pt x="1166" y="48"/>
                </a:cubicBezTo>
                <a:cubicBezTo>
                  <a:pt x="1165" y="47"/>
                  <a:pt x="1164" y="47"/>
                  <a:pt x="1163" y="47"/>
                </a:cubicBezTo>
                <a:cubicBezTo>
                  <a:pt x="1163" y="46"/>
                  <a:pt x="1162" y="46"/>
                  <a:pt x="1161" y="46"/>
                </a:cubicBezTo>
                <a:cubicBezTo>
                  <a:pt x="1160" y="46"/>
                  <a:pt x="1159" y="46"/>
                  <a:pt x="1157" y="46"/>
                </a:cubicBezTo>
                <a:cubicBezTo>
                  <a:pt x="1157" y="46"/>
                  <a:pt x="1156" y="46"/>
                  <a:pt x="1155" y="46"/>
                </a:cubicBezTo>
                <a:cubicBezTo>
                  <a:pt x="1155" y="47"/>
                  <a:pt x="1155" y="48"/>
                  <a:pt x="1154" y="49"/>
                </a:cubicBezTo>
                <a:cubicBezTo>
                  <a:pt x="1154" y="49"/>
                  <a:pt x="1154" y="50"/>
                  <a:pt x="1153" y="50"/>
                </a:cubicBezTo>
                <a:cubicBezTo>
                  <a:pt x="1153" y="51"/>
                  <a:pt x="1153" y="51"/>
                  <a:pt x="1152" y="52"/>
                </a:cubicBezTo>
                <a:cubicBezTo>
                  <a:pt x="1151" y="53"/>
                  <a:pt x="1149" y="54"/>
                  <a:pt x="1149" y="55"/>
                </a:cubicBezTo>
                <a:cubicBezTo>
                  <a:pt x="1149" y="55"/>
                  <a:pt x="1149" y="56"/>
                  <a:pt x="1149" y="56"/>
                </a:cubicBezTo>
                <a:cubicBezTo>
                  <a:pt x="1149" y="57"/>
                  <a:pt x="1149" y="57"/>
                  <a:pt x="1149" y="57"/>
                </a:cubicBezTo>
                <a:cubicBezTo>
                  <a:pt x="1149" y="58"/>
                  <a:pt x="1149" y="58"/>
                  <a:pt x="1149" y="58"/>
                </a:cubicBezTo>
                <a:cubicBezTo>
                  <a:pt x="1149" y="59"/>
                  <a:pt x="1149" y="59"/>
                  <a:pt x="1149" y="59"/>
                </a:cubicBezTo>
                <a:cubicBezTo>
                  <a:pt x="1148" y="59"/>
                  <a:pt x="1148" y="59"/>
                  <a:pt x="1148" y="59"/>
                </a:cubicBezTo>
                <a:cubicBezTo>
                  <a:pt x="1147" y="59"/>
                  <a:pt x="1147" y="59"/>
                  <a:pt x="1147" y="58"/>
                </a:cubicBezTo>
                <a:cubicBezTo>
                  <a:pt x="1147" y="58"/>
                  <a:pt x="1147" y="57"/>
                  <a:pt x="1147" y="57"/>
                </a:cubicBezTo>
                <a:cubicBezTo>
                  <a:pt x="1147" y="56"/>
                  <a:pt x="1146" y="55"/>
                  <a:pt x="1146" y="54"/>
                </a:cubicBezTo>
                <a:cubicBezTo>
                  <a:pt x="1147" y="54"/>
                  <a:pt x="1147" y="53"/>
                  <a:pt x="1148" y="53"/>
                </a:cubicBezTo>
                <a:cubicBezTo>
                  <a:pt x="1148" y="52"/>
                  <a:pt x="1148" y="52"/>
                  <a:pt x="1149" y="52"/>
                </a:cubicBezTo>
                <a:cubicBezTo>
                  <a:pt x="1149" y="51"/>
                  <a:pt x="1150" y="49"/>
                  <a:pt x="1150" y="48"/>
                </a:cubicBezTo>
                <a:cubicBezTo>
                  <a:pt x="1150" y="47"/>
                  <a:pt x="1149" y="47"/>
                  <a:pt x="1149" y="46"/>
                </a:cubicBezTo>
                <a:cubicBezTo>
                  <a:pt x="1148" y="46"/>
                  <a:pt x="1149" y="45"/>
                  <a:pt x="1149" y="45"/>
                </a:cubicBezTo>
                <a:cubicBezTo>
                  <a:pt x="1149" y="44"/>
                  <a:pt x="1149" y="44"/>
                  <a:pt x="1148" y="43"/>
                </a:cubicBezTo>
                <a:cubicBezTo>
                  <a:pt x="1147" y="42"/>
                  <a:pt x="1145" y="41"/>
                  <a:pt x="1144" y="39"/>
                </a:cubicBezTo>
                <a:cubicBezTo>
                  <a:pt x="1142" y="38"/>
                  <a:pt x="1140" y="37"/>
                  <a:pt x="1138" y="36"/>
                </a:cubicBezTo>
                <a:cubicBezTo>
                  <a:pt x="1136" y="36"/>
                  <a:pt x="1135" y="36"/>
                  <a:pt x="1133" y="36"/>
                </a:cubicBezTo>
                <a:cubicBezTo>
                  <a:pt x="1131" y="37"/>
                  <a:pt x="1130" y="37"/>
                  <a:pt x="1129" y="37"/>
                </a:cubicBezTo>
                <a:cubicBezTo>
                  <a:pt x="1128" y="38"/>
                  <a:pt x="1127" y="38"/>
                  <a:pt x="1126" y="38"/>
                </a:cubicBezTo>
                <a:cubicBezTo>
                  <a:pt x="1123" y="39"/>
                  <a:pt x="1120" y="39"/>
                  <a:pt x="1117" y="39"/>
                </a:cubicBezTo>
                <a:cubicBezTo>
                  <a:pt x="1115" y="40"/>
                  <a:pt x="1113" y="40"/>
                  <a:pt x="1112" y="40"/>
                </a:cubicBezTo>
                <a:cubicBezTo>
                  <a:pt x="1111" y="41"/>
                  <a:pt x="1111" y="40"/>
                  <a:pt x="1110" y="40"/>
                </a:cubicBezTo>
                <a:cubicBezTo>
                  <a:pt x="1109" y="40"/>
                  <a:pt x="1109" y="41"/>
                  <a:pt x="1108" y="41"/>
                </a:cubicBezTo>
                <a:cubicBezTo>
                  <a:pt x="1107" y="41"/>
                  <a:pt x="1106" y="41"/>
                  <a:pt x="1105" y="41"/>
                </a:cubicBezTo>
                <a:cubicBezTo>
                  <a:pt x="1102" y="42"/>
                  <a:pt x="1100" y="42"/>
                  <a:pt x="1097" y="42"/>
                </a:cubicBezTo>
                <a:cubicBezTo>
                  <a:pt x="1096" y="42"/>
                  <a:pt x="1095" y="42"/>
                  <a:pt x="1094" y="43"/>
                </a:cubicBezTo>
                <a:cubicBezTo>
                  <a:pt x="1093" y="43"/>
                  <a:pt x="1092" y="43"/>
                  <a:pt x="1091" y="44"/>
                </a:cubicBezTo>
                <a:cubicBezTo>
                  <a:pt x="1090" y="44"/>
                  <a:pt x="1089" y="45"/>
                  <a:pt x="1088" y="45"/>
                </a:cubicBezTo>
                <a:cubicBezTo>
                  <a:pt x="1087" y="45"/>
                  <a:pt x="1086" y="45"/>
                  <a:pt x="1085" y="45"/>
                </a:cubicBezTo>
                <a:cubicBezTo>
                  <a:pt x="1084" y="45"/>
                  <a:pt x="1083" y="45"/>
                  <a:pt x="1082" y="46"/>
                </a:cubicBezTo>
                <a:cubicBezTo>
                  <a:pt x="1082" y="47"/>
                  <a:pt x="1084" y="47"/>
                  <a:pt x="1084" y="47"/>
                </a:cubicBezTo>
                <a:cubicBezTo>
                  <a:pt x="1085" y="48"/>
                  <a:pt x="1085" y="48"/>
                  <a:pt x="1086" y="48"/>
                </a:cubicBezTo>
                <a:cubicBezTo>
                  <a:pt x="1086" y="49"/>
                  <a:pt x="1087" y="49"/>
                  <a:pt x="1087" y="49"/>
                </a:cubicBezTo>
                <a:cubicBezTo>
                  <a:pt x="1088" y="49"/>
                  <a:pt x="1088" y="50"/>
                  <a:pt x="1089" y="50"/>
                </a:cubicBezTo>
                <a:cubicBezTo>
                  <a:pt x="1090" y="50"/>
                  <a:pt x="1090" y="51"/>
                  <a:pt x="1091" y="51"/>
                </a:cubicBezTo>
                <a:cubicBezTo>
                  <a:pt x="1092" y="52"/>
                  <a:pt x="1093" y="52"/>
                  <a:pt x="1095" y="53"/>
                </a:cubicBezTo>
                <a:cubicBezTo>
                  <a:pt x="1097" y="55"/>
                  <a:pt x="1100" y="56"/>
                  <a:pt x="1103" y="57"/>
                </a:cubicBezTo>
                <a:cubicBezTo>
                  <a:pt x="1104" y="58"/>
                  <a:pt x="1104" y="58"/>
                  <a:pt x="1105" y="58"/>
                </a:cubicBezTo>
                <a:cubicBezTo>
                  <a:pt x="1105" y="59"/>
                  <a:pt x="1106" y="59"/>
                  <a:pt x="1107" y="59"/>
                </a:cubicBezTo>
                <a:cubicBezTo>
                  <a:pt x="1107" y="60"/>
                  <a:pt x="1108" y="60"/>
                  <a:pt x="1108" y="60"/>
                </a:cubicBezTo>
                <a:cubicBezTo>
                  <a:pt x="1109" y="61"/>
                  <a:pt x="1109" y="61"/>
                  <a:pt x="1109" y="61"/>
                </a:cubicBezTo>
                <a:cubicBezTo>
                  <a:pt x="1110" y="61"/>
                  <a:pt x="1111" y="62"/>
                  <a:pt x="1111" y="62"/>
                </a:cubicBezTo>
                <a:cubicBezTo>
                  <a:pt x="1111" y="62"/>
                  <a:pt x="1112" y="62"/>
                  <a:pt x="1112" y="63"/>
                </a:cubicBezTo>
                <a:cubicBezTo>
                  <a:pt x="1112" y="63"/>
                  <a:pt x="1111" y="63"/>
                  <a:pt x="1111" y="63"/>
                </a:cubicBezTo>
                <a:cubicBezTo>
                  <a:pt x="1110" y="62"/>
                  <a:pt x="1110" y="62"/>
                  <a:pt x="1109" y="62"/>
                </a:cubicBezTo>
                <a:cubicBezTo>
                  <a:pt x="1108" y="62"/>
                  <a:pt x="1108" y="62"/>
                  <a:pt x="1108" y="61"/>
                </a:cubicBezTo>
                <a:cubicBezTo>
                  <a:pt x="1107" y="59"/>
                  <a:pt x="1105" y="60"/>
                  <a:pt x="1104" y="59"/>
                </a:cubicBezTo>
                <a:cubicBezTo>
                  <a:pt x="1103" y="58"/>
                  <a:pt x="1103" y="58"/>
                  <a:pt x="1103" y="58"/>
                </a:cubicBezTo>
                <a:cubicBezTo>
                  <a:pt x="1103" y="58"/>
                  <a:pt x="1102" y="58"/>
                  <a:pt x="1102" y="57"/>
                </a:cubicBezTo>
                <a:cubicBezTo>
                  <a:pt x="1101" y="57"/>
                  <a:pt x="1100" y="57"/>
                  <a:pt x="1099" y="57"/>
                </a:cubicBezTo>
                <a:cubicBezTo>
                  <a:pt x="1098" y="57"/>
                  <a:pt x="1097" y="57"/>
                  <a:pt x="1096" y="56"/>
                </a:cubicBezTo>
                <a:cubicBezTo>
                  <a:pt x="1095" y="56"/>
                  <a:pt x="1094" y="56"/>
                  <a:pt x="1093" y="56"/>
                </a:cubicBezTo>
                <a:cubicBezTo>
                  <a:pt x="1092" y="56"/>
                  <a:pt x="1091" y="55"/>
                  <a:pt x="1091" y="55"/>
                </a:cubicBezTo>
                <a:cubicBezTo>
                  <a:pt x="1090" y="54"/>
                  <a:pt x="1090" y="54"/>
                  <a:pt x="1090" y="54"/>
                </a:cubicBezTo>
                <a:cubicBezTo>
                  <a:pt x="1090" y="53"/>
                  <a:pt x="1091" y="53"/>
                  <a:pt x="1091" y="53"/>
                </a:cubicBezTo>
                <a:cubicBezTo>
                  <a:pt x="1091" y="52"/>
                  <a:pt x="1089" y="51"/>
                  <a:pt x="1089" y="51"/>
                </a:cubicBezTo>
                <a:cubicBezTo>
                  <a:pt x="1088" y="50"/>
                  <a:pt x="1088" y="50"/>
                  <a:pt x="1087" y="49"/>
                </a:cubicBezTo>
                <a:cubicBezTo>
                  <a:pt x="1087" y="49"/>
                  <a:pt x="1086" y="49"/>
                  <a:pt x="1085" y="49"/>
                </a:cubicBezTo>
                <a:cubicBezTo>
                  <a:pt x="1084" y="49"/>
                  <a:pt x="1084" y="49"/>
                  <a:pt x="1084" y="49"/>
                </a:cubicBezTo>
                <a:cubicBezTo>
                  <a:pt x="1083" y="49"/>
                  <a:pt x="1082" y="49"/>
                  <a:pt x="1082" y="49"/>
                </a:cubicBezTo>
                <a:cubicBezTo>
                  <a:pt x="1081" y="49"/>
                  <a:pt x="1080" y="49"/>
                  <a:pt x="1079" y="49"/>
                </a:cubicBezTo>
                <a:cubicBezTo>
                  <a:pt x="1078" y="50"/>
                  <a:pt x="1077" y="50"/>
                  <a:pt x="1075" y="50"/>
                </a:cubicBezTo>
                <a:cubicBezTo>
                  <a:pt x="1074" y="50"/>
                  <a:pt x="1073" y="50"/>
                  <a:pt x="1072" y="51"/>
                </a:cubicBezTo>
                <a:cubicBezTo>
                  <a:pt x="1070" y="51"/>
                  <a:pt x="1068" y="51"/>
                  <a:pt x="1067" y="52"/>
                </a:cubicBezTo>
                <a:cubicBezTo>
                  <a:pt x="1066" y="52"/>
                  <a:pt x="1065" y="52"/>
                  <a:pt x="1065" y="52"/>
                </a:cubicBezTo>
                <a:cubicBezTo>
                  <a:pt x="1064" y="52"/>
                  <a:pt x="1064" y="52"/>
                  <a:pt x="1063" y="52"/>
                </a:cubicBezTo>
                <a:cubicBezTo>
                  <a:pt x="1062" y="52"/>
                  <a:pt x="1062" y="52"/>
                  <a:pt x="1061" y="52"/>
                </a:cubicBezTo>
                <a:cubicBezTo>
                  <a:pt x="1060" y="52"/>
                  <a:pt x="1059" y="53"/>
                  <a:pt x="1060" y="54"/>
                </a:cubicBezTo>
                <a:cubicBezTo>
                  <a:pt x="1060" y="54"/>
                  <a:pt x="1060" y="55"/>
                  <a:pt x="1061" y="55"/>
                </a:cubicBezTo>
                <a:cubicBezTo>
                  <a:pt x="1061" y="56"/>
                  <a:pt x="1062" y="56"/>
                  <a:pt x="1062" y="56"/>
                </a:cubicBezTo>
                <a:cubicBezTo>
                  <a:pt x="1063" y="57"/>
                  <a:pt x="1063" y="57"/>
                  <a:pt x="1064" y="58"/>
                </a:cubicBezTo>
                <a:cubicBezTo>
                  <a:pt x="1064" y="60"/>
                  <a:pt x="1063" y="61"/>
                  <a:pt x="1062" y="62"/>
                </a:cubicBezTo>
                <a:cubicBezTo>
                  <a:pt x="1062" y="62"/>
                  <a:pt x="1061" y="63"/>
                  <a:pt x="1061" y="64"/>
                </a:cubicBezTo>
                <a:cubicBezTo>
                  <a:pt x="1061" y="65"/>
                  <a:pt x="1062" y="65"/>
                  <a:pt x="1062" y="65"/>
                </a:cubicBezTo>
                <a:cubicBezTo>
                  <a:pt x="1063" y="66"/>
                  <a:pt x="1063" y="67"/>
                  <a:pt x="1063" y="67"/>
                </a:cubicBezTo>
                <a:cubicBezTo>
                  <a:pt x="1063" y="68"/>
                  <a:pt x="1063" y="69"/>
                  <a:pt x="1063" y="70"/>
                </a:cubicBezTo>
                <a:cubicBezTo>
                  <a:pt x="1062" y="70"/>
                  <a:pt x="1061" y="70"/>
                  <a:pt x="1060" y="71"/>
                </a:cubicBezTo>
                <a:cubicBezTo>
                  <a:pt x="1059" y="71"/>
                  <a:pt x="1059" y="72"/>
                  <a:pt x="1058" y="71"/>
                </a:cubicBezTo>
                <a:cubicBezTo>
                  <a:pt x="1057" y="71"/>
                  <a:pt x="1056" y="71"/>
                  <a:pt x="1056" y="71"/>
                </a:cubicBezTo>
                <a:cubicBezTo>
                  <a:pt x="1055" y="70"/>
                  <a:pt x="1054" y="70"/>
                  <a:pt x="1053" y="69"/>
                </a:cubicBezTo>
                <a:cubicBezTo>
                  <a:pt x="1053" y="69"/>
                  <a:pt x="1052" y="69"/>
                  <a:pt x="1051" y="68"/>
                </a:cubicBezTo>
                <a:cubicBezTo>
                  <a:pt x="1050" y="68"/>
                  <a:pt x="1049" y="68"/>
                  <a:pt x="1049" y="68"/>
                </a:cubicBezTo>
                <a:cubicBezTo>
                  <a:pt x="1048" y="68"/>
                  <a:pt x="1047" y="68"/>
                  <a:pt x="1047" y="68"/>
                </a:cubicBezTo>
                <a:cubicBezTo>
                  <a:pt x="1045" y="68"/>
                  <a:pt x="1043" y="68"/>
                  <a:pt x="1042" y="68"/>
                </a:cubicBezTo>
                <a:cubicBezTo>
                  <a:pt x="1041" y="69"/>
                  <a:pt x="1040" y="69"/>
                  <a:pt x="1039" y="69"/>
                </a:cubicBezTo>
                <a:cubicBezTo>
                  <a:pt x="1038" y="69"/>
                  <a:pt x="1038" y="69"/>
                  <a:pt x="1037" y="70"/>
                </a:cubicBezTo>
                <a:cubicBezTo>
                  <a:pt x="1037" y="71"/>
                  <a:pt x="1038" y="72"/>
                  <a:pt x="1038" y="72"/>
                </a:cubicBezTo>
                <a:cubicBezTo>
                  <a:pt x="1038" y="73"/>
                  <a:pt x="1039" y="73"/>
                  <a:pt x="1039" y="74"/>
                </a:cubicBezTo>
                <a:cubicBezTo>
                  <a:pt x="1040" y="75"/>
                  <a:pt x="1040" y="75"/>
                  <a:pt x="1041" y="76"/>
                </a:cubicBezTo>
                <a:cubicBezTo>
                  <a:pt x="1041" y="76"/>
                  <a:pt x="1042" y="77"/>
                  <a:pt x="1042" y="77"/>
                </a:cubicBezTo>
                <a:cubicBezTo>
                  <a:pt x="1043" y="78"/>
                  <a:pt x="1043" y="79"/>
                  <a:pt x="1043" y="80"/>
                </a:cubicBezTo>
                <a:cubicBezTo>
                  <a:pt x="1043" y="79"/>
                  <a:pt x="1042" y="79"/>
                  <a:pt x="1042" y="78"/>
                </a:cubicBezTo>
                <a:cubicBezTo>
                  <a:pt x="1042" y="78"/>
                  <a:pt x="1041" y="77"/>
                  <a:pt x="1041" y="77"/>
                </a:cubicBezTo>
                <a:cubicBezTo>
                  <a:pt x="1040" y="76"/>
                  <a:pt x="1040" y="76"/>
                  <a:pt x="1039" y="75"/>
                </a:cubicBezTo>
                <a:cubicBezTo>
                  <a:pt x="1038" y="75"/>
                  <a:pt x="1038" y="74"/>
                  <a:pt x="1037" y="74"/>
                </a:cubicBezTo>
                <a:cubicBezTo>
                  <a:pt x="1037" y="73"/>
                  <a:pt x="1037" y="73"/>
                  <a:pt x="1037" y="72"/>
                </a:cubicBezTo>
                <a:cubicBezTo>
                  <a:pt x="1037" y="72"/>
                  <a:pt x="1037" y="71"/>
                  <a:pt x="1037" y="71"/>
                </a:cubicBezTo>
                <a:cubicBezTo>
                  <a:pt x="1036" y="71"/>
                  <a:pt x="1036" y="72"/>
                  <a:pt x="1035" y="72"/>
                </a:cubicBezTo>
                <a:cubicBezTo>
                  <a:pt x="1035" y="72"/>
                  <a:pt x="1034" y="73"/>
                  <a:pt x="1034" y="73"/>
                </a:cubicBezTo>
                <a:cubicBezTo>
                  <a:pt x="1033" y="73"/>
                  <a:pt x="1033" y="73"/>
                  <a:pt x="1032" y="73"/>
                </a:cubicBezTo>
                <a:cubicBezTo>
                  <a:pt x="1031" y="74"/>
                  <a:pt x="1030" y="74"/>
                  <a:pt x="1029" y="75"/>
                </a:cubicBezTo>
                <a:cubicBezTo>
                  <a:pt x="1028" y="75"/>
                  <a:pt x="1028" y="75"/>
                  <a:pt x="1027" y="76"/>
                </a:cubicBezTo>
                <a:cubicBezTo>
                  <a:pt x="1026" y="76"/>
                  <a:pt x="1025" y="76"/>
                  <a:pt x="1023" y="77"/>
                </a:cubicBezTo>
                <a:cubicBezTo>
                  <a:pt x="1021" y="78"/>
                  <a:pt x="1018" y="79"/>
                  <a:pt x="1016" y="80"/>
                </a:cubicBezTo>
                <a:cubicBezTo>
                  <a:pt x="1014" y="81"/>
                  <a:pt x="1013" y="81"/>
                  <a:pt x="1012" y="82"/>
                </a:cubicBezTo>
                <a:cubicBezTo>
                  <a:pt x="1011" y="82"/>
                  <a:pt x="1010" y="83"/>
                  <a:pt x="1008" y="83"/>
                </a:cubicBezTo>
                <a:cubicBezTo>
                  <a:pt x="1006" y="85"/>
                  <a:pt x="1003" y="86"/>
                  <a:pt x="1000" y="87"/>
                </a:cubicBezTo>
                <a:cubicBezTo>
                  <a:pt x="999" y="87"/>
                  <a:pt x="998" y="88"/>
                  <a:pt x="997" y="88"/>
                </a:cubicBezTo>
                <a:cubicBezTo>
                  <a:pt x="997" y="88"/>
                  <a:pt x="997" y="88"/>
                  <a:pt x="996" y="89"/>
                </a:cubicBezTo>
                <a:cubicBezTo>
                  <a:pt x="996" y="89"/>
                  <a:pt x="995" y="89"/>
                  <a:pt x="995" y="89"/>
                </a:cubicBezTo>
                <a:cubicBezTo>
                  <a:pt x="995" y="89"/>
                  <a:pt x="994" y="89"/>
                  <a:pt x="994" y="89"/>
                </a:cubicBezTo>
                <a:cubicBezTo>
                  <a:pt x="993" y="90"/>
                  <a:pt x="992" y="90"/>
                  <a:pt x="991" y="91"/>
                </a:cubicBezTo>
                <a:cubicBezTo>
                  <a:pt x="991" y="91"/>
                  <a:pt x="991" y="91"/>
                  <a:pt x="990" y="92"/>
                </a:cubicBezTo>
                <a:cubicBezTo>
                  <a:pt x="990" y="92"/>
                  <a:pt x="990" y="92"/>
                  <a:pt x="990" y="93"/>
                </a:cubicBezTo>
                <a:cubicBezTo>
                  <a:pt x="990" y="93"/>
                  <a:pt x="990" y="95"/>
                  <a:pt x="990" y="95"/>
                </a:cubicBezTo>
                <a:cubicBezTo>
                  <a:pt x="991" y="95"/>
                  <a:pt x="991" y="96"/>
                  <a:pt x="992" y="96"/>
                </a:cubicBezTo>
                <a:cubicBezTo>
                  <a:pt x="992" y="96"/>
                  <a:pt x="993" y="95"/>
                  <a:pt x="993" y="96"/>
                </a:cubicBezTo>
                <a:cubicBezTo>
                  <a:pt x="994" y="96"/>
                  <a:pt x="994" y="96"/>
                  <a:pt x="994" y="96"/>
                </a:cubicBezTo>
                <a:cubicBezTo>
                  <a:pt x="995" y="97"/>
                  <a:pt x="995" y="98"/>
                  <a:pt x="996" y="98"/>
                </a:cubicBezTo>
                <a:cubicBezTo>
                  <a:pt x="996" y="98"/>
                  <a:pt x="998" y="98"/>
                  <a:pt x="998" y="98"/>
                </a:cubicBezTo>
                <a:cubicBezTo>
                  <a:pt x="999" y="98"/>
                  <a:pt x="1000" y="98"/>
                  <a:pt x="1001" y="98"/>
                </a:cubicBezTo>
                <a:cubicBezTo>
                  <a:pt x="1002" y="97"/>
                  <a:pt x="1002" y="97"/>
                  <a:pt x="1003" y="97"/>
                </a:cubicBezTo>
                <a:cubicBezTo>
                  <a:pt x="1004" y="97"/>
                  <a:pt x="1004" y="97"/>
                  <a:pt x="1004" y="97"/>
                </a:cubicBezTo>
                <a:cubicBezTo>
                  <a:pt x="1005" y="97"/>
                  <a:pt x="1005" y="98"/>
                  <a:pt x="1005" y="98"/>
                </a:cubicBezTo>
                <a:cubicBezTo>
                  <a:pt x="1006" y="99"/>
                  <a:pt x="1006" y="99"/>
                  <a:pt x="1007" y="99"/>
                </a:cubicBezTo>
                <a:cubicBezTo>
                  <a:pt x="1007" y="100"/>
                  <a:pt x="1008" y="100"/>
                  <a:pt x="1009" y="100"/>
                </a:cubicBezTo>
                <a:cubicBezTo>
                  <a:pt x="1010" y="99"/>
                  <a:pt x="1010" y="99"/>
                  <a:pt x="1011" y="99"/>
                </a:cubicBezTo>
                <a:cubicBezTo>
                  <a:pt x="1012" y="99"/>
                  <a:pt x="1013" y="98"/>
                  <a:pt x="1013" y="98"/>
                </a:cubicBezTo>
                <a:cubicBezTo>
                  <a:pt x="1014" y="97"/>
                  <a:pt x="1015" y="97"/>
                  <a:pt x="1016" y="97"/>
                </a:cubicBezTo>
                <a:cubicBezTo>
                  <a:pt x="1017" y="98"/>
                  <a:pt x="1018" y="98"/>
                  <a:pt x="1019" y="98"/>
                </a:cubicBezTo>
                <a:cubicBezTo>
                  <a:pt x="1021" y="97"/>
                  <a:pt x="1023" y="98"/>
                  <a:pt x="1024" y="96"/>
                </a:cubicBezTo>
                <a:cubicBezTo>
                  <a:pt x="1025" y="96"/>
                  <a:pt x="1025" y="95"/>
                  <a:pt x="1025" y="95"/>
                </a:cubicBezTo>
                <a:cubicBezTo>
                  <a:pt x="1026" y="94"/>
                  <a:pt x="1026" y="94"/>
                  <a:pt x="1027" y="94"/>
                </a:cubicBezTo>
                <a:cubicBezTo>
                  <a:pt x="1027" y="94"/>
                  <a:pt x="1028" y="93"/>
                  <a:pt x="1028" y="93"/>
                </a:cubicBezTo>
                <a:cubicBezTo>
                  <a:pt x="1029" y="93"/>
                  <a:pt x="1028" y="94"/>
                  <a:pt x="1028" y="95"/>
                </a:cubicBezTo>
                <a:cubicBezTo>
                  <a:pt x="1028" y="95"/>
                  <a:pt x="1028" y="95"/>
                  <a:pt x="1028" y="95"/>
                </a:cubicBezTo>
                <a:cubicBezTo>
                  <a:pt x="1029" y="96"/>
                  <a:pt x="1029" y="95"/>
                  <a:pt x="1029" y="96"/>
                </a:cubicBezTo>
                <a:cubicBezTo>
                  <a:pt x="1029" y="96"/>
                  <a:pt x="1029" y="96"/>
                  <a:pt x="1029" y="96"/>
                </a:cubicBezTo>
                <a:cubicBezTo>
                  <a:pt x="1028" y="97"/>
                  <a:pt x="1028" y="96"/>
                  <a:pt x="1028" y="97"/>
                </a:cubicBezTo>
                <a:cubicBezTo>
                  <a:pt x="1027" y="97"/>
                  <a:pt x="1027" y="97"/>
                  <a:pt x="1027" y="97"/>
                </a:cubicBezTo>
                <a:cubicBezTo>
                  <a:pt x="1026" y="98"/>
                  <a:pt x="1025" y="98"/>
                  <a:pt x="1024" y="98"/>
                </a:cubicBezTo>
                <a:cubicBezTo>
                  <a:pt x="1024" y="98"/>
                  <a:pt x="1024" y="98"/>
                  <a:pt x="1023" y="99"/>
                </a:cubicBezTo>
                <a:cubicBezTo>
                  <a:pt x="1023" y="99"/>
                  <a:pt x="1022" y="99"/>
                  <a:pt x="1022" y="99"/>
                </a:cubicBezTo>
                <a:cubicBezTo>
                  <a:pt x="1021" y="99"/>
                  <a:pt x="1021" y="99"/>
                  <a:pt x="1020" y="99"/>
                </a:cubicBezTo>
                <a:cubicBezTo>
                  <a:pt x="1019" y="100"/>
                  <a:pt x="1018" y="99"/>
                  <a:pt x="1018" y="100"/>
                </a:cubicBezTo>
                <a:cubicBezTo>
                  <a:pt x="1019" y="100"/>
                  <a:pt x="1019" y="101"/>
                  <a:pt x="1019" y="101"/>
                </a:cubicBezTo>
                <a:cubicBezTo>
                  <a:pt x="1019" y="101"/>
                  <a:pt x="1019" y="102"/>
                  <a:pt x="1018" y="102"/>
                </a:cubicBezTo>
                <a:cubicBezTo>
                  <a:pt x="1018" y="102"/>
                  <a:pt x="1017" y="103"/>
                  <a:pt x="1017" y="103"/>
                </a:cubicBezTo>
                <a:cubicBezTo>
                  <a:pt x="1017" y="104"/>
                  <a:pt x="1018" y="104"/>
                  <a:pt x="1018" y="105"/>
                </a:cubicBezTo>
                <a:cubicBezTo>
                  <a:pt x="1018" y="106"/>
                  <a:pt x="1018" y="106"/>
                  <a:pt x="1018" y="106"/>
                </a:cubicBezTo>
                <a:cubicBezTo>
                  <a:pt x="1019" y="107"/>
                  <a:pt x="1019" y="107"/>
                  <a:pt x="1019" y="107"/>
                </a:cubicBezTo>
                <a:cubicBezTo>
                  <a:pt x="1020" y="108"/>
                  <a:pt x="1019" y="109"/>
                  <a:pt x="1018" y="109"/>
                </a:cubicBezTo>
                <a:cubicBezTo>
                  <a:pt x="1018" y="110"/>
                  <a:pt x="1017" y="111"/>
                  <a:pt x="1017" y="111"/>
                </a:cubicBezTo>
                <a:cubicBezTo>
                  <a:pt x="1016" y="112"/>
                  <a:pt x="1016" y="113"/>
                  <a:pt x="1015" y="114"/>
                </a:cubicBezTo>
                <a:cubicBezTo>
                  <a:pt x="1015" y="115"/>
                  <a:pt x="1014" y="116"/>
                  <a:pt x="1013" y="117"/>
                </a:cubicBezTo>
                <a:cubicBezTo>
                  <a:pt x="1013" y="118"/>
                  <a:pt x="1012" y="118"/>
                  <a:pt x="1012" y="119"/>
                </a:cubicBezTo>
                <a:cubicBezTo>
                  <a:pt x="1011" y="120"/>
                  <a:pt x="1010" y="121"/>
                  <a:pt x="1009" y="122"/>
                </a:cubicBezTo>
                <a:cubicBezTo>
                  <a:pt x="1008" y="122"/>
                  <a:pt x="1007" y="123"/>
                  <a:pt x="1006" y="123"/>
                </a:cubicBezTo>
                <a:cubicBezTo>
                  <a:pt x="1006" y="123"/>
                  <a:pt x="1006" y="122"/>
                  <a:pt x="1005" y="122"/>
                </a:cubicBezTo>
                <a:cubicBezTo>
                  <a:pt x="1005" y="122"/>
                  <a:pt x="1005" y="123"/>
                  <a:pt x="1004" y="123"/>
                </a:cubicBezTo>
                <a:cubicBezTo>
                  <a:pt x="1004" y="123"/>
                  <a:pt x="1004" y="123"/>
                  <a:pt x="1004" y="122"/>
                </a:cubicBezTo>
                <a:cubicBezTo>
                  <a:pt x="1003" y="122"/>
                  <a:pt x="1003" y="122"/>
                  <a:pt x="1003" y="122"/>
                </a:cubicBezTo>
                <a:cubicBezTo>
                  <a:pt x="1002" y="122"/>
                  <a:pt x="1002" y="123"/>
                  <a:pt x="1002" y="123"/>
                </a:cubicBezTo>
                <a:cubicBezTo>
                  <a:pt x="1001" y="123"/>
                  <a:pt x="1001" y="122"/>
                  <a:pt x="1000" y="122"/>
                </a:cubicBezTo>
                <a:cubicBezTo>
                  <a:pt x="1000" y="122"/>
                  <a:pt x="999" y="122"/>
                  <a:pt x="998" y="122"/>
                </a:cubicBezTo>
                <a:cubicBezTo>
                  <a:pt x="998" y="122"/>
                  <a:pt x="998" y="123"/>
                  <a:pt x="997" y="123"/>
                </a:cubicBezTo>
                <a:cubicBezTo>
                  <a:pt x="997" y="123"/>
                  <a:pt x="997" y="122"/>
                  <a:pt x="997" y="122"/>
                </a:cubicBezTo>
                <a:cubicBezTo>
                  <a:pt x="996" y="122"/>
                  <a:pt x="996" y="122"/>
                  <a:pt x="995" y="122"/>
                </a:cubicBezTo>
                <a:cubicBezTo>
                  <a:pt x="995" y="123"/>
                  <a:pt x="995" y="122"/>
                  <a:pt x="994" y="122"/>
                </a:cubicBezTo>
                <a:cubicBezTo>
                  <a:pt x="992" y="122"/>
                  <a:pt x="991" y="122"/>
                  <a:pt x="989" y="123"/>
                </a:cubicBezTo>
                <a:cubicBezTo>
                  <a:pt x="988" y="123"/>
                  <a:pt x="987" y="123"/>
                  <a:pt x="986" y="123"/>
                </a:cubicBezTo>
                <a:cubicBezTo>
                  <a:pt x="984" y="123"/>
                  <a:pt x="982" y="124"/>
                  <a:pt x="981" y="124"/>
                </a:cubicBezTo>
                <a:cubicBezTo>
                  <a:pt x="980" y="125"/>
                  <a:pt x="978" y="125"/>
                  <a:pt x="977" y="125"/>
                </a:cubicBezTo>
                <a:cubicBezTo>
                  <a:pt x="976" y="126"/>
                  <a:pt x="975" y="126"/>
                  <a:pt x="974" y="126"/>
                </a:cubicBezTo>
                <a:cubicBezTo>
                  <a:pt x="973" y="126"/>
                  <a:pt x="972" y="126"/>
                  <a:pt x="971" y="127"/>
                </a:cubicBezTo>
                <a:cubicBezTo>
                  <a:pt x="970" y="128"/>
                  <a:pt x="972" y="128"/>
                  <a:pt x="972" y="128"/>
                </a:cubicBezTo>
                <a:cubicBezTo>
                  <a:pt x="973" y="128"/>
                  <a:pt x="974" y="128"/>
                  <a:pt x="975" y="129"/>
                </a:cubicBezTo>
                <a:cubicBezTo>
                  <a:pt x="975" y="130"/>
                  <a:pt x="974" y="130"/>
                  <a:pt x="973" y="130"/>
                </a:cubicBezTo>
                <a:cubicBezTo>
                  <a:pt x="972" y="130"/>
                  <a:pt x="971" y="130"/>
                  <a:pt x="970" y="131"/>
                </a:cubicBezTo>
                <a:cubicBezTo>
                  <a:pt x="969" y="131"/>
                  <a:pt x="968" y="131"/>
                  <a:pt x="967" y="131"/>
                </a:cubicBezTo>
                <a:cubicBezTo>
                  <a:pt x="965" y="132"/>
                  <a:pt x="962" y="132"/>
                  <a:pt x="959" y="134"/>
                </a:cubicBezTo>
                <a:cubicBezTo>
                  <a:pt x="958" y="134"/>
                  <a:pt x="956" y="135"/>
                  <a:pt x="954" y="135"/>
                </a:cubicBezTo>
                <a:cubicBezTo>
                  <a:pt x="953" y="135"/>
                  <a:pt x="952" y="135"/>
                  <a:pt x="951" y="135"/>
                </a:cubicBezTo>
                <a:cubicBezTo>
                  <a:pt x="950" y="135"/>
                  <a:pt x="948" y="135"/>
                  <a:pt x="947" y="135"/>
                </a:cubicBezTo>
                <a:cubicBezTo>
                  <a:pt x="946" y="135"/>
                  <a:pt x="944" y="135"/>
                  <a:pt x="943" y="136"/>
                </a:cubicBezTo>
                <a:cubicBezTo>
                  <a:pt x="941" y="136"/>
                  <a:pt x="940" y="136"/>
                  <a:pt x="939" y="137"/>
                </a:cubicBezTo>
                <a:cubicBezTo>
                  <a:pt x="937" y="137"/>
                  <a:pt x="935" y="137"/>
                  <a:pt x="933" y="137"/>
                </a:cubicBezTo>
                <a:cubicBezTo>
                  <a:pt x="933" y="137"/>
                  <a:pt x="932" y="137"/>
                  <a:pt x="932" y="137"/>
                </a:cubicBezTo>
                <a:cubicBezTo>
                  <a:pt x="931" y="138"/>
                  <a:pt x="932" y="139"/>
                  <a:pt x="932" y="139"/>
                </a:cubicBezTo>
                <a:cubicBezTo>
                  <a:pt x="932" y="140"/>
                  <a:pt x="931" y="140"/>
                  <a:pt x="930" y="141"/>
                </a:cubicBezTo>
                <a:cubicBezTo>
                  <a:pt x="930" y="141"/>
                  <a:pt x="929" y="142"/>
                  <a:pt x="929" y="143"/>
                </a:cubicBezTo>
                <a:cubicBezTo>
                  <a:pt x="929" y="144"/>
                  <a:pt x="929" y="144"/>
                  <a:pt x="928" y="145"/>
                </a:cubicBezTo>
                <a:cubicBezTo>
                  <a:pt x="928" y="145"/>
                  <a:pt x="927" y="146"/>
                  <a:pt x="927" y="146"/>
                </a:cubicBezTo>
                <a:cubicBezTo>
                  <a:pt x="927" y="147"/>
                  <a:pt x="929" y="147"/>
                  <a:pt x="929" y="147"/>
                </a:cubicBezTo>
                <a:cubicBezTo>
                  <a:pt x="930" y="147"/>
                  <a:pt x="931" y="148"/>
                  <a:pt x="932" y="148"/>
                </a:cubicBezTo>
                <a:cubicBezTo>
                  <a:pt x="934" y="149"/>
                  <a:pt x="936" y="149"/>
                  <a:pt x="938" y="150"/>
                </a:cubicBezTo>
                <a:cubicBezTo>
                  <a:pt x="939" y="150"/>
                  <a:pt x="940" y="151"/>
                  <a:pt x="941" y="151"/>
                </a:cubicBezTo>
                <a:cubicBezTo>
                  <a:pt x="942" y="152"/>
                  <a:pt x="943" y="152"/>
                  <a:pt x="944" y="152"/>
                </a:cubicBezTo>
                <a:cubicBezTo>
                  <a:pt x="945" y="153"/>
                  <a:pt x="946" y="153"/>
                  <a:pt x="947" y="153"/>
                </a:cubicBezTo>
                <a:cubicBezTo>
                  <a:pt x="947" y="153"/>
                  <a:pt x="948" y="153"/>
                  <a:pt x="948" y="154"/>
                </a:cubicBezTo>
                <a:cubicBezTo>
                  <a:pt x="948" y="154"/>
                  <a:pt x="947" y="154"/>
                  <a:pt x="947" y="154"/>
                </a:cubicBezTo>
                <a:cubicBezTo>
                  <a:pt x="947" y="155"/>
                  <a:pt x="947" y="156"/>
                  <a:pt x="948" y="156"/>
                </a:cubicBezTo>
                <a:cubicBezTo>
                  <a:pt x="949" y="156"/>
                  <a:pt x="950" y="156"/>
                  <a:pt x="951" y="156"/>
                </a:cubicBezTo>
                <a:cubicBezTo>
                  <a:pt x="952" y="156"/>
                  <a:pt x="954" y="155"/>
                  <a:pt x="956" y="155"/>
                </a:cubicBezTo>
                <a:cubicBezTo>
                  <a:pt x="957" y="155"/>
                  <a:pt x="958" y="155"/>
                  <a:pt x="959" y="155"/>
                </a:cubicBezTo>
                <a:cubicBezTo>
                  <a:pt x="959" y="155"/>
                  <a:pt x="959" y="154"/>
                  <a:pt x="959" y="155"/>
                </a:cubicBezTo>
                <a:cubicBezTo>
                  <a:pt x="959" y="155"/>
                  <a:pt x="958" y="156"/>
                  <a:pt x="958" y="156"/>
                </a:cubicBezTo>
                <a:cubicBezTo>
                  <a:pt x="958" y="156"/>
                  <a:pt x="957" y="156"/>
                  <a:pt x="957" y="156"/>
                </a:cubicBezTo>
                <a:cubicBezTo>
                  <a:pt x="956" y="156"/>
                  <a:pt x="956" y="156"/>
                  <a:pt x="956" y="157"/>
                </a:cubicBezTo>
                <a:cubicBezTo>
                  <a:pt x="956" y="157"/>
                  <a:pt x="954" y="158"/>
                  <a:pt x="954" y="158"/>
                </a:cubicBezTo>
                <a:cubicBezTo>
                  <a:pt x="955" y="158"/>
                  <a:pt x="955" y="158"/>
                  <a:pt x="956" y="158"/>
                </a:cubicBezTo>
                <a:cubicBezTo>
                  <a:pt x="956" y="158"/>
                  <a:pt x="956" y="158"/>
                  <a:pt x="957" y="158"/>
                </a:cubicBezTo>
                <a:cubicBezTo>
                  <a:pt x="958" y="159"/>
                  <a:pt x="959" y="159"/>
                  <a:pt x="959" y="159"/>
                </a:cubicBezTo>
                <a:cubicBezTo>
                  <a:pt x="961" y="159"/>
                  <a:pt x="962" y="158"/>
                  <a:pt x="963" y="158"/>
                </a:cubicBezTo>
                <a:cubicBezTo>
                  <a:pt x="963" y="157"/>
                  <a:pt x="964" y="157"/>
                  <a:pt x="965" y="157"/>
                </a:cubicBezTo>
                <a:cubicBezTo>
                  <a:pt x="965" y="157"/>
                  <a:pt x="966" y="157"/>
                  <a:pt x="967" y="157"/>
                </a:cubicBezTo>
                <a:cubicBezTo>
                  <a:pt x="968" y="157"/>
                  <a:pt x="968" y="158"/>
                  <a:pt x="967" y="158"/>
                </a:cubicBezTo>
                <a:cubicBezTo>
                  <a:pt x="966" y="158"/>
                  <a:pt x="965" y="158"/>
                  <a:pt x="965" y="159"/>
                </a:cubicBezTo>
                <a:cubicBezTo>
                  <a:pt x="966" y="160"/>
                  <a:pt x="966" y="160"/>
                  <a:pt x="967" y="160"/>
                </a:cubicBezTo>
                <a:cubicBezTo>
                  <a:pt x="967" y="161"/>
                  <a:pt x="968" y="161"/>
                  <a:pt x="969" y="162"/>
                </a:cubicBezTo>
                <a:cubicBezTo>
                  <a:pt x="969" y="162"/>
                  <a:pt x="970" y="163"/>
                  <a:pt x="970" y="163"/>
                </a:cubicBezTo>
                <a:cubicBezTo>
                  <a:pt x="971" y="163"/>
                  <a:pt x="972" y="163"/>
                  <a:pt x="973" y="163"/>
                </a:cubicBezTo>
                <a:cubicBezTo>
                  <a:pt x="974" y="163"/>
                  <a:pt x="975" y="163"/>
                  <a:pt x="976" y="162"/>
                </a:cubicBezTo>
                <a:cubicBezTo>
                  <a:pt x="976" y="162"/>
                  <a:pt x="977" y="162"/>
                  <a:pt x="977" y="161"/>
                </a:cubicBezTo>
                <a:cubicBezTo>
                  <a:pt x="977" y="161"/>
                  <a:pt x="977" y="161"/>
                  <a:pt x="977" y="160"/>
                </a:cubicBezTo>
                <a:cubicBezTo>
                  <a:pt x="978" y="160"/>
                  <a:pt x="978" y="160"/>
                  <a:pt x="979" y="160"/>
                </a:cubicBezTo>
                <a:cubicBezTo>
                  <a:pt x="979" y="161"/>
                  <a:pt x="979" y="161"/>
                  <a:pt x="980" y="161"/>
                </a:cubicBezTo>
                <a:cubicBezTo>
                  <a:pt x="980" y="161"/>
                  <a:pt x="980" y="162"/>
                  <a:pt x="980" y="162"/>
                </a:cubicBezTo>
                <a:cubicBezTo>
                  <a:pt x="981" y="162"/>
                  <a:pt x="982" y="162"/>
                  <a:pt x="983" y="162"/>
                </a:cubicBezTo>
                <a:cubicBezTo>
                  <a:pt x="984" y="163"/>
                  <a:pt x="986" y="163"/>
                  <a:pt x="987" y="163"/>
                </a:cubicBezTo>
                <a:cubicBezTo>
                  <a:pt x="987" y="163"/>
                  <a:pt x="988" y="163"/>
                  <a:pt x="988" y="162"/>
                </a:cubicBezTo>
                <a:cubicBezTo>
                  <a:pt x="989" y="162"/>
                  <a:pt x="990" y="162"/>
                  <a:pt x="991" y="161"/>
                </a:cubicBezTo>
                <a:cubicBezTo>
                  <a:pt x="992" y="161"/>
                  <a:pt x="993" y="160"/>
                  <a:pt x="994" y="160"/>
                </a:cubicBezTo>
                <a:cubicBezTo>
                  <a:pt x="996" y="160"/>
                  <a:pt x="997" y="160"/>
                  <a:pt x="999" y="160"/>
                </a:cubicBezTo>
                <a:cubicBezTo>
                  <a:pt x="1000" y="160"/>
                  <a:pt x="1001" y="161"/>
                  <a:pt x="1003" y="161"/>
                </a:cubicBezTo>
                <a:cubicBezTo>
                  <a:pt x="1003" y="161"/>
                  <a:pt x="1005" y="161"/>
                  <a:pt x="1005" y="161"/>
                </a:cubicBezTo>
                <a:cubicBezTo>
                  <a:pt x="1006" y="162"/>
                  <a:pt x="1006" y="162"/>
                  <a:pt x="1006" y="162"/>
                </a:cubicBezTo>
                <a:cubicBezTo>
                  <a:pt x="1006" y="163"/>
                  <a:pt x="1006" y="163"/>
                  <a:pt x="1007" y="163"/>
                </a:cubicBezTo>
                <a:cubicBezTo>
                  <a:pt x="1007" y="164"/>
                  <a:pt x="1006" y="164"/>
                  <a:pt x="1005" y="164"/>
                </a:cubicBezTo>
                <a:cubicBezTo>
                  <a:pt x="1004" y="164"/>
                  <a:pt x="1003" y="164"/>
                  <a:pt x="1002" y="164"/>
                </a:cubicBezTo>
                <a:cubicBezTo>
                  <a:pt x="1002" y="164"/>
                  <a:pt x="1000" y="164"/>
                  <a:pt x="1001" y="165"/>
                </a:cubicBezTo>
                <a:cubicBezTo>
                  <a:pt x="1002" y="166"/>
                  <a:pt x="1002" y="166"/>
                  <a:pt x="1003" y="167"/>
                </a:cubicBezTo>
                <a:cubicBezTo>
                  <a:pt x="1004" y="167"/>
                  <a:pt x="1005" y="168"/>
                  <a:pt x="1005" y="168"/>
                </a:cubicBezTo>
                <a:cubicBezTo>
                  <a:pt x="1003" y="169"/>
                  <a:pt x="1001" y="168"/>
                  <a:pt x="1000" y="167"/>
                </a:cubicBezTo>
                <a:cubicBezTo>
                  <a:pt x="999" y="166"/>
                  <a:pt x="998" y="166"/>
                  <a:pt x="997" y="166"/>
                </a:cubicBezTo>
                <a:cubicBezTo>
                  <a:pt x="995" y="166"/>
                  <a:pt x="994" y="166"/>
                  <a:pt x="993" y="165"/>
                </a:cubicBezTo>
                <a:cubicBezTo>
                  <a:pt x="990" y="165"/>
                  <a:pt x="987" y="165"/>
                  <a:pt x="985" y="165"/>
                </a:cubicBezTo>
                <a:cubicBezTo>
                  <a:pt x="983" y="166"/>
                  <a:pt x="982" y="166"/>
                  <a:pt x="981" y="166"/>
                </a:cubicBezTo>
                <a:cubicBezTo>
                  <a:pt x="980" y="166"/>
                  <a:pt x="979" y="165"/>
                  <a:pt x="978" y="166"/>
                </a:cubicBezTo>
                <a:cubicBezTo>
                  <a:pt x="977" y="166"/>
                  <a:pt x="976" y="167"/>
                  <a:pt x="975" y="167"/>
                </a:cubicBezTo>
                <a:cubicBezTo>
                  <a:pt x="974" y="168"/>
                  <a:pt x="973" y="168"/>
                  <a:pt x="972" y="168"/>
                </a:cubicBezTo>
                <a:cubicBezTo>
                  <a:pt x="973" y="169"/>
                  <a:pt x="975" y="169"/>
                  <a:pt x="976" y="169"/>
                </a:cubicBezTo>
                <a:cubicBezTo>
                  <a:pt x="977" y="169"/>
                  <a:pt x="978" y="169"/>
                  <a:pt x="979" y="169"/>
                </a:cubicBezTo>
                <a:cubicBezTo>
                  <a:pt x="980" y="169"/>
                  <a:pt x="981" y="170"/>
                  <a:pt x="982" y="170"/>
                </a:cubicBezTo>
                <a:cubicBezTo>
                  <a:pt x="983" y="170"/>
                  <a:pt x="984" y="170"/>
                  <a:pt x="985" y="170"/>
                </a:cubicBezTo>
                <a:cubicBezTo>
                  <a:pt x="985" y="170"/>
                  <a:pt x="984" y="170"/>
                  <a:pt x="984" y="170"/>
                </a:cubicBezTo>
                <a:cubicBezTo>
                  <a:pt x="984" y="170"/>
                  <a:pt x="983" y="170"/>
                  <a:pt x="983" y="170"/>
                </a:cubicBezTo>
                <a:cubicBezTo>
                  <a:pt x="983" y="170"/>
                  <a:pt x="982" y="170"/>
                  <a:pt x="982" y="170"/>
                </a:cubicBezTo>
                <a:cubicBezTo>
                  <a:pt x="981" y="170"/>
                  <a:pt x="979" y="170"/>
                  <a:pt x="978" y="170"/>
                </a:cubicBezTo>
                <a:cubicBezTo>
                  <a:pt x="977" y="170"/>
                  <a:pt x="975" y="170"/>
                  <a:pt x="973" y="170"/>
                </a:cubicBezTo>
                <a:cubicBezTo>
                  <a:pt x="972" y="170"/>
                  <a:pt x="971" y="170"/>
                  <a:pt x="970" y="169"/>
                </a:cubicBezTo>
                <a:cubicBezTo>
                  <a:pt x="969" y="169"/>
                  <a:pt x="968" y="169"/>
                  <a:pt x="968" y="169"/>
                </a:cubicBezTo>
                <a:cubicBezTo>
                  <a:pt x="967" y="169"/>
                  <a:pt x="966" y="169"/>
                  <a:pt x="965" y="169"/>
                </a:cubicBezTo>
                <a:cubicBezTo>
                  <a:pt x="964" y="169"/>
                  <a:pt x="963" y="169"/>
                  <a:pt x="962" y="168"/>
                </a:cubicBezTo>
                <a:cubicBezTo>
                  <a:pt x="961" y="168"/>
                  <a:pt x="960" y="168"/>
                  <a:pt x="959" y="169"/>
                </a:cubicBezTo>
                <a:cubicBezTo>
                  <a:pt x="957" y="169"/>
                  <a:pt x="956" y="169"/>
                  <a:pt x="955" y="170"/>
                </a:cubicBezTo>
                <a:cubicBezTo>
                  <a:pt x="954" y="170"/>
                  <a:pt x="953" y="171"/>
                  <a:pt x="953" y="171"/>
                </a:cubicBezTo>
                <a:cubicBezTo>
                  <a:pt x="952" y="171"/>
                  <a:pt x="951" y="171"/>
                  <a:pt x="950" y="171"/>
                </a:cubicBezTo>
                <a:cubicBezTo>
                  <a:pt x="949" y="171"/>
                  <a:pt x="948" y="171"/>
                  <a:pt x="948" y="172"/>
                </a:cubicBezTo>
                <a:cubicBezTo>
                  <a:pt x="947" y="172"/>
                  <a:pt x="947" y="173"/>
                  <a:pt x="947" y="173"/>
                </a:cubicBezTo>
                <a:cubicBezTo>
                  <a:pt x="947" y="173"/>
                  <a:pt x="946" y="174"/>
                  <a:pt x="946" y="174"/>
                </a:cubicBezTo>
                <a:cubicBezTo>
                  <a:pt x="946" y="175"/>
                  <a:pt x="947" y="175"/>
                  <a:pt x="947" y="175"/>
                </a:cubicBezTo>
                <a:cubicBezTo>
                  <a:pt x="948" y="175"/>
                  <a:pt x="948" y="175"/>
                  <a:pt x="948" y="176"/>
                </a:cubicBezTo>
                <a:cubicBezTo>
                  <a:pt x="948" y="176"/>
                  <a:pt x="948" y="176"/>
                  <a:pt x="949" y="176"/>
                </a:cubicBezTo>
                <a:cubicBezTo>
                  <a:pt x="949" y="176"/>
                  <a:pt x="950" y="176"/>
                  <a:pt x="950" y="176"/>
                </a:cubicBezTo>
                <a:cubicBezTo>
                  <a:pt x="951" y="175"/>
                  <a:pt x="952" y="175"/>
                  <a:pt x="953" y="176"/>
                </a:cubicBezTo>
                <a:cubicBezTo>
                  <a:pt x="953" y="176"/>
                  <a:pt x="952" y="177"/>
                  <a:pt x="952" y="178"/>
                </a:cubicBezTo>
                <a:cubicBezTo>
                  <a:pt x="952" y="179"/>
                  <a:pt x="953" y="179"/>
                  <a:pt x="954" y="179"/>
                </a:cubicBezTo>
                <a:cubicBezTo>
                  <a:pt x="954" y="179"/>
                  <a:pt x="955" y="179"/>
                  <a:pt x="955" y="179"/>
                </a:cubicBezTo>
                <a:cubicBezTo>
                  <a:pt x="955" y="180"/>
                  <a:pt x="956" y="180"/>
                  <a:pt x="956" y="180"/>
                </a:cubicBezTo>
                <a:cubicBezTo>
                  <a:pt x="957" y="180"/>
                  <a:pt x="957" y="180"/>
                  <a:pt x="958" y="179"/>
                </a:cubicBezTo>
                <a:cubicBezTo>
                  <a:pt x="958" y="179"/>
                  <a:pt x="958" y="179"/>
                  <a:pt x="959" y="179"/>
                </a:cubicBezTo>
                <a:cubicBezTo>
                  <a:pt x="959" y="178"/>
                  <a:pt x="960" y="178"/>
                  <a:pt x="961" y="177"/>
                </a:cubicBezTo>
                <a:cubicBezTo>
                  <a:pt x="961" y="177"/>
                  <a:pt x="962" y="177"/>
                  <a:pt x="962" y="177"/>
                </a:cubicBezTo>
                <a:cubicBezTo>
                  <a:pt x="963" y="176"/>
                  <a:pt x="963" y="176"/>
                  <a:pt x="963" y="176"/>
                </a:cubicBezTo>
                <a:cubicBezTo>
                  <a:pt x="963" y="175"/>
                  <a:pt x="965" y="175"/>
                  <a:pt x="964" y="176"/>
                </a:cubicBezTo>
                <a:cubicBezTo>
                  <a:pt x="964" y="177"/>
                  <a:pt x="963" y="177"/>
                  <a:pt x="962" y="178"/>
                </a:cubicBezTo>
                <a:cubicBezTo>
                  <a:pt x="962" y="178"/>
                  <a:pt x="961" y="179"/>
                  <a:pt x="962" y="180"/>
                </a:cubicBezTo>
                <a:cubicBezTo>
                  <a:pt x="962" y="180"/>
                  <a:pt x="963" y="181"/>
                  <a:pt x="963" y="181"/>
                </a:cubicBezTo>
                <a:cubicBezTo>
                  <a:pt x="965" y="181"/>
                  <a:pt x="967" y="181"/>
                  <a:pt x="969" y="182"/>
                </a:cubicBezTo>
                <a:cubicBezTo>
                  <a:pt x="971" y="182"/>
                  <a:pt x="973" y="182"/>
                  <a:pt x="976" y="183"/>
                </a:cubicBezTo>
                <a:cubicBezTo>
                  <a:pt x="978" y="183"/>
                  <a:pt x="980" y="182"/>
                  <a:pt x="982" y="182"/>
                </a:cubicBezTo>
                <a:cubicBezTo>
                  <a:pt x="983" y="183"/>
                  <a:pt x="984" y="182"/>
                  <a:pt x="984" y="183"/>
                </a:cubicBezTo>
                <a:cubicBezTo>
                  <a:pt x="984" y="184"/>
                  <a:pt x="983" y="185"/>
                  <a:pt x="983" y="185"/>
                </a:cubicBezTo>
                <a:cubicBezTo>
                  <a:pt x="982" y="185"/>
                  <a:pt x="980" y="185"/>
                  <a:pt x="979" y="185"/>
                </a:cubicBezTo>
                <a:cubicBezTo>
                  <a:pt x="978" y="185"/>
                  <a:pt x="978" y="185"/>
                  <a:pt x="977" y="185"/>
                </a:cubicBezTo>
                <a:cubicBezTo>
                  <a:pt x="976" y="185"/>
                  <a:pt x="975" y="185"/>
                  <a:pt x="975" y="186"/>
                </a:cubicBezTo>
                <a:cubicBezTo>
                  <a:pt x="974" y="186"/>
                  <a:pt x="973" y="187"/>
                  <a:pt x="972" y="187"/>
                </a:cubicBezTo>
                <a:cubicBezTo>
                  <a:pt x="971" y="187"/>
                  <a:pt x="970" y="188"/>
                  <a:pt x="969" y="188"/>
                </a:cubicBezTo>
                <a:cubicBezTo>
                  <a:pt x="968" y="188"/>
                  <a:pt x="967" y="188"/>
                  <a:pt x="967" y="189"/>
                </a:cubicBezTo>
                <a:cubicBezTo>
                  <a:pt x="966" y="190"/>
                  <a:pt x="969" y="191"/>
                  <a:pt x="970" y="191"/>
                </a:cubicBezTo>
                <a:cubicBezTo>
                  <a:pt x="971" y="191"/>
                  <a:pt x="972" y="192"/>
                  <a:pt x="972" y="192"/>
                </a:cubicBezTo>
                <a:cubicBezTo>
                  <a:pt x="973" y="193"/>
                  <a:pt x="974" y="194"/>
                  <a:pt x="975" y="194"/>
                </a:cubicBezTo>
                <a:cubicBezTo>
                  <a:pt x="976" y="195"/>
                  <a:pt x="977" y="195"/>
                  <a:pt x="978" y="195"/>
                </a:cubicBezTo>
                <a:cubicBezTo>
                  <a:pt x="979" y="196"/>
                  <a:pt x="980" y="196"/>
                  <a:pt x="981" y="197"/>
                </a:cubicBezTo>
                <a:cubicBezTo>
                  <a:pt x="982" y="197"/>
                  <a:pt x="983" y="197"/>
                  <a:pt x="983" y="197"/>
                </a:cubicBezTo>
                <a:cubicBezTo>
                  <a:pt x="986" y="197"/>
                  <a:pt x="988" y="197"/>
                  <a:pt x="990" y="198"/>
                </a:cubicBezTo>
                <a:cubicBezTo>
                  <a:pt x="991" y="198"/>
                  <a:pt x="992" y="198"/>
                  <a:pt x="993" y="198"/>
                </a:cubicBezTo>
                <a:cubicBezTo>
                  <a:pt x="994" y="198"/>
                  <a:pt x="995" y="199"/>
                  <a:pt x="996" y="199"/>
                </a:cubicBezTo>
                <a:cubicBezTo>
                  <a:pt x="997" y="199"/>
                  <a:pt x="998" y="199"/>
                  <a:pt x="999" y="199"/>
                </a:cubicBezTo>
                <a:cubicBezTo>
                  <a:pt x="999" y="199"/>
                  <a:pt x="1000" y="200"/>
                  <a:pt x="1001" y="200"/>
                </a:cubicBezTo>
                <a:cubicBezTo>
                  <a:pt x="1001" y="200"/>
                  <a:pt x="1002" y="201"/>
                  <a:pt x="1002" y="201"/>
                </a:cubicBezTo>
                <a:cubicBezTo>
                  <a:pt x="1002" y="200"/>
                  <a:pt x="1002" y="200"/>
                  <a:pt x="1002" y="199"/>
                </a:cubicBezTo>
                <a:cubicBezTo>
                  <a:pt x="1001" y="199"/>
                  <a:pt x="1001" y="199"/>
                  <a:pt x="1000" y="198"/>
                </a:cubicBezTo>
                <a:cubicBezTo>
                  <a:pt x="1000" y="198"/>
                  <a:pt x="1000" y="198"/>
                  <a:pt x="999" y="198"/>
                </a:cubicBezTo>
                <a:cubicBezTo>
                  <a:pt x="999" y="198"/>
                  <a:pt x="998" y="198"/>
                  <a:pt x="998" y="198"/>
                </a:cubicBezTo>
                <a:cubicBezTo>
                  <a:pt x="998" y="197"/>
                  <a:pt x="997" y="198"/>
                  <a:pt x="996" y="197"/>
                </a:cubicBezTo>
                <a:cubicBezTo>
                  <a:pt x="995" y="197"/>
                  <a:pt x="995" y="196"/>
                  <a:pt x="996" y="195"/>
                </a:cubicBezTo>
                <a:cubicBezTo>
                  <a:pt x="996" y="195"/>
                  <a:pt x="996" y="194"/>
                  <a:pt x="995" y="194"/>
                </a:cubicBezTo>
                <a:cubicBezTo>
                  <a:pt x="995" y="194"/>
                  <a:pt x="995" y="194"/>
                  <a:pt x="995" y="193"/>
                </a:cubicBezTo>
                <a:cubicBezTo>
                  <a:pt x="995" y="192"/>
                  <a:pt x="996" y="192"/>
                  <a:pt x="997" y="192"/>
                </a:cubicBezTo>
                <a:cubicBezTo>
                  <a:pt x="997" y="192"/>
                  <a:pt x="997" y="193"/>
                  <a:pt x="998" y="193"/>
                </a:cubicBezTo>
                <a:cubicBezTo>
                  <a:pt x="998" y="193"/>
                  <a:pt x="998" y="193"/>
                  <a:pt x="999" y="193"/>
                </a:cubicBezTo>
                <a:cubicBezTo>
                  <a:pt x="999" y="193"/>
                  <a:pt x="999" y="194"/>
                  <a:pt x="999" y="194"/>
                </a:cubicBezTo>
                <a:cubicBezTo>
                  <a:pt x="999" y="194"/>
                  <a:pt x="999" y="194"/>
                  <a:pt x="1000" y="195"/>
                </a:cubicBezTo>
                <a:cubicBezTo>
                  <a:pt x="1000" y="195"/>
                  <a:pt x="1001" y="195"/>
                  <a:pt x="1002" y="196"/>
                </a:cubicBezTo>
                <a:cubicBezTo>
                  <a:pt x="1002" y="196"/>
                  <a:pt x="1002" y="196"/>
                  <a:pt x="1003" y="196"/>
                </a:cubicBezTo>
                <a:cubicBezTo>
                  <a:pt x="1003" y="196"/>
                  <a:pt x="1003" y="196"/>
                  <a:pt x="1003" y="196"/>
                </a:cubicBezTo>
                <a:cubicBezTo>
                  <a:pt x="1003" y="194"/>
                  <a:pt x="1004" y="194"/>
                  <a:pt x="1004" y="193"/>
                </a:cubicBezTo>
                <a:cubicBezTo>
                  <a:pt x="1005" y="192"/>
                  <a:pt x="1006" y="192"/>
                  <a:pt x="1007" y="192"/>
                </a:cubicBezTo>
                <a:cubicBezTo>
                  <a:pt x="1007" y="192"/>
                  <a:pt x="1008" y="192"/>
                  <a:pt x="1009" y="192"/>
                </a:cubicBezTo>
                <a:cubicBezTo>
                  <a:pt x="1010" y="192"/>
                  <a:pt x="1011" y="192"/>
                  <a:pt x="1012" y="192"/>
                </a:cubicBezTo>
                <a:cubicBezTo>
                  <a:pt x="1012" y="193"/>
                  <a:pt x="1011" y="193"/>
                  <a:pt x="1010" y="193"/>
                </a:cubicBezTo>
                <a:cubicBezTo>
                  <a:pt x="1009" y="194"/>
                  <a:pt x="1009" y="195"/>
                  <a:pt x="1010" y="195"/>
                </a:cubicBezTo>
                <a:cubicBezTo>
                  <a:pt x="1011" y="196"/>
                  <a:pt x="1012" y="196"/>
                  <a:pt x="1013" y="197"/>
                </a:cubicBezTo>
                <a:cubicBezTo>
                  <a:pt x="1013" y="197"/>
                  <a:pt x="1014" y="197"/>
                  <a:pt x="1015" y="197"/>
                </a:cubicBezTo>
                <a:cubicBezTo>
                  <a:pt x="1016" y="197"/>
                  <a:pt x="1016" y="197"/>
                  <a:pt x="1017" y="197"/>
                </a:cubicBezTo>
                <a:cubicBezTo>
                  <a:pt x="1018" y="197"/>
                  <a:pt x="1019" y="196"/>
                  <a:pt x="1020" y="196"/>
                </a:cubicBezTo>
                <a:cubicBezTo>
                  <a:pt x="1021" y="196"/>
                  <a:pt x="1022" y="196"/>
                  <a:pt x="1022" y="195"/>
                </a:cubicBezTo>
                <a:cubicBezTo>
                  <a:pt x="1023" y="195"/>
                  <a:pt x="1023" y="195"/>
                  <a:pt x="1023" y="194"/>
                </a:cubicBezTo>
                <a:cubicBezTo>
                  <a:pt x="1024" y="194"/>
                  <a:pt x="1024" y="194"/>
                  <a:pt x="1024" y="193"/>
                </a:cubicBezTo>
                <a:cubicBezTo>
                  <a:pt x="1025" y="193"/>
                  <a:pt x="1025" y="193"/>
                  <a:pt x="1025" y="193"/>
                </a:cubicBezTo>
                <a:cubicBezTo>
                  <a:pt x="1026" y="192"/>
                  <a:pt x="1025" y="192"/>
                  <a:pt x="1026" y="191"/>
                </a:cubicBezTo>
                <a:cubicBezTo>
                  <a:pt x="1026" y="190"/>
                  <a:pt x="1026" y="191"/>
                  <a:pt x="1027" y="192"/>
                </a:cubicBezTo>
                <a:cubicBezTo>
                  <a:pt x="1027" y="192"/>
                  <a:pt x="1028" y="193"/>
                  <a:pt x="1028" y="194"/>
                </a:cubicBezTo>
                <a:cubicBezTo>
                  <a:pt x="1029" y="194"/>
                  <a:pt x="1029" y="195"/>
                  <a:pt x="1029" y="195"/>
                </a:cubicBezTo>
                <a:cubicBezTo>
                  <a:pt x="1029" y="195"/>
                  <a:pt x="1030" y="195"/>
                  <a:pt x="1030" y="195"/>
                </a:cubicBezTo>
                <a:cubicBezTo>
                  <a:pt x="1031" y="195"/>
                  <a:pt x="1031" y="195"/>
                  <a:pt x="1032" y="195"/>
                </a:cubicBezTo>
                <a:cubicBezTo>
                  <a:pt x="1033" y="195"/>
                  <a:pt x="1033" y="194"/>
                  <a:pt x="1034" y="193"/>
                </a:cubicBezTo>
                <a:cubicBezTo>
                  <a:pt x="1035" y="193"/>
                  <a:pt x="1036" y="193"/>
                  <a:pt x="1037" y="193"/>
                </a:cubicBezTo>
                <a:cubicBezTo>
                  <a:pt x="1038" y="193"/>
                  <a:pt x="1039" y="193"/>
                  <a:pt x="1040" y="193"/>
                </a:cubicBezTo>
                <a:cubicBezTo>
                  <a:pt x="1042" y="193"/>
                  <a:pt x="1043" y="193"/>
                  <a:pt x="1044" y="193"/>
                </a:cubicBezTo>
                <a:cubicBezTo>
                  <a:pt x="1047" y="194"/>
                  <a:pt x="1050" y="194"/>
                  <a:pt x="1054" y="194"/>
                </a:cubicBezTo>
                <a:cubicBezTo>
                  <a:pt x="1056" y="194"/>
                  <a:pt x="1058" y="194"/>
                  <a:pt x="1061" y="194"/>
                </a:cubicBezTo>
                <a:cubicBezTo>
                  <a:pt x="1061" y="194"/>
                  <a:pt x="1062" y="194"/>
                  <a:pt x="1063" y="194"/>
                </a:cubicBezTo>
                <a:cubicBezTo>
                  <a:pt x="1064" y="194"/>
                  <a:pt x="1065" y="195"/>
                  <a:pt x="1066" y="195"/>
                </a:cubicBezTo>
                <a:cubicBezTo>
                  <a:pt x="1066" y="196"/>
                  <a:pt x="1067" y="196"/>
                  <a:pt x="1068" y="196"/>
                </a:cubicBezTo>
                <a:cubicBezTo>
                  <a:pt x="1069" y="197"/>
                  <a:pt x="1070" y="197"/>
                  <a:pt x="1070" y="197"/>
                </a:cubicBezTo>
                <a:cubicBezTo>
                  <a:pt x="1071" y="197"/>
                  <a:pt x="1072" y="197"/>
                  <a:pt x="1073" y="198"/>
                </a:cubicBezTo>
                <a:cubicBezTo>
                  <a:pt x="1076" y="198"/>
                  <a:pt x="1078" y="199"/>
                  <a:pt x="1080" y="200"/>
                </a:cubicBezTo>
                <a:cubicBezTo>
                  <a:pt x="1081" y="200"/>
                  <a:pt x="1083" y="201"/>
                  <a:pt x="1084" y="201"/>
                </a:cubicBezTo>
                <a:cubicBezTo>
                  <a:pt x="1085" y="201"/>
                  <a:pt x="1086" y="202"/>
                  <a:pt x="1087" y="202"/>
                </a:cubicBezTo>
                <a:cubicBezTo>
                  <a:pt x="1088" y="203"/>
                  <a:pt x="1089" y="203"/>
                  <a:pt x="1090" y="204"/>
                </a:cubicBezTo>
                <a:cubicBezTo>
                  <a:pt x="1091" y="204"/>
                  <a:pt x="1092" y="204"/>
                  <a:pt x="1092" y="205"/>
                </a:cubicBezTo>
                <a:cubicBezTo>
                  <a:pt x="1093" y="205"/>
                  <a:pt x="1094" y="206"/>
                  <a:pt x="1094" y="207"/>
                </a:cubicBezTo>
                <a:cubicBezTo>
                  <a:pt x="1094" y="207"/>
                  <a:pt x="1093" y="208"/>
                  <a:pt x="1095" y="209"/>
                </a:cubicBezTo>
                <a:cubicBezTo>
                  <a:pt x="1095" y="209"/>
                  <a:pt x="1096" y="209"/>
                  <a:pt x="1096" y="210"/>
                </a:cubicBezTo>
                <a:cubicBezTo>
                  <a:pt x="1097" y="212"/>
                  <a:pt x="1094" y="211"/>
                  <a:pt x="1093" y="212"/>
                </a:cubicBezTo>
                <a:cubicBezTo>
                  <a:pt x="1093" y="212"/>
                  <a:pt x="1092" y="213"/>
                  <a:pt x="1092" y="214"/>
                </a:cubicBezTo>
                <a:cubicBezTo>
                  <a:pt x="1092" y="214"/>
                  <a:pt x="1093" y="213"/>
                  <a:pt x="1093" y="213"/>
                </a:cubicBezTo>
                <a:cubicBezTo>
                  <a:pt x="1094" y="213"/>
                  <a:pt x="1094" y="213"/>
                  <a:pt x="1095" y="213"/>
                </a:cubicBezTo>
                <a:cubicBezTo>
                  <a:pt x="1095" y="214"/>
                  <a:pt x="1094" y="214"/>
                  <a:pt x="1094" y="214"/>
                </a:cubicBezTo>
                <a:cubicBezTo>
                  <a:pt x="1094" y="215"/>
                  <a:pt x="1094" y="215"/>
                  <a:pt x="1094" y="215"/>
                </a:cubicBezTo>
                <a:cubicBezTo>
                  <a:pt x="1095" y="216"/>
                  <a:pt x="1095" y="216"/>
                  <a:pt x="1096" y="216"/>
                </a:cubicBezTo>
                <a:cubicBezTo>
                  <a:pt x="1097" y="216"/>
                  <a:pt x="1097" y="216"/>
                  <a:pt x="1098" y="217"/>
                </a:cubicBezTo>
                <a:cubicBezTo>
                  <a:pt x="1099" y="217"/>
                  <a:pt x="1099" y="218"/>
                  <a:pt x="1100" y="218"/>
                </a:cubicBezTo>
                <a:cubicBezTo>
                  <a:pt x="1101" y="219"/>
                  <a:pt x="1101" y="219"/>
                  <a:pt x="1102" y="220"/>
                </a:cubicBezTo>
                <a:cubicBezTo>
                  <a:pt x="1103" y="221"/>
                  <a:pt x="1105" y="223"/>
                  <a:pt x="1106" y="223"/>
                </a:cubicBezTo>
                <a:cubicBezTo>
                  <a:pt x="1107" y="223"/>
                  <a:pt x="1108" y="223"/>
                  <a:pt x="1109" y="224"/>
                </a:cubicBezTo>
                <a:cubicBezTo>
                  <a:pt x="1110" y="224"/>
                  <a:pt x="1110" y="224"/>
                  <a:pt x="1111" y="225"/>
                </a:cubicBezTo>
                <a:cubicBezTo>
                  <a:pt x="1111" y="225"/>
                  <a:pt x="1112" y="225"/>
                  <a:pt x="1112" y="225"/>
                </a:cubicBezTo>
                <a:cubicBezTo>
                  <a:pt x="1112" y="226"/>
                  <a:pt x="1111" y="226"/>
                  <a:pt x="1111" y="227"/>
                </a:cubicBezTo>
                <a:cubicBezTo>
                  <a:pt x="1110" y="227"/>
                  <a:pt x="1110" y="227"/>
                  <a:pt x="1109" y="227"/>
                </a:cubicBezTo>
                <a:cubicBezTo>
                  <a:pt x="1109" y="226"/>
                  <a:pt x="1108" y="226"/>
                  <a:pt x="1108" y="226"/>
                </a:cubicBezTo>
                <a:cubicBezTo>
                  <a:pt x="1108" y="227"/>
                  <a:pt x="1108" y="227"/>
                  <a:pt x="1108" y="227"/>
                </a:cubicBezTo>
                <a:cubicBezTo>
                  <a:pt x="1109" y="227"/>
                  <a:pt x="1109" y="227"/>
                  <a:pt x="1109" y="227"/>
                </a:cubicBezTo>
                <a:cubicBezTo>
                  <a:pt x="1110" y="228"/>
                  <a:pt x="1111" y="228"/>
                  <a:pt x="1112" y="228"/>
                </a:cubicBezTo>
                <a:cubicBezTo>
                  <a:pt x="1112" y="229"/>
                  <a:pt x="1113" y="229"/>
                  <a:pt x="1114" y="229"/>
                </a:cubicBezTo>
                <a:cubicBezTo>
                  <a:pt x="1114" y="229"/>
                  <a:pt x="1115" y="229"/>
                  <a:pt x="1115" y="230"/>
                </a:cubicBezTo>
                <a:cubicBezTo>
                  <a:pt x="1115" y="230"/>
                  <a:pt x="1115" y="231"/>
                  <a:pt x="1116" y="232"/>
                </a:cubicBezTo>
                <a:cubicBezTo>
                  <a:pt x="1116" y="232"/>
                  <a:pt x="1117" y="232"/>
                  <a:pt x="1117" y="232"/>
                </a:cubicBezTo>
                <a:cubicBezTo>
                  <a:pt x="1117" y="232"/>
                  <a:pt x="1119" y="231"/>
                  <a:pt x="1119" y="232"/>
                </a:cubicBezTo>
                <a:cubicBezTo>
                  <a:pt x="1119" y="232"/>
                  <a:pt x="1118" y="233"/>
                  <a:pt x="1118" y="233"/>
                </a:cubicBezTo>
                <a:cubicBezTo>
                  <a:pt x="1117" y="234"/>
                  <a:pt x="1116" y="234"/>
                  <a:pt x="1116" y="234"/>
                </a:cubicBezTo>
                <a:cubicBezTo>
                  <a:pt x="1115" y="234"/>
                  <a:pt x="1115" y="234"/>
                  <a:pt x="1114" y="234"/>
                </a:cubicBezTo>
                <a:cubicBezTo>
                  <a:pt x="1114" y="234"/>
                  <a:pt x="1114" y="234"/>
                  <a:pt x="1113" y="234"/>
                </a:cubicBezTo>
                <a:cubicBezTo>
                  <a:pt x="1113" y="234"/>
                  <a:pt x="1112" y="234"/>
                  <a:pt x="1113" y="235"/>
                </a:cubicBezTo>
                <a:cubicBezTo>
                  <a:pt x="1113" y="235"/>
                  <a:pt x="1114" y="235"/>
                  <a:pt x="1114" y="235"/>
                </a:cubicBezTo>
                <a:cubicBezTo>
                  <a:pt x="1115" y="235"/>
                  <a:pt x="1116" y="235"/>
                  <a:pt x="1117" y="235"/>
                </a:cubicBezTo>
                <a:cubicBezTo>
                  <a:pt x="1117" y="235"/>
                  <a:pt x="1118" y="235"/>
                  <a:pt x="1118" y="235"/>
                </a:cubicBezTo>
                <a:cubicBezTo>
                  <a:pt x="1119" y="235"/>
                  <a:pt x="1119" y="236"/>
                  <a:pt x="1118" y="236"/>
                </a:cubicBezTo>
                <a:cubicBezTo>
                  <a:pt x="1117" y="236"/>
                  <a:pt x="1116" y="236"/>
                  <a:pt x="1116" y="236"/>
                </a:cubicBezTo>
                <a:cubicBezTo>
                  <a:pt x="1115" y="236"/>
                  <a:pt x="1114" y="236"/>
                  <a:pt x="1113" y="236"/>
                </a:cubicBezTo>
                <a:cubicBezTo>
                  <a:pt x="1113" y="237"/>
                  <a:pt x="1115" y="237"/>
                  <a:pt x="1116" y="237"/>
                </a:cubicBezTo>
                <a:cubicBezTo>
                  <a:pt x="1116" y="237"/>
                  <a:pt x="1117" y="237"/>
                  <a:pt x="1117" y="238"/>
                </a:cubicBezTo>
                <a:cubicBezTo>
                  <a:pt x="1117" y="238"/>
                  <a:pt x="1116" y="238"/>
                  <a:pt x="1115" y="238"/>
                </a:cubicBezTo>
                <a:cubicBezTo>
                  <a:pt x="1115" y="238"/>
                  <a:pt x="1114" y="238"/>
                  <a:pt x="1114" y="238"/>
                </a:cubicBezTo>
                <a:cubicBezTo>
                  <a:pt x="1113" y="238"/>
                  <a:pt x="1113" y="239"/>
                  <a:pt x="1112" y="239"/>
                </a:cubicBezTo>
                <a:cubicBezTo>
                  <a:pt x="1111" y="239"/>
                  <a:pt x="1110" y="240"/>
                  <a:pt x="1109" y="240"/>
                </a:cubicBezTo>
                <a:cubicBezTo>
                  <a:pt x="1108" y="240"/>
                  <a:pt x="1106" y="240"/>
                  <a:pt x="1106" y="241"/>
                </a:cubicBezTo>
                <a:cubicBezTo>
                  <a:pt x="1106" y="242"/>
                  <a:pt x="1108" y="241"/>
                  <a:pt x="1109" y="241"/>
                </a:cubicBezTo>
                <a:cubicBezTo>
                  <a:pt x="1109" y="242"/>
                  <a:pt x="1110" y="242"/>
                  <a:pt x="1111" y="241"/>
                </a:cubicBezTo>
                <a:cubicBezTo>
                  <a:pt x="1112" y="241"/>
                  <a:pt x="1113" y="241"/>
                  <a:pt x="1113" y="240"/>
                </a:cubicBezTo>
                <a:cubicBezTo>
                  <a:pt x="1114" y="240"/>
                  <a:pt x="1116" y="240"/>
                  <a:pt x="1117" y="240"/>
                </a:cubicBezTo>
                <a:cubicBezTo>
                  <a:pt x="1118" y="239"/>
                  <a:pt x="1118" y="238"/>
                  <a:pt x="1119" y="238"/>
                </a:cubicBezTo>
                <a:cubicBezTo>
                  <a:pt x="1119" y="238"/>
                  <a:pt x="1120" y="238"/>
                  <a:pt x="1119" y="238"/>
                </a:cubicBezTo>
                <a:cubicBezTo>
                  <a:pt x="1119" y="239"/>
                  <a:pt x="1119" y="239"/>
                  <a:pt x="1118" y="239"/>
                </a:cubicBezTo>
                <a:cubicBezTo>
                  <a:pt x="1118" y="240"/>
                  <a:pt x="1118" y="240"/>
                  <a:pt x="1118" y="240"/>
                </a:cubicBezTo>
                <a:cubicBezTo>
                  <a:pt x="1118" y="241"/>
                  <a:pt x="1118" y="241"/>
                  <a:pt x="1117" y="241"/>
                </a:cubicBezTo>
                <a:cubicBezTo>
                  <a:pt x="1117" y="242"/>
                  <a:pt x="1117" y="242"/>
                  <a:pt x="1117" y="242"/>
                </a:cubicBezTo>
                <a:cubicBezTo>
                  <a:pt x="1117" y="243"/>
                  <a:pt x="1118" y="243"/>
                  <a:pt x="1118" y="243"/>
                </a:cubicBezTo>
                <a:cubicBezTo>
                  <a:pt x="1119" y="243"/>
                  <a:pt x="1120" y="243"/>
                  <a:pt x="1121" y="243"/>
                </a:cubicBezTo>
                <a:cubicBezTo>
                  <a:pt x="1121" y="244"/>
                  <a:pt x="1119" y="244"/>
                  <a:pt x="1120" y="244"/>
                </a:cubicBezTo>
                <a:cubicBezTo>
                  <a:pt x="1120" y="245"/>
                  <a:pt x="1120" y="245"/>
                  <a:pt x="1121" y="245"/>
                </a:cubicBezTo>
                <a:cubicBezTo>
                  <a:pt x="1121" y="246"/>
                  <a:pt x="1122" y="246"/>
                  <a:pt x="1122" y="246"/>
                </a:cubicBezTo>
                <a:cubicBezTo>
                  <a:pt x="1123" y="246"/>
                  <a:pt x="1123" y="246"/>
                  <a:pt x="1123" y="246"/>
                </a:cubicBezTo>
                <a:cubicBezTo>
                  <a:pt x="1123" y="246"/>
                  <a:pt x="1123" y="246"/>
                  <a:pt x="1124" y="246"/>
                </a:cubicBezTo>
                <a:cubicBezTo>
                  <a:pt x="1125" y="246"/>
                  <a:pt x="1124" y="247"/>
                  <a:pt x="1124" y="247"/>
                </a:cubicBezTo>
                <a:cubicBezTo>
                  <a:pt x="1123" y="247"/>
                  <a:pt x="1123" y="247"/>
                  <a:pt x="1122" y="247"/>
                </a:cubicBezTo>
                <a:cubicBezTo>
                  <a:pt x="1122" y="247"/>
                  <a:pt x="1121" y="247"/>
                  <a:pt x="1122" y="247"/>
                </a:cubicBezTo>
                <a:cubicBezTo>
                  <a:pt x="1122" y="248"/>
                  <a:pt x="1122" y="248"/>
                  <a:pt x="1123" y="248"/>
                </a:cubicBezTo>
                <a:cubicBezTo>
                  <a:pt x="1123" y="248"/>
                  <a:pt x="1123" y="249"/>
                  <a:pt x="1123" y="249"/>
                </a:cubicBezTo>
                <a:cubicBezTo>
                  <a:pt x="1124" y="249"/>
                  <a:pt x="1126" y="250"/>
                  <a:pt x="1125" y="250"/>
                </a:cubicBezTo>
                <a:cubicBezTo>
                  <a:pt x="1124" y="251"/>
                  <a:pt x="1123" y="249"/>
                  <a:pt x="1122" y="249"/>
                </a:cubicBezTo>
                <a:cubicBezTo>
                  <a:pt x="1122" y="249"/>
                  <a:pt x="1122" y="250"/>
                  <a:pt x="1122" y="250"/>
                </a:cubicBezTo>
                <a:cubicBezTo>
                  <a:pt x="1122" y="251"/>
                  <a:pt x="1122" y="251"/>
                  <a:pt x="1121" y="251"/>
                </a:cubicBezTo>
                <a:cubicBezTo>
                  <a:pt x="1121" y="251"/>
                  <a:pt x="1121" y="252"/>
                  <a:pt x="1121" y="252"/>
                </a:cubicBezTo>
                <a:cubicBezTo>
                  <a:pt x="1122" y="252"/>
                  <a:pt x="1122" y="252"/>
                  <a:pt x="1122" y="252"/>
                </a:cubicBezTo>
                <a:cubicBezTo>
                  <a:pt x="1123" y="253"/>
                  <a:pt x="1124" y="253"/>
                  <a:pt x="1125" y="253"/>
                </a:cubicBezTo>
                <a:cubicBezTo>
                  <a:pt x="1125" y="253"/>
                  <a:pt x="1126" y="254"/>
                  <a:pt x="1126" y="255"/>
                </a:cubicBezTo>
                <a:cubicBezTo>
                  <a:pt x="1127" y="255"/>
                  <a:pt x="1127" y="256"/>
                  <a:pt x="1128" y="257"/>
                </a:cubicBezTo>
                <a:cubicBezTo>
                  <a:pt x="1128" y="257"/>
                  <a:pt x="1129" y="256"/>
                  <a:pt x="1130" y="257"/>
                </a:cubicBezTo>
                <a:cubicBezTo>
                  <a:pt x="1130" y="257"/>
                  <a:pt x="1131" y="257"/>
                  <a:pt x="1130" y="258"/>
                </a:cubicBezTo>
                <a:cubicBezTo>
                  <a:pt x="1130" y="258"/>
                  <a:pt x="1129" y="258"/>
                  <a:pt x="1129" y="258"/>
                </a:cubicBezTo>
                <a:cubicBezTo>
                  <a:pt x="1129" y="258"/>
                  <a:pt x="1129" y="259"/>
                  <a:pt x="1128" y="259"/>
                </a:cubicBezTo>
                <a:cubicBezTo>
                  <a:pt x="1128" y="259"/>
                  <a:pt x="1127" y="259"/>
                  <a:pt x="1127" y="260"/>
                </a:cubicBezTo>
                <a:cubicBezTo>
                  <a:pt x="1127" y="260"/>
                  <a:pt x="1128" y="260"/>
                  <a:pt x="1128" y="260"/>
                </a:cubicBezTo>
                <a:cubicBezTo>
                  <a:pt x="1129" y="260"/>
                  <a:pt x="1129" y="261"/>
                  <a:pt x="1129" y="261"/>
                </a:cubicBezTo>
                <a:cubicBezTo>
                  <a:pt x="1129" y="261"/>
                  <a:pt x="1130" y="261"/>
                  <a:pt x="1130" y="261"/>
                </a:cubicBezTo>
                <a:cubicBezTo>
                  <a:pt x="1130" y="262"/>
                  <a:pt x="1129" y="262"/>
                  <a:pt x="1129" y="262"/>
                </a:cubicBezTo>
                <a:cubicBezTo>
                  <a:pt x="1129" y="262"/>
                  <a:pt x="1128" y="262"/>
                  <a:pt x="1128" y="262"/>
                </a:cubicBezTo>
                <a:cubicBezTo>
                  <a:pt x="1128" y="263"/>
                  <a:pt x="1128" y="263"/>
                  <a:pt x="1127" y="263"/>
                </a:cubicBezTo>
                <a:cubicBezTo>
                  <a:pt x="1126" y="263"/>
                  <a:pt x="1126" y="263"/>
                  <a:pt x="1125" y="263"/>
                </a:cubicBezTo>
                <a:cubicBezTo>
                  <a:pt x="1125" y="263"/>
                  <a:pt x="1125" y="263"/>
                  <a:pt x="1124" y="263"/>
                </a:cubicBezTo>
                <a:cubicBezTo>
                  <a:pt x="1124" y="263"/>
                  <a:pt x="1124" y="264"/>
                  <a:pt x="1125" y="264"/>
                </a:cubicBezTo>
                <a:cubicBezTo>
                  <a:pt x="1125" y="264"/>
                  <a:pt x="1126" y="265"/>
                  <a:pt x="1126" y="265"/>
                </a:cubicBezTo>
                <a:cubicBezTo>
                  <a:pt x="1127" y="265"/>
                  <a:pt x="1128" y="264"/>
                  <a:pt x="1128" y="265"/>
                </a:cubicBezTo>
                <a:cubicBezTo>
                  <a:pt x="1129" y="265"/>
                  <a:pt x="1130" y="266"/>
                  <a:pt x="1131" y="265"/>
                </a:cubicBezTo>
                <a:cubicBezTo>
                  <a:pt x="1131" y="265"/>
                  <a:pt x="1131" y="265"/>
                  <a:pt x="1132" y="265"/>
                </a:cubicBezTo>
                <a:cubicBezTo>
                  <a:pt x="1132" y="265"/>
                  <a:pt x="1133" y="265"/>
                  <a:pt x="1133" y="265"/>
                </a:cubicBezTo>
                <a:cubicBezTo>
                  <a:pt x="1134" y="265"/>
                  <a:pt x="1134" y="266"/>
                  <a:pt x="1135" y="266"/>
                </a:cubicBezTo>
                <a:cubicBezTo>
                  <a:pt x="1135" y="267"/>
                  <a:pt x="1135" y="267"/>
                  <a:pt x="1135" y="267"/>
                </a:cubicBezTo>
                <a:cubicBezTo>
                  <a:pt x="1136" y="268"/>
                  <a:pt x="1135" y="268"/>
                  <a:pt x="1135" y="269"/>
                </a:cubicBezTo>
                <a:cubicBezTo>
                  <a:pt x="1135" y="269"/>
                  <a:pt x="1135" y="270"/>
                  <a:pt x="1135" y="270"/>
                </a:cubicBezTo>
                <a:cubicBezTo>
                  <a:pt x="1134" y="270"/>
                  <a:pt x="1134" y="270"/>
                  <a:pt x="1134" y="271"/>
                </a:cubicBezTo>
                <a:cubicBezTo>
                  <a:pt x="1135" y="271"/>
                  <a:pt x="1135" y="271"/>
                  <a:pt x="1135" y="271"/>
                </a:cubicBezTo>
                <a:cubicBezTo>
                  <a:pt x="1136" y="271"/>
                  <a:pt x="1136" y="272"/>
                  <a:pt x="1135" y="273"/>
                </a:cubicBezTo>
                <a:cubicBezTo>
                  <a:pt x="1135" y="273"/>
                  <a:pt x="1135" y="273"/>
                  <a:pt x="1135" y="273"/>
                </a:cubicBezTo>
                <a:cubicBezTo>
                  <a:pt x="1134" y="273"/>
                  <a:pt x="1134" y="273"/>
                  <a:pt x="1134" y="274"/>
                </a:cubicBezTo>
                <a:cubicBezTo>
                  <a:pt x="1134" y="274"/>
                  <a:pt x="1136" y="274"/>
                  <a:pt x="1136" y="274"/>
                </a:cubicBezTo>
                <a:cubicBezTo>
                  <a:pt x="1136" y="275"/>
                  <a:pt x="1135" y="275"/>
                  <a:pt x="1134" y="275"/>
                </a:cubicBezTo>
                <a:cubicBezTo>
                  <a:pt x="1134" y="275"/>
                  <a:pt x="1134" y="275"/>
                  <a:pt x="1133" y="275"/>
                </a:cubicBezTo>
                <a:cubicBezTo>
                  <a:pt x="1133" y="275"/>
                  <a:pt x="1133" y="276"/>
                  <a:pt x="1132" y="276"/>
                </a:cubicBezTo>
                <a:cubicBezTo>
                  <a:pt x="1132" y="277"/>
                  <a:pt x="1134" y="276"/>
                  <a:pt x="1134" y="276"/>
                </a:cubicBezTo>
                <a:cubicBezTo>
                  <a:pt x="1135" y="276"/>
                  <a:pt x="1135" y="276"/>
                  <a:pt x="1136" y="276"/>
                </a:cubicBezTo>
                <a:cubicBezTo>
                  <a:pt x="1136" y="276"/>
                  <a:pt x="1136" y="277"/>
                  <a:pt x="1136" y="277"/>
                </a:cubicBezTo>
                <a:cubicBezTo>
                  <a:pt x="1137" y="277"/>
                  <a:pt x="1137" y="277"/>
                  <a:pt x="1137" y="277"/>
                </a:cubicBezTo>
                <a:cubicBezTo>
                  <a:pt x="1137" y="277"/>
                  <a:pt x="1136" y="277"/>
                  <a:pt x="1136" y="277"/>
                </a:cubicBezTo>
                <a:cubicBezTo>
                  <a:pt x="1136" y="277"/>
                  <a:pt x="1136" y="277"/>
                  <a:pt x="1135" y="277"/>
                </a:cubicBezTo>
                <a:cubicBezTo>
                  <a:pt x="1135" y="277"/>
                  <a:pt x="1134" y="278"/>
                  <a:pt x="1133" y="277"/>
                </a:cubicBezTo>
                <a:cubicBezTo>
                  <a:pt x="1133" y="277"/>
                  <a:pt x="1133" y="277"/>
                  <a:pt x="1132" y="277"/>
                </a:cubicBezTo>
                <a:cubicBezTo>
                  <a:pt x="1132" y="277"/>
                  <a:pt x="1132" y="277"/>
                  <a:pt x="1131" y="277"/>
                </a:cubicBezTo>
                <a:cubicBezTo>
                  <a:pt x="1130" y="277"/>
                  <a:pt x="1127" y="276"/>
                  <a:pt x="1126" y="277"/>
                </a:cubicBezTo>
                <a:cubicBezTo>
                  <a:pt x="1126" y="277"/>
                  <a:pt x="1126" y="277"/>
                  <a:pt x="1126" y="277"/>
                </a:cubicBezTo>
                <a:cubicBezTo>
                  <a:pt x="1125" y="278"/>
                  <a:pt x="1125" y="278"/>
                  <a:pt x="1125" y="278"/>
                </a:cubicBezTo>
                <a:cubicBezTo>
                  <a:pt x="1126" y="278"/>
                  <a:pt x="1126" y="278"/>
                  <a:pt x="1126" y="278"/>
                </a:cubicBezTo>
                <a:cubicBezTo>
                  <a:pt x="1127" y="278"/>
                  <a:pt x="1127" y="279"/>
                  <a:pt x="1128" y="279"/>
                </a:cubicBezTo>
                <a:cubicBezTo>
                  <a:pt x="1128" y="279"/>
                  <a:pt x="1128" y="279"/>
                  <a:pt x="1129" y="278"/>
                </a:cubicBezTo>
                <a:cubicBezTo>
                  <a:pt x="1129" y="278"/>
                  <a:pt x="1129" y="278"/>
                  <a:pt x="1129" y="278"/>
                </a:cubicBezTo>
                <a:cubicBezTo>
                  <a:pt x="1130" y="278"/>
                  <a:pt x="1131" y="280"/>
                  <a:pt x="1132" y="279"/>
                </a:cubicBezTo>
                <a:cubicBezTo>
                  <a:pt x="1132" y="279"/>
                  <a:pt x="1132" y="278"/>
                  <a:pt x="1133" y="278"/>
                </a:cubicBezTo>
                <a:cubicBezTo>
                  <a:pt x="1133" y="278"/>
                  <a:pt x="1134" y="279"/>
                  <a:pt x="1134" y="279"/>
                </a:cubicBezTo>
                <a:cubicBezTo>
                  <a:pt x="1134" y="279"/>
                  <a:pt x="1135" y="279"/>
                  <a:pt x="1135" y="279"/>
                </a:cubicBezTo>
                <a:cubicBezTo>
                  <a:pt x="1135" y="280"/>
                  <a:pt x="1135" y="280"/>
                  <a:pt x="1134" y="280"/>
                </a:cubicBezTo>
                <a:cubicBezTo>
                  <a:pt x="1134" y="280"/>
                  <a:pt x="1133" y="280"/>
                  <a:pt x="1133" y="280"/>
                </a:cubicBezTo>
                <a:cubicBezTo>
                  <a:pt x="1133" y="281"/>
                  <a:pt x="1133" y="281"/>
                  <a:pt x="1133" y="282"/>
                </a:cubicBezTo>
                <a:cubicBezTo>
                  <a:pt x="1132" y="284"/>
                  <a:pt x="1131" y="283"/>
                  <a:pt x="1129" y="285"/>
                </a:cubicBezTo>
                <a:cubicBezTo>
                  <a:pt x="1129" y="285"/>
                  <a:pt x="1128" y="286"/>
                  <a:pt x="1128" y="286"/>
                </a:cubicBezTo>
                <a:cubicBezTo>
                  <a:pt x="1127" y="286"/>
                  <a:pt x="1126" y="286"/>
                  <a:pt x="1126" y="287"/>
                </a:cubicBezTo>
                <a:cubicBezTo>
                  <a:pt x="1126" y="287"/>
                  <a:pt x="1126" y="288"/>
                  <a:pt x="1126" y="288"/>
                </a:cubicBezTo>
                <a:cubicBezTo>
                  <a:pt x="1126" y="288"/>
                  <a:pt x="1127" y="288"/>
                  <a:pt x="1127" y="288"/>
                </a:cubicBezTo>
                <a:cubicBezTo>
                  <a:pt x="1128" y="289"/>
                  <a:pt x="1129" y="289"/>
                  <a:pt x="1129" y="289"/>
                </a:cubicBezTo>
                <a:cubicBezTo>
                  <a:pt x="1130" y="289"/>
                  <a:pt x="1131" y="289"/>
                  <a:pt x="1132" y="289"/>
                </a:cubicBezTo>
                <a:cubicBezTo>
                  <a:pt x="1132" y="289"/>
                  <a:pt x="1133" y="289"/>
                  <a:pt x="1134" y="289"/>
                </a:cubicBezTo>
                <a:cubicBezTo>
                  <a:pt x="1134" y="288"/>
                  <a:pt x="1134" y="288"/>
                  <a:pt x="1135" y="288"/>
                </a:cubicBezTo>
                <a:cubicBezTo>
                  <a:pt x="1135" y="288"/>
                  <a:pt x="1135" y="288"/>
                  <a:pt x="1136" y="287"/>
                </a:cubicBezTo>
                <a:cubicBezTo>
                  <a:pt x="1137" y="287"/>
                  <a:pt x="1137" y="286"/>
                  <a:pt x="1137" y="286"/>
                </a:cubicBezTo>
                <a:cubicBezTo>
                  <a:pt x="1137" y="285"/>
                  <a:pt x="1138" y="285"/>
                  <a:pt x="1138" y="285"/>
                </a:cubicBezTo>
                <a:cubicBezTo>
                  <a:pt x="1138" y="284"/>
                  <a:pt x="1138" y="284"/>
                  <a:pt x="1138" y="284"/>
                </a:cubicBezTo>
                <a:cubicBezTo>
                  <a:pt x="1139" y="283"/>
                  <a:pt x="1139" y="284"/>
                  <a:pt x="1139" y="284"/>
                </a:cubicBezTo>
                <a:cubicBezTo>
                  <a:pt x="1139" y="285"/>
                  <a:pt x="1139" y="285"/>
                  <a:pt x="1138" y="285"/>
                </a:cubicBezTo>
                <a:cubicBezTo>
                  <a:pt x="1138" y="286"/>
                  <a:pt x="1138" y="286"/>
                  <a:pt x="1137" y="287"/>
                </a:cubicBezTo>
                <a:cubicBezTo>
                  <a:pt x="1137" y="287"/>
                  <a:pt x="1136" y="288"/>
                  <a:pt x="1135" y="288"/>
                </a:cubicBezTo>
                <a:cubicBezTo>
                  <a:pt x="1135" y="289"/>
                  <a:pt x="1134" y="290"/>
                  <a:pt x="1133" y="290"/>
                </a:cubicBezTo>
                <a:cubicBezTo>
                  <a:pt x="1133" y="290"/>
                  <a:pt x="1132" y="290"/>
                  <a:pt x="1131" y="290"/>
                </a:cubicBezTo>
                <a:cubicBezTo>
                  <a:pt x="1130" y="290"/>
                  <a:pt x="1130" y="290"/>
                  <a:pt x="1129" y="290"/>
                </a:cubicBezTo>
                <a:cubicBezTo>
                  <a:pt x="1129" y="290"/>
                  <a:pt x="1129" y="291"/>
                  <a:pt x="1129" y="291"/>
                </a:cubicBezTo>
                <a:cubicBezTo>
                  <a:pt x="1128" y="292"/>
                  <a:pt x="1127" y="292"/>
                  <a:pt x="1127" y="292"/>
                </a:cubicBezTo>
                <a:cubicBezTo>
                  <a:pt x="1126" y="292"/>
                  <a:pt x="1126" y="293"/>
                  <a:pt x="1126" y="293"/>
                </a:cubicBezTo>
                <a:cubicBezTo>
                  <a:pt x="1125" y="293"/>
                  <a:pt x="1125" y="293"/>
                  <a:pt x="1125" y="293"/>
                </a:cubicBezTo>
                <a:cubicBezTo>
                  <a:pt x="1124" y="293"/>
                  <a:pt x="1123" y="293"/>
                  <a:pt x="1123" y="294"/>
                </a:cubicBezTo>
                <a:cubicBezTo>
                  <a:pt x="1122" y="294"/>
                  <a:pt x="1124" y="295"/>
                  <a:pt x="1124" y="295"/>
                </a:cubicBezTo>
                <a:cubicBezTo>
                  <a:pt x="1125" y="295"/>
                  <a:pt x="1125" y="296"/>
                  <a:pt x="1126" y="296"/>
                </a:cubicBezTo>
                <a:cubicBezTo>
                  <a:pt x="1126" y="296"/>
                  <a:pt x="1126" y="296"/>
                  <a:pt x="1127" y="296"/>
                </a:cubicBezTo>
                <a:cubicBezTo>
                  <a:pt x="1127" y="296"/>
                  <a:pt x="1128" y="297"/>
                  <a:pt x="1129" y="297"/>
                </a:cubicBezTo>
                <a:cubicBezTo>
                  <a:pt x="1129" y="297"/>
                  <a:pt x="1129" y="298"/>
                  <a:pt x="1129" y="298"/>
                </a:cubicBezTo>
                <a:cubicBezTo>
                  <a:pt x="1129" y="298"/>
                  <a:pt x="1129" y="298"/>
                  <a:pt x="1130" y="298"/>
                </a:cubicBezTo>
                <a:cubicBezTo>
                  <a:pt x="1130" y="298"/>
                  <a:pt x="1131" y="299"/>
                  <a:pt x="1132" y="299"/>
                </a:cubicBezTo>
                <a:cubicBezTo>
                  <a:pt x="1132" y="300"/>
                  <a:pt x="1133" y="300"/>
                  <a:pt x="1134" y="300"/>
                </a:cubicBezTo>
                <a:cubicBezTo>
                  <a:pt x="1136" y="301"/>
                  <a:pt x="1137" y="301"/>
                  <a:pt x="1139" y="301"/>
                </a:cubicBezTo>
                <a:cubicBezTo>
                  <a:pt x="1141" y="301"/>
                  <a:pt x="1142" y="300"/>
                  <a:pt x="1144" y="299"/>
                </a:cubicBezTo>
                <a:cubicBezTo>
                  <a:pt x="1144" y="299"/>
                  <a:pt x="1145" y="299"/>
                  <a:pt x="1146" y="298"/>
                </a:cubicBezTo>
                <a:cubicBezTo>
                  <a:pt x="1146" y="298"/>
                  <a:pt x="1146" y="298"/>
                  <a:pt x="1146" y="297"/>
                </a:cubicBezTo>
                <a:cubicBezTo>
                  <a:pt x="1146" y="297"/>
                  <a:pt x="1145" y="297"/>
                  <a:pt x="1145" y="296"/>
                </a:cubicBezTo>
                <a:cubicBezTo>
                  <a:pt x="1145" y="296"/>
                  <a:pt x="1145" y="296"/>
                  <a:pt x="1145" y="295"/>
                </a:cubicBezTo>
                <a:cubicBezTo>
                  <a:pt x="1145" y="295"/>
                  <a:pt x="1144" y="295"/>
                  <a:pt x="1144" y="295"/>
                </a:cubicBezTo>
                <a:cubicBezTo>
                  <a:pt x="1144" y="295"/>
                  <a:pt x="1143" y="294"/>
                  <a:pt x="1144" y="294"/>
                </a:cubicBezTo>
                <a:cubicBezTo>
                  <a:pt x="1145" y="294"/>
                  <a:pt x="1145" y="295"/>
                  <a:pt x="1146" y="295"/>
                </a:cubicBezTo>
                <a:cubicBezTo>
                  <a:pt x="1146" y="295"/>
                  <a:pt x="1147" y="295"/>
                  <a:pt x="1147" y="295"/>
                </a:cubicBezTo>
                <a:cubicBezTo>
                  <a:pt x="1147" y="295"/>
                  <a:pt x="1147" y="294"/>
                  <a:pt x="1147" y="294"/>
                </a:cubicBezTo>
                <a:cubicBezTo>
                  <a:pt x="1146" y="293"/>
                  <a:pt x="1148" y="293"/>
                  <a:pt x="1149" y="293"/>
                </a:cubicBezTo>
                <a:cubicBezTo>
                  <a:pt x="1149" y="292"/>
                  <a:pt x="1149" y="292"/>
                  <a:pt x="1149" y="292"/>
                </a:cubicBezTo>
                <a:cubicBezTo>
                  <a:pt x="1150" y="292"/>
                  <a:pt x="1150" y="292"/>
                  <a:pt x="1150" y="292"/>
                </a:cubicBezTo>
                <a:cubicBezTo>
                  <a:pt x="1151" y="291"/>
                  <a:pt x="1151" y="290"/>
                  <a:pt x="1151" y="289"/>
                </a:cubicBezTo>
                <a:cubicBezTo>
                  <a:pt x="1151" y="289"/>
                  <a:pt x="1151" y="288"/>
                  <a:pt x="1150" y="287"/>
                </a:cubicBezTo>
                <a:cubicBezTo>
                  <a:pt x="1150" y="287"/>
                  <a:pt x="1149" y="286"/>
                  <a:pt x="1148" y="286"/>
                </a:cubicBezTo>
                <a:cubicBezTo>
                  <a:pt x="1148" y="285"/>
                  <a:pt x="1147" y="285"/>
                  <a:pt x="1147" y="284"/>
                </a:cubicBezTo>
                <a:cubicBezTo>
                  <a:pt x="1146" y="283"/>
                  <a:pt x="1146" y="283"/>
                  <a:pt x="1146" y="282"/>
                </a:cubicBezTo>
                <a:cubicBezTo>
                  <a:pt x="1146" y="281"/>
                  <a:pt x="1145" y="281"/>
                  <a:pt x="1145" y="280"/>
                </a:cubicBezTo>
                <a:cubicBezTo>
                  <a:pt x="1146" y="281"/>
                  <a:pt x="1146" y="283"/>
                  <a:pt x="1147" y="284"/>
                </a:cubicBezTo>
                <a:cubicBezTo>
                  <a:pt x="1147" y="285"/>
                  <a:pt x="1148" y="285"/>
                  <a:pt x="1149" y="285"/>
                </a:cubicBezTo>
                <a:cubicBezTo>
                  <a:pt x="1149" y="286"/>
                  <a:pt x="1150" y="286"/>
                  <a:pt x="1151" y="287"/>
                </a:cubicBezTo>
                <a:cubicBezTo>
                  <a:pt x="1152" y="288"/>
                  <a:pt x="1152" y="289"/>
                  <a:pt x="1151" y="291"/>
                </a:cubicBezTo>
                <a:cubicBezTo>
                  <a:pt x="1151" y="292"/>
                  <a:pt x="1152" y="292"/>
                  <a:pt x="1153" y="292"/>
                </a:cubicBezTo>
                <a:cubicBezTo>
                  <a:pt x="1153" y="291"/>
                  <a:pt x="1155" y="292"/>
                  <a:pt x="1155" y="291"/>
                </a:cubicBezTo>
                <a:cubicBezTo>
                  <a:pt x="1155" y="291"/>
                  <a:pt x="1155" y="290"/>
                  <a:pt x="1156" y="290"/>
                </a:cubicBezTo>
                <a:cubicBezTo>
                  <a:pt x="1156" y="289"/>
                  <a:pt x="1156" y="289"/>
                  <a:pt x="1156" y="289"/>
                </a:cubicBezTo>
                <a:cubicBezTo>
                  <a:pt x="1157" y="288"/>
                  <a:pt x="1158" y="287"/>
                  <a:pt x="1158" y="287"/>
                </a:cubicBezTo>
                <a:cubicBezTo>
                  <a:pt x="1158" y="288"/>
                  <a:pt x="1158" y="288"/>
                  <a:pt x="1157" y="288"/>
                </a:cubicBezTo>
                <a:cubicBezTo>
                  <a:pt x="1157" y="289"/>
                  <a:pt x="1157" y="289"/>
                  <a:pt x="1156" y="289"/>
                </a:cubicBezTo>
                <a:cubicBezTo>
                  <a:pt x="1156" y="290"/>
                  <a:pt x="1156" y="290"/>
                  <a:pt x="1156" y="291"/>
                </a:cubicBezTo>
                <a:cubicBezTo>
                  <a:pt x="1156" y="291"/>
                  <a:pt x="1156" y="292"/>
                  <a:pt x="1155" y="292"/>
                </a:cubicBezTo>
                <a:cubicBezTo>
                  <a:pt x="1155" y="292"/>
                  <a:pt x="1154" y="292"/>
                  <a:pt x="1153" y="293"/>
                </a:cubicBezTo>
                <a:cubicBezTo>
                  <a:pt x="1153" y="293"/>
                  <a:pt x="1152" y="293"/>
                  <a:pt x="1152" y="293"/>
                </a:cubicBezTo>
                <a:cubicBezTo>
                  <a:pt x="1153" y="294"/>
                  <a:pt x="1153" y="294"/>
                  <a:pt x="1153" y="294"/>
                </a:cubicBezTo>
                <a:cubicBezTo>
                  <a:pt x="1152" y="294"/>
                  <a:pt x="1151" y="294"/>
                  <a:pt x="1150" y="294"/>
                </a:cubicBezTo>
                <a:cubicBezTo>
                  <a:pt x="1150" y="295"/>
                  <a:pt x="1151" y="296"/>
                  <a:pt x="1152" y="296"/>
                </a:cubicBezTo>
                <a:cubicBezTo>
                  <a:pt x="1152" y="296"/>
                  <a:pt x="1152" y="297"/>
                  <a:pt x="1153" y="297"/>
                </a:cubicBezTo>
                <a:cubicBezTo>
                  <a:pt x="1154" y="298"/>
                  <a:pt x="1155" y="297"/>
                  <a:pt x="1155" y="296"/>
                </a:cubicBezTo>
                <a:cubicBezTo>
                  <a:pt x="1156" y="296"/>
                  <a:pt x="1156" y="296"/>
                  <a:pt x="1156" y="296"/>
                </a:cubicBezTo>
                <a:cubicBezTo>
                  <a:pt x="1157" y="296"/>
                  <a:pt x="1157" y="296"/>
                  <a:pt x="1157" y="296"/>
                </a:cubicBezTo>
                <a:cubicBezTo>
                  <a:pt x="1158" y="295"/>
                  <a:pt x="1158" y="295"/>
                  <a:pt x="1158" y="295"/>
                </a:cubicBezTo>
                <a:cubicBezTo>
                  <a:pt x="1157" y="294"/>
                  <a:pt x="1157" y="295"/>
                  <a:pt x="1157" y="295"/>
                </a:cubicBezTo>
                <a:cubicBezTo>
                  <a:pt x="1156" y="294"/>
                  <a:pt x="1156" y="294"/>
                  <a:pt x="1157" y="294"/>
                </a:cubicBezTo>
                <a:cubicBezTo>
                  <a:pt x="1157" y="294"/>
                  <a:pt x="1158" y="294"/>
                  <a:pt x="1158" y="294"/>
                </a:cubicBezTo>
                <a:cubicBezTo>
                  <a:pt x="1159" y="294"/>
                  <a:pt x="1160" y="294"/>
                  <a:pt x="1161" y="295"/>
                </a:cubicBezTo>
                <a:cubicBezTo>
                  <a:pt x="1162" y="295"/>
                  <a:pt x="1163" y="296"/>
                  <a:pt x="1165" y="296"/>
                </a:cubicBezTo>
                <a:cubicBezTo>
                  <a:pt x="1166" y="295"/>
                  <a:pt x="1169" y="296"/>
                  <a:pt x="1170" y="294"/>
                </a:cubicBezTo>
                <a:cubicBezTo>
                  <a:pt x="1170" y="294"/>
                  <a:pt x="1170" y="293"/>
                  <a:pt x="1170" y="294"/>
                </a:cubicBezTo>
                <a:cubicBezTo>
                  <a:pt x="1170" y="294"/>
                  <a:pt x="1170" y="294"/>
                  <a:pt x="1170" y="295"/>
                </a:cubicBezTo>
                <a:cubicBezTo>
                  <a:pt x="1170" y="295"/>
                  <a:pt x="1169" y="295"/>
                  <a:pt x="1168" y="296"/>
                </a:cubicBezTo>
                <a:cubicBezTo>
                  <a:pt x="1167" y="297"/>
                  <a:pt x="1165" y="297"/>
                  <a:pt x="1164" y="297"/>
                </a:cubicBezTo>
                <a:cubicBezTo>
                  <a:pt x="1161" y="297"/>
                  <a:pt x="1160" y="298"/>
                  <a:pt x="1158" y="298"/>
                </a:cubicBezTo>
                <a:cubicBezTo>
                  <a:pt x="1157" y="299"/>
                  <a:pt x="1155" y="299"/>
                  <a:pt x="1156" y="300"/>
                </a:cubicBezTo>
                <a:cubicBezTo>
                  <a:pt x="1156" y="300"/>
                  <a:pt x="1158" y="300"/>
                  <a:pt x="1158" y="300"/>
                </a:cubicBezTo>
                <a:cubicBezTo>
                  <a:pt x="1159" y="300"/>
                  <a:pt x="1160" y="300"/>
                  <a:pt x="1161" y="300"/>
                </a:cubicBezTo>
                <a:cubicBezTo>
                  <a:pt x="1162" y="300"/>
                  <a:pt x="1163" y="300"/>
                  <a:pt x="1164" y="300"/>
                </a:cubicBezTo>
                <a:cubicBezTo>
                  <a:pt x="1164" y="300"/>
                  <a:pt x="1165" y="299"/>
                  <a:pt x="1166" y="299"/>
                </a:cubicBezTo>
                <a:cubicBezTo>
                  <a:pt x="1167" y="299"/>
                  <a:pt x="1167" y="299"/>
                  <a:pt x="1168" y="299"/>
                </a:cubicBezTo>
                <a:cubicBezTo>
                  <a:pt x="1169" y="298"/>
                  <a:pt x="1170" y="298"/>
                  <a:pt x="1171" y="298"/>
                </a:cubicBezTo>
                <a:cubicBezTo>
                  <a:pt x="1171" y="298"/>
                  <a:pt x="1172" y="298"/>
                  <a:pt x="1172" y="298"/>
                </a:cubicBezTo>
                <a:cubicBezTo>
                  <a:pt x="1173" y="298"/>
                  <a:pt x="1173" y="298"/>
                  <a:pt x="1173" y="298"/>
                </a:cubicBezTo>
                <a:cubicBezTo>
                  <a:pt x="1173" y="299"/>
                  <a:pt x="1170" y="299"/>
                  <a:pt x="1170" y="299"/>
                </a:cubicBezTo>
                <a:cubicBezTo>
                  <a:pt x="1169" y="299"/>
                  <a:pt x="1168" y="300"/>
                  <a:pt x="1168" y="300"/>
                </a:cubicBezTo>
                <a:cubicBezTo>
                  <a:pt x="1167" y="300"/>
                  <a:pt x="1167" y="300"/>
                  <a:pt x="1167" y="300"/>
                </a:cubicBezTo>
                <a:cubicBezTo>
                  <a:pt x="1166" y="300"/>
                  <a:pt x="1166" y="300"/>
                  <a:pt x="1165" y="300"/>
                </a:cubicBezTo>
                <a:cubicBezTo>
                  <a:pt x="1165" y="300"/>
                  <a:pt x="1164" y="301"/>
                  <a:pt x="1164" y="301"/>
                </a:cubicBezTo>
                <a:cubicBezTo>
                  <a:pt x="1163" y="302"/>
                  <a:pt x="1164" y="303"/>
                  <a:pt x="1163" y="303"/>
                </a:cubicBezTo>
                <a:cubicBezTo>
                  <a:pt x="1163" y="304"/>
                  <a:pt x="1162" y="304"/>
                  <a:pt x="1161" y="304"/>
                </a:cubicBezTo>
                <a:cubicBezTo>
                  <a:pt x="1161" y="304"/>
                  <a:pt x="1160" y="305"/>
                  <a:pt x="1161" y="305"/>
                </a:cubicBezTo>
                <a:cubicBezTo>
                  <a:pt x="1161" y="305"/>
                  <a:pt x="1162" y="305"/>
                  <a:pt x="1162" y="305"/>
                </a:cubicBezTo>
                <a:cubicBezTo>
                  <a:pt x="1163" y="305"/>
                  <a:pt x="1163" y="305"/>
                  <a:pt x="1164" y="305"/>
                </a:cubicBezTo>
                <a:cubicBezTo>
                  <a:pt x="1165" y="305"/>
                  <a:pt x="1165" y="304"/>
                  <a:pt x="1166" y="303"/>
                </a:cubicBezTo>
                <a:cubicBezTo>
                  <a:pt x="1167" y="303"/>
                  <a:pt x="1168" y="303"/>
                  <a:pt x="1168" y="302"/>
                </a:cubicBezTo>
                <a:cubicBezTo>
                  <a:pt x="1169" y="302"/>
                  <a:pt x="1169" y="302"/>
                  <a:pt x="1169" y="302"/>
                </a:cubicBezTo>
                <a:cubicBezTo>
                  <a:pt x="1169" y="301"/>
                  <a:pt x="1169" y="301"/>
                  <a:pt x="1170" y="301"/>
                </a:cubicBezTo>
                <a:cubicBezTo>
                  <a:pt x="1170" y="301"/>
                  <a:pt x="1170" y="301"/>
                  <a:pt x="1171" y="301"/>
                </a:cubicBezTo>
                <a:cubicBezTo>
                  <a:pt x="1171" y="302"/>
                  <a:pt x="1171" y="302"/>
                  <a:pt x="1172" y="302"/>
                </a:cubicBezTo>
                <a:cubicBezTo>
                  <a:pt x="1172" y="304"/>
                  <a:pt x="1169" y="303"/>
                  <a:pt x="1168" y="303"/>
                </a:cubicBezTo>
                <a:cubicBezTo>
                  <a:pt x="1167" y="304"/>
                  <a:pt x="1167" y="304"/>
                  <a:pt x="1166" y="305"/>
                </a:cubicBezTo>
                <a:cubicBezTo>
                  <a:pt x="1165" y="305"/>
                  <a:pt x="1164" y="305"/>
                  <a:pt x="1164" y="306"/>
                </a:cubicBezTo>
                <a:cubicBezTo>
                  <a:pt x="1164" y="307"/>
                  <a:pt x="1167" y="306"/>
                  <a:pt x="1167" y="306"/>
                </a:cubicBezTo>
                <a:cubicBezTo>
                  <a:pt x="1168" y="306"/>
                  <a:pt x="1168" y="306"/>
                  <a:pt x="1169" y="306"/>
                </a:cubicBezTo>
                <a:cubicBezTo>
                  <a:pt x="1169" y="306"/>
                  <a:pt x="1169" y="306"/>
                  <a:pt x="1170" y="306"/>
                </a:cubicBezTo>
                <a:cubicBezTo>
                  <a:pt x="1171" y="306"/>
                  <a:pt x="1171" y="306"/>
                  <a:pt x="1172" y="306"/>
                </a:cubicBezTo>
                <a:cubicBezTo>
                  <a:pt x="1173" y="306"/>
                  <a:pt x="1173" y="307"/>
                  <a:pt x="1173" y="307"/>
                </a:cubicBezTo>
                <a:cubicBezTo>
                  <a:pt x="1173" y="307"/>
                  <a:pt x="1173" y="308"/>
                  <a:pt x="1174" y="308"/>
                </a:cubicBezTo>
                <a:cubicBezTo>
                  <a:pt x="1174" y="308"/>
                  <a:pt x="1175" y="308"/>
                  <a:pt x="1176" y="308"/>
                </a:cubicBezTo>
                <a:cubicBezTo>
                  <a:pt x="1177" y="309"/>
                  <a:pt x="1177" y="309"/>
                  <a:pt x="1178" y="309"/>
                </a:cubicBezTo>
                <a:cubicBezTo>
                  <a:pt x="1179" y="310"/>
                  <a:pt x="1175" y="309"/>
                  <a:pt x="1174" y="309"/>
                </a:cubicBezTo>
                <a:cubicBezTo>
                  <a:pt x="1174" y="309"/>
                  <a:pt x="1173" y="309"/>
                  <a:pt x="1173" y="309"/>
                </a:cubicBezTo>
                <a:cubicBezTo>
                  <a:pt x="1173" y="308"/>
                  <a:pt x="1172" y="308"/>
                  <a:pt x="1172" y="308"/>
                </a:cubicBezTo>
                <a:cubicBezTo>
                  <a:pt x="1172" y="308"/>
                  <a:pt x="1171" y="308"/>
                  <a:pt x="1171" y="308"/>
                </a:cubicBezTo>
                <a:cubicBezTo>
                  <a:pt x="1170" y="308"/>
                  <a:pt x="1170" y="307"/>
                  <a:pt x="1170" y="307"/>
                </a:cubicBezTo>
                <a:cubicBezTo>
                  <a:pt x="1169" y="307"/>
                  <a:pt x="1169" y="307"/>
                  <a:pt x="1169" y="307"/>
                </a:cubicBezTo>
                <a:cubicBezTo>
                  <a:pt x="1168" y="307"/>
                  <a:pt x="1168" y="307"/>
                  <a:pt x="1168" y="308"/>
                </a:cubicBezTo>
                <a:cubicBezTo>
                  <a:pt x="1167" y="308"/>
                  <a:pt x="1169" y="309"/>
                  <a:pt x="1169" y="309"/>
                </a:cubicBezTo>
                <a:cubicBezTo>
                  <a:pt x="1170" y="309"/>
                  <a:pt x="1171" y="310"/>
                  <a:pt x="1171" y="310"/>
                </a:cubicBezTo>
                <a:cubicBezTo>
                  <a:pt x="1172" y="310"/>
                  <a:pt x="1173" y="310"/>
                  <a:pt x="1174" y="310"/>
                </a:cubicBezTo>
                <a:cubicBezTo>
                  <a:pt x="1175" y="310"/>
                  <a:pt x="1175" y="311"/>
                  <a:pt x="1176" y="311"/>
                </a:cubicBezTo>
                <a:cubicBezTo>
                  <a:pt x="1176" y="311"/>
                  <a:pt x="1177" y="312"/>
                  <a:pt x="1178" y="312"/>
                </a:cubicBezTo>
                <a:cubicBezTo>
                  <a:pt x="1178" y="312"/>
                  <a:pt x="1178" y="311"/>
                  <a:pt x="1179" y="311"/>
                </a:cubicBezTo>
                <a:cubicBezTo>
                  <a:pt x="1179" y="311"/>
                  <a:pt x="1179" y="311"/>
                  <a:pt x="1180" y="311"/>
                </a:cubicBezTo>
                <a:cubicBezTo>
                  <a:pt x="1180" y="312"/>
                  <a:pt x="1180" y="312"/>
                  <a:pt x="1180" y="312"/>
                </a:cubicBezTo>
                <a:cubicBezTo>
                  <a:pt x="1181" y="313"/>
                  <a:pt x="1181" y="313"/>
                  <a:pt x="1182" y="313"/>
                </a:cubicBezTo>
                <a:cubicBezTo>
                  <a:pt x="1182" y="314"/>
                  <a:pt x="1181" y="314"/>
                  <a:pt x="1181" y="314"/>
                </a:cubicBezTo>
                <a:cubicBezTo>
                  <a:pt x="1180" y="314"/>
                  <a:pt x="1180" y="314"/>
                  <a:pt x="1180" y="314"/>
                </a:cubicBezTo>
                <a:cubicBezTo>
                  <a:pt x="1179" y="314"/>
                  <a:pt x="1179" y="314"/>
                  <a:pt x="1179" y="314"/>
                </a:cubicBezTo>
                <a:cubicBezTo>
                  <a:pt x="1179" y="313"/>
                  <a:pt x="1179" y="313"/>
                  <a:pt x="1178" y="313"/>
                </a:cubicBezTo>
                <a:cubicBezTo>
                  <a:pt x="1178" y="313"/>
                  <a:pt x="1177" y="313"/>
                  <a:pt x="1177" y="313"/>
                </a:cubicBezTo>
                <a:cubicBezTo>
                  <a:pt x="1177" y="313"/>
                  <a:pt x="1176" y="312"/>
                  <a:pt x="1176" y="312"/>
                </a:cubicBezTo>
                <a:cubicBezTo>
                  <a:pt x="1176" y="312"/>
                  <a:pt x="1175" y="312"/>
                  <a:pt x="1175" y="313"/>
                </a:cubicBezTo>
                <a:cubicBezTo>
                  <a:pt x="1175" y="313"/>
                  <a:pt x="1175" y="313"/>
                  <a:pt x="1174" y="313"/>
                </a:cubicBezTo>
                <a:cubicBezTo>
                  <a:pt x="1174" y="313"/>
                  <a:pt x="1174" y="313"/>
                  <a:pt x="1174" y="313"/>
                </a:cubicBezTo>
                <a:cubicBezTo>
                  <a:pt x="1173" y="314"/>
                  <a:pt x="1174" y="314"/>
                  <a:pt x="1174" y="314"/>
                </a:cubicBezTo>
                <a:cubicBezTo>
                  <a:pt x="1175" y="315"/>
                  <a:pt x="1175" y="315"/>
                  <a:pt x="1175" y="315"/>
                </a:cubicBezTo>
                <a:cubicBezTo>
                  <a:pt x="1176" y="315"/>
                  <a:pt x="1176" y="315"/>
                  <a:pt x="1177" y="314"/>
                </a:cubicBezTo>
                <a:cubicBezTo>
                  <a:pt x="1177" y="314"/>
                  <a:pt x="1177" y="313"/>
                  <a:pt x="1178" y="314"/>
                </a:cubicBezTo>
                <a:cubicBezTo>
                  <a:pt x="1178" y="314"/>
                  <a:pt x="1178" y="315"/>
                  <a:pt x="1179" y="315"/>
                </a:cubicBezTo>
                <a:cubicBezTo>
                  <a:pt x="1179" y="315"/>
                  <a:pt x="1180" y="315"/>
                  <a:pt x="1180" y="315"/>
                </a:cubicBezTo>
                <a:cubicBezTo>
                  <a:pt x="1180" y="316"/>
                  <a:pt x="1178" y="315"/>
                  <a:pt x="1178" y="316"/>
                </a:cubicBezTo>
                <a:cubicBezTo>
                  <a:pt x="1179" y="317"/>
                  <a:pt x="1181" y="316"/>
                  <a:pt x="1180" y="317"/>
                </a:cubicBezTo>
                <a:cubicBezTo>
                  <a:pt x="1180" y="317"/>
                  <a:pt x="1180" y="317"/>
                  <a:pt x="1179" y="318"/>
                </a:cubicBezTo>
                <a:cubicBezTo>
                  <a:pt x="1179" y="318"/>
                  <a:pt x="1179" y="318"/>
                  <a:pt x="1178" y="318"/>
                </a:cubicBezTo>
                <a:cubicBezTo>
                  <a:pt x="1178" y="318"/>
                  <a:pt x="1178" y="318"/>
                  <a:pt x="1178" y="318"/>
                </a:cubicBezTo>
                <a:cubicBezTo>
                  <a:pt x="1177" y="318"/>
                  <a:pt x="1177" y="318"/>
                  <a:pt x="1177" y="317"/>
                </a:cubicBezTo>
                <a:cubicBezTo>
                  <a:pt x="1177" y="317"/>
                  <a:pt x="1177" y="316"/>
                  <a:pt x="1176" y="316"/>
                </a:cubicBezTo>
                <a:cubicBezTo>
                  <a:pt x="1176" y="316"/>
                  <a:pt x="1175" y="317"/>
                  <a:pt x="1175" y="317"/>
                </a:cubicBezTo>
                <a:cubicBezTo>
                  <a:pt x="1174" y="317"/>
                  <a:pt x="1175" y="318"/>
                  <a:pt x="1176" y="318"/>
                </a:cubicBezTo>
                <a:cubicBezTo>
                  <a:pt x="1176" y="319"/>
                  <a:pt x="1177" y="318"/>
                  <a:pt x="1178" y="319"/>
                </a:cubicBezTo>
                <a:cubicBezTo>
                  <a:pt x="1178" y="319"/>
                  <a:pt x="1178" y="320"/>
                  <a:pt x="1178" y="320"/>
                </a:cubicBezTo>
                <a:cubicBezTo>
                  <a:pt x="1178" y="321"/>
                  <a:pt x="1179" y="320"/>
                  <a:pt x="1179" y="320"/>
                </a:cubicBezTo>
                <a:cubicBezTo>
                  <a:pt x="1180" y="320"/>
                  <a:pt x="1180" y="321"/>
                  <a:pt x="1181" y="320"/>
                </a:cubicBezTo>
                <a:cubicBezTo>
                  <a:pt x="1182" y="320"/>
                  <a:pt x="1182" y="319"/>
                  <a:pt x="1183" y="319"/>
                </a:cubicBezTo>
                <a:cubicBezTo>
                  <a:pt x="1183" y="319"/>
                  <a:pt x="1184" y="318"/>
                  <a:pt x="1184" y="318"/>
                </a:cubicBezTo>
                <a:cubicBezTo>
                  <a:pt x="1185" y="318"/>
                  <a:pt x="1184" y="319"/>
                  <a:pt x="1184" y="319"/>
                </a:cubicBezTo>
                <a:cubicBezTo>
                  <a:pt x="1183" y="319"/>
                  <a:pt x="1183" y="319"/>
                  <a:pt x="1183" y="320"/>
                </a:cubicBezTo>
                <a:cubicBezTo>
                  <a:pt x="1183" y="320"/>
                  <a:pt x="1183" y="320"/>
                  <a:pt x="1182" y="320"/>
                </a:cubicBezTo>
                <a:cubicBezTo>
                  <a:pt x="1182" y="321"/>
                  <a:pt x="1182" y="321"/>
                  <a:pt x="1182" y="321"/>
                </a:cubicBezTo>
                <a:cubicBezTo>
                  <a:pt x="1183" y="321"/>
                  <a:pt x="1183" y="321"/>
                  <a:pt x="1183" y="321"/>
                </a:cubicBezTo>
                <a:cubicBezTo>
                  <a:pt x="1184" y="322"/>
                  <a:pt x="1183" y="322"/>
                  <a:pt x="1183" y="322"/>
                </a:cubicBezTo>
                <a:cubicBezTo>
                  <a:pt x="1182" y="322"/>
                  <a:pt x="1181" y="322"/>
                  <a:pt x="1180" y="322"/>
                </a:cubicBezTo>
                <a:cubicBezTo>
                  <a:pt x="1179" y="322"/>
                  <a:pt x="1178" y="322"/>
                  <a:pt x="1177" y="321"/>
                </a:cubicBezTo>
                <a:cubicBezTo>
                  <a:pt x="1176" y="321"/>
                  <a:pt x="1175" y="321"/>
                  <a:pt x="1175" y="321"/>
                </a:cubicBezTo>
                <a:cubicBezTo>
                  <a:pt x="1174" y="320"/>
                  <a:pt x="1173" y="320"/>
                  <a:pt x="1172" y="320"/>
                </a:cubicBezTo>
                <a:cubicBezTo>
                  <a:pt x="1171" y="320"/>
                  <a:pt x="1169" y="319"/>
                  <a:pt x="1167" y="318"/>
                </a:cubicBezTo>
                <a:cubicBezTo>
                  <a:pt x="1166" y="318"/>
                  <a:pt x="1166" y="317"/>
                  <a:pt x="1165" y="317"/>
                </a:cubicBezTo>
                <a:cubicBezTo>
                  <a:pt x="1164" y="316"/>
                  <a:pt x="1163" y="316"/>
                  <a:pt x="1162" y="316"/>
                </a:cubicBezTo>
                <a:cubicBezTo>
                  <a:pt x="1162" y="315"/>
                  <a:pt x="1161" y="314"/>
                  <a:pt x="1160" y="314"/>
                </a:cubicBezTo>
                <a:cubicBezTo>
                  <a:pt x="1159" y="314"/>
                  <a:pt x="1158" y="314"/>
                  <a:pt x="1157" y="314"/>
                </a:cubicBezTo>
                <a:cubicBezTo>
                  <a:pt x="1157" y="313"/>
                  <a:pt x="1156" y="313"/>
                  <a:pt x="1155" y="313"/>
                </a:cubicBezTo>
                <a:cubicBezTo>
                  <a:pt x="1154" y="313"/>
                  <a:pt x="1153" y="314"/>
                  <a:pt x="1152" y="314"/>
                </a:cubicBezTo>
                <a:cubicBezTo>
                  <a:pt x="1152" y="314"/>
                  <a:pt x="1151" y="314"/>
                  <a:pt x="1150" y="314"/>
                </a:cubicBezTo>
                <a:cubicBezTo>
                  <a:pt x="1149" y="314"/>
                  <a:pt x="1148" y="313"/>
                  <a:pt x="1148" y="313"/>
                </a:cubicBezTo>
                <a:cubicBezTo>
                  <a:pt x="1146" y="313"/>
                  <a:pt x="1144" y="312"/>
                  <a:pt x="1142" y="312"/>
                </a:cubicBezTo>
                <a:cubicBezTo>
                  <a:pt x="1142" y="312"/>
                  <a:pt x="1141" y="312"/>
                  <a:pt x="1140" y="313"/>
                </a:cubicBezTo>
                <a:cubicBezTo>
                  <a:pt x="1139" y="313"/>
                  <a:pt x="1139" y="314"/>
                  <a:pt x="1138" y="314"/>
                </a:cubicBezTo>
                <a:cubicBezTo>
                  <a:pt x="1137" y="315"/>
                  <a:pt x="1136" y="315"/>
                  <a:pt x="1137" y="316"/>
                </a:cubicBezTo>
                <a:cubicBezTo>
                  <a:pt x="1138" y="316"/>
                  <a:pt x="1139" y="317"/>
                  <a:pt x="1140" y="317"/>
                </a:cubicBezTo>
                <a:cubicBezTo>
                  <a:pt x="1141" y="318"/>
                  <a:pt x="1143" y="318"/>
                  <a:pt x="1144" y="319"/>
                </a:cubicBezTo>
                <a:cubicBezTo>
                  <a:pt x="1146" y="320"/>
                  <a:pt x="1147" y="320"/>
                  <a:pt x="1149" y="320"/>
                </a:cubicBezTo>
                <a:cubicBezTo>
                  <a:pt x="1151" y="321"/>
                  <a:pt x="1152" y="322"/>
                  <a:pt x="1154" y="322"/>
                </a:cubicBezTo>
                <a:cubicBezTo>
                  <a:pt x="1157" y="323"/>
                  <a:pt x="1161" y="325"/>
                  <a:pt x="1164" y="326"/>
                </a:cubicBezTo>
                <a:cubicBezTo>
                  <a:pt x="1165" y="327"/>
                  <a:pt x="1165" y="327"/>
                  <a:pt x="1166" y="327"/>
                </a:cubicBezTo>
                <a:cubicBezTo>
                  <a:pt x="1167" y="328"/>
                  <a:pt x="1168" y="328"/>
                  <a:pt x="1169" y="328"/>
                </a:cubicBezTo>
                <a:cubicBezTo>
                  <a:pt x="1169" y="329"/>
                  <a:pt x="1170" y="329"/>
                  <a:pt x="1171" y="329"/>
                </a:cubicBezTo>
                <a:cubicBezTo>
                  <a:pt x="1171" y="329"/>
                  <a:pt x="1172" y="328"/>
                  <a:pt x="1173" y="329"/>
                </a:cubicBezTo>
                <a:cubicBezTo>
                  <a:pt x="1173" y="329"/>
                  <a:pt x="1173" y="329"/>
                  <a:pt x="1174" y="329"/>
                </a:cubicBezTo>
                <a:cubicBezTo>
                  <a:pt x="1174" y="329"/>
                  <a:pt x="1175" y="329"/>
                  <a:pt x="1175" y="328"/>
                </a:cubicBezTo>
                <a:cubicBezTo>
                  <a:pt x="1176" y="328"/>
                  <a:pt x="1176" y="328"/>
                  <a:pt x="1177" y="328"/>
                </a:cubicBezTo>
                <a:cubicBezTo>
                  <a:pt x="1178" y="328"/>
                  <a:pt x="1178" y="328"/>
                  <a:pt x="1179" y="328"/>
                </a:cubicBezTo>
                <a:cubicBezTo>
                  <a:pt x="1179" y="329"/>
                  <a:pt x="1179" y="329"/>
                  <a:pt x="1179" y="329"/>
                </a:cubicBezTo>
                <a:cubicBezTo>
                  <a:pt x="1179" y="329"/>
                  <a:pt x="1178" y="329"/>
                  <a:pt x="1178" y="329"/>
                </a:cubicBezTo>
                <a:cubicBezTo>
                  <a:pt x="1178" y="328"/>
                  <a:pt x="1177" y="328"/>
                  <a:pt x="1177" y="329"/>
                </a:cubicBezTo>
                <a:cubicBezTo>
                  <a:pt x="1177" y="329"/>
                  <a:pt x="1177" y="329"/>
                  <a:pt x="1176" y="329"/>
                </a:cubicBezTo>
                <a:cubicBezTo>
                  <a:pt x="1176" y="329"/>
                  <a:pt x="1175" y="329"/>
                  <a:pt x="1175" y="330"/>
                </a:cubicBezTo>
                <a:cubicBezTo>
                  <a:pt x="1176" y="330"/>
                  <a:pt x="1176" y="330"/>
                  <a:pt x="1177" y="330"/>
                </a:cubicBezTo>
                <a:cubicBezTo>
                  <a:pt x="1178" y="330"/>
                  <a:pt x="1178" y="330"/>
                  <a:pt x="1179" y="330"/>
                </a:cubicBezTo>
                <a:cubicBezTo>
                  <a:pt x="1181" y="330"/>
                  <a:pt x="1182" y="329"/>
                  <a:pt x="1184" y="329"/>
                </a:cubicBezTo>
                <a:cubicBezTo>
                  <a:pt x="1184" y="329"/>
                  <a:pt x="1185" y="328"/>
                  <a:pt x="1186" y="329"/>
                </a:cubicBezTo>
                <a:cubicBezTo>
                  <a:pt x="1186" y="329"/>
                  <a:pt x="1185" y="329"/>
                  <a:pt x="1185" y="329"/>
                </a:cubicBezTo>
                <a:cubicBezTo>
                  <a:pt x="1185" y="329"/>
                  <a:pt x="1184" y="329"/>
                  <a:pt x="1184" y="329"/>
                </a:cubicBezTo>
                <a:cubicBezTo>
                  <a:pt x="1184" y="329"/>
                  <a:pt x="1183" y="329"/>
                  <a:pt x="1183" y="330"/>
                </a:cubicBezTo>
                <a:cubicBezTo>
                  <a:pt x="1183" y="330"/>
                  <a:pt x="1184" y="331"/>
                  <a:pt x="1184" y="331"/>
                </a:cubicBezTo>
                <a:cubicBezTo>
                  <a:pt x="1185" y="331"/>
                  <a:pt x="1185" y="331"/>
                  <a:pt x="1185" y="332"/>
                </a:cubicBezTo>
                <a:cubicBezTo>
                  <a:pt x="1186" y="332"/>
                  <a:pt x="1186" y="332"/>
                  <a:pt x="1186" y="332"/>
                </a:cubicBezTo>
                <a:cubicBezTo>
                  <a:pt x="1186" y="333"/>
                  <a:pt x="1187" y="334"/>
                  <a:pt x="1186" y="334"/>
                </a:cubicBezTo>
                <a:cubicBezTo>
                  <a:pt x="1186" y="335"/>
                  <a:pt x="1186" y="334"/>
                  <a:pt x="1185" y="334"/>
                </a:cubicBezTo>
                <a:cubicBezTo>
                  <a:pt x="1185" y="335"/>
                  <a:pt x="1185" y="335"/>
                  <a:pt x="1184" y="335"/>
                </a:cubicBezTo>
                <a:cubicBezTo>
                  <a:pt x="1184" y="335"/>
                  <a:pt x="1183" y="335"/>
                  <a:pt x="1183" y="335"/>
                </a:cubicBezTo>
                <a:cubicBezTo>
                  <a:pt x="1183" y="335"/>
                  <a:pt x="1182" y="335"/>
                  <a:pt x="1182" y="335"/>
                </a:cubicBezTo>
                <a:cubicBezTo>
                  <a:pt x="1181" y="336"/>
                  <a:pt x="1182" y="336"/>
                  <a:pt x="1183" y="336"/>
                </a:cubicBezTo>
                <a:cubicBezTo>
                  <a:pt x="1183" y="336"/>
                  <a:pt x="1183" y="336"/>
                  <a:pt x="1184" y="336"/>
                </a:cubicBezTo>
                <a:cubicBezTo>
                  <a:pt x="1184" y="336"/>
                  <a:pt x="1184" y="336"/>
                  <a:pt x="1185" y="337"/>
                </a:cubicBezTo>
                <a:cubicBezTo>
                  <a:pt x="1185" y="337"/>
                  <a:pt x="1184" y="337"/>
                  <a:pt x="1184" y="337"/>
                </a:cubicBezTo>
                <a:cubicBezTo>
                  <a:pt x="1184" y="337"/>
                  <a:pt x="1184" y="337"/>
                  <a:pt x="1184" y="337"/>
                </a:cubicBezTo>
                <a:cubicBezTo>
                  <a:pt x="1183" y="337"/>
                  <a:pt x="1183" y="337"/>
                  <a:pt x="1183" y="337"/>
                </a:cubicBezTo>
                <a:cubicBezTo>
                  <a:pt x="1182" y="337"/>
                  <a:pt x="1182" y="337"/>
                  <a:pt x="1182" y="337"/>
                </a:cubicBezTo>
                <a:cubicBezTo>
                  <a:pt x="1181" y="337"/>
                  <a:pt x="1181" y="337"/>
                  <a:pt x="1181" y="337"/>
                </a:cubicBezTo>
                <a:cubicBezTo>
                  <a:pt x="1180" y="337"/>
                  <a:pt x="1180" y="337"/>
                  <a:pt x="1180" y="338"/>
                </a:cubicBezTo>
                <a:cubicBezTo>
                  <a:pt x="1180" y="338"/>
                  <a:pt x="1180" y="339"/>
                  <a:pt x="1180" y="340"/>
                </a:cubicBezTo>
                <a:cubicBezTo>
                  <a:pt x="1180" y="340"/>
                  <a:pt x="1182" y="339"/>
                  <a:pt x="1182" y="339"/>
                </a:cubicBezTo>
                <a:cubicBezTo>
                  <a:pt x="1182" y="340"/>
                  <a:pt x="1181" y="340"/>
                  <a:pt x="1181" y="340"/>
                </a:cubicBezTo>
                <a:cubicBezTo>
                  <a:pt x="1181" y="340"/>
                  <a:pt x="1181" y="340"/>
                  <a:pt x="1180" y="340"/>
                </a:cubicBezTo>
                <a:cubicBezTo>
                  <a:pt x="1180" y="341"/>
                  <a:pt x="1180" y="342"/>
                  <a:pt x="1180" y="343"/>
                </a:cubicBezTo>
                <a:cubicBezTo>
                  <a:pt x="1180" y="343"/>
                  <a:pt x="1180" y="344"/>
                  <a:pt x="1179" y="345"/>
                </a:cubicBezTo>
                <a:cubicBezTo>
                  <a:pt x="1179" y="345"/>
                  <a:pt x="1178" y="345"/>
                  <a:pt x="1178" y="346"/>
                </a:cubicBezTo>
                <a:cubicBezTo>
                  <a:pt x="1178" y="346"/>
                  <a:pt x="1179" y="346"/>
                  <a:pt x="1179" y="346"/>
                </a:cubicBezTo>
                <a:cubicBezTo>
                  <a:pt x="1180" y="345"/>
                  <a:pt x="1180" y="345"/>
                  <a:pt x="1181" y="345"/>
                </a:cubicBezTo>
                <a:cubicBezTo>
                  <a:pt x="1182" y="345"/>
                  <a:pt x="1182" y="345"/>
                  <a:pt x="1183" y="345"/>
                </a:cubicBezTo>
                <a:cubicBezTo>
                  <a:pt x="1183" y="345"/>
                  <a:pt x="1184" y="344"/>
                  <a:pt x="1184" y="344"/>
                </a:cubicBezTo>
                <a:cubicBezTo>
                  <a:pt x="1185" y="344"/>
                  <a:pt x="1184" y="345"/>
                  <a:pt x="1184" y="345"/>
                </a:cubicBezTo>
                <a:cubicBezTo>
                  <a:pt x="1184" y="346"/>
                  <a:pt x="1185" y="345"/>
                  <a:pt x="1186" y="345"/>
                </a:cubicBezTo>
                <a:cubicBezTo>
                  <a:pt x="1186" y="345"/>
                  <a:pt x="1187" y="345"/>
                  <a:pt x="1187" y="345"/>
                </a:cubicBezTo>
                <a:cubicBezTo>
                  <a:pt x="1187" y="345"/>
                  <a:pt x="1188" y="345"/>
                  <a:pt x="1188" y="346"/>
                </a:cubicBezTo>
                <a:cubicBezTo>
                  <a:pt x="1188" y="347"/>
                  <a:pt x="1186" y="346"/>
                  <a:pt x="1186" y="346"/>
                </a:cubicBezTo>
                <a:cubicBezTo>
                  <a:pt x="1186" y="347"/>
                  <a:pt x="1185" y="347"/>
                  <a:pt x="1185" y="347"/>
                </a:cubicBezTo>
                <a:cubicBezTo>
                  <a:pt x="1185" y="347"/>
                  <a:pt x="1184" y="347"/>
                  <a:pt x="1184" y="347"/>
                </a:cubicBezTo>
                <a:cubicBezTo>
                  <a:pt x="1183" y="347"/>
                  <a:pt x="1182" y="346"/>
                  <a:pt x="1182" y="347"/>
                </a:cubicBezTo>
                <a:cubicBezTo>
                  <a:pt x="1182" y="348"/>
                  <a:pt x="1182" y="348"/>
                  <a:pt x="1183" y="348"/>
                </a:cubicBezTo>
                <a:cubicBezTo>
                  <a:pt x="1183" y="347"/>
                  <a:pt x="1183" y="348"/>
                  <a:pt x="1184" y="348"/>
                </a:cubicBezTo>
                <a:cubicBezTo>
                  <a:pt x="1184" y="348"/>
                  <a:pt x="1185" y="348"/>
                  <a:pt x="1185" y="348"/>
                </a:cubicBezTo>
                <a:cubicBezTo>
                  <a:pt x="1185" y="348"/>
                  <a:pt x="1186" y="348"/>
                  <a:pt x="1186" y="348"/>
                </a:cubicBezTo>
                <a:cubicBezTo>
                  <a:pt x="1187" y="349"/>
                  <a:pt x="1186" y="349"/>
                  <a:pt x="1186" y="349"/>
                </a:cubicBezTo>
                <a:cubicBezTo>
                  <a:pt x="1186" y="349"/>
                  <a:pt x="1185" y="348"/>
                  <a:pt x="1185" y="349"/>
                </a:cubicBezTo>
                <a:cubicBezTo>
                  <a:pt x="1185" y="349"/>
                  <a:pt x="1185" y="349"/>
                  <a:pt x="1185" y="350"/>
                </a:cubicBezTo>
                <a:cubicBezTo>
                  <a:pt x="1185" y="350"/>
                  <a:pt x="1185" y="350"/>
                  <a:pt x="1186" y="351"/>
                </a:cubicBezTo>
                <a:cubicBezTo>
                  <a:pt x="1186" y="351"/>
                  <a:pt x="1186" y="351"/>
                  <a:pt x="1185" y="351"/>
                </a:cubicBezTo>
                <a:cubicBezTo>
                  <a:pt x="1185" y="351"/>
                  <a:pt x="1185" y="350"/>
                  <a:pt x="1184" y="350"/>
                </a:cubicBezTo>
                <a:cubicBezTo>
                  <a:pt x="1184" y="350"/>
                  <a:pt x="1184" y="350"/>
                  <a:pt x="1184" y="349"/>
                </a:cubicBezTo>
                <a:cubicBezTo>
                  <a:pt x="1183" y="349"/>
                  <a:pt x="1183" y="349"/>
                  <a:pt x="1183" y="348"/>
                </a:cubicBezTo>
                <a:cubicBezTo>
                  <a:pt x="1183" y="348"/>
                  <a:pt x="1182" y="348"/>
                  <a:pt x="1182" y="348"/>
                </a:cubicBezTo>
                <a:cubicBezTo>
                  <a:pt x="1181" y="348"/>
                  <a:pt x="1181" y="348"/>
                  <a:pt x="1181" y="348"/>
                </a:cubicBezTo>
                <a:cubicBezTo>
                  <a:pt x="1180" y="348"/>
                  <a:pt x="1180" y="349"/>
                  <a:pt x="1180" y="349"/>
                </a:cubicBezTo>
                <a:cubicBezTo>
                  <a:pt x="1180" y="349"/>
                  <a:pt x="1179" y="349"/>
                  <a:pt x="1179" y="349"/>
                </a:cubicBezTo>
                <a:cubicBezTo>
                  <a:pt x="1179" y="348"/>
                  <a:pt x="1179" y="348"/>
                  <a:pt x="1179" y="348"/>
                </a:cubicBezTo>
                <a:cubicBezTo>
                  <a:pt x="1179" y="348"/>
                  <a:pt x="1179" y="347"/>
                  <a:pt x="1180" y="347"/>
                </a:cubicBezTo>
                <a:cubicBezTo>
                  <a:pt x="1180" y="347"/>
                  <a:pt x="1180" y="347"/>
                  <a:pt x="1180" y="347"/>
                </a:cubicBezTo>
                <a:cubicBezTo>
                  <a:pt x="1180" y="347"/>
                  <a:pt x="1180" y="347"/>
                  <a:pt x="1180" y="347"/>
                </a:cubicBezTo>
                <a:cubicBezTo>
                  <a:pt x="1179" y="347"/>
                  <a:pt x="1179" y="347"/>
                  <a:pt x="1178" y="347"/>
                </a:cubicBezTo>
                <a:cubicBezTo>
                  <a:pt x="1178" y="347"/>
                  <a:pt x="1178" y="347"/>
                  <a:pt x="1178" y="347"/>
                </a:cubicBezTo>
                <a:cubicBezTo>
                  <a:pt x="1177" y="348"/>
                  <a:pt x="1178" y="349"/>
                  <a:pt x="1177" y="350"/>
                </a:cubicBezTo>
                <a:cubicBezTo>
                  <a:pt x="1177" y="350"/>
                  <a:pt x="1176" y="351"/>
                  <a:pt x="1177" y="352"/>
                </a:cubicBezTo>
                <a:cubicBezTo>
                  <a:pt x="1177" y="352"/>
                  <a:pt x="1177" y="351"/>
                  <a:pt x="1178" y="351"/>
                </a:cubicBezTo>
                <a:cubicBezTo>
                  <a:pt x="1178" y="351"/>
                  <a:pt x="1178" y="352"/>
                  <a:pt x="1178" y="352"/>
                </a:cubicBezTo>
                <a:cubicBezTo>
                  <a:pt x="1177" y="353"/>
                  <a:pt x="1176" y="353"/>
                  <a:pt x="1176" y="354"/>
                </a:cubicBezTo>
                <a:cubicBezTo>
                  <a:pt x="1176" y="354"/>
                  <a:pt x="1175" y="355"/>
                  <a:pt x="1176" y="355"/>
                </a:cubicBezTo>
                <a:cubicBezTo>
                  <a:pt x="1177" y="355"/>
                  <a:pt x="1177" y="354"/>
                  <a:pt x="1177" y="354"/>
                </a:cubicBezTo>
                <a:cubicBezTo>
                  <a:pt x="1178" y="354"/>
                  <a:pt x="1178" y="354"/>
                  <a:pt x="1178" y="354"/>
                </a:cubicBezTo>
                <a:cubicBezTo>
                  <a:pt x="1179" y="354"/>
                  <a:pt x="1179" y="353"/>
                  <a:pt x="1180" y="353"/>
                </a:cubicBezTo>
                <a:cubicBezTo>
                  <a:pt x="1180" y="353"/>
                  <a:pt x="1180" y="353"/>
                  <a:pt x="1181" y="353"/>
                </a:cubicBezTo>
                <a:cubicBezTo>
                  <a:pt x="1181" y="353"/>
                  <a:pt x="1181" y="352"/>
                  <a:pt x="1181" y="352"/>
                </a:cubicBezTo>
                <a:cubicBezTo>
                  <a:pt x="1182" y="352"/>
                  <a:pt x="1181" y="354"/>
                  <a:pt x="1181" y="354"/>
                </a:cubicBezTo>
                <a:cubicBezTo>
                  <a:pt x="1181" y="355"/>
                  <a:pt x="1180" y="355"/>
                  <a:pt x="1180" y="356"/>
                </a:cubicBezTo>
                <a:cubicBezTo>
                  <a:pt x="1180" y="356"/>
                  <a:pt x="1180" y="356"/>
                  <a:pt x="1180" y="356"/>
                </a:cubicBezTo>
                <a:cubicBezTo>
                  <a:pt x="1179" y="356"/>
                  <a:pt x="1179" y="356"/>
                  <a:pt x="1179" y="356"/>
                </a:cubicBezTo>
                <a:cubicBezTo>
                  <a:pt x="1179" y="356"/>
                  <a:pt x="1178" y="356"/>
                  <a:pt x="1178" y="356"/>
                </a:cubicBezTo>
                <a:cubicBezTo>
                  <a:pt x="1178" y="356"/>
                  <a:pt x="1178" y="357"/>
                  <a:pt x="1178" y="357"/>
                </a:cubicBezTo>
                <a:cubicBezTo>
                  <a:pt x="1177" y="358"/>
                  <a:pt x="1176" y="358"/>
                  <a:pt x="1175" y="358"/>
                </a:cubicBezTo>
                <a:cubicBezTo>
                  <a:pt x="1174" y="357"/>
                  <a:pt x="1174" y="358"/>
                  <a:pt x="1173" y="358"/>
                </a:cubicBezTo>
                <a:cubicBezTo>
                  <a:pt x="1172" y="358"/>
                  <a:pt x="1170" y="359"/>
                  <a:pt x="1169" y="358"/>
                </a:cubicBezTo>
                <a:cubicBezTo>
                  <a:pt x="1168" y="358"/>
                  <a:pt x="1167" y="358"/>
                  <a:pt x="1166" y="358"/>
                </a:cubicBezTo>
                <a:cubicBezTo>
                  <a:pt x="1166" y="358"/>
                  <a:pt x="1165" y="358"/>
                  <a:pt x="1164" y="358"/>
                </a:cubicBezTo>
                <a:cubicBezTo>
                  <a:pt x="1163" y="358"/>
                  <a:pt x="1162" y="358"/>
                  <a:pt x="1161" y="358"/>
                </a:cubicBezTo>
                <a:cubicBezTo>
                  <a:pt x="1161" y="359"/>
                  <a:pt x="1159" y="359"/>
                  <a:pt x="1160" y="359"/>
                </a:cubicBezTo>
                <a:cubicBezTo>
                  <a:pt x="1160" y="359"/>
                  <a:pt x="1163" y="359"/>
                  <a:pt x="1162" y="360"/>
                </a:cubicBezTo>
                <a:cubicBezTo>
                  <a:pt x="1161" y="360"/>
                  <a:pt x="1160" y="360"/>
                  <a:pt x="1160" y="361"/>
                </a:cubicBezTo>
                <a:cubicBezTo>
                  <a:pt x="1159" y="361"/>
                  <a:pt x="1158" y="361"/>
                  <a:pt x="1157" y="361"/>
                </a:cubicBezTo>
                <a:cubicBezTo>
                  <a:pt x="1157" y="361"/>
                  <a:pt x="1156" y="362"/>
                  <a:pt x="1156" y="362"/>
                </a:cubicBezTo>
                <a:cubicBezTo>
                  <a:pt x="1156" y="362"/>
                  <a:pt x="1155" y="362"/>
                  <a:pt x="1155" y="363"/>
                </a:cubicBezTo>
                <a:cubicBezTo>
                  <a:pt x="1154" y="363"/>
                  <a:pt x="1153" y="363"/>
                  <a:pt x="1153" y="363"/>
                </a:cubicBezTo>
                <a:cubicBezTo>
                  <a:pt x="1152" y="362"/>
                  <a:pt x="1152" y="362"/>
                  <a:pt x="1152" y="362"/>
                </a:cubicBezTo>
                <a:cubicBezTo>
                  <a:pt x="1151" y="363"/>
                  <a:pt x="1151" y="363"/>
                  <a:pt x="1151" y="363"/>
                </a:cubicBezTo>
                <a:cubicBezTo>
                  <a:pt x="1152" y="364"/>
                  <a:pt x="1152" y="363"/>
                  <a:pt x="1153" y="363"/>
                </a:cubicBezTo>
                <a:cubicBezTo>
                  <a:pt x="1153" y="363"/>
                  <a:pt x="1153" y="364"/>
                  <a:pt x="1154" y="364"/>
                </a:cubicBezTo>
                <a:cubicBezTo>
                  <a:pt x="1154" y="364"/>
                  <a:pt x="1155" y="363"/>
                  <a:pt x="1155" y="363"/>
                </a:cubicBezTo>
                <a:cubicBezTo>
                  <a:pt x="1155" y="363"/>
                  <a:pt x="1156" y="363"/>
                  <a:pt x="1157" y="363"/>
                </a:cubicBezTo>
                <a:cubicBezTo>
                  <a:pt x="1157" y="364"/>
                  <a:pt x="1157" y="364"/>
                  <a:pt x="1157" y="364"/>
                </a:cubicBezTo>
                <a:cubicBezTo>
                  <a:pt x="1157" y="364"/>
                  <a:pt x="1158" y="364"/>
                  <a:pt x="1158" y="364"/>
                </a:cubicBezTo>
                <a:cubicBezTo>
                  <a:pt x="1158" y="365"/>
                  <a:pt x="1159" y="365"/>
                  <a:pt x="1159" y="365"/>
                </a:cubicBezTo>
                <a:cubicBezTo>
                  <a:pt x="1159" y="364"/>
                  <a:pt x="1158" y="364"/>
                  <a:pt x="1158" y="364"/>
                </a:cubicBezTo>
                <a:cubicBezTo>
                  <a:pt x="1159" y="363"/>
                  <a:pt x="1160" y="363"/>
                  <a:pt x="1160" y="363"/>
                </a:cubicBezTo>
                <a:cubicBezTo>
                  <a:pt x="1161" y="364"/>
                  <a:pt x="1161" y="364"/>
                  <a:pt x="1161" y="365"/>
                </a:cubicBezTo>
                <a:cubicBezTo>
                  <a:pt x="1162" y="366"/>
                  <a:pt x="1162" y="366"/>
                  <a:pt x="1163" y="365"/>
                </a:cubicBezTo>
                <a:cubicBezTo>
                  <a:pt x="1164" y="365"/>
                  <a:pt x="1165" y="365"/>
                  <a:pt x="1166" y="365"/>
                </a:cubicBezTo>
                <a:cubicBezTo>
                  <a:pt x="1167" y="364"/>
                  <a:pt x="1167" y="364"/>
                  <a:pt x="1168" y="364"/>
                </a:cubicBezTo>
                <a:cubicBezTo>
                  <a:pt x="1169" y="364"/>
                  <a:pt x="1170" y="364"/>
                  <a:pt x="1171" y="364"/>
                </a:cubicBezTo>
                <a:cubicBezTo>
                  <a:pt x="1171" y="364"/>
                  <a:pt x="1172" y="364"/>
                  <a:pt x="1173" y="364"/>
                </a:cubicBezTo>
                <a:cubicBezTo>
                  <a:pt x="1173" y="363"/>
                  <a:pt x="1176" y="364"/>
                  <a:pt x="1176" y="363"/>
                </a:cubicBezTo>
                <a:cubicBezTo>
                  <a:pt x="1176" y="362"/>
                  <a:pt x="1175" y="362"/>
                  <a:pt x="1175" y="362"/>
                </a:cubicBezTo>
                <a:cubicBezTo>
                  <a:pt x="1174" y="362"/>
                  <a:pt x="1174" y="362"/>
                  <a:pt x="1173" y="362"/>
                </a:cubicBezTo>
                <a:cubicBezTo>
                  <a:pt x="1173" y="362"/>
                  <a:pt x="1173" y="361"/>
                  <a:pt x="1173" y="361"/>
                </a:cubicBezTo>
                <a:cubicBezTo>
                  <a:pt x="1173" y="361"/>
                  <a:pt x="1172" y="361"/>
                  <a:pt x="1173" y="361"/>
                </a:cubicBezTo>
                <a:cubicBezTo>
                  <a:pt x="1173" y="361"/>
                  <a:pt x="1174" y="361"/>
                  <a:pt x="1175" y="361"/>
                </a:cubicBezTo>
                <a:cubicBezTo>
                  <a:pt x="1175" y="361"/>
                  <a:pt x="1175" y="361"/>
                  <a:pt x="1176" y="361"/>
                </a:cubicBezTo>
                <a:cubicBezTo>
                  <a:pt x="1176" y="361"/>
                  <a:pt x="1177" y="360"/>
                  <a:pt x="1177" y="360"/>
                </a:cubicBezTo>
                <a:cubicBezTo>
                  <a:pt x="1177" y="360"/>
                  <a:pt x="1178" y="360"/>
                  <a:pt x="1178" y="360"/>
                </a:cubicBezTo>
                <a:cubicBezTo>
                  <a:pt x="1179" y="360"/>
                  <a:pt x="1179" y="360"/>
                  <a:pt x="1179" y="359"/>
                </a:cubicBezTo>
                <a:cubicBezTo>
                  <a:pt x="1181" y="359"/>
                  <a:pt x="1180" y="360"/>
                  <a:pt x="1180" y="361"/>
                </a:cubicBezTo>
                <a:cubicBezTo>
                  <a:pt x="1179" y="361"/>
                  <a:pt x="1179" y="361"/>
                  <a:pt x="1179" y="362"/>
                </a:cubicBezTo>
                <a:cubicBezTo>
                  <a:pt x="1178" y="362"/>
                  <a:pt x="1178" y="362"/>
                  <a:pt x="1178" y="363"/>
                </a:cubicBezTo>
                <a:cubicBezTo>
                  <a:pt x="1177" y="363"/>
                  <a:pt x="1177" y="364"/>
                  <a:pt x="1177" y="364"/>
                </a:cubicBezTo>
                <a:cubicBezTo>
                  <a:pt x="1177" y="364"/>
                  <a:pt x="1177" y="365"/>
                  <a:pt x="1176" y="365"/>
                </a:cubicBezTo>
                <a:cubicBezTo>
                  <a:pt x="1176" y="365"/>
                  <a:pt x="1174" y="364"/>
                  <a:pt x="1174" y="365"/>
                </a:cubicBezTo>
                <a:cubicBezTo>
                  <a:pt x="1174" y="366"/>
                  <a:pt x="1174" y="366"/>
                  <a:pt x="1174" y="366"/>
                </a:cubicBezTo>
                <a:cubicBezTo>
                  <a:pt x="1175" y="366"/>
                  <a:pt x="1175" y="366"/>
                  <a:pt x="1175" y="366"/>
                </a:cubicBezTo>
                <a:cubicBezTo>
                  <a:pt x="1176" y="367"/>
                  <a:pt x="1177" y="366"/>
                  <a:pt x="1178" y="367"/>
                </a:cubicBezTo>
                <a:cubicBezTo>
                  <a:pt x="1178" y="367"/>
                  <a:pt x="1179" y="368"/>
                  <a:pt x="1179" y="368"/>
                </a:cubicBezTo>
                <a:cubicBezTo>
                  <a:pt x="1180" y="368"/>
                  <a:pt x="1180" y="368"/>
                  <a:pt x="1180" y="368"/>
                </a:cubicBezTo>
                <a:cubicBezTo>
                  <a:pt x="1181" y="368"/>
                  <a:pt x="1181" y="369"/>
                  <a:pt x="1182" y="369"/>
                </a:cubicBezTo>
                <a:cubicBezTo>
                  <a:pt x="1182" y="369"/>
                  <a:pt x="1184" y="369"/>
                  <a:pt x="1184" y="370"/>
                </a:cubicBezTo>
                <a:cubicBezTo>
                  <a:pt x="1184" y="370"/>
                  <a:pt x="1182" y="370"/>
                  <a:pt x="1182" y="370"/>
                </a:cubicBezTo>
                <a:cubicBezTo>
                  <a:pt x="1181" y="370"/>
                  <a:pt x="1180" y="370"/>
                  <a:pt x="1179" y="369"/>
                </a:cubicBezTo>
                <a:cubicBezTo>
                  <a:pt x="1179" y="369"/>
                  <a:pt x="1178" y="369"/>
                  <a:pt x="1177" y="368"/>
                </a:cubicBezTo>
                <a:cubicBezTo>
                  <a:pt x="1176" y="368"/>
                  <a:pt x="1175" y="368"/>
                  <a:pt x="1174" y="368"/>
                </a:cubicBezTo>
                <a:cubicBezTo>
                  <a:pt x="1173" y="369"/>
                  <a:pt x="1171" y="368"/>
                  <a:pt x="1169" y="368"/>
                </a:cubicBezTo>
                <a:cubicBezTo>
                  <a:pt x="1169" y="368"/>
                  <a:pt x="1168" y="368"/>
                  <a:pt x="1168" y="368"/>
                </a:cubicBezTo>
                <a:cubicBezTo>
                  <a:pt x="1167" y="368"/>
                  <a:pt x="1167" y="367"/>
                  <a:pt x="1167" y="367"/>
                </a:cubicBezTo>
                <a:cubicBezTo>
                  <a:pt x="1165" y="367"/>
                  <a:pt x="1164" y="367"/>
                  <a:pt x="1163" y="366"/>
                </a:cubicBezTo>
                <a:cubicBezTo>
                  <a:pt x="1163" y="366"/>
                  <a:pt x="1162" y="366"/>
                  <a:pt x="1162" y="366"/>
                </a:cubicBezTo>
                <a:cubicBezTo>
                  <a:pt x="1161" y="366"/>
                  <a:pt x="1161" y="366"/>
                  <a:pt x="1161" y="366"/>
                </a:cubicBezTo>
                <a:cubicBezTo>
                  <a:pt x="1160" y="365"/>
                  <a:pt x="1160" y="365"/>
                  <a:pt x="1160" y="365"/>
                </a:cubicBezTo>
                <a:cubicBezTo>
                  <a:pt x="1159" y="365"/>
                  <a:pt x="1159" y="365"/>
                  <a:pt x="1159" y="365"/>
                </a:cubicBezTo>
                <a:cubicBezTo>
                  <a:pt x="1158" y="365"/>
                  <a:pt x="1158" y="366"/>
                  <a:pt x="1159" y="366"/>
                </a:cubicBezTo>
                <a:cubicBezTo>
                  <a:pt x="1159" y="366"/>
                  <a:pt x="1160" y="366"/>
                  <a:pt x="1160" y="367"/>
                </a:cubicBezTo>
                <a:cubicBezTo>
                  <a:pt x="1160" y="367"/>
                  <a:pt x="1159" y="367"/>
                  <a:pt x="1158" y="366"/>
                </a:cubicBezTo>
                <a:cubicBezTo>
                  <a:pt x="1158" y="366"/>
                  <a:pt x="1158" y="366"/>
                  <a:pt x="1157" y="366"/>
                </a:cubicBezTo>
                <a:cubicBezTo>
                  <a:pt x="1157" y="366"/>
                  <a:pt x="1156" y="366"/>
                  <a:pt x="1156" y="366"/>
                </a:cubicBezTo>
                <a:cubicBezTo>
                  <a:pt x="1155" y="366"/>
                  <a:pt x="1155" y="365"/>
                  <a:pt x="1155" y="365"/>
                </a:cubicBezTo>
                <a:cubicBezTo>
                  <a:pt x="1155" y="365"/>
                  <a:pt x="1154" y="365"/>
                  <a:pt x="1154" y="365"/>
                </a:cubicBezTo>
                <a:cubicBezTo>
                  <a:pt x="1153" y="365"/>
                  <a:pt x="1153" y="365"/>
                  <a:pt x="1152" y="365"/>
                </a:cubicBezTo>
                <a:cubicBezTo>
                  <a:pt x="1152" y="365"/>
                  <a:pt x="1152" y="366"/>
                  <a:pt x="1152" y="366"/>
                </a:cubicBezTo>
                <a:cubicBezTo>
                  <a:pt x="1153" y="366"/>
                  <a:pt x="1154" y="366"/>
                  <a:pt x="1154" y="366"/>
                </a:cubicBezTo>
                <a:cubicBezTo>
                  <a:pt x="1155" y="367"/>
                  <a:pt x="1154" y="368"/>
                  <a:pt x="1154" y="368"/>
                </a:cubicBezTo>
                <a:cubicBezTo>
                  <a:pt x="1153" y="369"/>
                  <a:pt x="1154" y="369"/>
                  <a:pt x="1155" y="369"/>
                </a:cubicBezTo>
                <a:cubicBezTo>
                  <a:pt x="1155" y="369"/>
                  <a:pt x="1155" y="369"/>
                  <a:pt x="1155" y="370"/>
                </a:cubicBezTo>
                <a:cubicBezTo>
                  <a:pt x="1154" y="370"/>
                  <a:pt x="1154" y="370"/>
                  <a:pt x="1154" y="370"/>
                </a:cubicBezTo>
                <a:cubicBezTo>
                  <a:pt x="1154" y="370"/>
                  <a:pt x="1153" y="370"/>
                  <a:pt x="1153" y="371"/>
                </a:cubicBezTo>
                <a:cubicBezTo>
                  <a:pt x="1154" y="371"/>
                  <a:pt x="1154" y="371"/>
                  <a:pt x="1155" y="371"/>
                </a:cubicBezTo>
                <a:cubicBezTo>
                  <a:pt x="1156" y="371"/>
                  <a:pt x="1154" y="372"/>
                  <a:pt x="1154" y="372"/>
                </a:cubicBezTo>
                <a:cubicBezTo>
                  <a:pt x="1153" y="372"/>
                  <a:pt x="1152" y="372"/>
                  <a:pt x="1151" y="371"/>
                </a:cubicBezTo>
                <a:cubicBezTo>
                  <a:pt x="1151" y="371"/>
                  <a:pt x="1151" y="371"/>
                  <a:pt x="1151" y="371"/>
                </a:cubicBezTo>
                <a:cubicBezTo>
                  <a:pt x="1150" y="371"/>
                  <a:pt x="1150" y="371"/>
                  <a:pt x="1150" y="371"/>
                </a:cubicBezTo>
                <a:cubicBezTo>
                  <a:pt x="1150" y="372"/>
                  <a:pt x="1151" y="372"/>
                  <a:pt x="1152" y="373"/>
                </a:cubicBezTo>
                <a:cubicBezTo>
                  <a:pt x="1152" y="373"/>
                  <a:pt x="1151" y="373"/>
                  <a:pt x="1151" y="373"/>
                </a:cubicBezTo>
                <a:cubicBezTo>
                  <a:pt x="1150" y="373"/>
                  <a:pt x="1150" y="373"/>
                  <a:pt x="1150" y="373"/>
                </a:cubicBezTo>
                <a:cubicBezTo>
                  <a:pt x="1150" y="372"/>
                  <a:pt x="1150" y="372"/>
                  <a:pt x="1149" y="372"/>
                </a:cubicBezTo>
                <a:cubicBezTo>
                  <a:pt x="1149" y="372"/>
                  <a:pt x="1149" y="372"/>
                  <a:pt x="1149" y="373"/>
                </a:cubicBezTo>
                <a:cubicBezTo>
                  <a:pt x="1149" y="373"/>
                  <a:pt x="1149" y="373"/>
                  <a:pt x="1148" y="373"/>
                </a:cubicBezTo>
                <a:cubicBezTo>
                  <a:pt x="1147" y="373"/>
                  <a:pt x="1148" y="373"/>
                  <a:pt x="1149" y="374"/>
                </a:cubicBezTo>
                <a:cubicBezTo>
                  <a:pt x="1149" y="374"/>
                  <a:pt x="1149" y="375"/>
                  <a:pt x="1149" y="376"/>
                </a:cubicBezTo>
                <a:cubicBezTo>
                  <a:pt x="1149" y="376"/>
                  <a:pt x="1148" y="378"/>
                  <a:pt x="1149" y="378"/>
                </a:cubicBezTo>
                <a:cubicBezTo>
                  <a:pt x="1149" y="379"/>
                  <a:pt x="1150" y="378"/>
                  <a:pt x="1150" y="378"/>
                </a:cubicBezTo>
                <a:cubicBezTo>
                  <a:pt x="1150" y="378"/>
                  <a:pt x="1151" y="378"/>
                  <a:pt x="1151" y="377"/>
                </a:cubicBezTo>
                <a:cubicBezTo>
                  <a:pt x="1152" y="377"/>
                  <a:pt x="1152" y="376"/>
                  <a:pt x="1153" y="376"/>
                </a:cubicBezTo>
                <a:cubicBezTo>
                  <a:pt x="1154" y="374"/>
                  <a:pt x="1156" y="373"/>
                  <a:pt x="1157" y="373"/>
                </a:cubicBezTo>
                <a:cubicBezTo>
                  <a:pt x="1158" y="373"/>
                  <a:pt x="1159" y="374"/>
                  <a:pt x="1160" y="373"/>
                </a:cubicBezTo>
                <a:cubicBezTo>
                  <a:pt x="1161" y="373"/>
                  <a:pt x="1161" y="373"/>
                  <a:pt x="1161" y="373"/>
                </a:cubicBezTo>
                <a:cubicBezTo>
                  <a:pt x="1161" y="372"/>
                  <a:pt x="1162" y="372"/>
                  <a:pt x="1162" y="372"/>
                </a:cubicBezTo>
                <a:cubicBezTo>
                  <a:pt x="1163" y="372"/>
                  <a:pt x="1164" y="371"/>
                  <a:pt x="1165" y="371"/>
                </a:cubicBezTo>
                <a:cubicBezTo>
                  <a:pt x="1166" y="370"/>
                  <a:pt x="1168" y="371"/>
                  <a:pt x="1169" y="371"/>
                </a:cubicBezTo>
                <a:cubicBezTo>
                  <a:pt x="1169" y="370"/>
                  <a:pt x="1170" y="369"/>
                  <a:pt x="1171" y="370"/>
                </a:cubicBezTo>
                <a:cubicBezTo>
                  <a:pt x="1171" y="371"/>
                  <a:pt x="1171" y="371"/>
                  <a:pt x="1170" y="371"/>
                </a:cubicBezTo>
                <a:cubicBezTo>
                  <a:pt x="1169" y="372"/>
                  <a:pt x="1169" y="372"/>
                  <a:pt x="1168" y="373"/>
                </a:cubicBezTo>
                <a:cubicBezTo>
                  <a:pt x="1168" y="373"/>
                  <a:pt x="1167" y="374"/>
                  <a:pt x="1168" y="374"/>
                </a:cubicBezTo>
                <a:cubicBezTo>
                  <a:pt x="1169" y="374"/>
                  <a:pt x="1169" y="373"/>
                  <a:pt x="1170" y="373"/>
                </a:cubicBezTo>
                <a:cubicBezTo>
                  <a:pt x="1171" y="373"/>
                  <a:pt x="1171" y="374"/>
                  <a:pt x="1171" y="374"/>
                </a:cubicBezTo>
                <a:cubicBezTo>
                  <a:pt x="1172" y="374"/>
                  <a:pt x="1172" y="374"/>
                  <a:pt x="1172" y="374"/>
                </a:cubicBezTo>
                <a:cubicBezTo>
                  <a:pt x="1173" y="374"/>
                  <a:pt x="1173" y="375"/>
                  <a:pt x="1174" y="374"/>
                </a:cubicBezTo>
                <a:cubicBezTo>
                  <a:pt x="1175" y="373"/>
                  <a:pt x="1174" y="372"/>
                  <a:pt x="1174" y="372"/>
                </a:cubicBezTo>
                <a:cubicBezTo>
                  <a:pt x="1173" y="372"/>
                  <a:pt x="1173" y="372"/>
                  <a:pt x="1173" y="371"/>
                </a:cubicBezTo>
                <a:cubicBezTo>
                  <a:pt x="1172" y="371"/>
                  <a:pt x="1172" y="371"/>
                  <a:pt x="1172" y="371"/>
                </a:cubicBezTo>
                <a:cubicBezTo>
                  <a:pt x="1172" y="370"/>
                  <a:pt x="1172" y="370"/>
                  <a:pt x="1172" y="370"/>
                </a:cubicBezTo>
                <a:cubicBezTo>
                  <a:pt x="1173" y="370"/>
                  <a:pt x="1173" y="370"/>
                  <a:pt x="1174" y="370"/>
                </a:cubicBezTo>
                <a:cubicBezTo>
                  <a:pt x="1174" y="370"/>
                  <a:pt x="1175" y="370"/>
                  <a:pt x="1175" y="370"/>
                </a:cubicBezTo>
                <a:cubicBezTo>
                  <a:pt x="1175" y="370"/>
                  <a:pt x="1176" y="370"/>
                  <a:pt x="1176" y="370"/>
                </a:cubicBezTo>
                <a:cubicBezTo>
                  <a:pt x="1176" y="369"/>
                  <a:pt x="1176" y="370"/>
                  <a:pt x="1177" y="370"/>
                </a:cubicBezTo>
                <a:cubicBezTo>
                  <a:pt x="1177" y="370"/>
                  <a:pt x="1177" y="370"/>
                  <a:pt x="1177" y="370"/>
                </a:cubicBezTo>
                <a:cubicBezTo>
                  <a:pt x="1178" y="370"/>
                  <a:pt x="1178" y="370"/>
                  <a:pt x="1178" y="371"/>
                </a:cubicBezTo>
                <a:cubicBezTo>
                  <a:pt x="1178" y="371"/>
                  <a:pt x="1178" y="372"/>
                  <a:pt x="1178" y="372"/>
                </a:cubicBezTo>
                <a:cubicBezTo>
                  <a:pt x="1178" y="372"/>
                  <a:pt x="1177" y="374"/>
                  <a:pt x="1178" y="374"/>
                </a:cubicBezTo>
                <a:cubicBezTo>
                  <a:pt x="1178" y="374"/>
                  <a:pt x="1179" y="373"/>
                  <a:pt x="1179" y="373"/>
                </a:cubicBezTo>
                <a:cubicBezTo>
                  <a:pt x="1179" y="373"/>
                  <a:pt x="1179" y="373"/>
                  <a:pt x="1179" y="373"/>
                </a:cubicBezTo>
                <a:cubicBezTo>
                  <a:pt x="1180" y="373"/>
                  <a:pt x="1180" y="373"/>
                  <a:pt x="1181" y="373"/>
                </a:cubicBezTo>
                <a:cubicBezTo>
                  <a:pt x="1181" y="373"/>
                  <a:pt x="1181" y="372"/>
                  <a:pt x="1182" y="372"/>
                </a:cubicBezTo>
                <a:cubicBezTo>
                  <a:pt x="1182" y="372"/>
                  <a:pt x="1182" y="372"/>
                  <a:pt x="1183" y="371"/>
                </a:cubicBezTo>
                <a:cubicBezTo>
                  <a:pt x="1183" y="371"/>
                  <a:pt x="1184" y="371"/>
                  <a:pt x="1184" y="371"/>
                </a:cubicBezTo>
                <a:cubicBezTo>
                  <a:pt x="1184" y="371"/>
                  <a:pt x="1184" y="372"/>
                  <a:pt x="1185" y="372"/>
                </a:cubicBezTo>
                <a:cubicBezTo>
                  <a:pt x="1185" y="372"/>
                  <a:pt x="1186" y="372"/>
                  <a:pt x="1186" y="372"/>
                </a:cubicBezTo>
                <a:cubicBezTo>
                  <a:pt x="1187" y="373"/>
                  <a:pt x="1186" y="373"/>
                  <a:pt x="1185" y="374"/>
                </a:cubicBezTo>
                <a:cubicBezTo>
                  <a:pt x="1184" y="374"/>
                  <a:pt x="1184" y="374"/>
                  <a:pt x="1183" y="374"/>
                </a:cubicBezTo>
                <a:cubicBezTo>
                  <a:pt x="1182" y="375"/>
                  <a:pt x="1182" y="375"/>
                  <a:pt x="1181" y="375"/>
                </a:cubicBezTo>
                <a:cubicBezTo>
                  <a:pt x="1181" y="376"/>
                  <a:pt x="1179" y="376"/>
                  <a:pt x="1179" y="376"/>
                </a:cubicBezTo>
                <a:cubicBezTo>
                  <a:pt x="1180" y="377"/>
                  <a:pt x="1181" y="376"/>
                  <a:pt x="1181" y="376"/>
                </a:cubicBezTo>
                <a:cubicBezTo>
                  <a:pt x="1182" y="375"/>
                  <a:pt x="1182" y="375"/>
                  <a:pt x="1183" y="375"/>
                </a:cubicBezTo>
                <a:cubicBezTo>
                  <a:pt x="1183" y="375"/>
                  <a:pt x="1184" y="375"/>
                  <a:pt x="1184" y="375"/>
                </a:cubicBezTo>
                <a:cubicBezTo>
                  <a:pt x="1185" y="375"/>
                  <a:pt x="1185" y="374"/>
                  <a:pt x="1186" y="374"/>
                </a:cubicBezTo>
                <a:cubicBezTo>
                  <a:pt x="1187" y="374"/>
                  <a:pt x="1187" y="374"/>
                  <a:pt x="1188" y="374"/>
                </a:cubicBezTo>
                <a:cubicBezTo>
                  <a:pt x="1188" y="374"/>
                  <a:pt x="1188" y="375"/>
                  <a:pt x="1189" y="375"/>
                </a:cubicBezTo>
                <a:cubicBezTo>
                  <a:pt x="1189" y="375"/>
                  <a:pt x="1190" y="375"/>
                  <a:pt x="1190" y="375"/>
                </a:cubicBezTo>
                <a:cubicBezTo>
                  <a:pt x="1190" y="376"/>
                  <a:pt x="1189" y="376"/>
                  <a:pt x="1189" y="376"/>
                </a:cubicBezTo>
                <a:cubicBezTo>
                  <a:pt x="1188" y="376"/>
                  <a:pt x="1187" y="376"/>
                  <a:pt x="1186" y="377"/>
                </a:cubicBezTo>
                <a:cubicBezTo>
                  <a:pt x="1186" y="377"/>
                  <a:pt x="1185" y="377"/>
                  <a:pt x="1184" y="377"/>
                </a:cubicBezTo>
                <a:cubicBezTo>
                  <a:pt x="1183" y="377"/>
                  <a:pt x="1183" y="377"/>
                  <a:pt x="1182" y="377"/>
                </a:cubicBezTo>
                <a:cubicBezTo>
                  <a:pt x="1180" y="377"/>
                  <a:pt x="1178" y="377"/>
                  <a:pt x="1177" y="376"/>
                </a:cubicBezTo>
                <a:cubicBezTo>
                  <a:pt x="1175" y="376"/>
                  <a:pt x="1174" y="376"/>
                  <a:pt x="1172" y="376"/>
                </a:cubicBezTo>
                <a:cubicBezTo>
                  <a:pt x="1172" y="375"/>
                  <a:pt x="1171" y="375"/>
                  <a:pt x="1170" y="375"/>
                </a:cubicBezTo>
                <a:cubicBezTo>
                  <a:pt x="1169" y="375"/>
                  <a:pt x="1169" y="375"/>
                  <a:pt x="1168" y="375"/>
                </a:cubicBezTo>
                <a:cubicBezTo>
                  <a:pt x="1167" y="375"/>
                  <a:pt x="1166" y="375"/>
                  <a:pt x="1165" y="375"/>
                </a:cubicBezTo>
                <a:cubicBezTo>
                  <a:pt x="1164" y="375"/>
                  <a:pt x="1164" y="374"/>
                  <a:pt x="1163" y="374"/>
                </a:cubicBezTo>
                <a:cubicBezTo>
                  <a:pt x="1163" y="374"/>
                  <a:pt x="1162" y="374"/>
                  <a:pt x="1161" y="374"/>
                </a:cubicBezTo>
                <a:cubicBezTo>
                  <a:pt x="1160" y="374"/>
                  <a:pt x="1159" y="374"/>
                  <a:pt x="1159" y="375"/>
                </a:cubicBezTo>
                <a:cubicBezTo>
                  <a:pt x="1158" y="375"/>
                  <a:pt x="1157" y="376"/>
                  <a:pt x="1156" y="376"/>
                </a:cubicBezTo>
                <a:cubicBezTo>
                  <a:pt x="1156" y="377"/>
                  <a:pt x="1154" y="377"/>
                  <a:pt x="1153" y="377"/>
                </a:cubicBezTo>
                <a:cubicBezTo>
                  <a:pt x="1153" y="377"/>
                  <a:pt x="1152" y="378"/>
                  <a:pt x="1152" y="378"/>
                </a:cubicBezTo>
                <a:cubicBezTo>
                  <a:pt x="1151" y="378"/>
                  <a:pt x="1151" y="379"/>
                  <a:pt x="1150" y="379"/>
                </a:cubicBezTo>
                <a:cubicBezTo>
                  <a:pt x="1150" y="379"/>
                  <a:pt x="1149" y="379"/>
                  <a:pt x="1149" y="380"/>
                </a:cubicBezTo>
                <a:cubicBezTo>
                  <a:pt x="1148" y="380"/>
                  <a:pt x="1147" y="380"/>
                  <a:pt x="1146" y="381"/>
                </a:cubicBezTo>
                <a:cubicBezTo>
                  <a:pt x="1145" y="382"/>
                  <a:pt x="1145" y="382"/>
                  <a:pt x="1145" y="383"/>
                </a:cubicBezTo>
                <a:cubicBezTo>
                  <a:pt x="1145" y="383"/>
                  <a:pt x="1146" y="384"/>
                  <a:pt x="1146" y="384"/>
                </a:cubicBezTo>
                <a:cubicBezTo>
                  <a:pt x="1147" y="384"/>
                  <a:pt x="1147" y="384"/>
                  <a:pt x="1148" y="384"/>
                </a:cubicBezTo>
                <a:cubicBezTo>
                  <a:pt x="1149" y="384"/>
                  <a:pt x="1149" y="384"/>
                  <a:pt x="1150" y="384"/>
                </a:cubicBezTo>
                <a:cubicBezTo>
                  <a:pt x="1150" y="383"/>
                  <a:pt x="1150" y="383"/>
                  <a:pt x="1150" y="383"/>
                </a:cubicBezTo>
                <a:cubicBezTo>
                  <a:pt x="1151" y="383"/>
                  <a:pt x="1151" y="383"/>
                  <a:pt x="1152" y="383"/>
                </a:cubicBezTo>
                <a:cubicBezTo>
                  <a:pt x="1152" y="382"/>
                  <a:pt x="1152" y="382"/>
                  <a:pt x="1153" y="382"/>
                </a:cubicBezTo>
                <a:cubicBezTo>
                  <a:pt x="1154" y="382"/>
                  <a:pt x="1154" y="383"/>
                  <a:pt x="1155" y="383"/>
                </a:cubicBezTo>
                <a:cubicBezTo>
                  <a:pt x="1155" y="383"/>
                  <a:pt x="1156" y="383"/>
                  <a:pt x="1156" y="383"/>
                </a:cubicBezTo>
                <a:cubicBezTo>
                  <a:pt x="1156" y="382"/>
                  <a:pt x="1157" y="382"/>
                  <a:pt x="1157" y="382"/>
                </a:cubicBezTo>
                <a:cubicBezTo>
                  <a:pt x="1158" y="382"/>
                  <a:pt x="1159" y="382"/>
                  <a:pt x="1159" y="382"/>
                </a:cubicBezTo>
                <a:cubicBezTo>
                  <a:pt x="1160" y="381"/>
                  <a:pt x="1161" y="381"/>
                  <a:pt x="1162" y="381"/>
                </a:cubicBezTo>
                <a:cubicBezTo>
                  <a:pt x="1163" y="381"/>
                  <a:pt x="1163" y="381"/>
                  <a:pt x="1164" y="381"/>
                </a:cubicBezTo>
                <a:cubicBezTo>
                  <a:pt x="1165" y="381"/>
                  <a:pt x="1166" y="381"/>
                  <a:pt x="1167" y="381"/>
                </a:cubicBezTo>
                <a:cubicBezTo>
                  <a:pt x="1168" y="381"/>
                  <a:pt x="1168" y="381"/>
                  <a:pt x="1169" y="381"/>
                </a:cubicBezTo>
                <a:cubicBezTo>
                  <a:pt x="1170" y="381"/>
                  <a:pt x="1171" y="381"/>
                  <a:pt x="1172" y="381"/>
                </a:cubicBezTo>
                <a:cubicBezTo>
                  <a:pt x="1172" y="381"/>
                  <a:pt x="1173" y="382"/>
                  <a:pt x="1173" y="382"/>
                </a:cubicBezTo>
                <a:cubicBezTo>
                  <a:pt x="1174" y="383"/>
                  <a:pt x="1174" y="384"/>
                  <a:pt x="1174" y="384"/>
                </a:cubicBezTo>
                <a:cubicBezTo>
                  <a:pt x="1174" y="384"/>
                  <a:pt x="1174" y="384"/>
                  <a:pt x="1173" y="383"/>
                </a:cubicBezTo>
                <a:cubicBezTo>
                  <a:pt x="1173" y="383"/>
                  <a:pt x="1173" y="383"/>
                  <a:pt x="1172" y="383"/>
                </a:cubicBezTo>
                <a:cubicBezTo>
                  <a:pt x="1171" y="382"/>
                  <a:pt x="1170" y="382"/>
                  <a:pt x="1169" y="382"/>
                </a:cubicBezTo>
                <a:cubicBezTo>
                  <a:pt x="1168" y="382"/>
                  <a:pt x="1168" y="382"/>
                  <a:pt x="1167" y="382"/>
                </a:cubicBezTo>
                <a:cubicBezTo>
                  <a:pt x="1166" y="382"/>
                  <a:pt x="1165" y="382"/>
                  <a:pt x="1164" y="382"/>
                </a:cubicBezTo>
                <a:cubicBezTo>
                  <a:pt x="1163" y="382"/>
                  <a:pt x="1162" y="382"/>
                  <a:pt x="1161" y="382"/>
                </a:cubicBezTo>
                <a:cubicBezTo>
                  <a:pt x="1160" y="383"/>
                  <a:pt x="1159" y="383"/>
                  <a:pt x="1158" y="383"/>
                </a:cubicBezTo>
                <a:cubicBezTo>
                  <a:pt x="1157" y="383"/>
                  <a:pt x="1157" y="383"/>
                  <a:pt x="1156" y="383"/>
                </a:cubicBezTo>
                <a:cubicBezTo>
                  <a:pt x="1155" y="383"/>
                  <a:pt x="1154" y="384"/>
                  <a:pt x="1153" y="383"/>
                </a:cubicBezTo>
                <a:cubicBezTo>
                  <a:pt x="1153" y="383"/>
                  <a:pt x="1152" y="383"/>
                  <a:pt x="1151" y="384"/>
                </a:cubicBezTo>
                <a:cubicBezTo>
                  <a:pt x="1150" y="384"/>
                  <a:pt x="1149" y="385"/>
                  <a:pt x="1149" y="385"/>
                </a:cubicBezTo>
                <a:cubicBezTo>
                  <a:pt x="1148" y="385"/>
                  <a:pt x="1147" y="385"/>
                  <a:pt x="1146" y="385"/>
                </a:cubicBezTo>
                <a:cubicBezTo>
                  <a:pt x="1146" y="385"/>
                  <a:pt x="1146" y="385"/>
                  <a:pt x="1146" y="385"/>
                </a:cubicBezTo>
                <a:cubicBezTo>
                  <a:pt x="1146" y="385"/>
                  <a:pt x="1146" y="385"/>
                  <a:pt x="1145" y="385"/>
                </a:cubicBezTo>
                <a:cubicBezTo>
                  <a:pt x="1145" y="385"/>
                  <a:pt x="1145" y="386"/>
                  <a:pt x="1145" y="386"/>
                </a:cubicBezTo>
                <a:cubicBezTo>
                  <a:pt x="1145" y="387"/>
                  <a:pt x="1146" y="386"/>
                  <a:pt x="1146" y="387"/>
                </a:cubicBezTo>
                <a:cubicBezTo>
                  <a:pt x="1146" y="387"/>
                  <a:pt x="1146" y="387"/>
                  <a:pt x="1147" y="388"/>
                </a:cubicBezTo>
                <a:cubicBezTo>
                  <a:pt x="1147" y="388"/>
                  <a:pt x="1147" y="388"/>
                  <a:pt x="1148" y="388"/>
                </a:cubicBezTo>
                <a:cubicBezTo>
                  <a:pt x="1148" y="388"/>
                  <a:pt x="1147" y="388"/>
                  <a:pt x="1147" y="388"/>
                </a:cubicBezTo>
                <a:cubicBezTo>
                  <a:pt x="1147" y="388"/>
                  <a:pt x="1146" y="388"/>
                  <a:pt x="1146" y="389"/>
                </a:cubicBezTo>
                <a:cubicBezTo>
                  <a:pt x="1146" y="389"/>
                  <a:pt x="1146" y="389"/>
                  <a:pt x="1147" y="389"/>
                </a:cubicBezTo>
                <a:cubicBezTo>
                  <a:pt x="1147" y="390"/>
                  <a:pt x="1148" y="390"/>
                  <a:pt x="1149" y="390"/>
                </a:cubicBezTo>
                <a:cubicBezTo>
                  <a:pt x="1149" y="390"/>
                  <a:pt x="1150" y="390"/>
                  <a:pt x="1151" y="390"/>
                </a:cubicBezTo>
                <a:cubicBezTo>
                  <a:pt x="1152" y="390"/>
                  <a:pt x="1153" y="390"/>
                  <a:pt x="1154" y="390"/>
                </a:cubicBezTo>
                <a:cubicBezTo>
                  <a:pt x="1155" y="390"/>
                  <a:pt x="1156" y="390"/>
                  <a:pt x="1156" y="390"/>
                </a:cubicBezTo>
                <a:cubicBezTo>
                  <a:pt x="1157" y="390"/>
                  <a:pt x="1158" y="390"/>
                  <a:pt x="1159" y="390"/>
                </a:cubicBezTo>
                <a:cubicBezTo>
                  <a:pt x="1159" y="390"/>
                  <a:pt x="1160" y="390"/>
                  <a:pt x="1160" y="390"/>
                </a:cubicBezTo>
                <a:cubicBezTo>
                  <a:pt x="1161" y="390"/>
                  <a:pt x="1160" y="389"/>
                  <a:pt x="1161" y="389"/>
                </a:cubicBezTo>
                <a:cubicBezTo>
                  <a:pt x="1161" y="389"/>
                  <a:pt x="1161" y="389"/>
                  <a:pt x="1162" y="389"/>
                </a:cubicBezTo>
                <a:cubicBezTo>
                  <a:pt x="1162" y="390"/>
                  <a:pt x="1163" y="390"/>
                  <a:pt x="1162" y="390"/>
                </a:cubicBezTo>
                <a:cubicBezTo>
                  <a:pt x="1162" y="390"/>
                  <a:pt x="1161" y="390"/>
                  <a:pt x="1162" y="391"/>
                </a:cubicBezTo>
                <a:cubicBezTo>
                  <a:pt x="1162" y="391"/>
                  <a:pt x="1163" y="391"/>
                  <a:pt x="1162" y="392"/>
                </a:cubicBezTo>
                <a:cubicBezTo>
                  <a:pt x="1161" y="392"/>
                  <a:pt x="1160" y="392"/>
                  <a:pt x="1160" y="391"/>
                </a:cubicBezTo>
                <a:cubicBezTo>
                  <a:pt x="1159" y="391"/>
                  <a:pt x="1158" y="392"/>
                  <a:pt x="1157" y="392"/>
                </a:cubicBezTo>
                <a:cubicBezTo>
                  <a:pt x="1156" y="392"/>
                  <a:pt x="1156" y="392"/>
                  <a:pt x="1155" y="392"/>
                </a:cubicBezTo>
                <a:cubicBezTo>
                  <a:pt x="1155" y="392"/>
                  <a:pt x="1154" y="393"/>
                  <a:pt x="1155" y="393"/>
                </a:cubicBezTo>
                <a:cubicBezTo>
                  <a:pt x="1155" y="393"/>
                  <a:pt x="1155" y="392"/>
                  <a:pt x="1156" y="392"/>
                </a:cubicBezTo>
                <a:cubicBezTo>
                  <a:pt x="1156" y="392"/>
                  <a:pt x="1157" y="392"/>
                  <a:pt x="1157" y="392"/>
                </a:cubicBezTo>
                <a:cubicBezTo>
                  <a:pt x="1157" y="392"/>
                  <a:pt x="1158" y="392"/>
                  <a:pt x="1158" y="392"/>
                </a:cubicBezTo>
                <a:cubicBezTo>
                  <a:pt x="1159" y="392"/>
                  <a:pt x="1159" y="393"/>
                  <a:pt x="1158" y="393"/>
                </a:cubicBezTo>
                <a:cubicBezTo>
                  <a:pt x="1158" y="393"/>
                  <a:pt x="1157" y="393"/>
                  <a:pt x="1157" y="393"/>
                </a:cubicBezTo>
                <a:cubicBezTo>
                  <a:pt x="1156" y="394"/>
                  <a:pt x="1155" y="393"/>
                  <a:pt x="1155" y="393"/>
                </a:cubicBezTo>
                <a:cubicBezTo>
                  <a:pt x="1154" y="394"/>
                  <a:pt x="1154" y="394"/>
                  <a:pt x="1155" y="394"/>
                </a:cubicBezTo>
                <a:cubicBezTo>
                  <a:pt x="1155" y="394"/>
                  <a:pt x="1156" y="394"/>
                  <a:pt x="1156" y="394"/>
                </a:cubicBezTo>
                <a:cubicBezTo>
                  <a:pt x="1157" y="394"/>
                  <a:pt x="1158" y="394"/>
                  <a:pt x="1158" y="393"/>
                </a:cubicBezTo>
                <a:cubicBezTo>
                  <a:pt x="1159" y="393"/>
                  <a:pt x="1159" y="393"/>
                  <a:pt x="1159" y="394"/>
                </a:cubicBezTo>
                <a:cubicBezTo>
                  <a:pt x="1159" y="394"/>
                  <a:pt x="1158" y="394"/>
                  <a:pt x="1158" y="394"/>
                </a:cubicBezTo>
                <a:cubicBezTo>
                  <a:pt x="1157" y="395"/>
                  <a:pt x="1155" y="395"/>
                  <a:pt x="1153" y="395"/>
                </a:cubicBezTo>
                <a:cubicBezTo>
                  <a:pt x="1152" y="395"/>
                  <a:pt x="1152" y="395"/>
                  <a:pt x="1151" y="395"/>
                </a:cubicBezTo>
                <a:cubicBezTo>
                  <a:pt x="1151" y="395"/>
                  <a:pt x="1150" y="395"/>
                  <a:pt x="1150" y="396"/>
                </a:cubicBezTo>
                <a:cubicBezTo>
                  <a:pt x="1151" y="396"/>
                  <a:pt x="1151" y="396"/>
                  <a:pt x="1151" y="396"/>
                </a:cubicBezTo>
                <a:cubicBezTo>
                  <a:pt x="1152" y="397"/>
                  <a:pt x="1152" y="397"/>
                  <a:pt x="1152" y="397"/>
                </a:cubicBezTo>
                <a:cubicBezTo>
                  <a:pt x="1153" y="397"/>
                  <a:pt x="1153" y="397"/>
                  <a:pt x="1153" y="397"/>
                </a:cubicBezTo>
                <a:cubicBezTo>
                  <a:pt x="1154" y="397"/>
                  <a:pt x="1155" y="397"/>
                  <a:pt x="1156" y="397"/>
                </a:cubicBezTo>
                <a:cubicBezTo>
                  <a:pt x="1157" y="396"/>
                  <a:pt x="1159" y="396"/>
                  <a:pt x="1160" y="398"/>
                </a:cubicBezTo>
                <a:cubicBezTo>
                  <a:pt x="1159" y="398"/>
                  <a:pt x="1158" y="397"/>
                  <a:pt x="1157" y="397"/>
                </a:cubicBezTo>
                <a:cubicBezTo>
                  <a:pt x="1156" y="397"/>
                  <a:pt x="1156" y="397"/>
                  <a:pt x="1155" y="397"/>
                </a:cubicBezTo>
                <a:cubicBezTo>
                  <a:pt x="1155" y="398"/>
                  <a:pt x="1155" y="398"/>
                  <a:pt x="1154" y="398"/>
                </a:cubicBezTo>
                <a:cubicBezTo>
                  <a:pt x="1154" y="398"/>
                  <a:pt x="1154" y="398"/>
                  <a:pt x="1153" y="398"/>
                </a:cubicBezTo>
                <a:cubicBezTo>
                  <a:pt x="1153" y="398"/>
                  <a:pt x="1153" y="398"/>
                  <a:pt x="1152" y="398"/>
                </a:cubicBezTo>
                <a:cubicBezTo>
                  <a:pt x="1152" y="397"/>
                  <a:pt x="1151" y="397"/>
                  <a:pt x="1150" y="398"/>
                </a:cubicBezTo>
                <a:cubicBezTo>
                  <a:pt x="1149" y="398"/>
                  <a:pt x="1148" y="398"/>
                  <a:pt x="1148" y="398"/>
                </a:cubicBezTo>
                <a:cubicBezTo>
                  <a:pt x="1148" y="399"/>
                  <a:pt x="1149" y="399"/>
                  <a:pt x="1149" y="400"/>
                </a:cubicBezTo>
                <a:cubicBezTo>
                  <a:pt x="1148" y="400"/>
                  <a:pt x="1147" y="400"/>
                  <a:pt x="1147" y="400"/>
                </a:cubicBezTo>
                <a:cubicBezTo>
                  <a:pt x="1147" y="401"/>
                  <a:pt x="1148" y="401"/>
                  <a:pt x="1148" y="401"/>
                </a:cubicBezTo>
                <a:cubicBezTo>
                  <a:pt x="1148" y="401"/>
                  <a:pt x="1148" y="402"/>
                  <a:pt x="1149" y="402"/>
                </a:cubicBezTo>
                <a:cubicBezTo>
                  <a:pt x="1149" y="402"/>
                  <a:pt x="1151" y="402"/>
                  <a:pt x="1150" y="403"/>
                </a:cubicBezTo>
                <a:cubicBezTo>
                  <a:pt x="1150" y="403"/>
                  <a:pt x="1150" y="403"/>
                  <a:pt x="1150" y="403"/>
                </a:cubicBezTo>
                <a:cubicBezTo>
                  <a:pt x="1149" y="403"/>
                  <a:pt x="1149" y="404"/>
                  <a:pt x="1149" y="404"/>
                </a:cubicBezTo>
                <a:cubicBezTo>
                  <a:pt x="1148" y="404"/>
                  <a:pt x="1148" y="404"/>
                  <a:pt x="1148" y="405"/>
                </a:cubicBezTo>
                <a:cubicBezTo>
                  <a:pt x="1148" y="405"/>
                  <a:pt x="1149" y="405"/>
                  <a:pt x="1150" y="406"/>
                </a:cubicBezTo>
                <a:cubicBezTo>
                  <a:pt x="1150" y="406"/>
                  <a:pt x="1151" y="405"/>
                  <a:pt x="1151" y="406"/>
                </a:cubicBezTo>
                <a:cubicBezTo>
                  <a:pt x="1151" y="406"/>
                  <a:pt x="1150" y="406"/>
                  <a:pt x="1150" y="407"/>
                </a:cubicBezTo>
                <a:cubicBezTo>
                  <a:pt x="1151" y="407"/>
                  <a:pt x="1152" y="407"/>
                  <a:pt x="1152" y="407"/>
                </a:cubicBezTo>
                <a:cubicBezTo>
                  <a:pt x="1152" y="408"/>
                  <a:pt x="1151" y="408"/>
                  <a:pt x="1151" y="408"/>
                </a:cubicBezTo>
                <a:cubicBezTo>
                  <a:pt x="1150" y="408"/>
                  <a:pt x="1151" y="408"/>
                  <a:pt x="1152" y="408"/>
                </a:cubicBezTo>
                <a:cubicBezTo>
                  <a:pt x="1152" y="408"/>
                  <a:pt x="1152" y="408"/>
                  <a:pt x="1153" y="408"/>
                </a:cubicBezTo>
                <a:cubicBezTo>
                  <a:pt x="1154" y="408"/>
                  <a:pt x="1154" y="407"/>
                  <a:pt x="1155" y="407"/>
                </a:cubicBezTo>
                <a:cubicBezTo>
                  <a:pt x="1155" y="408"/>
                  <a:pt x="1155" y="408"/>
                  <a:pt x="1154" y="408"/>
                </a:cubicBezTo>
                <a:cubicBezTo>
                  <a:pt x="1154" y="408"/>
                  <a:pt x="1154" y="409"/>
                  <a:pt x="1154" y="409"/>
                </a:cubicBezTo>
                <a:cubicBezTo>
                  <a:pt x="1153" y="409"/>
                  <a:pt x="1153" y="409"/>
                  <a:pt x="1153" y="409"/>
                </a:cubicBezTo>
                <a:cubicBezTo>
                  <a:pt x="1152" y="409"/>
                  <a:pt x="1152" y="409"/>
                  <a:pt x="1153" y="409"/>
                </a:cubicBezTo>
                <a:cubicBezTo>
                  <a:pt x="1153" y="410"/>
                  <a:pt x="1154" y="410"/>
                  <a:pt x="1155" y="410"/>
                </a:cubicBezTo>
                <a:cubicBezTo>
                  <a:pt x="1155" y="410"/>
                  <a:pt x="1155" y="409"/>
                  <a:pt x="1156" y="410"/>
                </a:cubicBezTo>
                <a:cubicBezTo>
                  <a:pt x="1156" y="410"/>
                  <a:pt x="1155" y="410"/>
                  <a:pt x="1155" y="410"/>
                </a:cubicBezTo>
                <a:cubicBezTo>
                  <a:pt x="1155" y="411"/>
                  <a:pt x="1154" y="412"/>
                  <a:pt x="1154" y="412"/>
                </a:cubicBezTo>
                <a:cubicBezTo>
                  <a:pt x="1153" y="412"/>
                  <a:pt x="1153" y="412"/>
                  <a:pt x="1153" y="412"/>
                </a:cubicBezTo>
                <a:cubicBezTo>
                  <a:pt x="1152" y="413"/>
                  <a:pt x="1153" y="413"/>
                  <a:pt x="1153" y="412"/>
                </a:cubicBezTo>
                <a:cubicBezTo>
                  <a:pt x="1154" y="412"/>
                  <a:pt x="1155" y="412"/>
                  <a:pt x="1155" y="412"/>
                </a:cubicBezTo>
                <a:cubicBezTo>
                  <a:pt x="1155" y="412"/>
                  <a:pt x="1155" y="411"/>
                  <a:pt x="1156" y="411"/>
                </a:cubicBezTo>
                <a:cubicBezTo>
                  <a:pt x="1156" y="411"/>
                  <a:pt x="1156" y="412"/>
                  <a:pt x="1156" y="412"/>
                </a:cubicBezTo>
                <a:cubicBezTo>
                  <a:pt x="1156" y="412"/>
                  <a:pt x="1155" y="412"/>
                  <a:pt x="1155" y="412"/>
                </a:cubicBezTo>
                <a:cubicBezTo>
                  <a:pt x="1155" y="413"/>
                  <a:pt x="1155" y="413"/>
                  <a:pt x="1154" y="413"/>
                </a:cubicBezTo>
                <a:cubicBezTo>
                  <a:pt x="1154" y="413"/>
                  <a:pt x="1153" y="413"/>
                  <a:pt x="1153" y="413"/>
                </a:cubicBezTo>
                <a:cubicBezTo>
                  <a:pt x="1153" y="414"/>
                  <a:pt x="1154" y="414"/>
                  <a:pt x="1154" y="414"/>
                </a:cubicBezTo>
                <a:cubicBezTo>
                  <a:pt x="1154" y="414"/>
                  <a:pt x="1155" y="414"/>
                  <a:pt x="1155" y="414"/>
                </a:cubicBezTo>
                <a:cubicBezTo>
                  <a:pt x="1156" y="414"/>
                  <a:pt x="1156" y="413"/>
                  <a:pt x="1156" y="413"/>
                </a:cubicBezTo>
                <a:cubicBezTo>
                  <a:pt x="1157" y="413"/>
                  <a:pt x="1156" y="414"/>
                  <a:pt x="1156" y="415"/>
                </a:cubicBezTo>
                <a:cubicBezTo>
                  <a:pt x="1156" y="415"/>
                  <a:pt x="1155" y="415"/>
                  <a:pt x="1154" y="415"/>
                </a:cubicBezTo>
                <a:cubicBezTo>
                  <a:pt x="1154" y="415"/>
                  <a:pt x="1153" y="416"/>
                  <a:pt x="1154" y="416"/>
                </a:cubicBezTo>
                <a:cubicBezTo>
                  <a:pt x="1154" y="416"/>
                  <a:pt x="1155" y="416"/>
                  <a:pt x="1155" y="416"/>
                </a:cubicBezTo>
                <a:cubicBezTo>
                  <a:pt x="1156" y="416"/>
                  <a:pt x="1157" y="416"/>
                  <a:pt x="1157" y="415"/>
                </a:cubicBezTo>
                <a:cubicBezTo>
                  <a:pt x="1157" y="414"/>
                  <a:pt x="1157" y="413"/>
                  <a:pt x="1158" y="414"/>
                </a:cubicBezTo>
                <a:cubicBezTo>
                  <a:pt x="1159" y="415"/>
                  <a:pt x="1158" y="415"/>
                  <a:pt x="1158" y="415"/>
                </a:cubicBezTo>
                <a:cubicBezTo>
                  <a:pt x="1157" y="416"/>
                  <a:pt x="1159" y="416"/>
                  <a:pt x="1159" y="416"/>
                </a:cubicBezTo>
                <a:cubicBezTo>
                  <a:pt x="1160" y="416"/>
                  <a:pt x="1160" y="417"/>
                  <a:pt x="1161" y="417"/>
                </a:cubicBezTo>
                <a:cubicBezTo>
                  <a:pt x="1161" y="417"/>
                  <a:pt x="1162" y="417"/>
                  <a:pt x="1162" y="417"/>
                </a:cubicBezTo>
                <a:cubicBezTo>
                  <a:pt x="1162" y="417"/>
                  <a:pt x="1162" y="418"/>
                  <a:pt x="1162" y="418"/>
                </a:cubicBezTo>
                <a:cubicBezTo>
                  <a:pt x="1162" y="418"/>
                  <a:pt x="1162" y="418"/>
                  <a:pt x="1163" y="419"/>
                </a:cubicBezTo>
                <a:cubicBezTo>
                  <a:pt x="1163" y="419"/>
                  <a:pt x="1162" y="419"/>
                  <a:pt x="1162" y="419"/>
                </a:cubicBezTo>
                <a:cubicBezTo>
                  <a:pt x="1162" y="419"/>
                  <a:pt x="1161" y="420"/>
                  <a:pt x="1161" y="420"/>
                </a:cubicBezTo>
                <a:cubicBezTo>
                  <a:pt x="1161" y="421"/>
                  <a:pt x="1161" y="421"/>
                  <a:pt x="1161" y="421"/>
                </a:cubicBezTo>
                <a:cubicBezTo>
                  <a:pt x="1161" y="421"/>
                  <a:pt x="1161" y="421"/>
                  <a:pt x="1161" y="421"/>
                </a:cubicBezTo>
                <a:cubicBezTo>
                  <a:pt x="1161" y="422"/>
                  <a:pt x="1161" y="422"/>
                  <a:pt x="1161" y="422"/>
                </a:cubicBezTo>
                <a:cubicBezTo>
                  <a:pt x="1162" y="423"/>
                  <a:pt x="1162" y="421"/>
                  <a:pt x="1162" y="421"/>
                </a:cubicBezTo>
                <a:cubicBezTo>
                  <a:pt x="1163" y="420"/>
                  <a:pt x="1165" y="420"/>
                  <a:pt x="1164" y="421"/>
                </a:cubicBezTo>
                <a:cubicBezTo>
                  <a:pt x="1164" y="422"/>
                  <a:pt x="1164" y="422"/>
                  <a:pt x="1164" y="422"/>
                </a:cubicBezTo>
                <a:cubicBezTo>
                  <a:pt x="1164" y="422"/>
                  <a:pt x="1164" y="422"/>
                  <a:pt x="1164" y="422"/>
                </a:cubicBezTo>
                <a:cubicBezTo>
                  <a:pt x="1165" y="423"/>
                  <a:pt x="1165" y="424"/>
                  <a:pt x="1164" y="424"/>
                </a:cubicBezTo>
                <a:cubicBezTo>
                  <a:pt x="1164" y="424"/>
                  <a:pt x="1163" y="424"/>
                  <a:pt x="1164" y="425"/>
                </a:cubicBezTo>
                <a:cubicBezTo>
                  <a:pt x="1164" y="425"/>
                  <a:pt x="1164" y="425"/>
                  <a:pt x="1165" y="425"/>
                </a:cubicBezTo>
                <a:cubicBezTo>
                  <a:pt x="1165" y="425"/>
                  <a:pt x="1165" y="426"/>
                  <a:pt x="1165" y="426"/>
                </a:cubicBezTo>
                <a:cubicBezTo>
                  <a:pt x="1166" y="426"/>
                  <a:pt x="1166" y="426"/>
                  <a:pt x="1166" y="426"/>
                </a:cubicBezTo>
                <a:cubicBezTo>
                  <a:pt x="1166" y="427"/>
                  <a:pt x="1166" y="427"/>
                  <a:pt x="1166" y="427"/>
                </a:cubicBezTo>
                <a:cubicBezTo>
                  <a:pt x="1165" y="427"/>
                  <a:pt x="1165" y="427"/>
                  <a:pt x="1165" y="427"/>
                </a:cubicBezTo>
                <a:cubicBezTo>
                  <a:pt x="1164" y="428"/>
                  <a:pt x="1165" y="428"/>
                  <a:pt x="1164" y="428"/>
                </a:cubicBezTo>
                <a:cubicBezTo>
                  <a:pt x="1164" y="429"/>
                  <a:pt x="1164" y="429"/>
                  <a:pt x="1164" y="429"/>
                </a:cubicBezTo>
                <a:cubicBezTo>
                  <a:pt x="1164" y="430"/>
                  <a:pt x="1165" y="429"/>
                  <a:pt x="1165" y="430"/>
                </a:cubicBezTo>
                <a:cubicBezTo>
                  <a:pt x="1166" y="430"/>
                  <a:pt x="1167" y="430"/>
                  <a:pt x="1167" y="430"/>
                </a:cubicBezTo>
                <a:cubicBezTo>
                  <a:pt x="1168" y="430"/>
                  <a:pt x="1169" y="429"/>
                  <a:pt x="1169" y="428"/>
                </a:cubicBezTo>
                <a:cubicBezTo>
                  <a:pt x="1169" y="428"/>
                  <a:pt x="1169" y="428"/>
                  <a:pt x="1169" y="427"/>
                </a:cubicBezTo>
                <a:cubicBezTo>
                  <a:pt x="1170" y="427"/>
                  <a:pt x="1170" y="427"/>
                  <a:pt x="1171" y="427"/>
                </a:cubicBezTo>
                <a:cubicBezTo>
                  <a:pt x="1171" y="426"/>
                  <a:pt x="1171" y="426"/>
                  <a:pt x="1172" y="426"/>
                </a:cubicBezTo>
                <a:cubicBezTo>
                  <a:pt x="1172" y="427"/>
                  <a:pt x="1170" y="427"/>
                  <a:pt x="1170" y="428"/>
                </a:cubicBezTo>
                <a:cubicBezTo>
                  <a:pt x="1171" y="428"/>
                  <a:pt x="1171" y="428"/>
                  <a:pt x="1171" y="428"/>
                </a:cubicBezTo>
                <a:cubicBezTo>
                  <a:pt x="1172" y="428"/>
                  <a:pt x="1172" y="428"/>
                  <a:pt x="1173" y="428"/>
                </a:cubicBezTo>
                <a:cubicBezTo>
                  <a:pt x="1173" y="427"/>
                  <a:pt x="1174" y="427"/>
                  <a:pt x="1174" y="426"/>
                </a:cubicBezTo>
                <a:cubicBezTo>
                  <a:pt x="1174" y="426"/>
                  <a:pt x="1174" y="427"/>
                  <a:pt x="1174" y="427"/>
                </a:cubicBezTo>
                <a:cubicBezTo>
                  <a:pt x="1174" y="427"/>
                  <a:pt x="1173" y="428"/>
                  <a:pt x="1173" y="428"/>
                </a:cubicBezTo>
                <a:cubicBezTo>
                  <a:pt x="1173" y="428"/>
                  <a:pt x="1171" y="429"/>
                  <a:pt x="1171" y="429"/>
                </a:cubicBezTo>
                <a:cubicBezTo>
                  <a:pt x="1170" y="429"/>
                  <a:pt x="1169" y="428"/>
                  <a:pt x="1169" y="429"/>
                </a:cubicBezTo>
                <a:cubicBezTo>
                  <a:pt x="1168" y="430"/>
                  <a:pt x="1168" y="430"/>
                  <a:pt x="1167" y="431"/>
                </a:cubicBezTo>
                <a:cubicBezTo>
                  <a:pt x="1167" y="431"/>
                  <a:pt x="1166" y="431"/>
                  <a:pt x="1165" y="432"/>
                </a:cubicBezTo>
                <a:cubicBezTo>
                  <a:pt x="1165" y="433"/>
                  <a:pt x="1165" y="434"/>
                  <a:pt x="1165" y="435"/>
                </a:cubicBezTo>
                <a:cubicBezTo>
                  <a:pt x="1166" y="436"/>
                  <a:pt x="1165" y="439"/>
                  <a:pt x="1167" y="441"/>
                </a:cubicBezTo>
                <a:cubicBezTo>
                  <a:pt x="1168" y="441"/>
                  <a:pt x="1169" y="440"/>
                  <a:pt x="1170" y="439"/>
                </a:cubicBezTo>
                <a:cubicBezTo>
                  <a:pt x="1170" y="439"/>
                  <a:pt x="1170" y="438"/>
                  <a:pt x="1171" y="438"/>
                </a:cubicBezTo>
                <a:cubicBezTo>
                  <a:pt x="1171" y="437"/>
                  <a:pt x="1172" y="437"/>
                  <a:pt x="1173" y="436"/>
                </a:cubicBezTo>
                <a:cubicBezTo>
                  <a:pt x="1173" y="435"/>
                  <a:pt x="1173" y="434"/>
                  <a:pt x="1174" y="434"/>
                </a:cubicBezTo>
                <a:cubicBezTo>
                  <a:pt x="1174" y="433"/>
                  <a:pt x="1174" y="433"/>
                  <a:pt x="1174" y="433"/>
                </a:cubicBezTo>
                <a:cubicBezTo>
                  <a:pt x="1175" y="433"/>
                  <a:pt x="1175" y="432"/>
                  <a:pt x="1175" y="432"/>
                </a:cubicBezTo>
                <a:cubicBezTo>
                  <a:pt x="1175" y="431"/>
                  <a:pt x="1175" y="431"/>
                  <a:pt x="1176" y="430"/>
                </a:cubicBezTo>
                <a:cubicBezTo>
                  <a:pt x="1177" y="430"/>
                  <a:pt x="1178" y="430"/>
                  <a:pt x="1177" y="431"/>
                </a:cubicBezTo>
                <a:cubicBezTo>
                  <a:pt x="1177" y="432"/>
                  <a:pt x="1176" y="432"/>
                  <a:pt x="1176" y="433"/>
                </a:cubicBezTo>
                <a:cubicBezTo>
                  <a:pt x="1176" y="434"/>
                  <a:pt x="1177" y="433"/>
                  <a:pt x="1178" y="433"/>
                </a:cubicBezTo>
                <a:cubicBezTo>
                  <a:pt x="1178" y="432"/>
                  <a:pt x="1179" y="432"/>
                  <a:pt x="1180" y="431"/>
                </a:cubicBezTo>
                <a:cubicBezTo>
                  <a:pt x="1181" y="431"/>
                  <a:pt x="1182" y="431"/>
                  <a:pt x="1182" y="430"/>
                </a:cubicBezTo>
                <a:cubicBezTo>
                  <a:pt x="1182" y="429"/>
                  <a:pt x="1182" y="429"/>
                  <a:pt x="1182" y="429"/>
                </a:cubicBezTo>
                <a:cubicBezTo>
                  <a:pt x="1182" y="429"/>
                  <a:pt x="1181" y="429"/>
                  <a:pt x="1181" y="429"/>
                </a:cubicBezTo>
                <a:cubicBezTo>
                  <a:pt x="1181" y="428"/>
                  <a:pt x="1181" y="428"/>
                  <a:pt x="1182" y="428"/>
                </a:cubicBezTo>
                <a:cubicBezTo>
                  <a:pt x="1182" y="427"/>
                  <a:pt x="1181" y="427"/>
                  <a:pt x="1180" y="426"/>
                </a:cubicBezTo>
                <a:cubicBezTo>
                  <a:pt x="1180" y="426"/>
                  <a:pt x="1180" y="425"/>
                  <a:pt x="1179" y="424"/>
                </a:cubicBezTo>
                <a:cubicBezTo>
                  <a:pt x="1179" y="424"/>
                  <a:pt x="1179" y="424"/>
                  <a:pt x="1179" y="423"/>
                </a:cubicBezTo>
                <a:cubicBezTo>
                  <a:pt x="1179" y="423"/>
                  <a:pt x="1178" y="423"/>
                  <a:pt x="1178" y="423"/>
                </a:cubicBezTo>
                <a:cubicBezTo>
                  <a:pt x="1179" y="422"/>
                  <a:pt x="1180" y="423"/>
                  <a:pt x="1180" y="423"/>
                </a:cubicBezTo>
                <a:cubicBezTo>
                  <a:pt x="1181" y="423"/>
                  <a:pt x="1181" y="424"/>
                  <a:pt x="1181" y="425"/>
                </a:cubicBezTo>
                <a:cubicBezTo>
                  <a:pt x="1181" y="426"/>
                  <a:pt x="1182" y="428"/>
                  <a:pt x="1182" y="429"/>
                </a:cubicBezTo>
                <a:cubicBezTo>
                  <a:pt x="1183" y="430"/>
                  <a:pt x="1183" y="430"/>
                  <a:pt x="1184" y="431"/>
                </a:cubicBezTo>
                <a:cubicBezTo>
                  <a:pt x="1185" y="431"/>
                  <a:pt x="1186" y="431"/>
                  <a:pt x="1187" y="430"/>
                </a:cubicBezTo>
                <a:cubicBezTo>
                  <a:pt x="1187" y="430"/>
                  <a:pt x="1188" y="430"/>
                  <a:pt x="1188" y="430"/>
                </a:cubicBezTo>
                <a:cubicBezTo>
                  <a:pt x="1189" y="429"/>
                  <a:pt x="1189" y="429"/>
                  <a:pt x="1189" y="430"/>
                </a:cubicBezTo>
                <a:cubicBezTo>
                  <a:pt x="1190" y="430"/>
                  <a:pt x="1189" y="431"/>
                  <a:pt x="1189" y="431"/>
                </a:cubicBezTo>
                <a:cubicBezTo>
                  <a:pt x="1189" y="432"/>
                  <a:pt x="1189" y="433"/>
                  <a:pt x="1188" y="433"/>
                </a:cubicBezTo>
                <a:cubicBezTo>
                  <a:pt x="1188" y="434"/>
                  <a:pt x="1189" y="435"/>
                  <a:pt x="1189" y="435"/>
                </a:cubicBezTo>
                <a:cubicBezTo>
                  <a:pt x="1190" y="436"/>
                  <a:pt x="1191" y="436"/>
                  <a:pt x="1191" y="436"/>
                </a:cubicBezTo>
                <a:cubicBezTo>
                  <a:pt x="1192" y="437"/>
                  <a:pt x="1193" y="437"/>
                  <a:pt x="1193" y="437"/>
                </a:cubicBezTo>
                <a:cubicBezTo>
                  <a:pt x="1193" y="437"/>
                  <a:pt x="1193" y="438"/>
                  <a:pt x="1193" y="438"/>
                </a:cubicBezTo>
                <a:cubicBezTo>
                  <a:pt x="1192" y="438"/>
                  <a:pt x="1192" y="437"/>
                  <a:pt x="1191" y="437"/>
                </a:cubicBezTo>
                <a:cubicBezTo>
                  <a:pt x="1190" y="437"/>
                  <a:pt x="1190" y="437"/>
                  <a:pt x="1189" y="436"/>
                </a:cubicBezTo>
                <a:cubicBezTo>
                  <a:pt x="1189" y="436"/>
                  <a:pt x="1188" y="436"/>
                  <a:pt x="1188" y="435"/>
                </a:cubicBezTo>
                <a:cubicBezTo>
                  <a:pt x="1187" y="434"/>
                  <a:pt x="1187" y="433"/>
                  <a:pt x="1187" y="433"/>
                </a:cubicBezTo>
                <a:cubicBezTo>
                  <a:pt x="1186" y="433"/>
                  <a:pt x="1186" y="432"/>
                  <a:pt x="1186" y="432"/>
                </a:cubicBezTo>
                <a:cubicBezTo>
                  <a:pt x="1185" y="432"/>
                  <a:pt x="1185" y="432"/>
                  <a:pt x="1185" y="432"/>
                </a:cubicBezTo>
                <a:cubicBezTo>
                  <a:pt x="1184" y="432"/>
                  <a:pt x="1184" y="432"/>
                  <a:pt x="1183" y="432"/>
                </a:cubicBezTo>
                <a:cubicBezTo>
                  <a:pt x="1183" y="432"/>
                  <a:pt x="1183" y="432"/>
                  <a:pt x="1183" y="433"/>
                </a:cubicBezTo>
                <a:cubicBezTo>
                  <a:pt x="1182" y="433"/>
                  <a:pt x="1181" y="432"/>
                  <a:pt x="1180" y="433"/>
                </a:cubicBezTo>
                <a:cubicBezTo>
                  <a:pt x="1180" y="433"/>
                  <a:pt x="1180" y="433"/>
                  <a:pt x="1180" y="433"/>
                </a:cubicBezTo>
                <a:cubicBezTo>
                  <a:pt x="1181" y="434"/>
                  <a:pt x="1181" y="434"/>
                  <a:pt x="1181" y="434"/>
                </a:cubicBezTo>
                <a:cubicBezTo>
                  <a:pt x="1182" y="434"/>
                  <a:pt x="1182" y="434"/>
                  <a:pt x="1182" y="434"/>
                </a:cubicBezTo>
                <a:cubicBezTo>
                  <a:pt x="1182" y="434"/>
                  <a:pt x="1182" y="434"/>
                  <a:pt x="1182" y="434"/>
                </a:cubicBezTo>
                <a:cubicBezTo>
                  <a:pt x="1182" y="435"/>
                  <a:pt x="1183" y="435"/>
                  <a:pt x="1183" y="435"/>
                </a:cubicBezTo>
                <a:cubicBezTo>
                  <a:pt x="1183" y="435"/>
                  <a:pt x="1184" y="434"/>
                  <a:pt x="1184" y="435"/>
                </a:cubicBezTo>
                <a:cubicBezTo>
                  <a:pt x="1185" y="435"/>
                  <a:pt x="1184" y="436"/>
                  <a:pt x="1184" y="436"/>
                </a:cubicBezTo>
                <a:cubicBezTo>
                  <a:pt x="1184" y="436"/>
                  <a:pt x="1184" y="436"/>
                  <a:pt x="1184" y="436"/>
                </a:cubicBezTo>
                <a:cubicBezTo>
                  <a:pt x="1185" y="437"/>
                  <a:pt x="1185" y="438"/>
                  <a:pt x="1185" y="438"/>
                </a:cubicBezTo>
                <a:cubicBezTo>
                  <a:pt x="1185" y="439"/>
                  <a:pt x="1186" y="439"/>
                  <a:pt x="1186" y="439"/>
                </a:cubicBezTo>
                <a:cubicBezTo>
                  <a:pt x="1185" y="440"/>
                  <a:pt x="1185" y="440"/>
                  <a:pt x="1185" y="440"/>
                </a:cubicBezTo>
                <a:cubicBezTo>
                  <a:pt x="1185" y="441"/>
                  <a:pt x="1187" y="440"/>
                  <a:pt x="1187" y="441"/>
                </a:cubicBezTo>
                <a:cubicBezTo>
                  <a:pt x="1188" y="441"/>
                  <a:pt x="1189" y="441"/>
                  <a:pt x="1189" y="442"/>
                </a:cubicBezTo>
                <a:cubicBezTo>
                  <a:pt x="1188" y="441"/>
                  <a:pt x="1187" y="441"/>
                  <a:pt x="1186" y="441"/>
                </a:cubicBezTo>
                <a:cubicBezTo>
                  <a:pt x="1186" y="441"/>
                  <a:pt x="1185" y="441"/>
                  <a:pt x="1185" y="441"/>
                </a:cubicBezTo>
                <a:cubicBezTo>
                  <a:pt x="1185" y="442"/>
                  <a:pt x="1185" y="442"/>
                  <a:pt x="1184" y="442"/>
                </a:cubicBezTo>
                <a:cubicBezTo>
                  <a:pt x="1183" y="442"/>
                  <a:pt x="1183" y="442"/>
                  <a:pt x="1182" y="442"/>
                </a:cubicBezTo>
                <a:cubicBezTo>
                  <a:pt x="1181" y="442"/>
                  <a:pt x="1181" y="442"/>
                  <a:pt x="1181" y="442"/>
                </a:cubicBezTo>
                <a:cubicBezTo>
                  <a:pt x="1180" y="442"/>
                  <a:pt x="1180" y="442"/>
                  <a:pt x="1179" y="442"/>
                </a:cubicBezTo>
                <a:cubicBezTo>
                  <a:pt x="1179" y="442"/>
                  <a:pt x="1179" y="443"/>
                  <a:pt x="1178" y="443"/>
                </a:cubicBezTo>
                <a:cubicBezTo>
                  <a:pt x="1178" y="443"/>
                  <a:pt x="1178" y="443"/>
                  <a:pt x="1177" y="443"/>
                </a:cubicBezTo>
                <a:cubicBezTo>
                  <a:pt x="1178" y="443"/>
                  <a:pt x="1178" y="442"/>
                  <a:pt x="1179" y="442"/>
                </a:cubicBezTo>
                <a:cubicBezTo>
                  <a:pt x="1179" y="442"/>
                  <a:pt x="1179" y="442"/>
                  <a:pt x="1180" y="442"/>
                </a:cubicBezTo>
                <a:cubicBezTo>
                  <a:pt x="1180" y="442"/>
                  <a:pt x="1181" y="441"/>
                  <a:pt x="1181" y="441"/>
                </a:cubicBezTo>
                <a:cubicBezTo>
                  <a:pt x="1182" y="441"/>
                  <a:pt x="1182" y="441"/>
                  <a:pt x="1183" y="440"/>
                </a:cubicBezTo>
                <a:cubicBezTo>
                  <a:pt x="1183" y="440"/>
                  <a:pt x="1184" y="439"/>
                  <a:pt x="1184" y="439"/>
                </a:cubicBezTo>
                <a:cubicBezTo>
                  <a:pt x="1185" y="438"/>
                  <a:pt x="1185" y="437"/>
                  <a:pt x="1184" y="437"/>
                </a:cubicBezTo>
                <a:cubicBezTo>
                  <a:pt x="1184" y="437"/>
                  <a:pt x="1183" y="437"/>
                  <a:pt x="1183" y="437"/>
                </a:cubicBezTo>
                <a:cubicBezTo>
                  <a:pt x="1183" y="437"/>
                  <a:pt x="1183" y="436"/>
                  <a:pt x="1182" y="437"/>
                </a:cubicBezTo>
                <a:cubicBezTo>
                  <a:pt x="1182" y="437"/>
                  <a:pt x="1182" y="437"/>
                  <a:pt x="1181" y="437"/>
                </a:cubicBezTo>
                <a:cubicBezTo>
                  <a:pt x="1181" y="437"/>
                  <a:pt x="1181" y="436"/>
                  <a:pt x="1181" y="437"/>
                </a:cubicBezTo>
                <a:cubicBezTo>
                  <a:pt x="1180" y="437"/>
                  <a:pt x="1180" y="437"/>
                  <a:pt x="1180" y="437"/>
                </a:cubicBezTo>
                <a:cubicBezTo>
                  <a:pt x="1180" y="437"/>
                  <a:pt x="1179" y="437"/>
                  <a:pt x="1179" y="438"/>
                </a:cubicBezTo>
                <a:cubicBezTo>
                  <a:pt x="1179" y="438"/>
                  <a:pt x="1179" y="439"/>
                  <a:pt x="1180" y="439"/>
                </a:cubicBezTo>
                <a:cubicBezTo>
                  <a:pt x="1180" y="440"/>
                  <a:pt x="1179" y="440"/>
                  <a:pt x="1179" y="440"/>
                </a:cubicBezTo>
                <a:cubicBezTo>
                  <a:pt x="1178" y="440"/>
                  <a:pt x="1178" y="440"/>
                  <a:pt x="1177" y="441"/>
                </a:cubicBezTo>
                <a:cubicBezTo>
                  <a:pt x="1176" y="441"/>
                  <a:pt x="1176" y="441"/>
                  <a:pt x="1176" y="441"/>
                </a:cubicBezTo>
                <a:cubicBezTo>
                  <a:pt x="1175" y="441"/>
                  <a:pt x="1175" y="441"/>
                  <a:pt x="1175" y="441"/>
                </a:cubicBezTo>
                <a:cubicBezTo>
                  <a:pt x="1174" y="440"/>
                  <a:pt x="1173" y="441"/>
                  <a:pt x="1172" y="441"/>
                </a:cubicBezTo>
                <a:cubicBezTo>
                  <a:pt x="1172" y="441"/>
                  <a:pt x="1170" y="440"/>
                  <a:pt x="1170" y="441"/>
                </a:cubicBezTo>
                <a:cubicBezTo>
                  <a:pt x="1171" y="441"/>
                  <a:pt x="1171" y="441"/>
                  <a:pt x="1172" y="441"/>
                </a:cubicBezTo>
                <a:cubicBezTo>
                  <a:pt x="1172" y="442"/>
                  <a:pt x="1171" y="442"/>
                  <a:pt x="1171" y="442"/>
                </a:cubicBezTo>
                <a:cubicBezTo>
                  <a:pt x="1171" y="443"/>
                  <a:pt x="1173" y="443"/>
                  <a:pt x="1174" y="443"/>
                </a:cubicBezTo>
                <a:cubicBezTo>
                  <a:pt x="1174" y="443"/>
                  <a:pt x="1175" y="443"/>
                  <a:pt x="1174" y="444"/>
                </a:cubicBezTo>
                <a:cubicBezTo>
                  <a:pt x="1174" y="444"/>
                  <a:pt x="1173" y="444"/>
                  <a:pt x="1173" y="444"/>
                </a:cubicBezTo>
                <a:cubicBezTo>
                  <a:pt x="1172" y="444"/>
                  <a:pt x="1172" y="443"/>
                  <a:pt x="1172" y="444"/>
                </a:cubicBezTo>
                <a:cubicBezTo>
                  <a:pt x="1171" y="444"/>
                  <a:pt x="1172" y="444"/>
                  <a:pt x="1172" y="444"/>
                </a:cubicBezTo>
                <a:cubicBezTo>
                  <a:pt x="1173" y="444"/>
                  <a:pt x="1173" y="444"/>
                  <a:pt x="1173" y="445"/>
                </a:cubicBezTo>
                <a:cubicBezTo>
                  <a:pt x="1174" y="445"/>
                  <a:pt x="1174" y="445"/>
                  <a:pt x="1174" y="446"/>
                </a:cubicBezTo>
                <a:cubicBezTo>
                  <a:pt x="1174" y="446"/>
                  <a:pt x="1174" y="446"/>
                  <a:pt x="1173" y="447"/>
                </a:cubicBezTo>
                <a:cubicBezTo>
                  <a:pt x="1173" y="447"/>
                  <a:pt x="1172" y="447"/>
                  <a:pt x="1173" y="447"/>
                </a:cubicBezTo>
                <a:cubicBezTo>
                  <a:pt x="1173" y="447"/>
                  <a:pt x="1174" y="447"/>
                  <a:pt x="1174" y="447"/>
                </a:cubicBezTo>
                <a:cubicBezTo>
                  <a:pt x="1175" y="448"/>
                  <a:pt x="1174" y="448"/>
                  <a:pt x="1174" y="448"/>
                </a:cubicBezTo>
                <a:cubicBezTo>
                  <a:pt x="1174" y="448"/>
                  <a:pt x="1173" y="448"/>
                  <a:pt x="1173" y="448"/>
                </a:cubicBezTo>
                <a:cubicBezTo>
                  <a:pt x="1172" y="448"/>
                  <a:pt x="1173" y="449"/>
                  <a:pt x="1173" y="449"/>
                </a:cubicBezTo>
                <a:cubicBezTo>
                  <a:pt x="1174" y="450"/>
                  <a:pt x="1172" y="450"/>
                  <a:pt x="1172" y="450"/>
                </a:cubicBezTo>
                <a:cubicBezTo>
                  <a:pt x="1172" y="451"/>
                  <a:pt x="1173" y="451"/>
                  <a:pt x="1173" y="451"/>
                </a:cubicBezTo>
                <a:cubicBezTo>
                  <a:pt x="1174" y="451"/>
                  <a:pt x="1173" y="452"/>
                  <a:pt x="1173" y="452"/>
                </a:cubicBezTo>
                <a:cubicBezTo>
                  <a:pt x="1173" y="453"/>
                  <a:pt x="1174" y="453"/>
                  <a:pt x="1174" y="453"/>
                </a:cubicBezTo>
                <a:cubicBezTo>
                  <a:pt x="1175" y="453"/>
                  <a:pt x="1175" y="454"/>
                  <a:pt x="1176" y="454"/>
                </a:cubicBezTo>
                <a:cubicBezTo>
                  <a:pt x="1176" y="454"/>
                  <a:pt x="1177" y="453"/>
                  <a:pt x="1177" y="453"/>
                </a:cubicBezTo>
                <a:cubicBezTo>
                  <a:pt x="1177" y="453"/>
                  <a:pt x="1178" y="453"/>
                  <a:pt x="1178" y="453"/>
                </a:cubicBezTo>
                <a:cubicBezTo>
                  <a:pt x="1178" y="454"/>
                  <a:pt x="1177" y="453"/>
                  <a:pt x="1177" y="454"/>
                </a:cubicBezTo>
                <a:cubicBezTo>
                  <a:pt x="1177" y="454"/>
                  <a:pt x="1176" y="455"/>
                  <a:pt x="1176" y="455"/>
                </a:cubicBezTo>
                <a:cubicBezTo>
                  <a:pt x="1176" y="456"/>
                  <a:pt x="1177" y="455"/>
                  <a:pt x="1177" y="455"/>
                </a:cubicBezTo>
                <a:cubicBezTo>
                  <a:pt x="1177" y="455"/>
                  <a:pt x="1177" y="454"/>
                  <a:pt x="1177" y="454"/>
                </a:cubicBezTo>
                <a:cubicBezTo>
                  <a:pt x="1178" y="455"/>
                  <a:pt x="1178" y="455"/>
                  <a:pt x="1178" y="455"/>
                </a:cubicBezTo>
                <a:cubicBezTo>
                  <a:pt x="1178" y="456"/>
                  <a:pt x="1178" y="456"/>
                  <a:pt x="1177" y="456"/>
                </a:cubicBezTo>
                <a:cubicBezTo>
                  <a:pt x="1177" y="457"/>
                  <a:pt x="1177" y="457"/>
                  <a:pt x="1177" y="457"/>
                </a:cubicBezTo>
                <a:cubicBezTo>
                  <a:pt x="1177" y="458"/>
                  <a:pt x="1177" y="458"/>
                  <a:pt x="1178" y="459"/>
                </a:cubicBezTo>
                <a:cubicBezTo>
                  <a:pt x="1178" y="459"/>
                  <a:pt x="1178" y="459"/>
                  <a:pt x="1179" y="459"/>
                </a:cubicBezTo>
                <a:cubicBezTo>
                  <a:pt x="1179" y="459"/>
                  <a:pt x="1179" y="459"/>
                  <a:pt x="1179" y="460"/>
                </a:cubicBezTo>
                <a:cubicBezTo>
                  <a:pt x="1180" y="461"/>
                  <a:pt x="1182" y="458"/>
                  <a:pt x="1183" y="458"/>
                </a:cubicBezTo>
                <a:cubicBezTo>
                  <a:pt x="1183" y="459"/>
                  <a:pt x="1183" y="459"/>
                  <a:pt x="1184" y="459"/>
                </a:cubicBezTo>
                <a:cubicBezTo>
                  <a:pt x="1184" y="459"/>
                  <a:pt x="1184" y="459"/>
                  <a:pt x="1185" y="459"/>
                </a:cubicBezTo>
                <a:cubicBezTo>
                  <a:pt x="1185" y="459"/>
                  <a:pt x="1185" y="459"/>
                  <a:pt x="1185" y="460"/>
                </a:cubicBezTo>
                <a:cubicBezTo>
                  <a:pt x="1184" y="460"/>
                  <a:pt x="1183" y="460"/>
                  <a:pt x="1183" y="461"/>
                </a:cubicBezTo>
                <a:cubicBezTo>
                  <a:pt x="1183" y="462"/>
                  <a:pt x="1182" y="463"/>
                  <a:pt x="1183" y="463"/>
                </a:cubicBezTo>
                <a:cubicBezTo>
                  <a:pt x="1184" y="463"/>
                  <a:pt x="1184" y="464"/>
                  <a:pt x="1185" y="463"/>
                </a:cubicBezTo>
                <a:cubicBezTo>
                  <a:pt x="1185" y="463"/>
                  <a:pt x="1186" y="463"/>
                  <a:pt x="1186" y="463"/>
                </a:cubicBezTo>
                <a:cubicBezTo>
                  <a:pt x="1186" y="463"/>
                  <a:pt x="1187" y="461"/>
                  <a:pt x="1188" y="462"/>
                </a:cubicBezTo>
                <a:cubicBezTo>
                  <a:pt x="1188" y="463"/>
                  <a:pt x="1186" y="463"/>
                  <a:pt x="1186" y="464"/>
                </a:cubicBezTo>
                <a:cubicBezTo>
                  <a:pt x="1185" y="464"/>
                  <a:pt x="1185" y="465"/>
                  <a:pt x="1185" y="466"/>
                </a:cubicBezTo>
                <a:cubicBezTo>
                  <a:pt x="1185" y="466"/>
                  <a:pt x="1185" y="467"/>
                  <a:pt x="1186" y="466"/>
                </a:cubicBezTo>
                <a:cubicBezTo>
                  <a:pt x="1186" y="466"/>
                  <a:pt x="1186" y="465"/>
                  <a:pt x="1187" y="465"/>
                </a:cubicBezTo>
                <a:cubicBezTo>
                  <a:pt x="1187" y="465"/>
                  <a:pt x="1187" y="466"/>
                  <a:pt x="1187" y="466"/>
                </a:cubicBezTo>
                <a:cubicBezTo>
                  <a:pt x="1186" y="467"/>
                  <a:pt x="1186" y="467"/>
                  <a:pt x="1186" y="467"/>
                </a:cubicBezTo>
                <a:cubicBezTo>
                  <a:pt x="1186" y="468"/>
                  <a:pt x="1186" y="468"/>
                  <a:pt x="1187" y="468"/>
                </a:cubicBezTo>
                <a:cubicBezTo>
                  <a:pt x="1187" y="468"/>
                  <a:pt x="1187" y="467"/>
                  <a:pt x="1188" y="467"/>
                </a:cubicBezTo>
                <a:cubicBezTo>
                  <a:pt x="1188" y="467"/>
                  <a:pt x="1188" y="466"/>
                  <a:pt x="1188" y="466"/>
                </a:cubicBezTo>
                <a:cubicBezTo>
                  <a:pt x="1188" y="466"/>
                  <a:pt x="1189" y="466"/>
                  <a:pt x="1189" y="466"/>
                </a:cubicBezTo>
                <a:cubicBezTo>
                  <a:pt x="1189" y="468"/>
                  <a:pt x="1187" y="468"/>
                  <a:pt x="1186" y="470"/>
                </a:cubicBezTo>
                <a:cubicBezTo>
                  <a:pt x="1186" y="471"/>
                  <a:pt x="1186" y="472"/>
                  <a:pt x="1187" y="472"/>
                </a:cubicBezTo>
                <a:cubicBezTo>
                  <a:pt x="1187" y="473"/>
                  <a:pt x="1188" y="473"/>
                  <a:pt x="1189" y="473"/>
                </a:cubicBezTo>
                <a:cubicBezTo>
                  <a:pt x="1189" y="474"/>
                  <a:pt x="1190" y="474"/>
                  <a:pt x="1190" y="475"/>
                </a:cubicBezTo>
                <a:cubicBezTo>
                  <a:pt x="1191" y="475"/>
                  <a:pt x="1192" y="475"/>
                  <a:pt x="1192" y="475"/>
                </a:cubicBezTo>
                <a:cubicBezTo>
                  <a:pt x="1193" y="475"/>
                  <a:pt x="1193" y="476"/>
                  <a:pt x="1193" y="476"/>
                </a:cubicBezTo>
                <a:cubicBezTo>
                  <a:pt x="1194" y="476"/>
                  <a:pt x="1194" y="475"/>
                  <a:pt x="1194" y="475"/>
                </a:cubicBezTo>
                <a:cubicBezTo>
                  <a:pt x="1195" y="475"/>
                  <a:pt x="1195" y="475"/>
                  <a:pt x="1195" y="475"/>
                </a:cubicBezTo>
                <a:cubicBezTo>
                  <a:pt x="1195" y="475"/>
                  <a:pt x="1195" y="475"/>
                  <a:pt x="1196" y="476"/>
                </a:cubicBezTo>
                <a:cubicBezTo>
                  <a:pt x="1196" y="476"/>
                  <a:pt x="1196" y="476"/>
                  <a:pt x="1196" y="476"/>
                </a:cubicBezTo>
                <a:cubicBezTo>
                  <a:pt x="1197" y="476"/>
                  <a:pt x="1195" y="476"/>
                  <a:pt x="1195" y="476"/>
                </a:cubicBezTo>
                <a:cubicBezTo>
                  <a:pt x="1195" y="476"/>
                  <a:pt x="1195" y="477"/>
                  <a:pt x="1195" y="477"/>
                </a:cubicBezTo>
                <a:cubicBezTo>
                  <a:pt x="1194" y="477"/>
                  <a:pt x="1194" y="477"/>
                  <a:pt x="1194" y="477"/>
                </a:cubicBezTo>
                <a:cubicBezTo>
                  <a:pt x="1194" y="477"/>
                  <a:pt x="1193" y="477"/>
                  <a:pt x="1194" y="478"/>
                </a:cubicBezTo>
                <a:cubicBezTo>
                  <a:pt x="1194" y="478"/>
                  <a:pt x="1194" y="477"/>
                  <a:pt x="1194" y="477"/>
                </a:cubicBezTo>
                <a:cubicBezTo>
                  <a:pt x="1195" y="477"/>
                  <a:pt x="1195" y="477"/>
                  <a:pt x="1195" y="477"/>
                </a:cubicBezTo>
                <a:cubicBezTo>
                  <a:pt x="1196" y="478"/>
                  <a:pt x="1196" y="478"/>
                  <a:pt x="1196" y="477"/>
                </a:cubicBezTo>
                <a:cubicBezTo>
                  <a:pt x="1196" y="477"/>
                  <a:pt x="1196" y="477"/>
                  <a:pt x="1197" y="477"/>
                </a:cubicBezTo>
                <a:cubicBezTo>
                  <a:pt x="1197" y="477"/>
                  <a:pt x="1197" y="478"/>
                  <a:pt x="1196" y="478"/>
                </a:cubicBezTo>
                <a:cubicBezTo>
                  <a:pt x="1196" y="479"/>
                  <a:pt x="1196" y="479"/>
                  <a:pt x="1195" y="478"/>
                </a:cubicBezTo>
                <a:cubicBezTo>
                  <a:pt x="1195" y="478"/>
                  <a:pt x="1195" y="478"/>
                  <a:pt x="1194" y="478"/>
                </a:cubicBezTo>
                <a:cubicBezTo>
                  <a:pt x="1194" y="478"/>
                  <a:pt x="1194" y="478"/>
                  <a:pt x="1194" y="479"/>
                </a:cubicBezTo>
                <a:cubicBezTo>
                  <a:pt x="1194" y="479"/>
                  <a:pt x="1194" y="479"/>
                  <a:pt x="1194" y="479"/>
                </a:cubicBezTo>
                <a:cubicBezTo>
                  <a:pt x="1194" y="479"/>
                  <a:pt x="1194" y="479"/>
                  <a:pt x="1194" y="480"/>
                </a:cubicBezTo>
                <a:cubicBezTo>
                  <a:pt x="1193" y="480"/>
                  <a:pt x="1193" y="480"/>
                  <a:pt x="1194" y="480"/>
                </a:cubicBezTo>
                <a:cubicBezTo>
                  <a:pt x="1194" y="480"/>
                  <a:pt x="1195" y="480"/>
                  <a:pt x="1195" y="480"/>
                </a:cubicBezTo>
                <a:cubicBezTo>
                  <a:pt x="1195" y="480"/>
                  <a:pt x="1195" y="479"/>
                  <a:pt x="1196" y="479"/>
                </a:cubicBezTo>
                <a:cubicBezTo>
                  <a:pt x="1197" y="478"/>
                  <a:pt x="1197" y="481"/>
                  <a:pt x="1199" y="480"/>
                </a:cubicBezTo>
                <a:cubicBezTo>
                  <a:pt x="1199" y="480"/>
                  <a:pt x="1199" y="479"/>
                  <a:pt x="1199" y="479"/>
                </a:cubicBezTo>
                <a:cubicBezTo>
                  <a:pt x="1200" y="478"/>
                  <a:pt x="1200" y="479"/>
                  <a:pt x="1200" y="479"/>
                </a:cubicBezTo>
                <a:cubicBezTo>
                  <a:pt x="1201" y="479"/>
                  <a:pt x="1201" y="479"/>
                  <a:pt x="1201" y="479"/>
                </a:cubicBezTo>
                <a:cubicBezTo>
                  <a:pt x="1202" y="479"/>
                  <a:pt x="1202" y="479"/>
                  <a:pt x="1202" y="479"/>
                </a:cubicBezTo>
                <a:cubicBezTo>
                  <a:pt x="1202" y="479"/>
                  <a:pt x="1201" y="479"/>
                  <a:pt x="1201" y="480"/>
                </a:cubicBezTo>
                <a:cubicBezTo>
                  <a:pt x="1200" y="480"/>
                  <a:pt x="1200" y="480"/>
                  <a:pt x="1199" y="481"/>
                </a:cubicBezTo>
                <a:cubicBezTo>
                  <a:pt x="1198" y="481"/>
                  <a:pt x="1198" y="481"/>
                  <a:pt x="1197" y="482"/>
                </a:cubicBezTo>
                <a:cubicBezTo>
                  <a:pt x="1197" y="482"/>
                  <a:pt x="1196" y="483"/>
                  <a:pt x="1196" y="483"/>
                </a:cubicBezTo>
                <a:cubicBezTo>
                  <a:pt x="1197" y="484"/>
                  <a:pt x="1198" y="482"/>
                  <a:pt x="1199" y="483"/>
                </a:cubicBezTo>
                <a:cubicBezTo>
                  <a:pt x="1199" y="483"/>
                  <a:pt x="1198" y="484"/>
                  <a:pt x="1198" y="484"/>
                </a:cubicBezTo>
                <a:cubicBezTo>
                  <a:pt x="1198" y="484"/>
                  <a:pt x="1199" y="483"/>
                  <a:pt x="1199" y="483"/>
                </a:cubicBezTo>
                <a:cubicBezTo>
                  <a:pt x="1200" y="483"/>
                  <a:pt x="1200" y="482"/>
                  <a:pt x="1201" y="482"/>
                </a:cubicBezTo>
                <a:cubicBezTo>
                  <a:pt x="1201" y="481"/>
                  <a:pt x="1202" y="480"/>
                  <a:pt x="1203" y="480"/>
                </a:cubicBezTo>
                <a:cubicBezTo>
                  <a:pt x="1203" y="481"/>
                  <a:pt x="1202" y="481"/>
                  <a:pt x="1202" y="482"/>
                </a:cubicBezTo>
                <a:cubicBezTo>
                  <a:pt x="1201" y="482"/>
                  <a:pt x="1201" y="482"/>
                  <a:pt x="1201" y="483"/>
                </a:cubicBezTo>
                <a:cubicBezTo>
                  <a:pt x="1201" y="483"/>
                  <a:pt x="1200" y="483"/>
                  <a:pt x="1200" y="483"/>
                </a:cubicBezTo>
                <a:cubicBezTo>
                  <a:pt x="1200" y="483"/>
                  <a:pt x="1200" y="484"/>
                  <a:pt x="1200" y="484"/>
                </a:cubicBezTo>
                <a:cubicBezTo>
                  <a:pt x="1199" y="485"/>
                  <a:pt x="1199" y="485"/>
                  <a:pt x="1200" y="485"/>
                </a:cubicBezTo>
                <a:cubicBezTo>
                  <a:pt x="1200" y="485"/>
                  <a:pt x="1200" y="485"/>
                  <a:pt x="1201" y="485"/>
                </a:cubicBezTo>
                <a:cubicBezTo>
                  <a:pt x="1201" y="485"/>
                  <a:pt x="1201" y="486"/>
                  <a:pt x="1201" y="486"/>
                </a:cubicBezTo>
                <a:cubicBezTo>
                  <a:pt x="1200" y="487"/>
                  <a:pt x="1201" y="487"/>
                  <a:pt x="1201" y="487"/>
                </a:cubicBezTo>
                <a:cubicBezTo>
                  <a:pt x="1202" y="487"/>
                  <a:pt x="1202" y="487"/>
                  <a:pt x="1203" y="487"/>
                </a:cubicBezTo>
                <a:cubicBezTo>
                  <a:pt x="1203" y="487"/>
                  <a:pt x="1203" y="487"/>
                  <a:pt x="1204" y="487"/>
                </a:cubicBezTo>
                <a:cubicBezTo>
                  <a:pt x="1205" y="487"/>
                  <a:pt x="1203" y="488"/>
                  <a:pt x="1203" y="488"/>
                </a:cubicBezTo>
                <a:cubicBezTo>
                  <a:pt x="1203" y="488"/>
                  <a:pt x="1202" y="488"/>
                  <a:pt x="1202" y="488"/>
                </a:cubicBezTo>
                <a:cubicBezTo>
                  <a:pt x="1201" y="488"/>
                  <a:pt x="1201" y="488"/>
                  <a:pt x="1200" y="488"/>
                </a:cubicBezTo>
                <a:cubicBezTo>
                  <a:pt x="1200" y="488"/>
                  <a:pt x="1200" y="488"/>
                  <a:pt x="1199" y="488"/>
                </a:cubicBezTo>
                <a:cubicBezTo>
                  <a:pt x="1199" y="488"/>
                  <a:pt x="1198" y="488"/>
                  <a:pt x="1198" y="488"/>
                </a:cubicBezTo>
                <a:cubicBezTo>
                  <a:pt x="1198" y="488"/>
                  <a:pt x="1199" y="488"/>
                  <a:pt x="1199" y="488"/>
                </a:cubicBezTo>
                <a:cubicBezTo>
                  <a:pt x="1200" y="489"/>
                  <a:pt x="1200" y="489"/>
                  <a:pt x="1201" y="489"/>
                </a:cubicBezTo>
                <a:cubicBezTo>
                  <a:pt x="1202" y="489"/>
                  <a:pt x="1203" y="489"/>
                  <a:pt x="1204" y="489"/>
                </a:cubicBezTo>
                <a:cubicBezTo>
                  <a:pt x="1204" y="489"/>
                  <a:pt x="1205" y="488"/>
                  <a:pt x="1206" y="488"/>
                </a:cubicBezTo>
                <a:cubicBezTo>
                  <a:pt x="1206" y="488"/>
                  <a:pt x="1207" y="488"/>
                  <a:pt x="1207" y="488"/>
                </a:cubicBezTo>
                <a:cubicBezTo>
                  <a:pt x="1208" y="489"/>
                  <a:pt x="1207" y="489"/>
                  <a:pt x="1206" y="489"/>
                </a:cubicBezTo>
                <a:cubicBezTo>
                  <a:pt x="1206" y="489"/>
                  <a:pt x="1205" y="490"/>
                  <a:pt x="1204" y="490"/>
                </a:cubicBezTo>
                <a:cubicBezTo>
                  <a:pt x="1204" y="490"/>
                  <a:pt x="1204" y="490"/>
                  <a:pt x="1203" y="490"/>
                </a:cubicBezTo>
                <a:cubicBezTo>
                  <a:pt x="1203" y="490"/>
                  <a:pt x="1202" y="490"/>
                  <a:pt x="1202" y="490"/>
                </a:cubicBezTo>
                <a:cubicBezTo>
                  <a:pt x="1202" y="490"/>
                  <a:pt x="1201" y="490"/>
                  <a:pt x="1201" y="490"/>
                </a:cubicBezTo>
                <a:cubicBezTo>
                  <a:pt x="1201" y="491"/>
                  <a:pt x="1202" y="491"/>
                  <a:pt x="1202" y="491"/>
                </a:cubicBezTo>
                <a:cubicBezTo>
                  <a:pt x="1203" y="491"/>
                  <a:pt x="1203" y="490"/>
                  <a:pt x="1204" y="490"/>
                </a:cubicBezTo>
                <a:cubicBezTo>
                  <a:pt x="1205" y="490"/>
                  <a:pt x="1205" y="490"/>
                  <a:pt x="1205" y="491"/>
                </a:cubicBezTo>
                <a:cubicBezTo>
                  <a:pt x="1206" y="491"/>
                  <a:pt x="1206" y="491"/>
                  <a:pt x="1206" y="491"/>
                </a:cubicBezTo>
                <a:cubicBezTo>
                  <a:pt x="1207" y="491"/>
                  <a:pt x="1207" y="491"/>
                  <a:pt x="1207" y="491"/>
                </a:cubicBezTo>
                <a:cubicBezTo>
                  <a:pt x="1208" y="491"/>
                  <a:pt x="1207" y="492"/>
                  <a:pt x="1207" y="492"/>
                </a:cubicBezTo>
                <a:cubicBezTo>
                  <a:pt x="1207" y="493"/>
                  <a:pt x="1207" y="493"/>
                  <a:pt x="1206" y="493"/>
                </a:cubicBezTo>
                <a:cubicBezTo>
                  <a:pt x="1206" y="493"/>
                  <a:pt x="1205" y="493"/>
                  <a:pt x="1205" y="493"/>
                </a:cubicBezTo>
                <a:cubicBezTo>
                  <a:pt x="1205" y="494"/>
                  <a:pt x="1207" y="494"/>
                  <a:pt x="1207" y="494"/>
                </a:cubicBezTo>
                <a:cubicBezTo>
                  <a:pt x="1208" y="494"/>
                  <a:pt x="1208" y="494"/>
                  <a:pt x="1208" y="494"/>
                </a:cubicBezTo>
                <a:cubicBezTo>
                  <a:pt x="1208" y="495"/>
                  <a:pt x="1208" y="495"/>
                  <a:pt x="1208" y="496"/>
                </a:cubicBezTo>
                <a:cubicBezTo>
                  <a:pt x="1208" y="496"/>
                  <a:pt x="1208" y="496"/>
                  <a:pt x="1208" y="496"/>
                </a:cubicBezTo>
                <a:cubicBezTo>
                  <a:pt x="1208" y="495"/>
                  <a:pt x="1208" y="495"/>
                  <a:pt x="1209" y="495"/>
                </a:cubicBezTo>
                <a:cubicBezTo>
                  <a:pt x="1209" y="494"/>
                  <a:pt x="1209" y="494"/>
                  <a:pt x="1209" y="494"/>
                </a:cubicBezTo>
                <a:cubicBezTo>
                  <a:pt x="1210" y="493"/>
                  <a:pt x="1211" y="493"/>
                  <a:pt x="1211" y="493"/>
                </a:cubicBezTo>
                <a:cubicBezTo>
                  <a:pt x="1212" y="492"/>
                  <a:pt x="1212" y="492"/>
                  <a:pt x="1212" y="492"/>
                </a:cubicBezTo>
                <a:cubicBezTo>
                  <a:pt x="1213" y="492"/>
                  <a:pt x="1212" y="493"/>
                  <a:pt x="1212" y="493"/>
                </a:cubicBezTo>
                <a:cubicBezTo>
                  <a:pt x="1211" y="493"/>
                  <a:pt x="1211" y="493"/>
                  <a:pt x="1210" y="494"/>
                </a:cubicBezTo>
                <a:cubicBezTo>
                  <a:pt x="1210" y="494"/>
                  <a:pt x="1210" y="494"/>
                  <a:pt x="1210" y="495"/>
                </a:cubicBezTo>
                <a:cubicBezTo>
                  <a:pt x="1210" y="495"/>
                  <a:pt x="1210" y="495"/>
                  <a:pt x="1210" y="495"/>
                </a:cubicBezTo>
                <a:cubicBezTo>
                  <a:pt x="1210" y="496"/>
                  <a:pt x="1212" y="496"/>
                  <a:pt x="1212" y="496"/>
                </a:cubicBezTo>
                <a:cubicBezTo>
                  <a:pt x="1213" y="496"/>
                  <a:pt x="1214" y="495"/>
                  <a:pt x="1214" y="496"/>
                </a:cubicBezTo>
                <a:cubicBezTo>
                  <a:pt x="1214" y="496"/>
                  <a:pt x="1213" y="496"/>
                  <a:pt x="1213" y="497"/>
                </a:cubicBezTo>
                <a:cubicBezTo>
                  <a:pt x="1213" y="497"/>
                  <a:pt x="1213" y="497"/>
                  <a:pt x="1212" y="497"/>
                </a:cubicBezTo>
                <a:cubicBezTo>
                  <a:pt x="1211" y="497"/>
                  <a:pt x="1211" y="498"/>
                  <a:pt x="1210" y="498"/>
                </a:cubicBezTo>
                <a:cubicBezTo>
                  <a:pt x="1210" y="498"/>
                  <a:pt x="1209" y="497"/>
                  <a:pt x="1209" y="497"/>
                </a:cubicBezTo>
                <a:cubicBezTo>
                  <a:pt x="1208" y="498"/>
                  <a:pt x="1209" y="498"/>
                  <a:pt x="1209" y="498"/>
                </a:cubicBezTo>
                <a:cubicBezTo>
                  <a:pt x="1209" y="498"/>
                  <a:pt x="1210" y="498"/>
                  <a:pt x="1210" y="498"/>
                </a:cubicBezTo>
                <a:cubicBezTo>
                  <a:pt x="1211" y="498"/>
                  <a:pt x="1211" y="498"/>
                  <a:pt x="1211" y="498"/>
                </a:cubicBezTo>
                <a:cubicBezTo>
                  <a:pt x="1212" y="498"/>
                  <a:pt x="1212" y="498"/>
                  <a:pt x="1213" y="498"/>
                </a:cubicBezTo>
                <a:cubicBezTo>
                  <a:pt x="1213" y="498"/>
                  <a:pt x="1213" y="498"/>
                  <a:pt x="1214" y="498"/>
                </a:cubicBezTo>
                <a:cubicBezTo>
                  <a:pt x="1214" y="498"/>
                  <a:pt x="1215" y="498"/>
                  <a:pt x="1215" y="498"/>
                </a:cubicBezTo>
                <a:cubicBezTo>
                  <a:pt x="1215" y="499"/>
                  <a:pt x="1214" y="499"/>
                  <a:pt x="1214" y="499"/>
                </a:cubicBezTo>
                <a:cubicBezTo>
                  <a:pt x="1213" y="499"/>
                  <a:pt x="1213" y="499"/>
                  <a:pt x="1213" y="499"/>
                </a:cubicBezTo>
                <a:cubicBezTo>
                  <a:pt x="1213" y="500"/>
                  <a:pt x="1212" y="500"/>
                  <a:pt x="1212" y="500"/>
                </a:cubicBezTo>
                <a:cubicBezTo>
                  <a:pt x="1211" y="500"/>
                  <a:pt x="1210" y="500"/>
                  <a:pt x="1210" y="501"/>
                </a:cubicBezTo>
                <a:cubicBezTo>
                  <a:pt x="1211" y="501"/>
                  <a:pt x="1211" y="500"/>
                  <a:pt x="1212" y="500"/>
                </a:cubicBezTo>
                <a:cubicBezTo>
                  <a:pt x="1212" y="500"/>
                  <a:pt x="1213" y="500"/>
                  <a:pt x="1214" y="500"/>
                </a:cubicBezTo>
                <a:cubicBezTo>
                  <a:pt x="1214" y="500"/>
                  <a:pt x="1214" y="500"/>
                  <a:pt x="1215" y="500"/>
                </a:cubicBezTo>
                <a:cubicBezTo>
                  <a:pt x="1215" y="501"/>
                  <a:pt x="1215" y="500"/>
                  <a:pt x="1216" y="501"/>
                </a:cubicBezTo>
                <a:cubicBezTo>
                  <a:pt x="1216" y="501"/>
                  <a:pt x="1216" y="501"/>
                  <a:pt x="1217" y="501"/>
                </a:cubicBezTo>
                <a:cubicBezTo>
                  <a:pt x="1218" y="501"/>
                  <a:pt x="1218" y="501"/>
                  <a:pt x="1219" y="501"/>
                </a:cubicBezTo>
                <a:cubicBezTo>
                  <a:pt x="1219" y="501"/>
                  <a:pt x="1220" y="501"/>
                  <a:pt x="1220" y="501"/>
                </a:cubicBezTo>
                <a:cubicBezTo>
                  <a:pt x="1221" y="500"/>
                  <a:pt x="1219" y="500"/>
                  <a:pt x="1218" y="499"/>
                </a:cubicBezTo>
                <a:cubicBezTo>
                  <a:pt x="1218" y="499"/>
                  <a:pt x="1220" y="499"/>
                  <a:pt x="1220" y="499"/>
                </a:cubicBezTo>
                <a:cubicBezTo>
                  <a:pt x="1221" y="499"/>
                  <a:pt x="1224" y="498"/>
                  <a:pt x="1224" y="499"/>
                </a:cubicBezTo>
                <a:cubicBezTo>
                  <a:pt x="1224" y="499"/>
                  <a:pt x="1223" y="500"/>
                  <a:pt x="1223" y="500"/>
                </a:cubicBezTo>
                <a:cubicBezTo>
                  <a:pt x="1223" y="500"/>
                  <a:pt x="1224" y="500"/>
                  <a:pt x="1224" y="500"/>
                </a:cubicBezTo>
                <a:cubicBezTo>
                  <a:pt x="1224" y="500"/>
                  <a:pt x="1224" y="501"/>
                  <a:pt x="1225" y="501"/>
                </a:cubicBezTo>
                <a:cubicBezTo>
                  <a:pt x="1225" y="501"/>
                  <a:pt x="1225" y="501"/>
                  <a:pt x="1225" y="501"/>
                </a:cubicBezTo>
                <a:cubicBezTo>
                  <a:pt x="1226" y="501"/>
                  <a:pt x="1227" y="501"/>
                  <a:pt x="1227" y="500"/>
                </a:cubicBezTo>
                <a:cubicBezTo>
                  <a:pt x="1227" y="500"/>
                  <a:pt x="1227" y="499"/>
                  <a:pt x="1228" y="498"/>
                </a:cubicBezTo>
                <a:cubicBezTo>
                  <a:pt x="1228" y="498"/>
                  <a:pt x="1228" y="498"/>
                  <a:pt x="1229" y="498"/>
                </a:cubicBezTo>
                <a:cubicBezTo>
                  <a:pt x="1229" y="498"/>
                  <a:pt x="1230" y="498"/>
                  <a:pt x="1230" y="498"/>
                </a:cubicBezTo>
                <a:cubicBezTo>
                  <a:pt x="1230" y="497"/>
                  <a:pt x="1231" y="497"/>
                  <a:pt x="1231" y="497"/>
                </a:cubicBezTo>
                <a:cubicBezTo>
                  <a:pt x="1231" y="497"/>
                  <a:pt x="1231" y="497"/>
                  <a:pt x="1232" y="497"/>
                </a:cubicBezTo>
                <a:cubicBezTo>
                  <a:pt x="1233" y="497"/>
                  <a:pt x="1234" y="497"/>
                  <a:pt x="1235" y="497"/>
                </a:cubicBezTo>
                <a:cubicBezTo>
                  <a:pt x="1236" y="496"/>
                  <a:pt x="1236" y="496"/>
                  <a:pt x="1236" y="496"/>
                </a:cubicBezTo>
                <a:cubicBezTo>
                  <a:pt x="1236" y="496"/>
                  <a:pt x="1237" y="496"/>
                  <a:pt x="1237" y="496"/>
                </a:cubicBezTo>
                <a:cubicBezTo>
                  <a:pt x="1238" y="495"/>
                  <a:pt x="1235" y="494"/>
                  <a:pt x="1236" y="493"/>
                </a:cubicBezTo>
                <a:cubicBezTo>
                  <a:pt x="1237" y="493"/>
                  <a:pt x="1237" y="493"/>
                  <a:pt x="1237" y="492"/>
                </a:cubicBezTo>
                <a:cubicBezTo>
                  <a:pt x="1237" y="492"/>
                  <a:pt x="1238" y="492"/>
                  <a:pt x="1237" y="493"/>
                </a:cubicBezTo>
                <a:cubicBezTo>
                  <a:pt x="1237" y="493"/>
                  <a:pt x="1236" y="494"/>
                  <a:pt x="1237" y="494"/>
                </a:cubicBezTo>
                <a:cubicBezTo>
                  <a:pt x="1237" y="494"/>
                  <a:pt x="1238" y="494"/>
                  <a:pt x="1238" y="495"/>
                </a:cubicBezTo>
                <a:cubicBezTo>
                  <a:pt x="1238" y="495"/>
                  <a:pt x="1238" y="495"/>
                  <a:pt x="1238" y="496"/>
                </a:cubicBezTo>
                <a:cubicBezTo>
                  <a:pt x="1238" y="496"/>
                  <a:pt x="1238" y="496"/>
                  <a:pt x="1238" y="497"/>
                </a:cubicBezTo>
                <a:cubicBezTo>
                  <a:pt x="1238" y="497"/>
                  <a:pt x="1237" y="497"/>
                  <a:pt x="1237" y="497"/>
                </a:cubicBezTo>
                <a:cubicBezTo>
                  <a:pt x="1237" y="497"/>
                  <a:pt x="1236" y="498"/>
                  <a:pt x="1236" y="498"/>
                </a:cubicBezTo>
                <a:cubicBezTo>
                  <a:pt x="1236" y="498"/>
                  <a:pt x="1235" y="498"/>
                  <a:pt x="1235" y="498"/>
                </a:cubicBezTo>
                <a:cubicBezTo>
                  <a:pt x="1235" y="498"/>
                  <a:pt x="1234" y="498"/>
                  <a:pt x="1234" y="498"/>
                </a:cubicBezTo>
                <a:cubicBezTo>
                  <a:pt x="1234" y="498"/>
                  <a:pt x="1235" y="499"/>
                  <a:pt x="1235" y="499"/>
                </a:cubicBezTo>
                <a:cubicBezTo>
                  <a:pt x="1236" y="499"/>
                  <a:pt x="1236" y="499"/>
                  <a:pt x="1237" y="498"/>
                </a:cubicBezTo>
                <a:cubicBezTo>
                  <a:pt x="1237" y="498"/>
                  <a:pt x="1238" y="498"/>
                  <a:pt x="1238" y="498"/>
                </a:cubicBezTo>
                <a:cubicBezTo>
                  <a:pt x="1239" y="498"/>
                  <a:pt x="1241" y="497"/>
                  <a:pt x="1241" y="495"/>
                </a:cubicBezTo>
                <a:cubicBezTo>
                  <a:pt x="1241" y="494"/>
                  <a:pt x="1241" y="494"/>
                  <a:pt x="1242" y="494"/>
                </a:cubicBezTo>
                <a:cubicBezTo>
                  <a:pt x="1242" y="495"/>
                  <a:pt x="1242" y="495"/>
                  <a:pt x="1242" y="495"/>
                </a:cubicBezTo>
                <a:cubicBezTo>
                  <a:pt x="1242" y="495"/>
                  <a:pt x="1242" y="495"/>
                  <a:pt x="1243" y="496"/>
                </a:cubicBezTo>
                <a:cubicBezTo>
                  <a:pt x="1243" y="496"/>
                  <a:pt x="1243" y="497"/>
                  <a:pt x="1242" y="497"/>
                </a:cubicBezTo>
                <a:cubicBezTo>
                  <a:pt x="1242" y="497"/>
                  <a:pt x="1242" y="497"/>
                  <a:pt x="1241" y="497"/>
                </a:cubicBezTo>
                <a:cubicBezTo>
                  <a:pt x="1241" y="498"/>
                  <a:pt x="1240" y="498"/>
                  <a:pt x="1240" y="499"/>
                </a:cubicBezTo>
                <a:cubicBezTo>
                  <a:pt x="1239" y="499"/>
                  <a:pt x="1238" y="499"/>
                  <a:pt x="1237" y="499"/>
                </a:cubicBezTo>
                <a:cubicBezTo>
                  <a:pt x="1237" y="499"/>
                  <a:pt x="1237" y="499"/>
                  <a:pt x="1236" y="500"/>
                </a:cubicBezTo>
                <a:cubicBezTo>
                  <a:pt x="1236" y="500"/>
                  <a:pt x="1235" y="500"/>
                  <a:pt x="1235" y="500"/>
                </a:cubicBezTo>
                <a:cubicBezTo>
                  <a:pt x="1234" y="500"/>
                  <a:pt x="1234" y="501"/>
                  <a:pt x="1233" y="501"/>
                </a:cubicBezTo>
                <a:cubicBezTo>
                  <a:pt x="1233" y="501"/>
                  <a:pt x="1232" y="502"/>
                  <a:pt x="1233" y="502"/>
                </a:cubicBezTo>
                <a:cubicBezTo>
                  <a:pt x="1233" y="502"/>
                  <a:pt x="1234" y="502"/>
                  <a:pt x="1234" y="502"/>
                </a:cubicBezTo>
                <a:cubicBezTo>
                  <a:pt x="1234" y="502"/>
                  <a:pt x="1235" y="502"/>
                  <a:pt x="1235" y="502"/>
                </a:cubicBezTo>
                <a:cubicBezTo>
                  <a:pt x="1235" y="501"/>
                  <a:pt x="1235" y="501"/>
                  <a:pt x="1235" y="501"/>
                </a:cubicBezTo>
                <a:cubicBezTo>
                  <a:pt x="1236" y="500"/>
                  <a:pt x="1236" y="500"/>
                  <a:pt x="1237" y="500"/>
                </a:cubicBezTo>
                <a:cubicBezTo>
                  <a:pt x="1237" y="501"/>
                  <a:pt x="1237" y="501"/>
                  <a:pt x="1237" y="501"/>
                </a:cubicBezTo>
                <a:cubicBezTo>
                  <a:pt x="1237" y="501"/>
                  <a:pt x="1237" y="501"/>
                  <a:pt x="1237" y="501"/>
                </a:cubicBezTo>
                <a:cubicBezTo>
                  <a:pt x="1236" y="502"/>
                  <a:pt x="1238" y="502"/>
                  <a:pt x="1238" y="502"/>
                </a:cubicBezTo>
                <a:cubicBezTo>
                  <a:pt x="1239" y="502"/>
                  <a:pt x="1239" y="502"/>
                  <a:pt x="1239" y="501"/>
                </a:cubicBezTo>
                <a:cubicBezTo>
                  <a:pt x="1239" y="501"/>
                  <a:pt x="1240" y="501"/>
                  <a:pt x="1240" y="501"/>
                </a:cubicBezTo>
                <a:cubicBezTo>
                  <a:pt x="1241" y="501"/>
                  <a:pt x="1241" y="500"/>
                  <a:pt x="1241" y="500"/>
                </a:cubicBezTo>
                <a:cubicBezTo>
                  <a:pt x="1242" y="499"/>
                  <a:pt x="1242" y="498"/>
                  <a:pt x="1243" y="498"/>
                </a:cubicBezTo>
                <a:cubicBezTo>
                  <a:pt x="1243" y="499"/>
                  <a:pt x="1242" y="499"/>
                  <a:pt x="1242" y="500"/>
                </a:cubicBezTo>
                <a:cubicBezTo>
                  <a:pt x="1241" y="500"/>
                  <a:pt x="1241" y="501"/>
                  <a:pt x="1241" y="501"/>
                </a:cubicBezTo>
                <a:cubicBezTo>
                  <a:pt x="1241" y="501"/>
                  <a:pt x="1240" y="501"/>
                  <a:pt x="1240" y="502"/>
                </a:cubicBezTo>
                <a:cubicBezTo>
                  <a:pt x="1239" y="502"/>
                  <a:pt x="1239" y="502"/>
                  <a:pt x="1238" y="502"/>
                </a:cubicBezTo>
                <a:cubicBezTo>
                  <a:pt x="1238" y="503"/>
                  <a:pt x="1237" y="502"/>
                  <a:pt x="1237" y="503"/>
                </a:cubicBezTo>
                <a:cubicBezTo>
                  <a:pt x="1237" y="503"/>
                  <a:pt x="1238" y="503"/>
                  <a:pt x="1238" y="503"/>
                </a:cubicBezTo>
                <a:cubicBezTo>
                  <a:pt x="1239" y="504"/>
                  <a:pt x="1237" y="504"/>
                  <a:pt x="1237" y="504"/>
                </a:cubicBezTo>
                <a:cubicBezTo>
                  <a:pt x="1237" y="504"/>
                  <a:pt x="1236" y="505"/>
                  <a:pt x="1236" y="505"/>
                </a:cubicBezTo>
                <a:cubicBezTo>
                  <a:pt x="1237" y="505"/>
                  <a:pt x="1237" y="505"/>
                  <a:pt x="1237" y="505"/>
                </a:cubicBezTo>
                <a:cubicBezTo>
                  <a:pt x="1238" y="505"/>
                  <a:pt x="1238" y="505"/>
                  <a:pt x="1238" y="505"/>
                </a:cubicBezTo>
                <a:cubicBezTo>
                  <a:pt x="1239" y="505"/>
                  <a:pt x="1240" y="505"/>
                  <a:pt x="1240" y="505"/>
                </a:cubicBezTo>
                <a:cubicBezTo>
                  <a:pt x="1241" y="505"/>
                  <a:pt x="1241" y="505"/>
                  <a:pt x="1241" y="505"/>
                </a:cubicBezTo>
                <a:cubicBezTo>
                  <a:pt x="1242" y="505"/>
                  <a:pt x="1242" y="504"/>
                  <a:pt x="1242" y="504"/>
                </a:cubicBezTo>
                <a:cubicBezTo>
                  <a:pt x="1243" y="504"/>
                  <a:pt x="1242" y="503"/>
                  <a:pt x="1243" y="503"/>
                </a:cubicBezTo>
                <a:cubicBezTo>
                  <a:pt x="1243" y="503"/>
                  <a:pt x="1244" y="503"/>
                  <a:pt x="1244" y="503"/>
                </a:cubicBezTo>
                <a:cubicBezTo>
                  <a:pt x="1244" y="504"/>
                  <a:pt x="1243" y="504"/>
                  <a:pt x="1243" y="504"/>
                </a:cubicBezTo>
                <a:cubicBezTo>
                  <a:pt x="1243" y="504"/>
                  <a:pt x="1242" y="504"/>
                  <a:pt x="1242" y="505"/>
                </a:cubicBezTo>
                <a:cubicBezTo>
                  <a:pt x="1242" y="505"/>
                  <a:pt x="1242" y="505"/>
                  <a:pt x="1242" y="505"/>
                </a:cubicBezTo>
                <a:cubicBezTo>
                  <a:pt x="1242" y="506"/>
                  <a:pt x="1242" y="506"/>
                  <a:pt x="1242" y="506"/>
                </a:cubicBezTo>
                <a:cubicBezTo>
                  <a:pt x="1242" y="506"/>
                  <a:pt x="1242" y="506"/>
                  <a:pt x="1242" y="506"/>
                </a:cubicBezTo>
                <a:cubicBezTo>
                  <a:pt x="1243" y="506"/>
                  <a:pt x="1243" y="506"/>
                  <a:pt x="1243" y="505"/>
                </a:cubicBezTo>
                <a:cubicBezTo>
                  <a:pt x="1244" y="505"/>
                  <a:pt x="1244" y="505"/>
                  <a:pt x="1244" y="505"/>
                </a:cubicBezTo>
                <a:cubicBezTo>
                  <a:pt x="1244" y="504"/>
                  <a:pt x="1245" y="504"/>
                  <a:pt x="1245" y="505"/>
                </a:cubicBezTo>
                <a:cubicBezTo>
                  <a:pt x="1245" y="505"/>
                  <a:pt x="1245" y="505"/>
                  <a:pt x="1244" y="505"/>
                </a:cubicBezTo>
                <a:cubicBezTo>
                  <a:pt x="1244" y="505"/>
                  <a:pt x="1244" y="505"/>
                  <a:pt x="1244" y="506"/>
                </a:cubicBezTo>
                <a:cubicBezTo>
                  <a:pt x="1244" y="506"/>
                  <a:pt x="1244" y="506"/>
                  <a:pt x="1244" y="506"/>
                </a:cubicBezTo>
                <a:cubicBezTo>
                  <a:pt x="1244" y="506"/>
                  <a:pt x="1243" y="507"/>
                  <a:pt x="1244" y="507"/>
                </a:cubicBezTo>
                <a:cubicBezTo>
                  <a:pt x="1244" y="507"/>
                  <a:pt x="1245" y="507"/>
                  <a:pt x="1245" y="507"/>
                </a:cubicBezTo>
                <a:cubicBezTo>
                  <a:pt x="1245" y="507"/>
                  <a:pt x="1245" y="508"/>
                  <a:pt x="1246" y="508"/>
                </a:cubicBezTo>
                <a:cubicBezTo>
                  <a:pt x="1246" y="508"/>
                  <a:pt x="1246" y="507"/>
                  <a:pt x="1246" y="507"/>
                </a:cubicBezTo>
                <a:cubicBezTo>
                  <a:pt x="1246" y="507"/>
                  <a:pt x="1247" y="507"/>
                  <a:pt x="1247" y="507"/>
                </a:cubicBezTo>
                <a:cubicBezTo>
                  <a:pt x="1247" y="506"/>
                  <a:pt x="1247" y="506"/>
                  <a:pt x="1248" y="506"/>
                </a:cubicBezTo>
                <a:cubicBezTo>
                  <a:pt x="1248" y="505"/>
                  <a:pt x="1248" y="505"/>
                  <a:pt x="1248" y="505"/>
                </a:cubicBezTo>
                <a:cubicBezTo>
                  <a:pt x="1249" y="505"/>
                  <a:pt x="1249" y="504"/>
                  <a:pt x="1249" y="504"/>
                </a:cubicBezTo>
                <a:cubicBezTo>
                  <a:pt x="1249" y="504"/>
                  <a:pt x="1249" y="504"/>
                  <a:pt x="1250" y="503"/>
                </a:cubicBezTo>
                <a:cubicBezTo>
                  <a:pt x="1250" y="503"/>
                  <a:pt x="1250" y="502"/>
                  <a:pt x="1250" y="503"/>
                </a:cubicBezTo>
                <a:cubicBezTo>
                  <a:pt x="1250" y="503"/>
                  <a:pt x="1250" y="504"/>
                  <a:pt x="1250" y="504"/>
                </a:cubicBezTo>
                <a:cubicBezTo>
                  <a:pt x="1249" y="504"/>
                  <a:pt x="1249" y="504"/>
                  <a:pt x="1249" y="505"/>
                </a:cubicBezTo>
                <a:cubicBezTo>
                  <a:pt x="1249" y="505"/>
                  <a:pt x="1249" y="505"/>
                  <a:pt x="1249" y="506"/>
                </a:cubicBezTo>
                <a:cubicBezTo>
                  <a:pt x="1248" y="506"/>
                  <a:pt x="1248" y="506"/>
                  <a:pt x="1248" y="506"/>
                </a:cubicBezTo>
                <a:cubicBezTo>
                  <a:pt x="1247" y="506"/>
                  <a:pt x="1248" y="507"/>
                  <a:pt x="1248" y="507"/>
                </a:cubicBezTo>
                <a:cubicBezTo>
                  <a:pt x="1248" y="508"/>
                  <a:pt x="1247" y="508"/>
                  <a:pt x="1247" y="509"/>
                </a:cubicBezTo>
                <a:cubicBezTo>
                  <a:pt x="1247" y="509"/>
                  <a:pt x="1247" y="509"/>
                  <a:pt x="1246" y="510"/>
                </a:cubicBezTo>
                <a:cubicBezTo>
                  <a:pt x="1246" y="510"/>
                  <a:pt x="1246" y="510"/>
                  <a:pt x="1245" y="511"/>
                </a:cubicBezTo>
                <a:cubicBezTo>
                  <a:pt x="1245" y="511"/>
                  <a:pt x="1245" y="511"/>
                  <a:pt x="1244" y="511"/>
                </a:cubicBezTo>
                <a:cubicBezTo>
                  <a:pt x="1244" y="512"/>
                  <a:pt x="1244" y="512"/>
                  <a:pt x="1245" y="512"/>
                </a:cubicBezTo>
                <a:cubicBezTo>
                  <a:pt x="1246" y="512"/>
                  <a:pt x="1247" y="512"/>
                  <a:pt x="1246" y="513"/>
                </a:cubicBezTo>
                <a:cubicBezTo>
                  <a:pt x="1246" y="513"/>
                  <a:pt x="1245" y="513"/>
                  <a:pt x="1245" y="513"/>
                </a:cubicBezTo>
                <a:cubicBezTo>
                  <a:pt x="1245" y="514"/>
                  <a:pt x="1245" y="513"/>
                  <a:pt x="1246" y="514"/>
                </a:cubicBezTo>
                <a:cubicBezTo>
                  <a:pt x="1246" y="514"/>
                  <a:pt x="1247" y="515"/>
                  <a:pt x="1247" y="514"/>
                </a:cubicBezTo>
                <a:cubicBezTo>
                  <a:pt x="1247" y="514"/>
                  <a:pt x="1247" y="513"/>
                  <a:pt x="1248" y="513"/>
                </a:cubicBezTo>
                <a:cubicBezTo>
                  <a:pt x="1248" y="513"/>
                  <a:pt x="1248" y="513"/>
                  <a:pt x="1248" y="514"/>
                </a:cubicBezTo>
                <a:cubicBezTo>
                  <a:pt x="1248" y="515"/>
                  <a:pt x="1249" y="515"/>
                  <a:pt x="1250" y="515"/>
                </a:cubicBezTo>
                <a:cubicBezTo>
                  <a:pt x="1250" y="515"/>
                  <a:pt x="1251" y="515"/>
                  <a:pt x="1251" y="515"/>
                </a:cubicBezTo>
                <a:cubicBezTo>
                  <a:pt x="1252" y="515"/>
                  <a:pt x="1252" y="514"/>
                  <a:pt x="1253" y="513"/>
                </a:cubicBezTo>
                <a:cubicBezTo>
                  <a:pt x="1253" y="513"/>
                  <a:pt x="1253" y="512"/>
                  <a:pt x="1253" y="512"/>
                </a:cubicBezTo>
                <a:cubicBezTo>
                  <a:pt x="1254" y="512"/>
                  <a:pt x="1254" y="512"/>
                  <a:pt x="1254" y="512"/>
                </a:cubicBezTo>
                <a:cubicBezTo>
                  <a:pt x="1256" y="512"/>
                  <a:pt x="1255" y="510"/>
                  <a:pt x="1255" y="510"/>
                </a:cubicBezTo>
                <a:cubicBezTo>
                  <a:pt x="1256" y="510"/>
                  <a:pt x="1256" y="510"/>
                  <a:pt x="1256" y="510"/>
                </a:cubicBezTo>
                <a:cubicBezTo>
                  <a:pt x="1256" y="509"/>
                  <a:pt x="1256" y="509"/>
                  <a:pt x="1256" y="509"/>
                </a:cubicBezTo>
                <a:cubicBezTo>
                  <a:pt x="1256" y="509"/>
                  <a:pt x="1257" y="508"/>
                  <a:pt x="1257" y="509"/>
                </a:cubicBezTo>
                <a:cubicBezTo>
                  <a:pt x="1257" y="509"/>
                  <a:pt x="1257" y="510"/>
                  <a:pt x="1257" y="510"/>
                </a:cubicBezTo>
                <a:cubicBezTo>
                  <a:pt x="1257" y="511"/>
                  <a:pt x="1257" y="511"/>
                  <a:pt x="1256" y="511"/>
                </a:cubicBezTo>
                <a:cubicBezTo>
                  <a:pt x="1256" y="511"/>
                  <a:pt x="1256" y="511"/>
                  <a:pt x="1256" y="512"/>
                </a:cubicBezTo>
                <a:cubicBezTo>
                  <a:pt x="1257" y="512"/>
                  <a:pt x="1257" y="513"/>
                  <a:pt x="1258" y="513"/>
                </a:cubicBezTo>
                <a:cubicBezTo>
                  <a:pt x="1258" y="514"/>
                  <a:pt x="1259" y="514"/>
                  <a:pt x="1259" y="515"/>
                </a:cubicBezTo>
                <a:cubicBezTo>
                  <a:pt x="1260" y="515"/>
                  <a:pt x="1261" y="515"/>
                  <a:pt x="1262" y="516"/>
                </a:cubicBezTo>
                <a:cubicBezTo>
                  <a:pt x="1262" y="516"/>
                  <a:pt x="1262" y="516"/>
                  <a:pt x="1262" y="516"/>
                </a:cubicBezTo>
                <a:cubicBezTo>
                  <a:pt x="1263" y="516"/>
                  <a:pt x="1264" y="516"/>
                  <a:pt x="1264" y="515"/>
                </a:cubicBezTo>
                <a:cubicBezTo>
                  <a:pt x="1264" y="515"/>
                  <a:pt x="1263" y="515"/>
                  <a:pt x="1264" y="514"/>
                </a:cubicBezTo>
                <a:cubicBezTo>
                  <a:pt x="1264" y="514"/>
                  <a:pt x="1265" y="515"/>
                  <a:pt x="1266" y="515"/>
                </a:cubicBezTo>
                <a:cubicBezTo>
                  <a:pt x="1266" y="515"/>
                  <a:pt x="1266" y="515"/>
                  <a:pt x="1267" y="515"/>
                </a:cubicBezTo>
                <a:cubicBezTo>
                  <a:pt x="1267" y="515"/>
                  <a:pt x="1268" y="516"/>
                  <a:pt x="1268" y="515"/>
                </a:cubicBezTo>
                <a:cubicBezTo>
                  <a:pt x="1268" y="515"/>
                  <a:pt x="1267" y="514"/>
                  <a:pt x="1266" y="514"/>
                </a:cubicBezTo>
                <a:cubicBezTo>
                  <a:pt x="1266" y="514"/>
                  <a:pt x="1265" y="514"/>
                  <a:pt x="1265" y="514"/>
                </a:cubicBezTo>
                <a:cubicBezTo>
                  <a:pt x="1265" y="513"/>
                  <a:pt x="1265" y="513"/>
                  <a:pt x="1266" y="513"/>
                </a:cubicBezTo>
                <a:cubicBezTo>
                  <a:pt x="1266" y="513"/>
                  <a:pt x="1269" y="514"/>
                  <a:pt x="1269" y="513"/>
                </a:cubicBezTo>
                <a:cubicBezTo>
                  <a:pt x="1269" y="512"/>
                  <a:pt x="1268" y="512"/>
                  <a:pt x="1268" y="512"/>
                </a:cubicBezTo>
                <a:cubicBezTo>
                  <a:pt x="1268" y="512"/>
                  <a:pt x="1268" y="511"/>
                  <a:pt x="1268" y="511"/>
                </a:cubicBezTo>
                <a:cubicBezTo>
                  <a:pt x="1268" y="511"/>
                  <a:pt x="1268" y="511"/>
                  <a:pt x="1268" y="511"/>
                </a:cubicBezTo>
                <a:cubicBezTo>
                  <a:pt x="1268" y="510"/>
                  <a:pt x="1268" y="510"/>
                  <a:pt x="1268" y="510"/>
                </a:cubicBezTo>
                <a:cubicBezTo>
                  <a:pt x="1268" y="510"/>
                  <a:pt x="1268" y="509"/>
                  <a:pt x="1268" y="509"/>
                </a:cubicBezTo>
                <a:cubicBezTo>
                  <a:pt x="1268" y="508"/>
                  <a:pt x="1267" y="508"/>
                  <a:pt x="1267" y="508"/>
                </a:cubicBezTo>
                <a:cubicBezTo>
                  <a:pt x="1267" y="509"/>
                  <a:pt x="1266" y="509"/>
                  <a:pt x="1266" y="509"/>
                </a:cubicBezTo>
                <a:cubicBezTo>
                  <a:pt x="1265" y="509"/>
                  <a:pt x="1265" y="509"/>
                  <a:pt x="1265" y="509"/>
                </a:cubicBezTo>
                <a:cubicBezTo>
                  <a:pt x="1265" y="509"/>
                  <a:pt x="1265" y="509"/>
                  <a:pt x="1264" y="509"/>
                </a:cubicBezTo>
                <a:cubicBezTo>
                  <a:pt x="1264" y="509"/>
                  <a:pt x="1264" y="508"/>
                  <a:pt x="1264" y="508"/>
                </a:cubicBezTo>
                <a:cubicBezTo>
                  <a:pt x="1265" y="508"/>
                  <a:pt x="1265" y="508"/>
                  <a:pt x="1266" y="508"/>
                </a:cubicBezTo>
                <a:cubicBezTo>
                  <a:pt x="1266" y="507"/>
                  <a:pt x="1265" y="507"/>
                  <a:pt x="1264" y="507"/>
                </a:cubicBezTo>
                <a:cubicBezTo>
                  <a:pt x="1264" y="507"/>
                  <a:pt x="1264" y="506"/>
                  <a:pt x="1263" y="506"/>
                </a:cubicBezTo>
                <a:cubicBezTo>
                  <a:pt x="1262" y="506"/>
                  <a:pt x="1260" y="506"/>
                  <a:pt x="1260" y="505"/>
                </a:cubicBezTo>
                <a:cubicBezTo>
                  <a:pt x="1260" y="505"/>
                  <a:pt x="1261" y="505"/>
                  <a:pt x="1261" y="506"/>
                </a:cubicBezTo>
                <a:cubicBezTo>
                  <a:pt x="1261" y="506"/>
                  <a:pt x="1262" y="506"/>
                  <a:pt x="1262" y="506"/>
                </a:cubicBezTo>
                <a:cubicBezTo>
                  <a:pt x="1262" y="505"/>
                  <a:pt x="1261" y="504"/>
                  <a:pt x="1262" y="504"/>
                </a:cubicBezTo>
                <a:cubicBezTo>
                  <a:pt x="1262" y="504"/>
                  <a:pt x="1263" y="505"/>
                  <a:pt x="1263" y="506"/>
                </a:cubicBezTo>
                <a:cubicBezTo>
                  <a:pt x="1263" y="506"/>
                  <a:pt x="1264" y="506"/>
                  <a:pt x="1264" y="506"/>
                </a:cubicBezTo>
                <a:cubicBezTo>
                  <a:pt x="1265" y="506"/>
                  <a:pt x="1265" y="507"/>
                  <a:pt x="1266" y="507"/>
                </a:cubicBezTo>
                <a:cubicBezTo>
                  <a:pt x="1266" y="507"/>
                  <a:pt x="1267" y="507"/>
                  <a:pt x="1267" y="507"/>
                </a:cubicBezTo>
                <a:cubicBezTo>
                  <a:pt x="1267" y="507"/>
                  <a:pt x="1267" y="507"/>
                  <a:pt x="1267" y="506"/>
                </a:cubicBezTo>
                <a:cubicBezTo>
                  <a:pt x="1267" y="506"/>
                  <a:pt x="1267" y="506"/>
                  <a:pt x="1267" y="506"/>
                </a:cubicBezTo>
                <a:cubicBezTo>
                  <a:pt x="1267" y="505"/>
                  <a:pt x="1267" y="506"/>
                  <a:pt x="1268" y="506"/>
                </a:cubicBezTo>
                <a:cubicBezTo>
                  <a:pt x="1268" y="507"/>
                  <a:pt x="1269" y="506"/>
                  <a:pt x="1269" y="506"/>
                </a:cubicBezTo>
                <a:cubicBezTo>
                  <a:pt x="1270" y="506"/>
                  <a:pt x="1270" y="506"/>
                  <a:pt x="1271" y="505"/>
                </a:cubicBezTo>
                <a:cubicBezTo>
                  <a:pt x="1271" y="505"/>
                  <a:pt x="1270" y="505"/>
                  <a:pt x="1270" y="505"/>
                </a:cubicBezTo>
                <a:cubicBezTo>
                  <a:pt x="1270" y="504"/>
                  <a:pt x="1269" y="504"/>
                  <a:pt x="1269" y="504"/>
                </a:cubicBezTo>
                <a:cubicBezTo>
                  <a:pt x="1269" y="504"/>
                  <a:pt x="1268" y="504"/>
                  <a:pt x="1268" y="504"/>
                </a:cubicBezTo>
                <a:cubicBezTo>
                  <a:pt x="1268" y="504"/>
                  <a:pt x="1269" y="504"/>
                  <a:pt x="1269" y="504"/>
                </a:cubicBezTo>
                <a:cubicBezTo>
                  <a:pt x="1269" y="504"/>
                  <a:pt x="1270" y="504"/>
                  <a:pt x="1270" y="504"/>
                </a:cubicBezTo>
                <a:cubicBezTo>
                  <a:pt x="1270" y="503"/>
                  <a:pt x="1270" y="503"/>
                  <a:pt x="1271" y="503"/>
                </a:cubicBezTo>
                <a:cubicBezTo>
                  <a:pt x="1271" y="503"/>
                  <a:pt x="1271" y="503"/>
                  <a:pt x="1271" y="503"/>
                </a:cubicBezTo>
                <a:cubicBezTo>
                  <a:pt x="1272" y="503"/>
                  <a:pt x="1272" y="503"/>
                  <a:pt x="1272" y="503"/>
                </a:cubicBezTo>
                <a:cubicBezTo>
                  <a:pt x="1272" y="503"/>
                  <a:pt x="1271" y="503"/>
                  <a:pt x="1271" y="502"/>
                </a:cubicBezTo>
                <a:cubicBezTo>
                  <a:pt x="1271" y="502"/>
                  <a:pt x="1272" y="502"/>
                  <a:pt x="1271" y="501"/>
                </a:cubicBezTo>
                <a:cubicBezTo>
                  <a:pt x="1271" y="501"/>
                  <a:pt x="1271" y="501"/>
                  <a:pt x="1270" y="501"/>
                </a:cubicBezTo>
                <a:cubicBezTo>
                  <a:pt x="1270" y="500"/>
                  <a:pt x="1270" y="500"/>
                  <a:pt x="1269" y="500"/>
                </a:cubicBezTo>
                <a:cubicBezTo>
                  <a:pt x="1269" y="500"/>
                  <a:pt x="1268" y="500"/>
                  <a:pt x="1269" y="500"/>
                </a:cubicBezTo>
                <a:cubicBezTo>
                  <a:pt x="1269" y="499"/>
                  <a:pt x="1270" y="500"/>
                  <a:pt x="1270" y="500"/>
                </a:cubicBezTo>
                <a:cubicBezTo>
                  <a:pt x="1271" y="500"/>
                  <a:pt x="1271" y="499"/>
                  <a:pt x="1272" y="499"/>
                </a:cubicBezTo>
                <a:cubicBezTo>
                  <a:pt x="1272" y="499"/>
                  <a:pt x="1272" y="499"/>
                  <a:pt x="1273" y="499"/>
                </a:cubicBezTo>
                <a:cubicBezTo>
                  <a:pt x="1273" y="499"/>
                  <a:pt x="1273" y="498"/>
                  <a:pt x="1273" y="498"/>
                </a:cubicBezTo>
                <a:cubicBezTo>
                  <a:pt x="1273" y="498"/>
                  <a:pt x="1273" y="498"/>
                  <a:pt x="1272" y="497"/>
                </a:cubicBezTo>
                <a:cubicBezTo>
                  <a:pt x="1272" y="497"/>
                  <a:pt x="1272" y="497"/>
                  <a:pt x="1272" y="497"/>
                </a:cubicBezTo>
                <a:cubicBezTo>
                  <a:pt x="1271" y="496"/>
                  <a:pt x="1271" y="496"/>
                  <a:pt x="1270" y="496"/>
                </a:cubicBezTo>
                <a:cubicBezTo>
                  <a:pt x="1269" y="496"/>
                  <a:pt x="1269" y="496"/>
                  <a:pt x="1269" y="496"/>
                </a:cubicBezTo>
                <a:cubicBezTo>
                  <a:pt x="1270" y="496"/>
                  <a:pt x="1270" y="496"/>
                  <a:pt x="1271" y="496"/>
                </a:cubicBezTo>
                <a:cubicBezTo>
                  <a:pt x="1271" y="496"/>
                  <a:pt x="1273" y="496"/>
                  <a:pt x="1272" y="495"/>
                </a:cubicBezTo>
                <a:cubicBezTo>
                  <a:pt x="1272" y="495"/>
                  <a:pt x="1272" y="495"/>
                  <a:pt x="1271" y="495"/>
                </a:cubicBezTo>
                <a:cubicBezTo>
                  <a:pt x="1271" y="495"/>
                  <a:pt x="1270" y="494"/>
                  <a:pt x="1271" y="494"/>
                </a:cubicBezTo>
                <a:cubicBezTo>
                  <a:pt x="1271" y="494"/>
                  <a:pt x="1272" y="494"/>
                  <a:pt x="1272" y="494"/>
                </a:cubicBezTo>
                <a:cubicBezTo>
                  <a:pt x="1273" y="494"/>
                  <a:pt x="1273" y="494"/>
                  <a:pt x="1273" y="494"/>
                </a:cubicBezTo>
                <a:cubicBezTo>
                  <a:pt x="1274" y="494"/>
                  <a:pt x="1274" y="494"/>
                  <a:pt x="1274" y="494"/>
                </a:cubicBezTo>
                <a:cubicBezTo>
                  <a:pt x="1274" y="493"/>
                  <a:pt x="1274" y="493"/>
                  <a:pt x="1273" y="493"/>
                </a:cubicBezTo>
                <a:cubicBezTo>
                  <a:pt x="1273" y="493"/>
                  <a:pt x="1272" y="494"/>
                  <a:pt x="1272" y="493"/>
                </a:cubicBezTo>
                <a:cubicBezTo>
                  <a:pt x="1272" y="493"/>
                  <a:pt x="1272" y="493"/>
                  <a:pt x="1272" y="493"/>
                </a:cubicBezTo>
                <a:cubicBezTo>
                  <a:pt x="1271" y="493"/>
                  <a:pt x="1271" y="493"/>
                  <a:pt x="1271" y="493"/>
                </a:cubicBezTo>
                <a:cubicBezTo>
                  <a:pt x="1271" y="492"/>
                  <a:pt x="1272" y="492"/>
                  <a:pt x="1272" y="492"/>
                </a:cubicBezTo>
                <a:cubicBezTo>
                  <a:pt x="1273" y="492"/>
                  <a:pt x="1274" y="493"/>
                  <a:pt x="1274" y="492"/>
                </a:cubicBezTo>
                <a:cubicBezTo>
                  <a:pt x="1274" y="492"/>
                  <a:pt x="1275" y="492"/>
                  <a:pt x="1275" y="492"/>
                </a:cubicBezTo>
                <a:cubicBezTo>
                  <a:pt x="1276" y="491"/>
                  <a:pt x="1276" y="491"/>
                  <a:pt x="1275" y="490"/>
                </a:cubicBezTo>
                <a:cubicBezTo>
                  <a:pt x="1275" y="490"/>
                  <a:pt x="1275" y="490"/>
                  <a:pt x="1275" y="489"/>
                </a:cubicBezTo>
                <a:cubicBezTo>
                  <a:pt x="1275" y="489"/>
                  <a:pt x="1275" y="489"/>
                  <a:pt x="1275" y="489"/>
                </a:cubicBezTo>
                <a:cubicBezTo>
                  <a:pt x="1275" y="488"/>
                  <a:pt x="1276" y="489"/>
                  <a:pt x="1276" y="488"/>
                </a:cubicBezTo>
                <a:cubicBezTo>
                  <a:pt x="1276" y="488"/>
                  <a:pt x="1276" y="488"/>
                  <a:pt x="1276" y="487"/>
                </a:cubicBezTo>
                <a:cubicBezTo>
                  <a:pt x="1277" y="487"/>
                  <a:pt x="1277" y="487"/>
                  <a:pt x="1277" y="487"/>
                </a:cubicBezTo>
                <a:cubicBezTo>
                  <a:pt x="1277" y="486"/>
                  <a:pt x="1277" y="486"/>
                  <a:pt x="1276" y="486"/>
                </a:cubicBezTo>
                <a:cubicBezTo>
                  <a:pt x="1276" y="486"/>
                  <a:pt x="1276" y="486"/>
                  <a:pt x="1275" y="486"/>
                </a:cubicBezTo>
                <a:cubicBezTo>
                  <a:pt x="1275" y="486"/>
                  <a:pt x="1274" y="486"/>
                  <a:pt x="1274" y="485"/>
                </a:cubicBezTo>
                <a:cubicBezTo>
                  <a:pt x="1274" y="485"/>
                  <a:pt x="1276" y="485"/>
                  <a:pt x="1276" y="485"/>
                </a:cubicBezTo>
                <a:cubicBezTo>
                  <a:pt x="1277" y="485"/>
                  <a:pt x="1278" y="484"/>
                  <a:pt x="1278" y="483"/>
                </a:cubicBezTo>
                <a:cubicBezTo>
                  <a:pt x="1278" y="483"/>
                  <a:pt x="1277" y="483"/>
                  <a:pt x="1277" y="482"/>
                </a:cubicBezTo>
                <a:cubicBezTo>
                  <a:pt x="1277" y="482"/>
                  <a:pt x="1278" y="482"/>
                  <a:pt x="1278" y="482"/>
                </a:cubicBezTo>
                <a:cubicBezTo>
                  <a:pt x="1278" y="482"/>
                  <a:pt x="1279" y="482"/>
                  <a:pt x="1279" y="481"/>
                </a:cubicBezTo>
                <a:cubicBezTo>
                  <a:pt x="1279" y="480"/>
                  <a:pt x="1278" y="481"/>
                  <a:pt x="1278" y="480"/>
                </a:cubicBezTo>
                <a:cubicBezTo>
                  <a:pt x="1278" y="480"/>
                  <a:pt x="1278" y="480"/>
                  <a:pt x="1277" y="480"/>
                </a:cubicBezTo>
                <a:cubicBezTo>
                  <a:pt x="1277" y="480"/>
                  <a:pt x="1276" y="480"/>
                  <a:pt x="1276" y="480"/>
                </a:cubicBezTo>
                <a:cubicBezTo>
                  <a:pt x="1276" y="481"/>
                  <a:pt x="1276" y="481"/>
                  <a:pt x="1275" y="481"/>
                </a:cubicBezTo>
                <a:cubicBezTo>
                  <a:pt x="1275" y="481"/>
                  <a:pt x="1276" y="479"/>
                  <a:pt x="1276" y="479"/>
                </a:cubicBezTo>
                <a:cubicBezTo>
                  <a:pt x="1276" y="479"/>
                  <a:pt x="1276" y="478"/>
                  <a:pt x="1277" y="478"/>
                </a:cubicBezTo>
                <a:cubicBezTo>
                  <a:pt x="1277" y="478"/>
                  <a:pt x="1277" y="477"/>
                  <a:pt x="1277" y="477"/>
                </a:cubicBezTo>
                <a:cubicBezTo>
                  <a:pt x="1277" y="476"/>
                  <a:pt x="1277" y="476"/>
                  <a:pt x="1277" y="476"/>
                </a:cubicBezTo>
                <a:cubicBezTo>
                  <a:pt x="1277" y="476"/>
                  <a:pt x="1277" y="475"/>
                  <a:pt x="1277" y="475"/>
                </a:cubicBezTo>
                <a:cubicBezTo>
                  <a:pt x="1277" y="475"/>
                  <a:pt x="1277" y="474"/>
                  <a:pt x="1276" y="474"/>
                </a:cubicBezTo>
                <a:cubicBezTo>
                  <a:pt x="1275" y="474"/>
                  <a:pt x="1274" y="474"/>
                  <a:pt x="1274" y="474"/>
                </a:cubicBezTo>
                <a:cubicBezTo>
                  <a:pt x="1273" y="474"/>
                  <a:pt x="1273" y="473"/>
                  <a:pt x="1272" y="472"/>
                </a:cubicBezTo>
                <a:cubicBezTo>
                  <a:pt x="1271" y="472"/>
                  <a:pt x="1271" y="472"/>
                  <a:pt x="1271" y="472"/>
                </a:cubicBezTo>
                <a:cubicBezTo>
                  <a:pt x="1270" y="472"/>
                  <a:pt x="1270" y="471"/>
                  <a:pt x="1270" y="471"/>
                </a:cubicBezTo>
                <a:cubicBezTo>
                  <a:pt x="1271" y="471"/>
                  <a:pt x="1271" y="472"/>
                  <a:pt x="1272" y="472"/>
                </a:cubicBezTo>
                <a:cubicBezTo>
                  <a:pt x="1272" y="472"/>
                  <a:pt x="1272" y="472"/>
                  <a:pt x="1273" y="472"/>
                </a:cubicBezTo>
                <a:cubicBezTo>
                  <a:pt x="1273" y="472"/>
                  <a:pt x="1273" y="472"/>
                  <a:pt x="1273" y="473"/>
                </a:cubicBezTo>
                <a:cubicBezTo>
                  <a:pt x="1274" y="473"/>
                  <a:pt x="1274" y="473"/>
                  <a:pt x="1274" y="473"/>
                </a:cubicBezTo>
                <a:cubicBezTo>
                  <a:pt x="1275" y="473"/>
                  <a:pt x="1276" y="473"/>
                  <a:pt x="1276" y="474"/>
                </a:cubicBezTo>
                <a:cubicBezTo>
                  <a:pt x="1277" y="474"/>
                  <a:pt x="1277" y="474"/>
                  <a:pt x="1278" y="474"/>
                </a:cubicBezTo>
                <a:cubicBezTo>
                  <a:pt x="1278" y="474"/>
                  <a:pt x="1279" y="474"/>
                  <a:pt x="1279" y="473"/>
                </a:cubicBezTo>
                <a:cubicBezTo>
                  <a:pt x="1278" y="473"/>
                  <a:pt x="1277" y="473"/>
                  <a:pt x="1277" y="473"/>
                </a:cubicBezTo>
                <a:cubicBezTo>
                  <a:pt x="1276" y="472"/>
                  <a:pt x="1275" y="472"/>
                  <a:pt x="1275" y="471"/>
                </a:cubicBezTo>
                <a:cubicBezTo>
                  <a:pt x="1275" y="471"/>
                  <a:pt x="1277" y="472"/>
                  <a:pt x="1277" y="471"/>
                </a:cubicBezTo>
                <a:cubicBezTo>
                  <a:pt x="1277" y="471"/>
                  <a:pt x="1277" y="471"/>
                  <a:pt x="1277" y="471"/>
                </a:cubicBezTo>
                <a:cubicBezTo>
                  <a:pt x="1276" y="470"/>
                  <a:pt x="1276" y="470"/>
                  <a:pt x="1275" y="470"/>
                </a:cubicBezTo>
                <a:cubicBezTo>
                  <a:pt x="1274" y="470"/>
                  <a:pt x="1273" y="470"/>
                  <a:pt x="1273" y="469"/>
                </a:cubicBezTo>
                <a:cubicBezTo>
                  <a:pt x="1272" y="469"/>
                  <a:pt x="1272" y="469"/>
                  <a:pt x="1272" y="469"/>
                </a:cubicBezTo>
                <a:cubicBezTo>
                  <a:pt x="1271" y="468"/>
                  <a:pt x="1271" y="468"/>
                  <a:pt x="1270" y="468"/>
                </a:cubicBezTo>
                <a:cubicBezTo>
                  <a:pt x="1270" y="468"/>
                  <a:pt x="1268" y="468"/>
                  <a:pt x="1268" y="467"/>
                </a:cubicBezTo>
                <a:cubicBezTo>
                  <a:pt x="1269" y="467"/>
                  <a:pt x="1271" y="468"/>
                  <a:pt x="1272" y="468"/>
                </a:cubicBezTo>
                <a:cubicBezTo>
                  <a:pt x="1272" y="468"/>
                  <a:pt x="1273" y="468"/>
                  <a:pt x="1273" y="468"/>
                </a:cubicBezTo>
                <a:cubicBezTo>
                  <a:pt x="1274" y="468"/>
                  <a:pt x="1274" y="468"/>
                  <a:pt x="1275" y="467"/>
                </a:cubicBezTo>
                <a:cubicBezTo>
                  <a:pt x="1275" y="467"/>
                  <a:pt x="1275" y="466"/>
                  <a:pt x="1274" y="466"/>
                </a:cubicBezTo>
                <a:cubicBezTo>
                  <a:pt x="1274" y="465"/>
                  <a:pt x="1275" y="465"/>
                  <a:pt x="1275" y="465"/>
                </a:cubicBezTo>
                <a:cubicBezTo>
                  <a:pt x="1276" y="464"/>
                  <a:pt x="1277" y="463"/>
                  <a:pt x="1277" y="464"/>
                </a:cubicBezTo>
                <a:cubicBezTo>
                  <a:pt x="1277" y="465"/>
                  <a:pt x="1277" y="465"/>
                  <a:pt x="1277" y="465"/>
                </a:cubicBezTo>
                <a:cubicBezTo>
                  <a:pt x="1277" y="466"/>
                  <a:pt x="1278" y="466"/>
                  <a:pt x="1278" y="466"/>
                </a:cubicBezTo>
                <a:cubicBezTo>
                  <a:pt x="1278" y="466"/>
                  <a:pt x="1279" y="466"/>
                  <a:pt x="1278" y="466"/>
                </a:cubicBezTo>
                <a:cubicBezTo>
                  <a:pt x="1278" y="467"/>
                  <a:pt x="1278" y="467"/>
                  <a:pt x="1277" y="467"/>
                </a:cubicBezTo>
                <a:cubicBezTo>
                  <a:pt x="1277" y="467"/>
                  <a:pt x="1277" y="467"/>
                  <a:pt x="1276" y="468"/>
                </a:cubicBezTo>
                <a:cubicBezTo>
                  <a:pt x="1276" y="468"/>
                  <a:pt x="1276" y="468"/>
                  <a:pt x="1276" y="468"/>
                </a:cubicBezTo>
                <a:cubicBezTo>
                  <a:pt x="1276" y="468"/>
                  <a:pt x="1276" y="468"/>
                  <a:pt x="1276" y="468"/>
                </a:cubicBezTo>
                <a:cubicBezTo>
                  <a:pt x="1277" y="468"/>
                  <a:pt x="1277" y="468"/>
                  <a:pt x="1277" y="468"/>
                </a:cubicBezTo>
                <a:cubicBezTo>
                  <a:pt x="1278" y="467"/>
                  <a:pt x="1278" y="468"/>
                  <a:pt x="1278" y="468"/>
                </a:cubicBezTo>
                <a:cubicBezTo>
                  <a:pt x="1279" y="469"/>
                  <a:pt x="1280" y="468"/>
                  <a:pt x="1281" y="468"/>
                </a:cubicBezTo>
                <a:cubicBezTo>
                  <a:pt x="1281" y="468"/>
                  <a:pt x="1282" y="468"/>
                  <a:pt x="1282" y="467"/>
                </a:cubicBezTo>
                <a:cubicBezTo>
                  <a:pt x="1281" y="467"/>
                  <a:pt x="1281" y="467"/>
                  <a:pt x="1280" y="467"/>
                </a:cubicBezTo>
                <a:cubicBezTo>
                  <a:pt x="1280" y="467"/>
                  <a:pt x="1279" y="467"/>
                  <a:pt x="1279" y="467"/>
                </a:cubicBezTo>
                <a:cubicBezTo>
                  <a:pt x="1279" y="466"/>
                  <a:pt x="1280" y="467"/>
                  <a:pt x="1280" y="467"/>
                </a:cubicBezTo>
                <a:cubicBezTo>
                  <a:pt x="1281" y="466"/>
                  <a:pt x="1281" y="466"/>
                  <a:pt x="1281" y="466"/>
                </a:cubicBezTo>
                <a:cubicBezTo>
                  <a:pt x="1281" y="466"/>
                  <a:pt x="1282" y="465"/>
                  <a:pt x="1282" y="465"/>
                </a:cubicBezTo>
                <a:cubicBezTo>
                  <a:pt x="1283" y="465"/>
                  <a:pt x="1285" y="464"/>
                  <a:pt x="1285" y="463"/>
                </a:cubicBezTo>
                <a:cubicBezTo>
                  <a:pt x="1284" y="463"/>
                  <a:pt x="1284" y="463"/>
                  <a:pt x="1284" y="463"/>
                </a:cubicBezTo>
                <a:cubicBezTo>
                  <a:pt x="1284" y="462"/>
                  <a:pt x="1284" y="462"/>
                  <a:pt x="1283" y="462"/>
                </a:cubicBezTo>
                <a:cubicBezTo>
                  <a:pt x="1283" y="462"/>
                  <a:pt x="1282" y="462"/>
                  <a:pt x="1282" y="462"/>
                </a:cubicBezTo>
                <a:cubicBezTo>
                  <a:pt x="1281" y="462"/>
                  <a:pt x="1280" y="462"/>
                  <a:pt x="1280" y="461"/>
                </a:cubicBezTo>
                <a:cubicBezTo>
                  <a:pt x="1280" y="461"/>
                  <a:pt x="1279" y="460"/>
                  <a:pt x="1279" y="460"/>
                </a:cubicBezTo>
                <a:cubicBezTo>
                  <a:pt x="1279" y="459"/>
                  <a:pt x="1280" y="459"/>
                  <a:pt x="1280" y="460"/>
                </a:cubicBezTo>
                <a:cubicBezTo>
                  <a:pt x="1280" y="460"/>
                  <a:pt x="1280" y="460"/>
                  <a:pt x="1281" y="461"/>
                </a:cubicBezTo>
                <a:cubicBezTo>
                  <a:pt x="1281" y="461"/>
                  <a:pt x="1281" y="461"/>
                  <a:pt x="1282" y="461"/>
                </a:cubicBezTo>
                <a:cubicBezTo>
                  <a:pt x="1282" y="461"/>
                  <a:pt x="1282" y="461"/>
                  <a:pt x="1283" y="462"/>
                </a:cubicBezTo>
                <a:cubicBezTo>
                  <a:pt x="1283" y="462"/>
                  <a:pt x="1283" y="462"/>
                  <a:pt x="1284" y="462"/>
                </a:cubicBezTo>
                <a:cubicBezTo>
                  <a:pt x="1284" y="462"/>
                  <a:pt x="1284" y="462"/>
                  <a:pt x="1285" y="462"/>
                </a:cubicBezTo>
                <a:cubicBezTo>
                  <a:pt x="1285" y="462"/>
                  <a:pt x="1286" y="463"/>
                  <a:pt x="1286" y="462"/>
                </a:cubicBezTo>
                <a:cubicBezTo>
                  <a:pt x="1286" y="462"/>
                  <a:pt x="1286" y="462"/>
                  <a:pt x="1285" y="461"/>
                </a:cubicBezTo>
                <a:cubicBezTo>
                  <a:pt x="1285" y="461"/>
                  <a:pt x="1285" y="461"/>
                  <a:pt x="1285" y="460"/>
                </a:cubicBezTo>
                <a:cubicBezTo>
                  <a:pt x="1285" y="460"/>
                  <a:pt x="1284" y="460"/>
                  <a:pt x="1284" y="460"/>
                </a:cubicBezTo>
                <a:cubicBezTo>
                  <a:pt x="1284" y="460"/>
                  <a:pt x="1283" y="460"/>
                  <a:pt x="1283" y="459"/>
                </a:cubicBezTo>
                <a:cubicBezTo>
                  <a:pt x="1283" y="459"/>
                  <a:pt x="1284" y="460"/>
                  <a:pt x="1284" y="460"/>
                </a:cubicBezTo>
                <a:cubicBezTo>
                  <a:pt x="1284" y="460"/>
                  <a:pt x="1284" y="460"/>
                  <a:pt x="1285" y="460"/>
                </a:cubicBezTo>
                <a:cubicBezTo>
                  <a:pt x="1286" y="460"/>
                  <a:pt x="1286" y="461"/>
                  <a:pt x="1287" y="461"/>
                </a:cubicBezTo>
                <a:cubicBezTo>
                  <a:pt x="1288" y="460"/>
                  <a:pt x="1287" y="459"/>
                  <a:pt x="1286" y="459"/>
                </a:cubicBezTo>
                <a:cubicBezTo>
                  <a:pt x="1286" y="458"/>
                  <a:pt x="1286" y="457"/>
                  <a:pt x="1285" y="457"/>
                </a:cubicBezTo>
                <a:cubicBezTo>
                  <a:pt x="1284" y="457"/>
                  <a:pt x="1284" y="457"/>
                  <a:pt x="1284" y="457"/>
                </a:cubicBezTo>
                <a:cubicBezTo>
                  <a:pt x="1283" y="457"/>
                  <a:pt x="1284" y="456"/>
                  <a:pt x="1283" y="456"/>
                </a:cubicBezTo>
                <a:cubicBezTo>
                  <a:pt x="1283" y="455"/>
                  <a:pt x="1282" y="455"/>
                  <a:pt x="1282" y="455"/>
                </a:cubicBezTo>
                <a:cubicBezTo>
                  <a:pt x="1282" y="454"/>
                  <a:pt x="1283" y="454"/>
                  <a:pt x="1283" y="454"/>
                </a:cubicBezTo>
                <a:cubicBezTo>
                  <a:pt x="1283" y="455"/>
                  <a:pt x="1284" y="455"/>
                  <a:pt x="1284" y="455"/>
                </a:cubicBezTo>
                <a:cubicBezTo>
                  <a:pt x="1284" y="455"/>
                  <a:pt x="1285" y="456"/>
                  <a:pt x="1285" y="456"/>
                </a:cubicBezTo>
                <a:cubicBezTo>
                  <a:pt x="1286" y="456"/>
                  <a:pt x="1286" y="457"/>
                  <a:pt x="1287" y="457"/>
                </a:cubicBezTo>
                <a:cubicBezTo>
                  <a:pt x="1288" y="457"/>
                  <a:pt x="1288" y="457"/>
                  <a:pt x="1289" y="458"/>
                </a:cubicBezTo>
                <a:cubicBezTo>
                  <a:pt x="1289" y="458"/>
                  <a:pt x="1290" y="458"/>
                  <a:pt x="1290" y="459"/>
                </a:cubicBezTo>
                <a:cubicBezTo>
                  <a:pt x="1290" y="459"/>
                  <a:pt x="1290" y="460"/>
                  <a:pt x="1290" y="460"/>
                </a:cubicBezTo>
                <a:cubicBezTo>
                  <a:pt x="1291" y="460"/>
                  <a:pt x="1291" y="459"/>
                  <a:pt x="1291" y="459"/>
                </a:cubicBezTo>
                <a:cubicBezTo>
                  <a:pt x="1291" y="459"/>
                  <a:pt x="1290" y="459"/>
                  <a:pt x="1290" y="458"/>
                </a:cubicBezTo>
                <a:cubicBezTo>
                  <a:pt x="1290" y="457"/>
                  <a:pt x="1291" y="458"/>
                  <a:pt x="1291" y="458"/>
                </a:cubicBezTo>
                <a:cubicBezTo>
                  <a:pt x="1291" y="457"/>
                  <a:pt x="1291" y="457"/>
                  <a:pt x="1290" y="457"/>
                </a:cubicBezTo>
                <a:cubicBezTo>
                  <a:pt x="1290" y="456"/>
                  <a:pt x="1290" y="456"/>
                  <a:pt x="1290" y="456"/>
                </a:cubicBezTo>
                <a:cubicBezTo>
                  <a:pt x="1289" y="456"/>
                  <a:pt x="1289" y="456"/>
                  <a:pt x="1289" y="455"/>
                </a:cubicBezTo>
                <a:cubicBezTo>
                  <a:pt x="1289" y="455"/>
                  <a:pt x="1289" y="455"/>
                  <a:pt x="1290" y="455"/>
                </a:cubicBezTo>
                <a:cubicBezTo>
                  <a:pt x="1290" y="455"/>
                  <a:pt x="1290" y="456"/>
                  <a:pt x="1291" y="455"/>
                </a:cubicBezTo>
                <a:cubicBezTo>
                  <a:pt x="1291" y="455"/>
                  <a:pt x="1291" y="455"/>
                  <a:pt x="1292" y="455"/>
                </a:cubicBezTo>
                <a:cubicBezTo>
                  <a:pt x="1292" y="455"/>
                  <a:pt x="1293" y="455"/>
                  <a:pt x="1292" y="454"/>
                </a:cubicBezTo>
                <a:cubicBezTo>
                  <a:pt x="1292" y="454"/>
                  <a:pt x="1291" y="454"/>
                  <a:pt x="1291" y="454"/>
                </a:cubicBezTo>
                <a:cubicBezTo>
                  <a:pt x="1291" y="453"/>
                  <a:pt x="1292" y="453"/>
                  <a:pt x="1292" y="453"/>
                </a:cubicBezTo>
                <a:cubicBezTo>
                  <a:pt x="1293" y="453"/>
                  <a:pt x="1294" y="454"/>
                  <a:pt x="1295" y="454"/>
                </a:cubicBezTo>
                <a:cubicBezTo>
                  <a:pt x="1295" y="453"/>
                  <a:pt x="1294" y="453"/>
                  <a:pt x="1294" y="453"/>
                </a:cubicBezTo>
                <a:cubicBezTo>
                  <a:pt x="1294" y="452"/>
                  <a:pt x="1294" y="452"/>
                  <a:pt x="1293" y="452"/>
                </a:cubicBezTo>
                <a:cubicBezTo>
                  <a:pt x="1293" y="451"/>
                  <a:pt x="1293" y="451"/>
                  <a:pt x="1292" y="450"/>
                </a:cubicBezTo>
                <a:cubicBezTo>
                  <a:pt x="1292" y="450"/>
                  <a:pt x="1291" y="450"/>
                  <a:pt x="1291" y="450"/>
                </a:cubicBezTo>
                <a:cubicBezTo>
                  <a:pt x="1291" y="450"/>
                  <a:pt x="1290" y="450"/>
                  <a:pt x="1290" y="449"/>
                </a:cubicBezTo>
                <a:cubicBezTo>
                  <a:pt x="1291" y="450"/>
                  <a:pt x="1292" y="450"/>
                  <a:pt x="1293" y="451"/>
                </a:cubicBezTo>
                <a:cubicBezTo>
                  <a:pt x="1294" y="451"/>
                  <a:pt x="1295" y="451"/>
                  <a:pt x="1295" y="451"/>
                </a:cubicBezTo>
                <a:cubicBezTo>
                  <a:pt x="1296" y="451"/>
                  <a:pt x="1298" y="450"/>
                  <a:pt x="1297" y="449"/>
                </a:cubicBezTo>
                <a:cubicBezTo>
                  <a:pt x="1297" y="449"/>
                  <a:pt x="1297" y="449"/>
                  <a:pt x="1297" y="448"/>
                </a:cubicBezTo>
                <a:cubicBezTo>
                  <a:pt x="1297" y="447"/>
                  <a:pt x="1297" y="446"/>
                  <a:pt x="1296" y="446"/>
                </a:cubicBezTo>
                <a:cubicBezTo>
                  <a:pt x="1295" y="445"/>
                  <a:pt x="1294" y="445"/>
                  <a:pt x="1295" y="445"/>
                </a:cubicBezTo>
                <a:cubicBezTo>
                  <a:pt x="1295" y="444"/>
                  <a:pt x="1296" y="444"/>
                  <a:pt x="1296" y="444"/>
                </a:cubicBezTo>
                <a:cubicBezTo>
                  <a:pt x="1296" y="443"/>
                  <a:pt x="1296" y="443"/>
                  <a:pt x="1296" y="443"/>
                </a:cubicBezTo>
                <a:cubicBezTo>
                  <a:pt x="1297" y="442"/>
                  <a:pt x="1295" y="442"/>
                  <a:pt x="1294" y="442"/>
                </a:cubicBezTo>
                <a:cubicBezTo>
                  <a:pt x="1294" y="442"/>
                  <a:pt x="1293" y="442"/>
                  <a:pt x="1293" y="442"/>
                </a:cubicBezTo>
                <a:cubicBezTo>
                  <a:pt x="1292" y="442"/>
                  <a:pt x="1292" y="442"/>
                  <a:pt x="1291" y="442"/>
                </a:cubicBezTo>
                <a:cubicBezTo>
                  <a:pt x="1290" y="442"/>
                  <a:pt x="1289" y="442"/>
                  <a:pt x="1289" y="442"/>
                </a:cubicBezTo>
                <a:cubicBezTo>
                  <a:pt x="1288" y="441"/>
                  <a:pt x="1287" y="441"/>
                  <a:pt x="1287" y="440"/>
                </a:cubicBezTo>
                <a:cubicBezTo>
                  <a:pt x="1287" y="440"/>
                  <a:pt x="1285" y="439"/>
                  <a:pt x="1286" y="439"/>
                </a:cubicBezTo>
                <a:cubicBezTo>
                  <a:pt x="1286" y="438"/>
                  <a:pt x="1288" y="439"/>
                  <a:pt x="1288" y="439"/>
                </a:cubicBezTo>
                <a:cubicBezTo>
                  <a:pt x="1289" y="439"/>
                  <a:pt x="1290" y="439"/>
                  <a:pt x="1291" y="439"/>
                </a:cubicBezTo>
                <a:cubicBezTo>
                  <a:pt x="1292" y="439"/>
                  <a:pt x="1293" y="438"/>
                  <a:pt x="1294" y="438"/>
                </a:cubicBezTo>
                <a:cubicBezTo>
                  <a:pt x="1294" y="438"/>
                  <a:pt x="1294" y="438"/>
                  <a:pt x="1295" y="438"/>
                </a:cubicBezTo>
                <a:cubicBezTo>
                  <a:pt x="1295" y="438"/>
                  <a:pt x="1295" y="437"/>
                  <a:pt x="1296" y="437"/>
                </a:cubicBezTo>
                <a:cubicBezTo>
                  <a:pt x="1296" y="437"/>
                  <a:pt x="1297" y="437"/>
                  <a:pt x="1297" y="438"/>
                </a:cubicBezTo>
                <a:cubicBezTo>
                  <a:pt x="1297" y="438"/>
                  <a:pt x="1297" y="438"/>
                  <a:pt x="1298" y="439"/>
                </a:cubicBezTo>
                <a:cubicBezTo>
                  <a:pt x="1298" y="439"/>
                  <a:pt x="1299" y="439"/>
                  <a:pt x="1299" y="439"/>
                </a:cubicBezTo>
                <a:cubicBezTo>
                  <a:pt x="1299" y="438"/>
                  <a:pt x="1299" y="438"/>
                  <a:pt x="1299" y="437"/>
                </a:cubicBezTo>
                <a:cubicBezTo>
                  <a:pt x="1298" y="437"/>
                  <a:pt x="1298" y="437"/>
                  <a:pt x="1298" y="436"/>
                </a:cubicBezTo>
                <a:cubicBezTo>
                  <a:pt x="1297" y="436"/>
                  <a:pt x="1297" y="436"/>
                  <a:pt x="1297" y="436"/>
                </a:cubicBezTo>
                <a:cubicBezTo>
                  <a:pt x="1297" y="435"/>
                  <a:pt x="1297" y="435"/>
                  <a:pt x="1298" y="435"/>
                </a:cubicBezTo>
                <a:cubicBezTo>
                  <a:pt x="1298" y="435"/>
                  <a:pt x="1298" y="435"/>
                  <a:pt x="1298" y="436"/>
                </a:cubicBezTo>
                <a:cubicBezTo>
                  <a:pt x="1299" y="436"/>
                  <a:pt x="1300" y="436"/>
                  <a:pt x="1301" y="436"/>
                </a:cubicBezTo>
                <a:cubicBezTo>
                  <a:pt x="1301" y="437"/>
                  <a:pt x="1301" y="437"/>
                  <a:pt x="1301" y="437"/>
                </a:cubicBezTo>
                <a:cubicBezTo>
                  <a:pt x="1302" y="437"/>
                  <a:pt x="1301" y="436"/>
                  <a:pt x="1301" y="436"/>
                </a:cubicBezTo>
                <a:cubicBezTo>
                  <a:pt x="1301" y="435"/>
                  <a:pt x="1300" y="435"/>
                  <a:pt x="1299" y="434"/>
                </a:cubicBezTo>
                <a:cubicBezTo>
                  <a:pt x="1298" y="434"/>
                  <a:pt x="1299" y="433"/>
                  <a:pt x="1298" y="432"/>
                </a:cubicBezTo>
                <a:cubicBezTo>
                  <a:pt x="1297" y="431"/>
                  <a:pt x="1298" y="431"/>
                  <a:pt x="1298" y="430"/>
                </a:cubicBezTo>
                <a:cubicBezTo>
                  <a:pt x="1298" y="429"/>
                  <a:pt x="1297" y="428"/>
                  <a:pt x="1296" y="428"/>
                </a:cubicBezTo>
                <a:cubicBezTo>
                  <a:pt x="1296" y="428"/>
                  <a:pt x="1296" y="428"/>
                  <a:pt x="1295" y="428"/>
                </a:cubicBezTo>
                <a:cubicBezTo>
                  <a:pt x="1295" y="427"/>
                  <a:pt x="1295" y="427"/>
                  <a:pt x="1294" y="427"/>
                </a:cubicBezTo>
                <a:cubicBezTo>
                  <a:pt x="1294" y="428"/>
                  <a:pt x="1294" y="428"/>
                  <a:pt x="1294" y="428"/>
                </a:cubicBezTo>
                <a:cubicBezTo>
                  <a:pt x="1294" y="429"/>
                  <a:pt x="1295" y="429"/>
                  <a:pt x="1295" y="430"/>
                </a:cubicBezTo>
                <a:cubicBezTo>
                  <a:pt x="1295" y="430"/>
                  <a:pt x="1295" y="430"/>
                  <a:pt x="1295" y="430"/>
                </a:cubicBezTo>
                <a:cubicBezTo>
                  <a:pt x="1295" y="430"/>
                  <a:pt x="1295" y="430"/>
                  <a:pt x="1295" y="430"/>
                </a:cubicBezTo>
                <a:cubicBezTo>
                  <a:pt x="1296" y="431"/>
                  <a:pt x="1295" y="431"/>
                  <a:pt x="1295" y="431"/>
                </a:cubicBezTo>
                <a:cubicBezTo>
                  <a:pt x="1294" y="431"/>
                  <a:pt x="1294" y="430"/>
                  <a:pt x="1293" y="429"/>
                </a:cubicBezTo>
                <a:cubicBezTo>
                  <a:pt x="1293" y="429"/>
                  <a:pt x="1292" y="428"/>
                  <a:pt x="1292" y="428"/>
                </a:cubicBezTo>
                <a:cubicBezTo>
                  <a:pt x="1291" y="427"/>
                  <a:pt x="1291" y="427"/>
                  <a:pt x="1291" y="427"/>
                </a:cubicBezTo>
                <a:cubicBezTo>
                  <a:pt x="1291" y="426"/>
                  <a:pt x="1291" y="426"/>
                  <a:pt x="1291" y="426"/>
                </a:cubicBezTo>
                <a:cubicBezTo>
                  <a:pt x="1292" y="426"/>
                  <a:pt x="1292" y="425"/>
                  <a:pt x="1292" y="425"/>
                </a:cubicBezTo>
                <a:cubicBezTo>
                  <a:pt x="1292" y="425"/>
                  <a:pt x="1291" y="424"/>
                  <a:pt x="1292" y="424"/>
                </a:cubicBezTo>
                <a:cubicBezTo>
                  <a:pt x="1292" y="424"/>
                  <a:pt x="1292" y="425"/>
                  <a:pt x="1292" y="425"/>
                </a:cubicBezTo>
                <a:cubicBezTo>
                  <a:pt x="1293" y="425"/>
                  <a:pt x="1293" y="425"/>
                  <a:pt x="1294" y="425"/>
                </a:cubicBezTo>
                <a:cubicBezTo>
                  <a:pt x="1294" y="425"/>
                  <a:pt x="1295" y="426"/>
                  <a:pt x="1295" y="426"/>
                </a:cubicBezTo>
                <a:cubicBezTo>
                  <a:pt x="1296" y="426"/>
                  <a:pt x="1297" y="425"/>
                  <a:pt x="1298" y="425"/>
                </a:cubicBezTo>
                <a:cubicBezTo>
                  <a:pt x="1298" y="425"/>
                  <a:pt x="1299" y="425"/>
                  <a:pt x="1299" y="426"/>
                </a:cubicBezTo>
                <a:cubicBezTo>
                  <a:pt x="1299" y="426"/>
                  <a:pt x="1300" y="426"/>
                  <a:pt x="1300" y="426"/>
                </a:cubicBezTo>
                <a:cubicBezTo>
                  <a:pt x="1300" y="426"/>
                  <a:pt x="1301" y="426"/>
                  <a:pt x="1301" y="426"/>
                </a:cubicBezTo>
                <a:cubicBezTo>
                  <a:pt x="1301" y="426"/>
                  <a:pt x="1301" y="425"/>
                  <a:pt x="1301" y="425"/>
                </a:cubicBezTo>
                <a:cubicBezTo>
                  <a:pt x="1302" y="424"/>
                  <a:pt x="1303" y="423"/>
                  <a:pt x="1304" y="422"/>
                </a:cubicBezTo>
                <a:cubicBezTo>
                  <a:pt x="1304" y="422"/>
                  <a:pt x="1305" y="422"/>
                  <a:pt x="1305" y="421"/>
                </a:cubicBezTo>
                <a:cubicBezTo>
                  <a:pt x="1305" y="420"/>
                  <a:pt x="1305" y="420"/>
                  <a:pt x="1305" y="420"/>
                </a:cubicBezTo>
                <a:cubicBezTo>
                  <a:pt x="1305" y="419"/>
                  <a:pt x="1305" y="419"/>
                  <a:pt x="1305" y="419"/>
                </a:cubicBezTo>
                <a:cubicBezTo>
                  <a:pt x="1305" y="418"/>
                  <a:pt x="1305" y="418"/>
                  <a:pt x="1304" y="418"/>
                </a:cubicBezTo>
                <a:cubicBezTo>
                  <a:pt x="1304" y="418"/>
                  <a:pt x="1304" y="418"/>
                  <a:pt x="1304" y="418"/>
                </a:cubicBezTo>
                <a:cubicBezTo>
                  <a:pt x="1303" y="417"/>
                  <a:pt x="1302" y="418"/>
                  <a:pt x="1302" y="417"/>
                </a:cubicBezTo>
                <a:cubicBezTo>
                  <a:pt x="1302" y="416"/>
                  <a:pt x="1303" y="416"/>
                  <a:pt x="1304" y="416"/>
                </a:cubicBezTo>
                <a:cubicBezTo>
                  <a:pt x="1305" y="416"/>
                  <a:pt x="1306" y="417"/>
                  <a:pt x="1306" y="416"/>
                </a:cubicBezTo>
                <a:cubicBezTo>
                  <a:pt x="1306" y="415"/>
                  <a:pt x="1306" y="414"/>
                  <a:pt x="1307" y="414"/>
                </a:cubicBezTo>
                <a:cubicBezTo>
                  <a:pt x="1307" y="414"/>
                  <a:pt x="1307" y="414"/>
                  <a:pt x="1308" y="415"/>
                </a:cubicBezTo>
                <a:cubicBezTo>
                  <a:pt x="1308" y="415"/>
                  <a:pt x="1308" y="415"/>
                  <a:pt x="1309" y="415"/>
                </a:cubicBezTo>
                <a:cubicBezTo>
                  <a:pt x="1309" y="415"/>
                  <a:pt x="1310" y="415"/>
                  <a:pt x="1310" y="415"/>
                </a:cubicBezTo>
                <a:cubicBezTo>
                  <a:pt x="1310" y="416"/>
                  <a:pt x="1310" y="416"/>
                  <a:pt x="1310" y="416"/>
                </a:cubicBezTo>
                <a:cubicBezTo>
                  <a:pt x="1311" y="417"/>
                  <a:pt x="1311" y="416"/>
                  <a:pt x="1311" y="416"/>
                </a:cubicBezTo>
                <a:cubicBezTo>
                  <a:pt x="1311" y="416"/>
                  <a:pt x="1311" y="416"/>
                  <a:pt x="1311" y="415"/>
                </a:cubicBezTo>
                <a:cubicBezTo>
                  <a:pt x="1312" y="415"/>
                  <a:pt x="1312" y="415"/>
                  <a:pt x="1312" y="415"/>
                </a:cubicBezTo>
                <a:cubicBezTo>
                  <a:pt x="1312" y="414"/>
                  <a:pt x="1312" y="414"/>
                  <a:pt x="1311" y="413"/>
                </a:cubicBezTo>
                <a:cubicBezTo>
                  <a:pt x="1311" y="413"/>
                  <a:pt x="1311" y="412"/>
                  <a:pt x="1311" y="412"/>
                </a:cubicBezTo>
                <a:cubicBezTo>
                  <a:pt x="1312" y="412"/>
                  <a:pt x="1312" y="413"/>
                  <a:pt x="1312" y="413"/>
                </a:cubicBezTo>
                <a:cubicBezTo>
                  <a:pt x="1313" y="413"/>
                  <a:pt x="1313" y="414"/>
                  <a:pt x="1313" y="414"/>
                </a:cubicBezTo>
                <a:cubicBezTo>
                  <a:pt x="1314" y="414"/>
                  <a:pt x="1314" y="414"/>
                  <a:pt x="1314" y="415"/>
                </a:cubicBezTo>
                <a:cubicBezTo>
                  <a:pt x="1314" y="416"/>
                  <a:pt x="1316" y="415"/>
                  <a:pt x="1317" y="415"/>
                </a:cubicBezTo>
                <a:cubicBezTo>
                  <a:pt x="1318" y="415"/>
                  <a:pt x="1319" y="416"/>
                  <a:pt x="1319" y="415"/>
                </a:cubicBezTo>
                <a:cubicBezTo>
                  <a:pt x="1320" y="415"/>
                  <a:pt x="1318" y="414"/>
                  <a:pt x="1318" y="414"/>
                </a:cubicBezTo>
                <a:cubicBezTo>
                  <a:pt x="1318" y="413"/>
                  <a:pt x="1319" y="414"/>
                  <a:pt x="1320" y="414"/>
                </a:cubicBezTo>
                <a:cubicBezTo>
                  <a:pt x="1320" y="414"/>
                  <a:pt x="1320" y="414"/>
                  <a:pt x="1320" y="415"/>
                </a:cubicBezTo>
                <a:cubicBezTo>
                  <a:pt x="1321" y="415"/>
                  <a:pt x="1321" y="415"/>
                  <a:pt x="1321" y="415"/>
                </a:cubicBezTo>
                <a:cubicBezTo>
                  <a:pt x="1322" y="415"/>
                  <a:pt x="1322" y="414"/>
                  <a:pt x="1322" y="414"/>
                </a:cubicBezTo>
                <a:cubicBezTo>
                  <a:pt x="1323" y="413"/>
                  <a:pt x="1324" y="412"/>
                  <a:pt x="1324" y="412"/>
                </a:cubicBezTo>
                <a:cubicBezTo>
                  <a:pt x="1325" y="411"/>
                  <a:pt x="1325" y="410"/>
                  <a:pt x="1324" y="410"/>
                </a:cubicBezTo>
                <a:cubicBezTo>
                  <a:pt x="1323" y="410"/>
                  <a:pt x="1322" y="410"/>
                  <a:pt x="1322" y="409"/>
                </a:cubicBezTo>
                <a:cubicBezTo>
                  <a:pt x="1322" y="409"/>
                  <a:pt x="1322" y="409"/>
                  <a:pt x="1322" y="408"/>
                </a:cubicBezTo>
                <a:cubicBezTo>
                  <a:pt x="1322" y="408"/>
                  <a:pt x="1322" y="408"/>
                  <a:pt x="1321" y="408"/>
                </a:cubicBezTo>
                <a:cubicBezTo>
                  <a:pt x="1321" y="408"/>
                  <a:pt x="1321" y="407"/>
                  <a:pt x="1322" y="407"/>
                </a:cubicBezTo>
                <a:cubicBezTo>
                  <a:pt x="1322" y="407"/>
                  <a:pt x="1323" y="407"/>
                  <a:pt x="1323" y="407"/>
                </a:cubicBezTo>
                <a:cubicBezTo>
                  <a:pt x="1323" y="407"/>
                  <a:pt x="1324" y="407"/>
                  <a:pt x="1324" y="407"/>
                </a:cubicBezTo>
                <a:cubicBezTo>
                  <a:pt x="1325" y="406"/>
                  <a:pt x="1326" y="407"/>
                  <a:pt x="1326" y="407"/>
                </a:cubicBezTo>
                <a:cubicBezTo>
                  <a:pt x="1327" y="407"/>
                  <a:pt x="1327" y="407"/>
                  <a:pt x="1327" y="406"/>
                </a:cubicBezTo>
                <a:cubicBezTo>
                  <a:pt x="1327" y="406"/>
                  <a:pt x="1327" y="406"/>
                  <a:pt x="1326" y="406"/>
                </a:cubicBezTo>
                <a:cubicBezTo>
                  <a:pt x="1326" y="406"/>
                  <a:pt x="1325" y="405"/>
                  <a:pt x="1326" y="405"/>
                </a:cubicBezTo>
                <a:cubicBezTo>
                  <a:pt x="1326" y="405"/>
                  <a:pt x="1327" y="405"/>
                  <a:pt x="1327" y="405"/>
                </a:cubicBezTo>
                <a:cubicBezTo>
                  <a:pt x="1327" y="405"/>
                  <a:pt x="1327" y="405"/>
                  <a:pt x="1327" y="404"/>
                </a:cubicBezTo>
                <a:cubicBezTo>
                  <a:pt x="1327" y="404"/>
                  <a:pt x="1328" y="405"/>
                  <a:pt x="1328" y="405"/>
                </a:cubicBezTo>
                <a:cubicBezTo>
                  <a:pt x="1328" y="405"/>
                  <a:pt x="1329" y="404"/>
                  <a:pt x="1328" y="404"/>
                </a:cubicBezTo>
                <a:cubicBezTo>
                  <a:pt x="1328" y="403"/>
                  <a:pt x="1327" y="403"/>
                  <a:pt x="1327" y="403"/>
                </a:cubicBezTo>
                <a:cubicBezTo>
                  <a:pt x="1327" y="403"/>
                  <a:pt x="1328" y="403"/>
                  <a:pt x="1328" y="403"/>
                </a:cubicBezTo>
                <a:cubicBezTo>
                  <a:pt x="1329" y="403"/>
                  <a:pt x="1329" y="403"/>
                  <a:pt x="1330" y="403"/>
                </a:cubicBezTo>
                <a:cubicBezTo>
                  <a:pt x="1330" y="402"/>
                  <a:pt x="1330" y="402"/>
                  <a:pt x="1329" y="402"/>
                </a:cubicBezTo>
                <a:cubicBezTo>
                  <a:pt x="1329" y="402"/>
                  <a:pt x="1328" y="402"/>
                  <a:pt x="1328" y="401"/>
                </a:cubicBezTo>
                <a:cubicBezTo>
                  <a:pt x="1327" y="401"/>
                  <a:pt x="1326" y="401"/>
                  <a:pt x="1325" y="401"/>
                </a:cubicBezTo>
                <a:cubicBezTo>
                  <a:pt x="1325" y="400"/>
                  <a:pt x="1327" y="401"/>
                  <a:pt x="1328" y="400"/>
                </a:cubicBezTo>
                <a:cubicBezTo>
                  <a:pt x="1328" y="400"/>
                  <a:pt x="1328" y="399"/>
                  <a:pt x="1328" y="399"/>
                </a:cubicBezTo>
                <a:cubicBezTo>
                  <a:pt x="1329" y="399"/>
                  <a:pt x="1329" y="400"/>
                  <a:pt x="1329" y="400"/>
                </a:cubicBezTo>
                <a:cubicBezTo>
                  <a:pt x="1329" y="400"/>
                  <a:pt x="1330" y="401"/>
                  <a:pt x="1330" y="401"/>
                </a:cubicBezTo>
                <a:cubicBezTo>
                  <a:pt x="1330" y="401"/>
                  <a:pt x="1330" y="402"/>
                  <a:pt x="1330" y="402"/>
                </a:cubicBezTo>
                <a:cubicBezTo>
                  <a:pt x="1331" y="402"/>
                  <a:pt x="1331" y="402"/>
                  <a:pt x="1332" y="402"/>
                </a:cubicBezTo>
                <a:cubicBezTo>
                  <a:pt x="1332" y="402"/>
                  <a:pt x="1332" y="402"/>
                  <a:pt x="1333" y="402"/>
                </a:cubicBezTo>
                <a:cubicBezTo>
                  <a:pt x="1333" y="402"/>
                  <a:pt x="1335" y="401"/>
                  <a:pt x="1335" y="402"/>
                </a:cubicBezTo>
                <a:cubicBezTo>
                  <a:pt x="1335" y="402"/>
                  <a:pt x="1334" y="402"/>
                  <a:pt x="1334" y="402"/>
                </a:cubicBezTo>
                <a:cubicBezTo>
                  <a:pt x="1333" y="403"/>
                  <a:pt x="1333" y="403"/>
                  <a:pt x="1332" y="403"/>
                </a:cubicBezTo>
                <a:cubicBezTo>
                  <a:pt x="1332" y="404"/>
                  <a:pt x="1332" y="404"/>
                  <a:pt x="1331" y="405"/>
                </a:cubicBezTo>
                <a:cubicBezTo>
                  <a:pt x="1331" y="405"/>
                  <a:pt x="1331" y="406"/>
                  <a:pt x="1330" y="406"/>
                </a:cubicBezTo>
                <a:cubicBezTo>
                  <a:pt x="1330" y="406"/>
                  <a:pt x="1329" y="406"/>
                  <a:pt x="1329" y="407"/>
                </a:cubicBezTo>
                <a:cubicBezTo>
                  <a:pt x="1328" y="408"/>
                  <a:pt x="1329" y="409"/>
                  <a:pt x="1329" y="410"/>
                </a:cubicBezTo>
                <a:cubicBezTo>
                  <a:pt x="1329" y="411"/>
                  <a:pt x="1328" y="411"/>
                  <a:pt x="1327" y="411"/>
                </a:cubicBezTo>
                <a:cubicBezTo>
                  <a:pt x="1327" y="412"/>
                  <a:pt x="1326" y="412"/>
                  <a:pt x="1326" y="413"/>
                </a:cubicBezTo>
                <a:cubicBezTo>
                  <a:pt x="1326" y="414"/>
                  <a:pt x="1328" y="414"/>
                  <a:pt x="1328" y="414"/>
                </a:cubicBezTo>
                <a:cubicBezTo>
                  <a:pt x="1329" y="415"/>
                  <a:pt x="1329" y="415"/>
                  <a:pt x="1330" y="415"/>
                </a:cubicBezTo>
                <a:cubicBezTo>
                  <a:pt x="1331" y="415"/>
                  <a:pt x="1331" y="415"/>
                  <a:pt x="1332" y="415"/>
                </a:cubicBezTo>
                <a:cubicBezTo>
                  <a:pt x="1332" y="415"/>
                  <a:pt x="1332" y="415"/>
                  <a:pt x="1333" y="415"/>
                </a:cubicBezTo>
                <a:cubicBezTo>
                  <a:pt x="1333" y="415"/>
                  <a:pt x="1333" y="414"/>
                  <a:pt x="1334" y="414"/>
                </a:cubicBezTo>
                <a:cubicBezTo>
                  <a:pt x="1334" y="414"/>
                  <a:pt x="1334" y="414"/>
                  <a:pt x="1334" y="413"/>
                </a:cubicBezTo>
                <a:cubicBezTo>
                  <a:pt x="1333" y="412"/>
                  <a:pt x="1335" y="412"/>
                  <a:pt x="1335" y="412"/>
                </a:cubicBezTo>
                <a:cubicBezTo>
                  <a:pt x="1336" y="412"/>
                  <a:pt x="1336" y="412"/>
                  <a:pt x="1336" y="411"/>
                </a:cubicBezTo>
                <a:cubicBezTo>
                  <a:pt x="1336" y="411"/>
                  <a:pt x="1335" y="411"/>
                  <a:pt x="1336" y="410"/>
                </a:cubicBezTo>
                <a:cubicBezTo>
                  <a:pt x="1336" y="409"/>
                  <a:pt x="1337" y="409"/>
                  <a:pt x="1336" y="408"/>
                </a:cubicBezTo>
                <a:cubicBezTo>
                  <a:pt x="1336" y="408"/>
                  <a:pt x="1336" y="407"/>
                  <a:pt x="1336" y="407"/>
                </a:cubicBezTo>
                <a:cubicBezTo>
                  <a:pt x="1337" y="407"/>
                  <a:pt x="1337" y="407"/>
                  <a:pt x="1337" y="408"/>
                </a:cubicBezTo>
                <a:cubicBezTo>
                  <a:pt x="1337" y="408"/>
                  <a:pt x="1337" y="409"/>
                  <a:pt x="1337" y="410"/>
                </a:cubicBezTo>
                <a:cubicBezTo>
                  <a:pt x="1337" y="410"/>
                  <a:pt x="1337" y="411"/>
                  <a:pt x="1338" y="411"/>
                </a:cubicBezTo>
                <a:cubicBezTo>
                  <a:pt x="1338" y="411"/>
                  <a:pt x="1338" y="411"/>
                  <a:pt x="1339" y="410"/>
                </a:cubicBezTo>
                <a:cubicBezTo>
                  <a:pt x="1339" y="410"/>
                  <a:pt x="1340" y="409"/>
                  <a:pt x="1340" y="408"/>
                </a:cubicBezTo>
                <a:cubicBezTo>
                  <a:pt x="1341" y="408"/>
                  <a:pt x="1342" y="407"/>
                  <a:pt x="1343" y="407"/>
                </a:cubicBezTo>
                <a:cubicBezTo>
                  <a:pt x="1343" y="406"/>
                  <a:pt x="1344" y="406"/>
                  <a:pt x="1344" y="407"/>
                </a:cubicBezTo>
                <a:cubicBezTo>
                  <a:pt x="1345" y="407"/>
                  <a:pt x="1345" y="408"/>
                  <a:pt x="1345" y="408"/>
                </a:cubicBezTo>
                <a:cubicBezTo>
                  <a:pt x="1345" y="409"/>
                  <a:pt x="1345" y="409"/>
                  <a:pt x="1345" y="409"/>
                </a:cubicBezTo>
                <a:cubicBezTo>
                  <a:pt x="1346" y="409"/>
                  <a:pt x="1346" y="409"/>
                  <a:pt x="1347" y="409"/>
                </a:cubicBezTo>
                <a:cubicBezTo>
                  <a:pt x="1347" y="409"/>
                  <a:pt x="1347" y="409"/>
                  <a:pt x="1348" y="409"/>
                </a:cubicBezTo>
                <a:cubicBezTo>
                  <a:pt x="1348" y="409"/>
                  <a:pt x="1348" y="409"/>
                  <a:pt x="1348" y="409"/>
                </a:cubicBezTo>
                <a:cubicBezTo>
                  <a:pt x="1349" y="408"/>
                  <a:pt x="1349" y="408"/>
                  <a:pt x="1349" y="408"/>
                </a:cubicBezTo>
                <a:cubicBezTo>
                  <a:pt x="1350" y="407"/>
                  <a:pt x="1350" y="407"/>
                  <a:pt x="1351" y="406"/>
                </a:cubicBezTo>
                <a:cubicBezTo>
                  <a:pt x="1351" y="405"/>
                  <a:pt x="1352" y="404"/>
                  <a:pt x="1352" y="404"/>
                </a:cubicBezTo>
                <a:cubicBezTo>
                  <a:pt x="1353" y="404"/>
                  <a:pt x="1353" y="405"/>
                  <a:pt x="1353" y="405"/>
                </a:cubicBezTo>
                <a:cubicBezTo>
                  <a:pt x="1353" y="405"/>
                  <a:pt x="1353" y="406"/>
                  <a:pt x="1354" y="406"/>
                </a:cubicBezTo>
                <a:cubicBezTo>
                  <a:pt x="1354" y="406"/>
                  <a:pt x="1354" y="405"/>
                  <a:pt x="1354" y="405"/>
                </a:cubicBezTo>
                <a:cubicBezTo>
                  <a:pt x="1354" y="404"/>
                  <a:pt x="1354" y="404"/>
                  <a:pt x="1354" y="403"/>
                </a:cubicBezTo>
                <a:cubicBezTo>
                  <a:pt x="1354" y="403"/>
                  <a:pt x="1353" y="403"/>
                  <a:pt x="1353" y="402"/>
                </a:cubicBezTo>
                <a:cubicBezTo>
                  <a:pt x="1353" y="402"/>
                  <a:pt x="1353" y="402"/>
                  <a:pt x="1354" y="402"/>
                </a:cubicBezTo>
                <a:cubicBezTo>
                  <a:pt x="1354" y="402"/>
                  <a:pt x="1354" y="402"/>
                  <a:pt x="1355" y="402"/>
                </a:cubicBezTo>
                <a:cubicBezTo>
                  <a:pt x="1355" y="402"/>
                  <a:pt x="1355" y="402"/>
                  <a:pt x="1356" y="402"/>
                </a:cubicBezTo>
                <a:cubicBezTo>
                  <a:pt x="1356" y="402"/>
                  <a:pt x="1357" y="402"/>
                  <a:pt x="1357" y="402"/>
                </a:cubicBezTo>
                <a:cubicBezTo>
                  <a:pt x="1357" y="403"/>
                  <a:pt x="1358" y="403"/>
                  <a:pt x="1358" y="403"/>
                </a:cubicBezTo>
                <a:cubicBezTo>
                  <a:pt x="1358" y="403"/>
                  <a:pt x="1360" y="404"/>
                  <a:pt x="1360" y="403"/>
                </a:cubicBezTo>
                <a:cubicBezTo>
                  <a:pt x="1360" y="403"/>
                  <a:pt x="1359" y="402"/>
                  <a:pt x="1359" y="402"/>
                </a:cubicBezTo>
                <a:cubicBezTo>
                  <a:pt x="1358" y="401"/>
                  <a:pt x="1358" y="400"/>
                  <a:pt x="1359" y="400"/>
                </a:cubicBezTo>
                <a:cubicBezTo>
                  <a:pt x="1360" y="400"/>
                  <a:pt x="1360" y="401"/>
                  <a:pt x="1360" y="401"/>
                </a:cubicBezTo>
                <a:cubicBezTo>
                  <a:pt x="1360" y="401"/>
                  <a:pt x="1360" y="402"/>
                  <a:pt x="1361" y="402"/>
                </a:cubicBezTo>
                <a:cubicBezTo>
                  <a:pt x="1361" y="402"/>
                  <a:pt x="1361" y="402"/>
                  <a:pt x="1361" y="403"/>
                </a:cubicBezTo>
                <a:cubicBezTo>
                  <a:pt x="1362" y="403"/>
                  <a:pt x="1362" y="402"/>
                  <a:pt x="1362" y="402"/>
                </a:cubicBezTo>
                <a:cubicBezTo>
                  <a:pt x="1363" y="401"/>
                  <a:pt x="1364" y="401"/>
                  <a:pt x="1364" y="400"/>
                </a:cubicBezTo>
                <a:cubicBezTo>
                  <a:pt x="1365" y="400"/>
                  <a:pt x="1365" y="399"/>
                  <a:pt x="1366" y="399"/>
                </a:cubicBezTo>
                <a:cubicBezTo>
                  <a:pt x="1366" y="399"/>
                  <a:pt x="1366" y="398"/>
                  <a:pt x="1367" y="398"/>
                </a:cubicBezTo>
                <a:cubicBezTo>
                  <a:pt x="1367" y="398"/>
                  <a:pt x="1367" y="397"/>
                  <a:pt x="1367" y="397"/>
                </a:cubicBezTo>
                <a:cubicBezTo>
                  <a:pt x="1368" y="397"/>
                  <a:pt x="1366" y="395"/>
                  <a:pt x="1366" y="395"/>
                </a:cubicBezTo>
                <a:cubicBezTo>
                  <a:pt x="1367" y="395"/>
                  <a:pt x="1367" y="395"/>
                  <a:pt x="1367" y="395"/>
                </a:cubicBezTo>
                <a:cubicBezTo>
                  <a:pt x="1368" y="396"/>
                  <a:pt x="1368" y="396"/>
                  <a:pt x="1368" y="396"/>
                </a:cubicBezTo>
                <a:cubicBezTo>
                  <a:pt x="1369" y="396"/>
                  <a:pt x="1368" y="397"/>
                  <a:pt x="1369" y="397"/>
                </a:cubicBezTo>
                <a:cubicBezTo>
                  <a:pt x="1369" y="397"/>
                  <a:pt x="1369" y="396"/>
                  <a:pt x="1369" y="396"/>
                </a:cubicBezTo>
                <a:cubicBezTo>
                  <a:pt x="1370" y="395"/>
                  <a:pt x="1370" y="394"/>
                  <a:pt x="1370" y="394"/>
                </a:cubicBezTo>
                <a:cubicBezTo>
                  <a:pt x="1371" y="393"/>
                  <a:pt x="1371" y="392"/>
                  <a:pt x="1372" y="392"/>
                </a:cubicBezTo>
                <a:cubicBezTo>
                  <a:pt x="1372" y="391"/>
                  <a:pt x="1372" y="390"/>
                  <a:pt x="1372" y="389"/>
                </a:cubicBezTo>
                <a:cubicBezTo>
                  <a:pt x="1372" y="388"/>
                  <a:pt x="1374" y="388"/>
                  <a:pt x="1375" y="387"/>
                </a:cubicBezTo>
                <a:cubicBezTo>
                  <a:pt x="1375" y="387"/>
                  <a:pt x="1377" y="387"/>
                  <a:pt x="1377" y="386"/>
                </a:cubicBezTo>
                <a:cubicBezTo>
                  <a:pt x="1377" y="386"/>
                  <a:pt x="1378" y="385"/>
                  <a:pt x="1378" y="385"/>
                </a:cubicBezTo>
                <a:cubicBezTo>
                  <a:pt x="1378" y="385"/>
                  <a:pt x="1377" y="384"/>
                  <a:pt x="1377" y="384"/>
                </a:cubicBezTo>
                <a:cubicBezTo>
                  <a:pt x="1376" y="383"/>
                  <a:pt x="1378" y="383"/>
                  <a:pt x="1378" y="383"/>
                </a:cubicBezTo>
                <a:cubicBezTo>
                  <a:pt x="1378" y="383"/>
                  <a:pt x="1379" y="383"/>
                  <a:pt x="1378" y="382"/>
                </a:cubicBezTo>
                <a:cubicBezTo>
                  <a:pt x="1378" y="382"/>
                  <a:pt x="1378" y="382"/>
                  <a:pt x="1378" y="382"/>
                </a:cubicBezTo>
                <a:cubicBezTo>
                  <a:pt x="1377" y="381"/>
                  <a:pt x="1378" y="381"/>
                  <a:pt x="1378" y="381"/>
                </a:cubicBezTo>
                <a:cubicBezTo>
                  <a:pt x="1379" y="380"/>
                  <a:pt x="1380" y="380"/>
                  <a:pt x="1380" y="379"/>
                </a:cubicBezTo>
                <a:cubicBezTo>
                  <a:pt x="1380" y="379"/>
                  <a:pt x="1380" y="379"/>
                  <a:pt x="1380" y="378"/>
                </a:cubicBezTo>
                <a:cubicBezTo>
                  <a:pt x="1380" y="378"/>
                  <a:pt x="1380" y="377"/>
                  <a:pt x="1381" y="377"/>
                </a:cubicBezTo>
                <a:cubicBezTo>
                  <a:pt x="1381" y="377"/>
                  <a:pt x="1382" y="377"/>
                  <a:pt x="1382" y="377"/>
                </a:cubicBezTo>
                <a:cubicBezTo>
                  <a:pt x="1383" y="376"/>
                  <a:pt x="1382" y="376"/>
                  <a:pt x="1382" y="376"/>
                </a:cubicBezTo>
                <a:cubicBezTo>
                  <a:pt x="1382" y="375"/>
                  <a:pt x="1382" y="375"/>
                  <a:pt x="1382" y="375"/>
                </a:cubicBezTo>
                <a:cubicBezTo>
                  <a:pt x="1383" y="375"/>
                  <a:pt x="1383" y="375"/>
                  <a:pt x="1383" y="374"/>
                </a:cubicBezTo>
                <a:cubicBezTo>
                  <a:pt x="1385" y="374"/>
                  <a:pt x="1386" y="373"/>
                  <a:pt x="1388" y="372"/>
                </a:cubicBezTo>
                <a:cubicBezTo>
                  <a:pt x="1389" y="372"/>
                  <a:pt x="1390" y="371"/>
                  <a:pt x="1391" y="371"/>
                </a:cubicBezTo>
                <a:cubicBezTo>
                  <a:pt x="1391" y="371"/>
                  <a:pt x="1392" y="370"/>
                  <a:pt x="1393" y="370"/>
                </a:cubicBezTo>
                <a:cubicBezTo>
                  <a:pt x="1393" y="370"/>
                  <a:pt x="1394" y="370"/>
                  <a:pt x="1394" y="369"/>
                </a:cubicBezTo>
                <a:cubicBezTo>
                  <a:pt x="1394" y="368"/>
                  <a:pt x="1394" y="368"/>
                  <a:pt x="1395" y="368"/>
                </a:cubicBezTo>
                <a:cubicBezTo>
                  <a:pt x="1395" y="367"/>
                  <a:pt x="1395" y="367"/>
                  <a:pt x="1394" y="366"/>
                </a:cubicBezTo>
                <a:cubicBezTo>
                  <a:pt x="1394" y="366"/>
                  <a:pt x="1393" y="366"/>
                  <a:pt x="1393" y="366"/>
                </a:cubicBezTo>
                <a:cubicBezTo>
                  <a:pt x="1392" y="365"/>
                  <a:pt x="1392" y="365"/>
                  <a:pt x="1392" y="365"/>
                </a:cubicBezTo>
                <a:cubicBezTo>
                  <a:pt x="1392" y="365"/>
                  <a:pt x="1391" y="364"/>
                  <a:pt x="1391" y="364"/>
                </a:cubicBezTo>
                <a:cubicBezTo>
                  <a:pt x="1391" y="364"/>
                  <a:pt x="1390" y="365"/>
                  <a:pt x="1390" y="364"/>
                </a:cubicBezTo>
                <a:cubicBezTo>
                  <a:pt x="1390" y="364"/>
                  <a:pt x="1392" y="364"/>
                  <a:pt x="1392" y="364"/>
                </a:cubicBezTo>
                <a:cubicBezTo>
                  <a:pt x="1393" y="363"/>
                  <a:pt x="1392" y="362"/>
                  <a:pt x="1391" y="362"/>
                </a:cubicBezTo>
                <a:cubicBezTo>
                  <a:pt x="1391" y="361"/>
                  <a:pt x="1391" y="361"/>
                  <a:pt x="1390" y="361"/>
                </a:cubicBezTo>
                <a:cubicBezTo>
                  <a:pt x="1390" y="361"/>
                  <a:pt x="1389" y="360"/>
                  <a:pt x="1389" y="359"/>
                </a:cubicBezTo>
                <a:cubicBezTo>
                  <a:pt x="1390" y="359"/>
                  <a:pt x="1390" y="359"/>
                  <a:pt x="1390" y="359"/>
                </a:cubicBezTo>
                <a:cubicBezTo>
                  <a:pt x="1390" y="358"/>
                  <a:pt x="1390" y="358"/>
                  <a:pt x="1390" y="358"/>
                </a:cubicBezTo>
                <a:cubicBezTo>
                  <a:pt x="1391" y="358"/>
                  <a:pt x="1391" y="359"/>
                  <a:pt x="1391" y="360"/>
                </a:cubicBezTo>
                <a:cubicBezTo>
                  <a:pt x="1391" y="360"/>
                  <a:pt x="1391" y="361"/>
                  <a:pt x="1391" y="361"/>
                </a:cubicBezTo>
                <a:cubicBezTo>
                  <a:pt x="1392" y="361"/>
                  <a:pt x="1392" y="361"/>
                  <a:pt x="1393" y="361"/>
                </a:cubicBezTo>
                <a:cubicBezTo>
                  <a:pt x="1393" y="361"/>
                  <a:pt x="1394" y="362"/>
                  <a:pt x="1394" y="362"/>
                </a:cubicBezTo>
                <a:cubicBezTo>
                  <a:pt x="1395" y="363"/>
                  <a:pt x="1395" y="364"/>
                  <a:pt x="1395" y="364"/>
                </a:cubicBezTo>
                <a:cubicBezTo>
                  <a:pt x="1396" y="365"/>
                  <a:pt x="1400" y="363"/>
                  <a:pt x="1400" y="364"/>
                </a:cubicBezTo>
                <a:cubicBezTo>
                  <a:pt x="1400" y="365"/>
                  <a:pt x="1399" y="365"/>
                  <a:pt x="1399" y="365"/>
                </a:cubicBezTo>
                <a:cubicBezTo>
                  <a:pt x="1398" y="365"/>
                  <a:pt x="1398" y="365"/>
                  <a:pt x="1398" y="366"/>
                </a:cubicBezTo>
                <a:cubicBezTo>
                  <a:pt x="1398" y="366"/>
                  <a:pt x="1398" y="367"/>
                  <a:pt x="1399" y="367"/>
                </a:cubicBezTo>
                <a:cubicBezTo>
                  <a:pt x="1400" y="367"/>
                  <a:pt x="1400" y="367"/>
                  <a:pt x="1400" y="367"/>
                </a:cubicBezTo>
                <a:cubicBezTo>
                  <a:pt x="1401" y="368"/>
                  <a:pt x="1401" y="368"/>
                  <a:pt x="1402" y="368"/>
                </a:cubicBezTo>
                <a:cubicBezTo>
                  <a:pt x="1403" y="368"/>
                  <a:pt x="1403" y="368"/>
                  <a:pt x="1404" y="368"/>
                </a:cubicBezTo>
                <a:cubicBezTo>
                  <a:pt x="1405" y="368"/>
                  <a:pt x="1406" y="368"/>
                  <a:pt x="1407" y="368"/>
                </a:cubicBezTo>
                <a:cubicBezTo>
                  <a:pt x="1408" y="368"/>
                  <a:pt x="1408" y="367"/>
                  <a:pt x="1409" y="367"/>
                </a:cubicBezTo>
                <a:cubicBezTo>
                  <a:pt x="1410" y="367"/>
                  <a:pt x="1410" y="366"/>
                  <a:pt x="1410" y="366"/>
                </a:cubicBezTo>
                <a:cubicBezTo>
                  <a:pt x="1411" y="366"/>
                  <a:pt x="1410" y="365"/>
                  <a:pt x="1410" y="365"/>
                </a:cubicBezTo>
                <a:cubicBezTo>
                  <a:pt x="1411" y="365"/>
                  <a:pt x="1412" y="365"/>
                  <a:pt x="1413" y="366"/>
                </a:cubicBezTo>
                <a:cubicBezTo>
                  <a:pt x="1413" y="366"/>
                  <a:pt x="1413" y="367"/>
                  <a:pt x="1414" y="367"/>
                </a:cubicBezTo>
                <a:cubicBezTo>
                  <a:pt x="1415" y="368"/>
                  <a:pt x="1416" y="367"/>
                  <a:pt x="1416" y="366"/>
                </a:cubicBezTo>
                <a:cubicBezTo>
                  <a:pt x="1417" y="365"/>
                  <a:pt x="1415" y="364"/>
                  <a:pt x="1416" y="364"/>
                </a:cubicBezTo>
                <a:cubicBezTo>
                  <a:pt x="1417" y="363"/>
                  <a:pt x="1417" y="362"/>
                  <a:pt x="1418" y="362"/>
                </a:cubicBezTo>
                <a:cubicBezTo>
                  <a:pt x="1419" y="362"/>
                  <a:pt x="1420" y="362"/>
                  <a:pt x="1420" y="363"/>
                </a:cubicBezTo>
                <a:cubicBezTo>
                  <a:pt x="1421" y="364"/>
                  <a:pt x="1421" y="363"/>
                  <a:pt x="1422" y="364"/>
                </a:cubicBezTo>
                <a:cubicBezTo>
                  <a:pt x="1423" y="364"/>
                  <a:pt x="1423" y="365"/>
                  <a:pt x="1424" y="365"/>
                </a:cubicBezTo>
                <a:cubicBezTo>
                  <a:pt x="1425" y="365"/>
                  <a:pt x="1425" y="365"/>
                  <a:pt x="1425" y="364"/>
                </a:cubicBezTo>
                <a:cubicBezTo>
                  <a:pt x="1426" y="363"/>
                  <a:pt x="1426" y="362"/>
                  <a:pt x="1427" y="362"/>
                </a:cubicBezTo>
                <a:cubicBezTo>
                  <a:pt x="1428" y="361"/>
                  <a:pt x="1428" y="362"/>
                  <a:pt x="1429" y="362"/>
                </a:cubicBezTo>
                <a:cubicBezTo>
                  <a:pt x="1431" y="363"/>
                  <a:pt x="1432" y="362"/>
                  <a:pt x="1433" y="361"/>
                </a:cubicBezTo>
                <a:cubicBezTo>
                  <a:pt x="1434" y="361"/>
                  <a:pt x="1435" y="360"/>
                  <a:pt x="1436" y="360"/>
                </a:cubicBezTo>
                <a:cubicBezTo>
                  <a:pt x="1437" y="360"/>
                  <a:pt x="1437" y="360"/>
                  <a:pt x="1438" y="360"/>
                </a:cubicBezTo>
                <a:cubicBezTo>
                  <a:pt x="1439" y="359"/>
                  <a:pt x="1439" y="359"/>
                  <a:pt x="1440" y="359"/>
                </a:cubicBezTo>
                <a:cubicBezTo>
                  <a:pt x="1440" y="358"/>
                  <a:pt x="1441" y="358"/>
                  <a:pt x="1442" y="359"/>
                </a:cubicBezTo>
                <a:cubicBezTo>
                  <a:pt x="1442" y="359"/>
                  <a:pt x="1442" y="360"/>
                  <a:pt x="1443" y="360"/>
                </a:cubicBezTo>
                <a:cubicBezTo>
                  <a:pt x="1444" y="360"/>
                  <a:pt x="1444" y="360"/>
                  <a:pt x="1445" y="360"/>
                </a:cubicBezTo>
                <a:cubicBezTo>
                  <a:pt x="1446" y="359"/>
                  <a:pt x="1447" y="359"/>
                  <a:pt x="1448" y="358"/>
                </a:cubicBezTo>
                <a:cubicBezTo>
                  <a:pt x="1449" y="358"/>
                  <a:pt x="1451" y="358"/>
                  <a:pt x="1451" y="358"/>
                </a:cubicBezTo>
                <a:cubicBezTo>
                  <a:pt x="1452" y="357"/>
                  <a:pt x="1453" y="357"/>
                  <a:pt x="1454" y="357"/>
                </a:cubicBezTo>
                <a:cubicBezTo>
                  <a:pt x="1456" y="356"/>
                  <a:pt x="1458" y="355"/>
                  <a:pt x="1460" y="355"/>
                </a:cubicBezTo>
                <a:cubicBezTo>
                  <a:pt x="1461" y="355"/>
                  <a:pt x="1462" y="355"/>
                  <a:pt x="1463" y="354"/>
                </a:cubicBezTo>
                <a:cubicBezTo>
                  <a:pt x="1463" y="354"/>
                  <a:pt x="1464" y="354"/>
                  <a:pt x="1465" y="353"/>
                </a:cubicBezTo>
                <a:cubicBezTo>
                  <a:pt x="1465" y="353"/>
                  <a:pt x="1465" y="353"/>
                  <a:pt x="1465" y="352"/>
                </a:cubicBezTo>
                <a:cubicBezTo>
                  <a:pt x="1466" y="352"/>
                  <a:pt x="1466" y="352"/>
                  <a:pt x="1466" y="351"/>
                </a:cubicBezTo>
                <a:cubicBezTo>
                  <a:pt x="1467" y="351"/>
                  <a:pt x="1467" y="350"/>
                  <a:pt x="1467" y="349"/>
                </a:cubicBezTo>
                <a:cubicBezTo>
                  <a:pt x="1468" y="349"/>
                  <a:pt x="1468" y="348"/>
                  <a:pt x="1468" y="347"/>
                </a:cubicBezTo>
                <a:cubicBezTo>
                  <a:pt x="1469" y="347"/>
                  <a:pt x="1469" y="348"/>
                  <a:pt x="1469" y="348"/>
                </a:cubicBezTo>
                <a:cubicBezTo>
                  <a:pt x="1470" y="348"/>
                  <a:pt x="1470" y="348"/>
                  <a:pt x="1470" y="348"/>
                </a:cubicBezTo>
                <a:cubicBezTo>
                  <a:pt x="1471" y="348"/>
                  <a:pt x="1471" y="349"/>
                  <a:pt x="1471" y="349"/>
                </a:cubicBezTo>
                <a:cubicBezTo>
                  <a:pt x="1472" y="350"/>
                  <a:pt x="1471" y="347"/>
                  <a:pt x="1471" y="347"/>
                </a:cubicBezTo>
                <a:cubicBezTo>
                  <a:pt x="1471" y="347"/>
                  <a:pt x="1472" y="346"/>
                  <a:pt x="1472" y="346"/>
                </a:cubicBezTo>
                <a:cubicBezTo>
                  <a:pt x="1472" y="346"/>
                  <a:pt x="1473" y="346"/>
                  <a:pt x="1473" y="346"/>
                </a:cubicBezTo>
                <a:cubicBezTo>
                  <a:pt x="1473" y="345"/>
                  <a:pt x="1473" y="345"/>
                  <a:pt x="1473" y="345"/>
                </a:cubicBezTo>
                <a:cubicBezTo>
                  <a:pt x="1472" y="345"/>
                  <a:pt x="1472" y="345"/>
                  <a:pt x="1472" y="344"/>
                </a:cubicBezTo>
                <a:cubicBezTo>
                  <a:pt x="1472" y="344"/>
                  <a:pt x="1474" y="344"/>
                  <a:pt x="1474" y="344"/>
                </a:cubicBezTo>
                <a:cubicBezTo>
                  <a:pt x="1475" y="344"/>
                  <a:pt x="1476" y="344"/>
                  <a:pt x="1476" y="344"/>
                </a:cubicBezTo>
                <a:cubicBezTo>
                  <a:pt x="1477" y="344"/>
                  <a:pt x="1477" y="345"/>
                  <a:pt x="1477" y="345"/>
                </a:cubicBezTo>
                <a:cubicBezTo>
                  <a:pt x="1479" y="345"/>
                  <a:pt x="1479" y="343"/>
                  <a:pt x="1478" y="342"/>
                </a:cubicBezTo>
                <a:cubicBezTo>
                  <a:pt x="1478" y="342"/>
                  <a:pt x="1477" y="341"/>
                  <a:pt x="1478" y="341"/>
                </a:cubicBezTo>
                <a:close/>
                <a:moveTo>
                  <a:pt x="1510" y="220"/>
                </a:moveTo>
                <a:cubicBezTo>
                  <a:pt x="1510" y="221"/>
                  <a:pt x="1511" y="221"/>
                  <a:pt x="1511" y="222"/>
                </a:cubicBezTo>
                <a:cubicBezTo>
                  <a:pt x="1512" y="222"/>
                  <a:pt x="1513" y="222"/>
                  <a:pt x="1514" y="222"/>
                </a:cubicBezTo>
                <a:cubicBezTo>
                  <a:pt x="1514" y="222"/>
                  <a:pt x="1514" y="222"/>
                  <a:pt x="1515" y="221"/>
                </a:cubicBezTo>
                <a:cubicBezTo>
                  <a:pt x="1515" y="221"/>
                  <a:pt x="1515" y="221"/>
                  <a:pt x="1515" y="221"/>
                </a:cubicBezTo>
                <a:cubicBezTo>
                  <a:pt x="1515" y="221"/>
                  <a:pt x="1515" y="221"/>
                  <a:pt x="1515" y="221"/>
                </a:cubicBezTo>
                <a:cubicBezTo>
                  <a:pt x="1516" y="222"/>
                  <a:pt x="1512" y="223"/>
                  <a:pt x="1511" y="222"/>
                </a:cubicBezTo>
                <a:cubicBezTo>
                  <a:pt x="1511" y="222"/>
                  <a:pt x="1510" y="222"/>
                  <a:pt x="1509" y="221"/>
                </a:cubicBezTo>
                <a:cubicBezTo>
                  <a:pt x="1509" y="221"/>
                  <a:pt x="1509" y="220"/>
                  <a:pt x="1508" y="219"/>
                </a:cubicBezTo>
                <a:cubicBezTo>
                  <a:pt x="1508" y="219"/>
                  <a:pt x="1506" y="218"/>
                  <a:pt x="1507" y="218"/>
                </a:cubicBezTo>
                <a:cubicBezTo>
                  <a:pt x="1508" y="218"/>
                  <a:pt x="1509" y="219"/>
                  <a:pt x="1510" y="220"/>
                </a:cubicBezTo>
                <a:close/>
                <a:moveTo>
                  <a:pt x="1504" y="188"/>
                </a:moveTo>
                <a:cubicBezTo>
                  <a:pt x="1504" y="187"/>
                  <a:pt x="1505" y="187"/>
                  <a:pt x="1505" y="187"/>
                </a:cubicBezTo>
                <a:cubicBezTo>
                  <a:pt x="1506" y="187"/>
                  <a:pt x="1506" y="189"/>
                  <a:pt x="1505" y="189"/>
                </a:cubicBezTo>
                <a:cubicBezTo>
                  <a:pt x="1505" y="189"/>
                  <a:pt x="1505" y="188"/>
                  <a:pt x="1505" y="188"/>
                </a:cubicBezTo>
                <a:cubicBezTo>
                  <a:pt x="1505" y="188"/>
                  <a:pt x="1504" y="188"/>
                  <a:pt x="1504" y="188"/>
                </a:cubicBezTo>
                <a:cubicBezTo>
                  <a:pt x="1504" y="188"/>
                  <a:pt x="1504" y="188"/>
                  <a:pt x="1504" y="188"/>
                </a:cubicBezTo>
                <a:close/>
                <a:moveTo>
                  <a:pt x="1507" y="210"/>
                </a:moveTo>
                <a:cubicBezTo>
                  <a:pt x="1507" y="210"/>
                  <a:pt x="1508" y="210"/>
                  <a:pt x="1508" y="210"/>
                </a:cubicBezTo>
                <a:cubicBezTo>
                  <a:pt x="1508" y="211"/>
                  <a:pt x="1508" y="211"/>
                  <a:pt x="1508" y="211"/>
                </a:cubicBezTo>
                <a:cubicBezTo>
                  <a:pt x="1507" y="211"/>
                  <a:pt x="1507" y="210"/>
                  <a:pt x="1507" y="210"/>
                </a:cubicBezTo>
                <a:cubicBezTo>
                  <a:pt x="1506" y="210"/>
                  <a:pt x="1506" y="210"/>
                  <a:pt x="1506" y="210"/>
                </a:cubicBezTo>
                <a:cubicBezTo>
                  <a:pt x="1505" y="210"/>
                  <a:pt x="1504" y="210"/>
                  <a:pt x="1504" y="209"/>
                </a:cubicBezTo>
                <a:cubicBezTo>
                  <a:pt x="1504" y="208"/>
                  <a:pt x="1506" y="210"/>
                  <a:pt x="1507" y="210"/>
                </a:cubicBezTo>
                <a:close/>
                <a:moveTo>
                  <a:pt x="1157" y="403"/>
                </a:moveTo>
                <a:cubicBezTo>
                  <a:pt x="1157" y="403"/>
                  <a:pt x="1156" y="404"/>
                  <a:pt x="1155" y="404"/>
                </a:cubicBezTo>
                <a:cubicBezTo>
                  <a:pt x="1155" y="404"/>
                  <a:pt x="1157" y="403"/>
                  <a:pt x="1157" y="402"/>
                </a:cubicBezTo>
                <a:cubicBezTo>
                  <a:pt x="1158" y="402"/>
                  <a:pt x="1158" y="401"/>
                  <a:pt x="1159" y="401"/>
                </a:cubicBezTo>
                <a:cubicBezTo>
                  <a:pt x="1159" y="402"/>
                  <a:pt x="1158" y="403"/>
                  <a:pt x="1157" y="403"/>
                </a:cubicBezTo>
                <a:close/>
                <a:moveTo>
                  <a:pt x="1161" y="409"/>
                </a:moveTo>
                <a:cubicBezTo>
                  <a:pt x="1160" y="409"/>
                  <a:pt x="1160" y="409"/>
                  <a:pt x="1160" y="409"/>
                </a:cubicBezTo>
                <a:cubicBezTo>
                  <a:pt x="1159" y="409"/>
                  <a:pt x="1159" y="409"/>
                  <a:pt x="1158" y="409"/>
                </a:cubicBezTo>
                <a:cubicBezTo>
                  <a:pt x="1158" y="409"/>
                  <a:pt x="1159" y="408"/>
                  <a:pt x="1159" y="408"/>
                </a:cubicBezTo>
                <a:cubicBezTo>
                  <a:pt x="1160" y="408"/>
                  <a:pt x="1160" y="408"/>
                  <a:pt x="1161" y="408"/>
                </a:cubicBezTo>
                <a:cubicBezTo>
                  <a:pt x="1161" y="408"/>
                  <a:pt x="1162" y="409"/>
                  <a:pt x="1162" y="409"/>
                </a:cubicBezTo>
                <a:cubicBezTo>
                  <a:pt x="1162" y="410"/>
                  <a:pt x="1161" y="409"/>
                  <a:pt x="1161" y="409"/>
                </a:cubicBezTo>
                <a:close/>
                <a:moveTo>
                  <a:pt x="1168" y="415"/>
                </a:moveTo>
                <a:cubicBezTo>
                  <a:pt x="1168" y="415"/>
                  <a:pt x="1168" y="416"/>
                  <a:pt x="1167" y="416"/>
                </a:cubicBezTo>
                <a:cubicBezTo>
                  <a:pt x="1167" y="415"/>
                  <a:pt x="1168" y="415"/>
                  <a:pt x="1168" y="415"/>
                </a:cubicBezTo>
                <a:cubicBezTo>
                  <a:pt x="1168" y="414"/>
                  <a:pt x="1167" y="414"/>
                  <a:pt x="1168" y="414"/>
                </a:cubicBezTo>
                <a:cubicBezTo>
                  <a:pt x="1168" y="414"/>
                  <a:pt x="1169" y="414"/>
                  <a:pt x="1169" y="414"/>
                </a:cubicBezTo>
                <a:cubicBezTo>
                  <a:pt x="1169" y="414"/>
                  <a:pt x="1168" y="415"/>
                  <a:pt x="1168" y="415"/>
                </a:cubicBezTo>
                <a:close/>
                <a:moveTo>
                  <a:pt x="1169" y="408"/>
                </a:moveTo>
                <a:cubicBezTo>
                  <a:pt x="1168" y="408"/>
                  <a:pt x="1168" y="408"/>
                  <a:pt x="1168" y="408"/>
                </a:cubicBezTo>
                <a:cubicBezTo>
                  <a:pt x="1167" y="408"/>
                  <a:pt x="1167" y="408"/>
                  <a:pt x="1167" y="408"/>
                </a:cubicBezTo>
                <a:cubicBezTo>
                  <a:pt x="1166" y="407"/>
                  <a:pt x="1166" y="407"/>
                  <a:pt x="1167" y="407"/>
                </a:cubicBezTo>
                <a:cubicBezTo>
                  <a:pt x="1167" y="407"/>
                  <a:pt x="1167" y="407"/>
                  <a:pt x="1168" y="407"/>
                </a:cubicBezTo>
                <a:cubicBezTo>
                  <a:pt x="1168" y="407"/>
                  <a:pt x="1169" y="406"/>
                  <a:pt x="1169" y="407"/>
                </a:cubicBezTo>
                <a:cubicBezTo>
                  <a:pt x="1170" y="407"/>
                  <a:pt x="1169" y="408"/>
                  <a:pt x="1169" y="408"/>
                </a:cubicBezTo>
                <a:close/>
                <a:moveTo>
                  <a:pt x="1180" y="412"/>
                </a:moveTo>
                <a:cubicBezTo>
                  <a:pt x="1180" y="412"/>
                  <a:pt x="1179" y="412"/>
                  <a:pt x="1179" y="412"/>
                </a:cubicBezTo>
                <a:cubicBezTo>
                  <a:pt x="1178" y="412"/>
                  <a:pt x="1178" y="412"/>
                  <a:pt x="1177" y="412"/>
                </a:cubicBezTo>
                <a:cubicBezTo>
                  <a:pt x="1177" y="412"/>
                  <a:pt x="1176" y="412"/>
                  <a:pt x="1175" y="412"/>
                </a:cubicBezTo>
                <a:cubicBezTo>
                  <a:pt x="1175" y="412"/>
                  <a:pt x="1175" y="412"/>
                  <a:pt x="1174" y="412"/>
                </a:cubicBezTo>
                <a:cubicBezTo>
                  <a:pt x="1174" y="412"/>
                  <a:pt x="1174" y="412"/>
                  <a:pt x="1174" y="412"/>
                </a:cubicBezTo>
                <a:cubicBezTo>
                  <a:pt x="1175" y="412"/>
                  <a:pt x="1175" y="412"/>
                  <a:pt x="1175" y="412"/>
                </a:cubicBezTo>
                <a:cubicBezTo>
                  <a:pt x="1175" y="412"/>
                  <a:pt x="1176" y="411"/>
                  <a:pt x="1176" y="411"/>
                </a:cubicBezTo>
                <a:cubicBezTo>
                  <a:pt x="1177" y="411"/>
                  <a:pt x="1177" y="412"/>
                  <a:pt x="1178" y="412"/>
                </a:cubicBezTo>
                <a:cubicBezTo>
                  <a:pt x="1179" y="412"/>
                  <a:pt x="1181" y="412"/>
                  <a:pt x="1181" y="413"/>
                </a:cubicBezTo>
                <a:cubicBezTo>
                  <a:pt x="1180" y="413"/>
                  <a:pt x="1180" y="412"/>
                  <a:pt x="1180" y="412"/>
                </a:cubicBezTo>
                <a:close/>
                <a:moveTo>
                  <a:pt x="1178" y="390"/>
                </a:moveTo>
                <a:cubicBezTo>
                  <a:pt x="1179" y="391"/>
                  <a:pt x="1179" y="391"/>
                  <a:pt x="1179" y="391"/>
                </a:cubicBezTo>
                <a:cubicBezTo>
                  <a:pt x="1179" y="392"/>
                  <a:pt x="1179" y="392"/>
                  <a:pt x="1179" y="392"/>
                </a:cubicBezTo>
                <a:cubicBezTo>
                  <a:pt x="1179" y="392"/>
                  <a:pt x="1179" y="391"/>
                  <a:pt x="1179" y="391"/>
                </a:cubicBezTo>
                <a:cubicBezTo>
                  <a:pt x="1179" y="391"/>
                  <a:pt x="1178" y="391"/>
                  <a:pt x="1178" y="391"/>
                </a:cubicBezTo>
                <a:cubicBezTo>
                  <a:pt x="1178" y="391"/>
                  <a:pt x="1177" y="391"/>
                  <a:pt x="1177" y="391"/>
                </a:cubicBezTo>
                <a:cubicBezTo>
                  <a:pt x="1175" y="391"/>
                  <a:pt x="1174" y="392"/>
                  <a:pt x="1173" y="393"/>
                </a:cubicBezTo>
                <a:cubicBezTo>
                  <a:pt x="1172" y="394"/>
                  <a:pt x="1172" y="394"/>
                  <a:pt x="1171" y="394"/>
                </a:cubicBezTo>
                <a:cubicBezTo>
                  <a:pt x="1170" y="395"/>
                  <a:pt x="1169" y="395"/>
                  <a:pt x="1169" y="395"/>
                </a:cubicBezTo>
                <a:cubicBezTo>
                  <a:pt x="1168" y="396"/>
                  <a:pt x="1167" y="397"/>
                  <a:pt x="1166" y="397"/>
                </a:cubicBezTo>
                <a:cubicBezTo>
                  <a:pt x="1166" y="398"/>
                  <a:pt x="1165" y="399"/>
                  <a:pt x="1164" y="399"/>
                </a:cubicBezTo>
                <a:cubicBezTo>
                  <a:pt x="1164" y="398"/>
                  <a:pt x="1165" y="398"/>
                  <a:pt x="1165" y="398"/>
                </a:cubicBezTo>
                <a:cubicBezTo>
                  <a:pt x="1166" y="398"/>
                  <a:pt x="1166" y="397"/>
                  <a:pt x="1167" y="397"/>
                </a:cubicBezTo>
                <a:cubicBezTo>
                  <a:pt x="1167" y="396"/>
                  <a:pt x="1168" y="395"/>
                  <a:pt x="1169" y="394"/>
                </a:cubicBezTo>
                <a:cubicBezTo>
                  <a:pt x="1170" y="394"/>
                  <a:pt x="1171" y="394"/>
                  <a:pt x="1171" y="394"/>
                </a:cubicBezTo>
                <a:cubicBezTo>
                  <a:pt x="1172" y="393"/>
                  <a:pt x="1173" y="393"/>
                  <a:pt x="1174" y="392"/>
                </a:cubicBezTo>
                <a:cubicBezTo>
                  <a:pt x="1174" y="391"/>
                  <a:pt x="1175" y="391"/>
                  <a:pt x="1176" y="390"/>
                </a:cubicBezTo>
                <a:cubicBezTo>
                  <a:pt x="1177" y="390"/>
                  <a:pt x="1177" y="390"/>
                  <a:pt x="1178" y="390"/>
                </a:cubicBezTo>
                <a:cubicBezTo>
                  <a:pt x="1179" y="389"/>
                  <a:pt x="1182" y="387"/>
                  <a:pt x="1183" y="388"/>
                </a:cubicBezTo>
                <a:cubicBezTo>
                  <a:pt x="1182" y="389"/>
                  <a:pt x="1178" y="389"/>
                  <a:pt x="1178" y="390"/>
                </a:cubicBezTo>
                <a:close/>
                <a:moveTo>
                  <a:pt x="2964" y="1362"/>
                </a:moveTo>
                <a:cubicBezTo>
                  <a:pt x="2964" y="1363"/>
                  <a:pt x="2964" y="1364"/>
                  <a:pt x="2965" y="1364"/>
                </a:cubicBezTo>
                <a:cubicBezTo>
                  <a:pt x="2966" y="1365"/>
                  <a:pt x="2966" y="1364"/>
                  <a:pt x="2966" y="1363"/>
                </a:cubicBezTo>
                <a:cubicBezTo>
                  <a:pt x="2967" y="1362"/>
                  <a:pt x="2966" y="1361"/>
                  <a:pt x="2966" y="1360"/>
                </a:cubicBezTo>
                <a:cubicBezTo>
                  <a:pt x="2967" y="1359"/>
                  <a:pt x="2967" y="1359"/>
                  <a:pt x="2967" y="1358"/>
                </a:cubicBezTo>
                <a:cubicBezTo>
                  <a:pt x="2967" y="1358"/>
                  <a:pt x="2967" y="1357"/>
                  <a:pt x="2967" y="1357"/>
                </a:cubicBezTo>
                <a:cubicBezTo>
                  <a:pt x="2967" y="1356"/>
                  <a:pt x="2967" y="1355"/>
                  <a:pt x="2967" y="1355"/>
                </a:cubicBezTo>
                <a:cubicBezTo>
                  <a:pt x="2967" y="1354"/>
                  <a:pt x="2967" y="1353"/>
                  <a:pt x="2967" y="1352"/>
                </a:cubicBezTo>
                <a:cubicBezTo>
                  <a:pt x="2967" y="1350"/>
                  <a:pt x="2967" y="1349"/>
                  <a:pt x="2967" y="1347"/>
                </a:cubicBezTo>
                <a:cubicBezTo>
                  <a:pt x="2967" y="1346"/>
                  <a:pt x="2967" y="1345"/>
                  <a:pt x="2967" y="1344"/>
                </a:cubicBezTo>
                <a:cubicBezTo>
                  <a:pt x="2967" y="1344"/>
                  <a:pt x="2967" y="1344"/>
                  <a:pt x="2967" y="1343"/>
                </a:cubicBezTo>
                <a:cubicBezTo>
                  <a:pt x="2967" y="1343"/>
                  <a:pt x="2967" y="1342"/>
                  <a:pt x="2967" y="1342"/>
                </a:cubicBezTo>
                <a:cubicBezTo>
                  <a:pt x="2968" y="1341"/>
                  <a:pt x="2968" y="1340"/>
                  <a:pt x="2968" y="1340"/>
                </a:cubicBezTo>
                <a:cubicBezTo>
                  <a:pt x="2967" y="1339"/>
                  <a:pt x="2966" y="1338"/>
                  <a:pt x="2967" y="1337"/>
                </a:cubicBezTo>
                <a:cubicBezTo>
                  <a:pt x="2967" y="1337"/>
                  <a:pt x="2967" y="1336"/>
                  <a:pt x="2968" y="1336"/>
                </a:cubicBezTo>
                <a:cubicBezTo>
                  <a:pt x="2968" y="1336"/>
                  <a:pt x="2968" y="1335"/>
                  <a:pt x="2968" y="1335"/>
                </a:cubicBezTo>
                <a:cubicBezTo>
                  <a:pt x="2969" y="1334"/>
                  <a:pt x="2969" y="1334"/>
                  <a:pt x="2969" y="1334"/>
                </a:cubicBezTo>
                <a:cubicBezTo>
                  <a:pt x="2970" y="1333"/>
                  <a:pt x="2969" y="1332"/>
                  <a:pt x="2969" y="1332"/>
                </a:cubicBezTo>
                <a:cubicBezTo>
                  <a:pt x="2969" y="1331"/>
                  <a:pt x="2969" y="1331"/>
                  <a:pt x="2969" y="1331"/>
                </a:cubicBezTo>
                <a:cubicBezTo>
                  <a:pt x="2968" y="1330"/>
                  <a:pt x="2968" y="1329"/>
                  <a:pt x="2968" y="1329"/>
                </a:cubicBezTo>
                <a:cubicBezTo>
                  <a:pt x="2967" y="1328"/>
                  <a:pt x="2967" y="1328"/>
                  <a:pt x="2967" y="1328"/>
                </a:cubicBezTo>
                <a:cubicBezTo>
                  <a:pt x="2967" y="1327"/>
                  <a:pt x="2967" y="1327"/>
                  <a:pt x="2966" y="1327"/>
                </a:cubicBezTo>
                <a:cubicBezTo>
                  <a:pt x="2966" y="1326"/>
                  <a:pt x="2966" y="1326"/>
                  <a:pt x="2965" y="1325"/>
                </a:cubicBezTo>
                <a:cubicBezTo>
                  <a:pt x="2965" y="1325"/>
                  <a:pt x="2964" y="1324"/>
                  <a:pt x="2964" y="1324"/>
                </a:cubicBezTo>
                <a:cubicBezTo>
                  <a:pt x="2963" y="1324"/>
                  <a:pt x="2962" y="1324"/>
                  <a:pt x="2961" y="1324"/>
                </a:cubicBezTo>
                <a:cubicBezTo>
                  <a:pt x="2961" y="1323"/>
                  <a:pt x="2960" y="1323"/>
                  <a:pt x="2959" y="1323"/>
                </a:cubicBezTo>
                <a:cubicBezTo>
                  <a:pt x="2958" y="1323"/>
                  <a:pt x="2957" y="1323"/>
                  <a:pt x="2956" y="1323"/>
                </a:cubicBezTo>
                <a:cubicBezTo>
                  <a:pt x="2955" y="1323"/>
                  <a:pt x="2956" y="1323"/>
                  <a:pt x="2955" y="1324"/>
                </a:cubicBezTo>
                <a:cubicBezTo>
                  <a:pt x="2954" y="1324"/>
                  <a:pt x="2955" y="1325"/>
                  <a:pt x="2955" y="1325"/>
                </a:cubicBezTo>
                <a:cubicBezTo>
                  <a:pt x="2955" y="1326"/>
                  <a:pt x="2954" y="1327"/>
                  <a:pt x="2954" y="1327"/>
                </a:cubicBezTo>
                <a:cubicBezTo>
                  <a:pt x="2954" y="1327"/>
                  <a:pt x="2954" y="1326"/>
                  <a:pt x="2954" y="1326"/>
                </a:cubicBezTo>
                <a:cubicBezTo>
                  <a:pt x="2954" y="1325"/>
                  <a:pt x="2954" y="1325"/>
                  <a:pt x="2954" y="1325"/>
                </a:cubicBezTo>
                <a:cubicBezTo>
                  <a:pt x="2953" y="1325"/>
                  <a:pt x="2953" y="1324"/>
                  <a:pt x="2954" y="1324"/>
                </a:cubicBezTo>
                <a:cubicBezTo>
                  <a:pt x="2954" y="1324"/>
                  <a:pt x="2954" y="1324"/>
                  <a:pt x="2954" y="1324"/>
                </a:cubicBezTo>
                <a:cubicBezTo>
                  <a:pt x="2954" y="1324"/>
                  <a:pt x="2954" y="1323"/>
                  <a:pt x="2954" y="1323"/>
                </a:cubicBezTo>
                <a:cubicBezTo>
                  <a:pt x="2955" y="1323"/>
                  <a:pt x="2955" y="1323"/>
                  <a:pt x="2955" y="1323"/>
                </a:cubicBezTo>
                <a:cubicBezTo>
                  <a:pt x="2956" y="1322"/>
                  <a:pt x="2955" y="1322"/>
                  <a:pt x="2955" y="1322"/>
                </a:cubicBezTo>
                <a:cubicBezTo>
                  <a:pt x="2955" y="1321"/>
                  <a:pt x="2954" y="1321"/>
                  <a:pt x="2953" y="1321"/>
                </a:cubicBezTo>
                <a:cubicBezTo>
                  <a:pt x="2953" y="1320"/>
                  <a:pt x="2953" y="1320"/>
                  <a:pt x="2953" y="1320"/>
                </a:cubicBezTo>
                <a:cubicBezTo>
                  <a:pt x="2953" y="1320"/>
                  <a:pt x="2952" y="1320"/>
                  <a:pt x="2952" y="1319"/>
                </a:cubicBezTo>
                <a:cubicBezTo>
                  <a:pt x="2951" y="1319"/>
                  <a:pt x="2952" y="1317"/>
                  <a:pt x="2952" y="1316"/>
                </a:cubicBezTo>
                <a:cubicBezTo>
                  <a:pt x="2952" y="1316"/>
                  <a:pt x="2952" y="1316"/>
                  <a:pt x="2952" y="1315"/>
                </a:cubicBezTo>
                <a:cubicBezTo>
                  <a:pt x="2952" y="1314"/>
                  <a:pt x="2951" y="1314"/>
                  <a:pt x="2951" y="1313"/>
                </a:cubicBezTo>
                <a:cubicBezTo>
                  <a:pt x="2950" y="1312"/>
                  <a:pt x="2951" y="1311"/>
                  <a:pt x="2951" y="1311"/>
                </a:cubicBezTo>
                <a:cubicBezTo>
                  <a:pt x="2950" y="1310"/>
                  <a:pt x="2950" y="1309"/>
                  <a:pt x="2949" y="1309"/>
                </a:cubicBezTo>
                <a:cubicBezTo>
                  <a:pt x="2949" y="1309"/>
                  <a:pt x="2948" y="1309"/>
                  <a:pt x="2947" y="1309"/>
                </a:cubicBezTo>
                <a:cubicBezTo>
                  <a:pt x="2947" y="1309"/>
                  <a:pt x="2946" y="1308"/>
                  <a:pt x="2945" y="1308"/>
                </a:cubicBezTo>
                <a:cubicBezTo>
                  <a:pt x="2945" y="1308"/>
                  <a:pt x="2945" y="1308"/>
                  <a:pt x="2944" y="1308"/>
                </a:cubicBezTo>
                <a:cubicBezTo>
                  <a:pt x="2943" y="1308"/>
                  <a:pt x="2943" y="1307"/>
                  <a:pt x="2942" y="1307"/>
                </a:cubicBezTo>
                <a:cubicBezTo>
                  <a:pt x="2940" y="1307"/>
                  <a:pt x="2939" y="1305"/>
                  <a:pt x="2939" y="1304"/>
                </a:cubicBezTo>
                <a:cubicBezTo>
                  <a:pt x="2939" y="1303"/>
                  <a:pt x="2940" y="1303"/>
                  <a:pt x="2941" y="1302"/>
                </a:cubicBezTo>
                <a:cubicBezTo>
                  <a:pt x="2941" y="1302"/>
                  <a:pt x="2941" y="1302"/>
                  <a:pt x="2941" y="1301"/>
                </a:cubicBezTo>
                <a:cubicBezTo>
                  <a:pt x="2940" y="1301"/>
                  <a:pt x="2940" y="1302"/>
                  <a:pt x="2939" y="1302"/>
                </a:cubicBezTo>
                <a:cubicBezTo>
                  <a:pt x="2939" y="1301"/>
                  <a:pt x="2941" y="1301"/>
                  <a:pt x="2941" y="1301"/>
                </a:cubicBezTo>
                <a:cubicBezTo>
                  <a:pt x="2941" y="1300"/>
                  <a:pt x="2941" y="1300"/>
                  <a:pt x="2942" y="1300"/>
                </a:cubicBezTo>
                <a:cubicBezTo>
                  <a:pt x="2942" y="1300"/>
                  <a:pt x="2943" y="1300"/>
                  <a:pt x="2943" y="1300"/>
                </a:cubicBezTo>
                <a:cubicBezTo>
                  <a:pt x="2943" y="1299"/>
                  <a:pt x="2942" y="1300"/>
                  <a:pt x="2942" y="1300"/>
                </a:cubicBezTo>
                <a:cubicBezTo>
                  <a:pt x="2941" y="1300"/>
                  <a:pt x="2941" y="1300"/>
                  <a:pt x="2941" y="1299"/>
                </a:cubicBezTo>
                <a:cubicBezTo>
                  <a:pt x="2940" y="1299"/>
                  <a:pt x="2940" y="1300"/>
                  <a:pt x="2939" y="1300"/>
                </a:cubicBezTo>
                <a:cubicBezTo>
                  <a:pt x="2938" y="1299"/>
                  <a:pt x="2940" y="1299"/>
                  <a:pt x="2940" y="1298"/>
                </a:cubicBezTo>
                <a:cubicBezTo>
                  <a:pt x="2941" y="1298"/>
                  <a:pt x="2941" y="1297"/>
                  <a:pt x="2941" y="1297"/>
                </a:cubicBezTo>
                <a:cubicBezTo>
                  <a:pt x="2941" y="1297"/>
                  <a:pt x="2942" y="1298"/>
                  <a:pt x="2942" y="1298"/>
                </a:cubicBezTo>
                <a:cubicBezTo>
                  <a:pt x="2942" y="1298"/>
                  <a:pt x="2943" y="1297"/>
                  <a:pt x="2943" y="1297"/>
                </a:cubicBezTo>
                <a:cubicBezTo>
                  <a:pt x="2943" y="1297"/>
                  <a:pt x="2944" y="1297"/>
                  <a:pt x="2944" y="1297"/>
                </a:cubicBezTo>
                <a:cubicBezTo>
                  <a:pt x="2945" y="1296"/>
                  <a:pt x="2943" y="1296"/>
                  <a:pt x="2943" y="1295"/>
                </a:cubicBezTo>
                <a:cubicBezTo>
                  <a:pt x="2943" y="1295"/>
                  <a:pt x="2943" y="1294"/>
                  <a:pt x="2942" y="1293"/>
                </a:cubicBezTo>
                <a:cubicBezTo>
                  <a:pt x="2942" y="1293"/>
                  <a:pt x="2941" y="1293"/>
                  <a:pt x="2940" y="1292"/>
                </a:cubicBezTo>
                <a:cubicBezTo>
                  <a:pt x="2940" y="1292"/>
                  <a:pt x="2939" y="1291"/>
                  <a:pt x="2939" y="1291"/>
                </a:cubicBezTo>
                <a:cubicBezTo>
                  <a:pt x="2938" y="1290"/>
                  <a:pt x="2938" y="1291"/>
                  <a:pt x="2937" y="1291"/>
                </a:cubicBezTo>
                <a:cubicBezTo>
                  <a:pt x="2936" y="1292"/>
                  <a:pt x="2935" y="1292"/>
                  <a:pt x="2935" y="1291"/>
                </a:cubicBezTo>
                <a:cubicBezTo>
                  <a:pt x="2935" y="1290"/>
                  <a:pt x="2934" y="1290"/>
                  <a:pt x="2934" y="1289"/>
                </a:cubicBezTo>
                <a:cubicBezTo>
                  <a:pt x="2934" y="1289"/>
                  <a:pt x="2933" y="1289"/>
                  <a:pt x="2933" y="1289"/>
                </a:cubicBezTo>
                <a:cubicBezTo>
                  <a:pt x="2933" y="1289"/>
                  <a:pt x="2933" y="1288"/>
                  <a:pt x="2932" y="1288"/>
                </a:cubicBezTo>
                <a:cubicBezTo>
                  <a:pt x="2932" y="1288"/>
                  <a:pt x="2931" y="1289"/>
                  <a:pt x="2931" y="1288"/>
                </a:cubicBezTo>
                <a:cubicBezTo>
                  <a:pt x="2932" y="1288"/>
                  <a:pt x="2933" y="1288"/>
                  <a:pt x="2933" y="1288"/>
                </a:cubicBezTo>
                <a:cubicBezTo>
                  <a:pt x="2934" y="1288"/>
                  <a:pt x="2935" y="1289"/>
                  <a:pt x="2935" y="1288"/>
                </a:cubicBezTo>
                <a:cubicBezTo>
                  <a:pt x="2935" y="1288"/>
                  <a:pt x="2934" y="1288"/>
                  <a:pt x="2934" y="1288"/>
                </a:cubicBezTo>
                <a:cubicBezTo>
                  <a:pt x="2934" y="1287"/>
                  <a:pt x="2934" y="1287"/>
                  <a:pt x="2934" y="1287"/>
                </a:cubicBezTo>
                <a:cubicBezTo>
                  <a:pt x="2933" y="1286"/>
                  <a:pt x="2933" y="1286"/>
                  <a:pt x="2932" y="1286"/>
                </a:cubicBezTo>
                <a:cubicBezTo>
                  <a:pt x="2932" y="1286"/>
                  <a:pt x="2932" y="1286"/>
                  <a:pt x="2931" y="1286"/>
                </a:cubicBezTo>
                <a:cubicBezTo>
                  <a:pt x="2931" y="1285"/>
                  <a:pt x="2933" y="1286"/>
                  <a:pt x="2934" y="1286"/>
                </a:cubicBezTo>
                <a:cubicBezTo>
                  <a:pt x="2934" y="1286"/>
                  <a:pt x="2935" y="1287"/>
                  <a:pt x="2935" y="1287"/>
                </a:cubicBezTo>
                <a:cubicBezTo>
                  <a:pt x="2936" y="1287"/>
                  <a:pt x="2936" y="1287"/>
                  <a:pt x="2936" y="1287"/>
                </a:cubicBezTo>
                <a:cubicBezTo>
                  <a:pt x="2936" y="1287"/>
                  <a:pt x="2935" y="1287"/>
                  <a:pt x="2935" y="1286"/>
                </a:cubicBezTo>
                <a:cubicBezTo>
                  <a:pt x="2935" y="1286"/>
                  <a:pt x="2935" y="1286"/>
                  <a:pt x="2935" y="1285"/>
                </a:cubicBezTo>
                <a:cubicBezTo>
                  <a:pt x="2934" y="1285"/>
                  <a:pt x="2934" y="1285"/>
                  <a:pt x="2934" y="1285"/>
                </a:cubicBezTo>
                <a:cubicBezTo>
                  <a:pt x="2933" y="1284"/>
                  <a:pt x="2933" y="1284"/>
                  <a:pt x="2933" y="1284"/>
                </a:cubicBezTo>
                <a:cubicBezTo>
                  <a:pt x="2932" y="1284"/>
                  <a:pt x="2931" y="1284"/>
                  <a:pt x="2931" y="1284"/>
                </a:cubicBezTo>
                <a:cubicBezTo>
                  <a:pt x="2931" y="1284"/>
                  <a:pt x="2930" y="1285"/>
                  <a:pt x="2930" y="1285"/>
                </a:cubicBezTo>
                <a:cubicBezTo>
                  <a:pt x="2929" y="1284"/>
                  <a:pt x="2930" y="1284"/>
                  <a:pt x="2929" y="1284"/>
                </a:cubicBezTo>
                <a:cubicBezTo>
                  <a:pt x="2929" y="1284"/>
                  <a:pt x="2928" y="1284"/>
                  <a:pt x="2928" y="1284"/>
                </a:cubicBezTo>
                <a:cubicBezTo>
                  <a:pt x="2928" y="1284"/>
                  <a:pt x="2928" y="1283"/>
                  <a:pt x="2928" y="1283"/>
                </a:cubicBezTo>
                <a:cubicBezTo>
                  <a:pt x="2928" y="1282"/>
                  <a:pt x="2928" y="1283"/>
                  <a:pt x="2929" y="1282"/>
                </a:cubicBezTo>
                <a:cubicBezTo>
                  <a:pt x="2929" y="1282"/>
                  <a:pt x="2928" y="1281"/>
                  <a:pt x="2928" y="1281"/>
                </a:cubicBezTo>
                <a:cubicBezTo>
                  <a:pt x="2928" y="1281"/>
                  <a:pt x="2929" y="1280"/>
                  <a:pt x="2928" y="1280"/>
                </a:cubicBezTo>
                <a:cubicBezTo>
                  <a:pt x="2928" y="1279"/>
                  <a:pt x="2927" y="1280"/>
                  <a:pt x="2927" y="1280"/>
                </a:cubicBezTo>
                <a:cubicBezTo>
                  <a:pt x="2927" y="1280"/>
                  <a:pt x="2926" y="1279"/>
                  <a:pt x="2926" y="1279"/>
                </a:cubicBezTo>
                <a:cubicBezTo>
                  <a:pt x="2926" y="1279"/>
                  <a:pt x="2926" y="1279"/>
                  <a:pt x="2925" y="1279"/>
                </a:cubicBezTo>
                <a:cubicBezTo>
                  <a:pt x="2925" y="1279"/>
                  <a:pt x="2924" y="1279"/>
                  <a:pt x="2924" y="1279"/>
                </a:cubicBezTo>
                <a:cubicBezTo>
                  <a:pt x="2924" y="1279"/>
                  <a:pt x="2923" y="1278"/>
                  <a:pt x="2923" y="1279"/>
                </a:cubicBezTo>
                <a:cubicBezTo>
                  <a:pt x="2923" y="1279"/>
                  <a:pt x="2924" y="1279"/>
                  <a:pt x="2924" y="1279"/>
                </a:cubicBezTo>
                <a:cubicBezTo>
                  <a:pt x="2924" y="1280"/>
                  <a:pt x="2924" y="1280"/>
                  <a:pt x="2925" y="1280"/>
                </a:cubicBezTo>
                <a:cubicBezTo>
                  <a:pt x="2925" y="1281"/>
                  <a:pt x="2925" y="1281"/>
                  <a:pt x="2925" y="1281"/>
                </a:cubicBezTo>
                <a:cubicBezTo>
                  <a:pt x="2926" y="1282"/>
                  <a:pt x="2925" y="1283"/>
                  <a:pt x="2925" y="1283"/>
                </a:cubicBezTo>
                <a:cubicBezTo>
                  <a:pt x="2926" y="1284"/>
                  <a:pt x="2926" y="1284"/>
                  <a:pt x="2926" y="1284"/>
                </a:cubicBezTo>
                <a:cubicBezTo>
                  <a:pt x="2926" y="1285"/>
                  <a:pt x="2926" y="1285"/>
                  <a:pt x="2927" y="1285"/>
                </a:cubicBezTo>
                <a:cubicBezTo>
                  <a:pt x="2927" y="1286"/>
                  <a:pt x="2927" y="1286"/>
                  <a:pt x="2928" y="1286"/>
                </a:cubicBezTo>
                <a:cubicBezTo>
                  <a:pt x="2928" y="1286"/>
                  <a:pt x="2928" y="1285"/>
                  <a:pt x="2928" y="1284"/>
                </a:cubicBezTo>
                <a:cubicBezTo>
                  <a:pt x="2928" y="1284"/>
                  <a:pt x="2928" y="1285"/>
                  <a:pt x="2928" y="1285"/>
                </a:cubicBezTo>
                <a:cubicBezTo>
                  <a:pt x="2928" y="1285"/>
                  <a:pt x="2929" y="1285"/>
                  <a:pt x="2929" y="1286"/>
                </a:cubicBezTo>
                <a:cubicBezTo>
                  <a:pt x="2929" y="1286"/>
                  <a:pt x="2929" y="1286"/>
                  <a:pt x="2929" y="1286"/>
                </a:cubicBezTo>
                <a:cubicBezTo>
                  <a:pt x="2928" y="1286"/>
                  <a:pt x="2928" y="1286"/>
                  <a:pt x="2928" y="1286"/>
                </a:cubicBezTo>
                <a:cubicBezTo>
                  <a:pt x="2928" y="1287"/>
                  <a:pt x="2928" y="1287"/>
                  <a:pt x="2927" y="1287"/>
                </a:cubicBezTo>
                <a:cubicBezTo>
                  <a:pt x="2927" y="1287"/>
                  <a:pt x="2927" y="1287"/>
                  <a:pt x="2926" y="1286"/>
                </a:cubicBezTo>
                <a:cubicBezTo>
                  <a:pt x="2926" y="1286"/>
                  <a:pt x="2926" y="1286"/>
                  <a:pt x="2926" y="1286"/>
                </a:cubicBezTo>
                <a:cubicBezTo>
                  <a:pt x="2925" y="1285"/>
                  <a:pt x="2926" y="1285"/>
                  <a:pt x="2925" y="1284"/>
                </a:cubicBezTo>
                <a:cubicBezTo>
                  <a:pt x="2925" y="1284"/>
                  <a:pt x="2925" y="1284"/>
                  <a:pt x="2925" y="1284"/>
                </a:cubicBezTo>
                <a:cubicBezTo>
                  <a:pt x="2925" y="1283"/>
                  <a:pt x="2925" y="1283"/>
                  <a:pt x="2925" y="1282"/>
                </a:cubicBezTo>
                <a:cubicBezTo>
                  <a:pt x="2924" y="1282"/>
                  <a:pt x="2924" y="1282"/>
                  <a:pt x="2924" y="1282"/>
                </a:cubicBezTo>
                <a:cubicBezTo>
                  <a:pt x="2924" y="1281"/>
                  <a:pt x="2923" y="1281"/>
                  <a:pt x="2923" y="1281"/>
                </a:cubicBezTo>
                <a:cubicBezTo>
                  <a:pt x="2923" y="1280"/>
                  <a:pt x="2923" y="1280"/>
                  <a:pt x="2922" y="1280"/>
                </a:cubicBezTo>
                <a:cubicBezTo>
                  <a:pt x="2922" y="1280"/>
                  <a:pt x="2922" y="1280"/>
                  <a:pt x="2922" y="1280"/>
                </a:cubicBezTo>
                <a:cubicBezTo>
                  <a:pt x="2921" y="1279"/>
                  <a:pt x="2922" y="1279"/>
                  <a:pt x="2921" y="1279"/>
                </a:cubicBezTo>
                <a:cubicBezTo>
                  <a:pt x="2921" y="1278"/>
                  <a:pt x="2921" y="1278"/>
                  <a:pt x="2921" y="1278"/>
                </a:cubicBezTo>
                <a:cubicBezTo>
                  <a:pt x="2920" y="1278"/>
                  <a:pt x="2920" y="1278"/>
                  <a:pt x="2920" y="1278"/>
                </a:cubicBezTo>
                <a:cubicBezTo>
                  <a:pt x="2920" y="1278"/>
                  <a:pt x="2919" y="1278"/>
                  <a:pt x="2919" y="1278"/>
                </a:cubicBezTo>
                <a:cubicBezTo>
                  <a:pt x="2919" y="1278"/>
                  <a:pt x="2918" y="1277"/>
                  <a:pt x="2919" y="1277"/>
                </a:cubicBezTo>
                <a:cubicBezTo>
                  <a:pt x="2919" y="1277"/>
                  <a:pt x="2919" y="1277"/>
                  <a:pt x="2919" y="1276"/>
                </a:cubicBezTo>
                <a:cubicBezTo>
                  <a:pt x="2920" y="1276"/>
                  <a:pt x="2920" y="1276"/>
                  <a:pt x="2920" y="1275"/>
                </a:cubicBezTo>
                <a:cubicBezTo>
                  <a:pt x="2920" y="1275"/>
                  <a:pt x="2921" y="1275"/>
                  <a:pt x="2921" y="1274"/>
                </a:cubicBezTo>
                <a:cubicBezTo>
                  <a:pt x="2921" y="1274"/>
                  <a:pt x="2920" y="1274"/>
                  <a:pt x="2920" y="1274"/>
                </a:cubicBezTo>
                <a:cubicBezTo>
                  <a:pt x="2920" y="1274"/>
                  <a:pt x="2920" y="1274"/>
                  <a:pt x="2920" y="1274"/>
                </a:cubicBezTo>
                <a:cubicBezTo>
                  <a:pt x="2920" y="1273"/>
                  <a:pt x="2920" y="1273"/>
                  <a:pt x="2919" y="1273"/>
                </a:cubicBezTo>
                <a:cubicBezTo>
                  <a:pt x="2919" y="1273"/>
                  <a:pt x="2919" y="1272"/>
                  <a:pt x="2918" y="1273"/>
                </a:cubicBezTo>
                <a:cubicBezTo>
                  <a:pt x="2918" y="1273"/>
                  <a:pt x="2918" y="1273"/>
                  <a:pt x="2918" y="1273"/>
                </a:cubicBezTo>
                <a:cubicBezTo>
                  <a:pt x="2917" y="1273"/>
                  <a:pt x="2917" y="1273"/>
                  <a:pt x="2917" y="1273"/>
                </a:cubicBezTo>
                <a:cubicBezTo>
                  <a:pt x="2916" y="1273"/>
                  <a:pt x="2916" y="1274"/>
                  <a:pt x="2916" y="1275"/>
                </a:cubicBezTo>
                <a:cubicBezTo>
                  <a:pt x="2916" y="1275"/>
                  <a:pt x="2916" y="1275"/>
                  <a:pt x="2916" y="1275"/>
                </a:cubicBezTo>
                <a:cubicBezTo>
                  <a:pt x="2916" y="1276"/>
                  <a:pt x="2916" y="1276"/>
                  <a:pt x="2916" y="1276"/>
                </a:cubicBezTo>
                <a:cubicBezTo>
                  <a:pt x="2916" y="1276"/>
                  <a:pt x="2916" y="1276"/>
                  <a:pt x="2916" y="1277"/>
                </a:cubicBezTo>
                <a:cubicBezTo>
                  <a:pt x="2916" y="1277"/>
                  <a:pt x="2917" y="1277"/>
                  <a:pt x="2916" y="1277"/>
                </a:cubicBezTo>
                <a:cubicBezTo>
                  <a:pt x="2916" y="1277"/>
                  <a:pt x="2916" y="1277"/>
                  <a:pt x="2916" y="1276"/>
                </a:cubicBezTo>
                <a:cubicBezTo>
                  <a:pt x="2916" y="1276"/>
                  <a:pt x="2916" y="1276"/>
                  <a:pt x="2915" y="1276"/>
                </a:cubicBezTo>
                <a:cubicBezTo>
                  <a:pt x="2915" y="1275"/>
                  <a:pt x="2915" y="1274"/>
                  <a:pt x="2914" y="1274"/>
                </a:cubicBezTo>
                <a:cubicBezTo>
                  <a:pt x="2914" y="1274"/>
                  <a:pt x="2914" y="1274"/>
                  <a:pt x="2913" y="1273"/>
                </a:cubicBezTo>
                <a:cubicBezTo>
                  <a:pt x="2913" y="1273"/>
                  <a:pt x="2913" y="1272"/>
                  <a:pt x="2913" y="1272"/>
                </a:cubicBezTo>
                <a:cubicBezTo>
                  <a:pt x="2912" y="1272"/>
                  <a:pt x="2912" y="1272"/>
                  <a:pt x="2912" y="1272"/>
                </a:cubicBezTo>
                <a:cubicBezTo>
                  <a:pt x="2911" y="1272"/>
                  <a:pt x="2909" y="1271"/>
                  <a:pt x="2909" y="1272"/>
                </a:cubicBezTo>
                <a:cubicBezTo>
                  <a:pt x="2909" y="1272"/>
                  <a:pt x="2909" y="1272"/>
                  <a:pt x="2909" y="1272"/>
                </a:cubicBezTo>
                <a:cubicBezTo>
                  <a:pt x="2909" y="1272"/>
                  <a:pt x="2909" y="1273"/>
                  <a:pt x="2909" y="1273"/>
                </a:cubicBezTo>
                <a:cubicBezTo>
                  <a:pt x="2909" y="1273"/>
                  <a:pt x="2909" y="1273"/>
                  <a:pt x="2909" y="1273"/>
                </a:cubicBezTo>
                <a:cubicBezTo>
                  <a:pt x="2909" y="1273"/>
                  <a:pt x="2910" y="1273"/>
                  <a:pt x="2910" y="1274"/>
                </a:cubicBezTo>
                <a:cubicBezTo>
                  <a:pt x="2909" y="1274"/>
                  <a:pt x="2909" y="1273"/>
                  <a:pt x="2909" y="1273"/>
                </a:cubicBezTo>
                <a:cubicBezTo>
                  <a:pt x="2908" y="1273"/>
                  <a:pt x="2908" y="1273"/>
                  <a:pt x="2908" y="1273"/>
                </a:cubicBezTo>
                <a:cubicBezTo>
                  <a:pt x="2907" y="1273"/>
                  <a:pt x="2907" y="1273"/>
                  <a:pt x="2907" y="1272"/>
                </a:cubicBezTo>
                <a:cubicBezTo>
                  <a:pt x="2907" y="1272"/>
                  <a:pt x="2907" y="1272"/>
                  <a:pt x="2906" y="1272"/>
                </a:cubicBezTo>
                <a:cubicBezTo>
                  <a:pt x="2906" y="1271"/>
                  <a:pt x="2905" y="1271"/>
                  <a:pt x="2905" y="1270"/>
                </a:cubicBezTo>
                <a:cubicBezTo>
                  <a:pt x="2904" y="1270"/>
                  <a:pt x="2904" y="1270"/>
                  <a:pt x="2904" y="1269"/>
                </a:cubicBezTo>
                <a:cubicBezTo>
                  <a:pt x="2904" y="1269"/>
                  <a:pt x="2904" y="1269"/>
                  <a:pt x="2904" y="1269"/>
                </a:cubicBezTo>
                <a:cubicBezTo>
                  <a:pt x="2904" y="1268"/>
                  <a:pt x="2903" y="1268"/>
                  <a:pt x="2903" y="1268"/>
                </a:cubicBezTo>
                <a:cubicBezTo>
                  <a:pt x="2903" y="1267"/>
                  <a:pt x="2903" y="1267"/>
                  <a:pt x="2902" y="1267"/>
                </a:cubicBezTo>
                <a:cubicBezTo>
                  <a:pt x="2902" y="1267"/>
                  <a:pt x="2902" y="1267"/>
                  <a:pt x="2901" y="1267"/>
                </a:cubicBezTo>
                <a:cubicBezTo>
                  <a:pt x="2901" y="1267"/>
                  <a:pt x="2901" y="1268"/>
                  <a:pt x="2901" y="1267"/>
                </a:cubicBezTo>
                <a:cubicBezTo>
                  <a:pt x="2900" y="1267"/>
                  <a:pt x="2900" y="1267"/>
                  <a:pt x="2900" y="1266"/>
                </a:cubicBezTo>
                <a:cubicBezTo>
                  <a:pt x="2900" y="1266"/>
                  <a:pt x="2900" y="1266"/>
                  <a:pt x="2900" y="1265"/>
                </a:cubicBezTo>
                <a:cubicBezTo>
                  <a:pt x="2900" y="1265"/>
                  <a:pt x="2900" y="1264"/>
                  <a:pt x="2899" y="1264"/>
                </a:cubicBezTo>
                <a:cubicBezTo>
                  <a:pt x="2899" y="1263"/>
                  <a:pt x="2898" y="1263"/>
                  <a:pt x="2897" y="1262"/>
                </a:cubicBezTo>
                <a:cubicBezTo>
                  <a:pt x="2897" y="1262"/>
                  <a:pt x="2896" y="1261"/>
                  <a:pt x="2896" y="1261"/>
                </a:cubicBezTo>
                <a:cubicBezTo>
                  <a:pt x="2895" y="1260"/>
                  <a:pt x="2894" y="1260"/>
                  <a:pt x="2894" y="1259"/>
                </a:cubicBezTo>
                <a:cubicBezTo>
                  <a:pt x="2893" y="1258"/>
                  <a:pt x="2892" y="1257"/>
                  <a:pt x="2892" y="1257"/>
                </a:cubicBezTo>
                <a:cubicBezTo>
                  <a:pt x="2891" y="1256"/>
                  <a:pt x="2890" y="1256"/>
                  <a:pt x="2890" y="1256"/>
                </a:cubicBezTo>
                <a:cubicBezTo>
                  <a:pt x="2889" y="1256"/>
                  <a:pt x="2887" y="1255"/>
                  <a:pt x="2886" y="1254"/>
                </a:cubicBezTo>
                <a:cubicBezTo>
                  <a:pt x="2885" y="1253"/>
                  <a:pt x="2885" y="1253"/>
                  <a:pt x="2884" y="1252"/>
                </a:cubicBezTo>
                <a:cubicBezTo>
                  <a:pt x="2884" y="1251"/>
                  <a:pt x="2883" y="1251"/>
                  <a:pt x="2882" y="1251"/>
                </a:cubicBezTo>
                <a:cubicBezTo>
                  <a:pt x="2882" y="1251"/>
                  <a:pt x="2882" y="1250"/>
                  <a:pt x="2881" y="1250"/>
                </a:cubicBezTo>
                <a:cubicBezTo>
                  <a:pt x="2881" y="1250"/>
                  <a:pt x="2880" y="1250"/>
                  <a:pt x="2880" y="1250"/>
                </a:cubicBezTo>
                <a:cubicBezTo>
                  <a:pt x="2879" y="1249"/>
                  <a:pt x="2880" y="1249"/>
                  <a:pt x="2880" y="1248"/>
                </a:cubicBezTo>
                <a:cubicBezTo>
                  <a:pt x="2881" y="1248"/>
                  <a:pt x="2880" y="1247"/>
                  <a:pt x="2880" y="1247"/>
                </a:cubicBezTo>
                <a:cubicBezTo>
                  <a:pt x="2880" y="1247"/>
                  <a:pt x="2879" y="1247"/>
                  <a:pt x="2879" y="1246"/>
                </a:cubicBezTo>
                <a:cubicBezTo>
                  <a:pt x="2879" y="1246"/>
                  <a:pt x="2878" y="1246"/>
                  <a:pt x="2878" y="1245"/>
                </a:cubicBezTo>
                <a:cubicBezTo>
                  <a:pt x="2878" y="1245"/>
                  <a:pt x="2877" y="1245"/>
                  <a:pt x="2877" y="1245"/>
                </a:cubicBezTo>
                <a:cubicBezTo>
                  <a:pt x="2877" y="1245"/>
                  <a:pt x="2877" y="1244"/>
                  <a:pt x="2877" y="1244"/>
                </a:cubicBezTo>
                <a:cubicBezTo>
                  <a:pt x="2877" y="1244"/>
                  <a:pt x="2877" y="1244"/>
                  <a:pt x="2877" y="1244"/>
                </a:cubicBezTo>
                <a:cubicBezTo>
                  <a:pt x="2877" y="1244"/>
                  <a:pt x="2877" y="1244"/>
                  <a:pt x="2877" y="1243"/>
                </a:cubicBezTo>
                <a:cubicBezTo>
                  <a:pt x="2877" y="1243"/>
                  <a:pt x="2877" y="1242"/>
                  <a:pt x="2877" y="1242"/>
                </a:cubicBezTo>
                <a:cubicBezTo>
                  <a:pt x="2876" y="1241"/>
                  <a:pt x="2876" y="1241"/>
                  <a:pt x="2875" y="1240"/>
                </a:cubicBezTo>
                <a:cubicBezTo>
                  <a:pt x="2875" y="1240"/>
                  <a:pt x="2874" y="1239"/>
                  <a:pt x="2874" y="1239"/>
                </a:cubicBezTo>
                <a:cubicBezTo>
                  <a:pt x="2873" y="1238"/>
                  <a:pt x="2872" y="1236"/>
                  <a:pt x="2871" y="1237"/>
                </a:cubicBezTo>
                <a:cubicBezTo>
                  <a:pt x="2870" y="1237"/>
                  <a:pt x="2870" y="1237"/>
                  <a:pt x="2870" y="1237"/>
                </a:cubicBezTo>
                <a:cubicBezTo>
                  <a:pt x="2870" y="1238"/>
                  <a:pt x="2869" y="1238"/>
                  <a:pt x="2869" y="1238"/>
                </a:cubicBezTo>
                <a:cubicBezTo>
                  <a:pt x="2869" y="1238"/>
                  <a:pt x="2868" y="1238"/>
                  <a:pt x="2868" y="1238"/>
                </a:cubicBezTo>
                <a:cubicBezTo>
                  <a:pt x="2868" y="1238"/>
                  <a:pt x="2867" y="1238"/>
                  <a:pt x="2867" y="1237"/>
                </a:cubicBezTo>
                <a:cubicBezTo>
                  <a:pt x="2867" y="1237"/>
                  <a:pt x="2867" y="1237"/>
                  <a:pt x="2867" y="1237"/>
                </a:cubicBezTo>
                <a:cubicBezTo>
                  <a:pt x="2866" y="1237"/>
                  <a:pt x="2866" y="1237"/>
                  <a:pt x="2865" y="1237"/>
                </a:cubicBezTo>
                <a:cubicBezTo>
                  <a:pt x="2865" y="1237"/>
                  <a:pt x="2865" y="1236"/>
                  <a:pt x="2864" y="1236"/>
                </a:cubicBezTo>
                <a:cubicBezTo>
                  <a:pt x="2863" y="1237"/>
                  <a:pt x="2863" y="1237"/>
                  <a:pt x="2862" y="1237"/>
                </a:cubicBezTo>
                <a:cubicBezTo>
                  <a:pt x="2862" y="1237"/>
                  <a:pt x="2861" y="1237"/>
                  <a:pt x="2860" y="1237"/>
                </a:cubicBezTo>
                <a:cubicBezTo>
                  <a:pt x="2859" y="1237"/>
                  <a:pt x="2858" y="1237"/>
                  <a:pt x="2858" y="1237"/>
                </a:cubicBezTo>
                <a:cubicBezTo>
                  <a:pt x="2857" y="1236"/>
                  <a:pt x="2857" y="1236"/>
                  <a:pt x="2857" y="1236"/>
                </a:cubicBezTo>
                <a:cubicBezTo>
                  <a:pt x="2857" y="1236"/>
                  <a:pt x="2856" y="1236"/>
                  <a:pt x="2856" y="1236"/>
                </a:cubicBezTo>
                <a:cubicBezTo>
                  <a:pt x="2856" y="1236"/>
                  <a:pt x="2855" y="1236"/>
                  <a:pt x="2855" y="1235"/>
                </a:cubicBezTo>
                <a:cubicBezTo>
                  <a:pt x="2854" y="1235"/>
                  <a:pt x="2854" y="1235"/>
                  <a:pt x="2853" y="1234"/>
                </a:cubicBezTo>
                <a:cubicBezTo>
                  <a:pt x="2853" y="1234"/>
                  <a:pt x="2852" y="1234"/>
                  <a:pt x="2852" y="1234"/>
                </a:cubicBezTo>
                <a:cubicBezTo>
                  <a:pt x="2852" y="1233"/>
                  <a:pt x="2851" y="1233"/>
                  <a:pt x="2851" y="1233"/>
                </a:cubicBezTo>
                <a:cubicBezTo>
                  <a:pt x="2850" y="1233"/>
                  <a:pt x="2850" y="1233"/>
                  <a:pt x="2849" y="1233"/>
                </a:cubicBezTo>
                <a:cubicBezTo>
                  <a:pt x="2848" y="1233"/>
                  <a:pt x="2848" y="1232"/>
                  <a:pt x="2847" y="1233"/>
                </a:cubicBezTo>
                <a:cubicBezTo>
                  <a:pt x="2847" y="1233"/>
                  <a:pt x="2847" y="1233"/>
                  <a:pt x="2847" y="1233"/>
                </a:cubicBezTo>
                <a:cubicBezTo>
                  <a:pt x="2846" y="1233"/>
                  <a:pt x="2846" y="1233"/>
                  <a:pt x="2846" y="1233"/>
                </a:cubicBezTo>
                <a:cubicBezTo>
                  <a:pt x="2846" y="1233"/>
                  <a:pt x="2846" y="1234"/>
                  <a:pt x="2846" y="1234"/>
                </a:cubicBezTo>
                <a:cubicBezTo>
                  <a:pt x="2845" y="1235"/>
                  <a:pt x="2846" y="1236"/>
                  <a:pt x="2846" y="1237"/>
                </a:cubicBezTo>
                <a:cubicBezTo>
                  <a:pt x="2847" y="1237"/>
                  <a:pt x="2847" y="1238"/>
                  <a:pt x="2848" y="1239"/>
                </a:cubicBezTo>
                <a:cubicBezTo>
                  <a:pt x="2848" y="1240"/>
                  <a:pt x="2849" y="1241"/>
                  <a:pt x="2849" y="1243"/>
                </a:cubicBezTo>
                <a:cubicBezTo>
                  <a:pt x="2850" y="1243"/>
                  <a:pt x="2851" y="1244"/>
                  <a:pt x="2852" y="1245"/>
                </a:cubicBezTo>
                <a:cubicBezTo>
                  <a:pt x="2853" y="1246"/>
                  <a:pt x="2853" y="1247"/>
                  <a:pt x="2854" y="1248"/>
                </a:cubicBezTo>
                <a:cubicBezTo>
                  <a:pt x="2855" y="1249"/>
                  <a:pt x="2857" y="1251"/>
                  <a:pt x="2858" y="1252"/>
                </a:cubicBezTo>
                <a:cubicBezTo>
                  <a:pt x="2859" y="1252"/>
                  <a:pt x="2859" y="1253"/>
                  <a:pt x="2860" y="1253"/>
                </a:cubicBezTo>
                <a:cubicBezTo>
                  <a:pt x="2861" y="1254"/>
                  <a:pt x="2861" y="1254"/>
                  <a:pt x="2862" y="1255"/>
                </a:cubicBezTo>
                <a:cubicBezTo>
                  <a:pt x="2863" y="1255"/>
                  <a:pt x="2864" y="1255"/>
                  <a:pt x="2864" y="1256"/>
                </a:cubicBezTo>
                <a:cubicBezTo>
                  <a:pt x="2865" y="1256"/>
                  <a:pt x="2866" y="1257"/>
                  <a:pt x="2866" y="1257"/>
                </a:cubicBezTo>
                <a:cubicBezTo>
                  <a:pt x="2867" y="1258"/>
                  <a:pt x="2867" y="1259"/>
                  <a:pt x="2868" y="1259"/>
                </a:cubicBezTo>
                <a:cubicBezTo>
                  <a:pt x="2869" y="1260"/>
                  <a:pt x="2869" y="1260"/>
                  <a:pt x="2870" y="1261"/>
                </a:cubicBezTo>
                <a:cubicBezTo>
                  <a:pt x="2871" y="1262"/>
                  <a:pt x="2871" y="1263"/>
                  <a:pt x="2872" y="1263"/>
                </a:cubicBezTo>
                <a:cubicBezTo>
                  <a:pt x="2872" y="1264"/>
                  <a:pt x="2873" y="1264"/>
                  <a:pt x="2873" y="1265"/>
                </a:cubicBezTo>
                <a:cubicBezTo>
                  <a:pt x="2873" y="1266"/>
                  <a:pt x="2873" y="1267"/>
                  <a:pt x="2873" y="1267"/>
                </a:cubicBezTo>
                <a:cubicBezTo>
                  <a:pt x="2873" y="1268"/>
                  <a:pt x="2873" y="1268"/>
                  <a:pt x="2873" y="1269"/>
                </a:cubicBezTo>
                <a:cubicBezTo>
                  <a:pt x="2874" y="1269"/>
                  <a:pt x="2874" y="1269"/>
                  <a:pt x="2874" y="1270"/>
                </a:cubicBezTo>
                <a:cubicBezTo>
                  <a:pt x="2874" y="1270"/>
                  <a:pt x="2874" y="1271"/>
                  <a:pt x="2874" y="1271"/>
                </a:cubicBezTo>
                <a:cubicBezTo>
                  <a:pt x="2875" y="1272"/>
                  <a:pt x="2877" y="1271"/>
                  <a:pt x="2878" y="1272"/>
                </a:cubicBezTo>
                <a:cubicBezTo>
                  <a:pt x="2878" y="1272"/>
                  <a:pt x="2879" y="1273"/>
                  <a:pt x="2880" y="1273"/>
                </a:cubicBezTo>
                <a:cubicBezTo>
                  <a:pt x="2880" y="1273"/>
                  <a:pt x="2881" y="1273"/>
                  <a:pt x="2882" y="1274"/>
                </a:cubicBezTo>
                <a:cubicBezTo>
                  <a:pt x="2883" y="1274"/>
                  <a:pt x="2883" y="1275"/>
                  <a:pt x="2884" y="1276"/>
                </a:cubicBezTo>
                <a:cubicBezTo>
                  <a:pt x="2884" y="1276"/>
                  <a:pt x="2885" y="1276"/>
                  <a:pt x="2886" y="1277"/>
                </a:cubicBezTo>
                <a:cubicBezTo>
                  <a:pt x="2886" y="1277"/>
                  <a:pt x="2886" y="1278"/>
                  <a:pt x="2886" y="1279"/>
                </a:cubicBezTo>
                <a:cubicBezTo>
                  <a:pt x="2886" y="1280"/>
                  <a:pt x="2886" y="1281"/>
                  <a:pt x="2887" y="1282"/>
                </a:cubicBezTo>
                <a:cubicBezTo>
                  <a:pt x="2887" y="1283"/>
                  <a:pt x="2888" y="1285"/>
                  <a:pt x="2888" y="1287"/>
                </a:cubicBezTo>
                <a:cubicBezTo>
                  <a:pt x="2888" y="1288"/>
                  <a:pt x="2889" y="1288"/>
                  <a:pt x="2889" y="1289"/>
                </a:cubicBezTo>
                <a:cubicBezTo>
                  <a:pt x="2889" y="1290"/>
                  <a:pt x="2889" y="1291"/>
                  <a:pt x="2890" y="1292"/>
                </a:cubicBezTo>
                <a:cubicBezTo>
                  <a:pt x="2890" y="1292"/>
                  <a:pt x="2890" y="1292"/>
                  <a:pt x="2890" y="1293"/>
                </a:cubicBezTo>
                <a:cubicBezTo>
                  <a:pt x="2890" y="1293"/>
                  <a:pt x="2890" y="1293"/>
                  <a:pt x="2890" y="1294"/>
                </a:cubicBezTo>
                <a:cubicBezTo>
                  <a:pt x="2891" y="1294"/>
                  <a:pt x="2891" y="1294"/>
                  <a:pt x="2892" y="1294"/>
                </a:cubicBezTo>
                <a:cubicBezTo>
                  <a:pt x="2893" y="1294"/>
                  <a:pt x="2893" y="1295"/>
                  <a:pt x="2894" y="1295"/>
                </a:cubicBezTo>
                <a:cubicBezTo>
                  <a:pt x="2894" y="1295"/>
                  <a:pt x="2895" y="1295"/>
                  <a:pt x="2895" y="1296"/>
                </a:cubicBezTo>
                <a:cubicBezTo>
                  <a:pt x="2896" y="1297"/>
                  <a:pt x="2896" y="1297"/>
                  <a:pt x="2897" y="1298"/>
                </a:cubicBezTo>
                <a:cubicBezTo>
                  <a:pt x="2897" y="1298"/>
                  <a:pt x="2897" y="1299"/>
                  <a:pt x="2898" y="1299"/>
                </a:cubicBezTo>
                <a:cubicBezTo>
                  <a:pt x="2898" y="1300"/>
                  <a:pt x="2898" y="1300"/>
                  <a:pt x="2899" y="1301"/>
                </a:cubicBezTo>
                <a:cubicBezTo>
                  <a:pt x="2899" y="1302"/>
                  <a:pt x="2900" y="1302"/>
                  <a:pt x="2901" y="1303"/>
                </a:cubicBezTo>
                <a:cubicBezTo>
                  <a:pt x="2901" y="1303"/>
                  <a:pt x="2902" y="1304"/>
                  <a:pt x="2902" y="1305"/>
                </a:cubicBezTo>
                <a:cubicBezTo>
                  <a:pt x="2903" y="1305"/>
                  <a:pt x="2903" y="1306"/>
                  <a:pt x="2904" y="1306"/>
                </a:cubicBezTo>
                <a:cubicBezTo>
                  <a:pt x="2904" y="1307"/>
                  <a:pt x="2904" y="1308"/>
                  <a:pt x="2904" y="1309"/>
                </a:cubicBezTo>
                <a:cubicBezTo>
                  <a:pt x="2904" y="1310"/>
                  <a:pt x="2904" y="1311"/>
                  <a:pt x="2905" y="1311"/>
                </a:cubicBezTo>
                <a:cubicBezTo>
                  <a:pt x="2905" y="1312"/>
                  <a:pt x="2906" y="1313"/>
                  <a:pt x="2906" y="1314"/>
                </a:cubicBezTo>
                <a:cubicBezTo>
                  <a:pt x="2907" y="1315"/>
                  <a:pt x="2909" y="1317"/>
                  <a:pt x="2910" y="1318"/>
                </a:cubicBezTo>
                <a:cubicBezTo>
                  <a:pt x="2911" y="1320"/>
                  <a:pt x="2911" y="1322"/>
                  <a:pt x="2911" y="1323"/>
                </a:cubicBezTo>
                <a:cubicBezTo>
                  <a:pt x="2912" y="1327"/>
                  <a:pt x="2915" y="1330"/>
                  <a:pt x="2918" y="1333"/>
                </a:cubicBezTo>
                <a:cubicBezTo>
                  <a:pt x="2920" y="1335"/>
                  <a:pt x="2921" y="1336"/>
                  <a:pt x="2923" y="1337"/>
                </a:cubicBezTo>
                <a:cubicBezTo>
                  <a:pt x="2924" y="1338"/>
                  <a:pt x="2925" y="1339"/>
                  <a:pt x="2926" y="1341"/>
                </a:cubicBezTo>
                <a:cubicBezTo>
                  <a:pt x="2926" y="1342"/>
                  <a:pt x="2928" y="1343"/>
                  <a:pt x="2929" y="1344"/>
                </a:cubicBezTo>
                <a:cubicBezTo>
                  <a:pt x="2930" y="1344"/>
                  <a:pt x="2930" y="1345"/>
                  <a:pt x="2931" y="1346"/>
                </a:cubicBezTo>
                <a:cubicBezTo>
                  <a:pt x="2931" y="1347"/>
                  <a:pt x="2932" y="1347"/>
                  <a:pt x="2933" y="1347"/>
                </a:cubicBezTo>
                <a:cubicBezTo>
                  <a:pt x="2934" y="1347"/>
                  <a:pt x="2934" y="1348"/>
                  <a:pt x="2935" y="1348"/>
                </a:cubicBezTo>
                <a:cubicBezTo>
                  <a:pt x="2935" y="1349"/>
                  <a:pt x="2936" y="1349"/>
                  <a:pt x="2937" y="1350"/>
                </a:cubicBezTo>
                <a:cubicBezTo>
                  <a:pt x="2937" y="1350"/>
                  <a:pt x="2938" y="1351"/>
                  <a:pt x="2939" y="1351"/>
                </a:cubicBezTo>
                <a:cubicBezTo>
                  <a:pt x="2939" y="1352"/>
                  <a:pt x="2940" y="1352"/>
                  <a:pt x="2940" y="1353"/>
                </a:cubicBezTo>
                <a:cubicBezTo>
                  <a:pt x="2941" y="1353"/>
                  <a:pt x="2942" y="1354"/>
                  <a:pt x="2943" y="1355"/>
                </a:cubicBezTo>
                <a:cubicBezTo>
                  <a:pt x="2944" y="1356"/>
                  <a:pt x="2944" y="1356"/>
                  <a:pt x="2945" y="1357"/>
                </a:cubicBezTo>
                <a:cubicBezTo>
                  <a:pt x="2946" y="1357"/>
                  <a:pt x="2946" y="1358"/>
                  <a:pt x="2947" y="1359"/>
                </a:cubicBezTo>
                <a:cubicBezTo>
                  <a:pt x="2947" y="1359"/>
                  <a:pt x="2947" y="1360"/>
                  <a:pt x="2948" y="1361"/>
                </a:cubicBezTo>
                <a:cubicBezTo>
                  <a:pt x="2948" y="1361"/>
                  <a:pt x="2949" y="1361"/>
                  <a:pt x="2950" y="1361"/>
                </a:cubicBezTo>
                <a:cubicBezTo>
                  <a:pt x="2950" y="1362"/>
                  <a:pt x="2950" y="1362"/>
                  <a:pt x="2950" y="1362"/>
                </a:cubicBezTo>
                <a:cubicBezTo>
                  <a:pt x="2950" y="1363"/>
                  <a:pt x="2951" y="1363"/>
                  <a:pt x="2951" y="1363"/>
                </a:cubicBezTo>
                <a:cubicBezTo>
                  <a:pt x="2951" y="1364"/>
                  <a:pt x="2952" y="1365"/>
                  <a:pt x="2952" y="1365"/>
                </a:cubicBezTo>
                <a:cubicBezTo>
                  <a:pt x="2953" y="1365"/>
                  <a:pt x="2953" y="1363"/>
                  <a:pt x="2953" y="1363"/>
                </a:cubicBezTo>
                <a:cubicBezTo>
                  <a:pt x="2953" y="1362"/>
                  <a:pt x="2952" y="1362"/>
                  <a:pt x="2952" y="1361"/>
                </a:cubicBezTo>
                <a:cubicBezTo>
                  <a:pt x="2952" y="1360"/>
                  <a:pt x="2953" y="1359"/>
                  <a:pt x="2954" y="1360"/>
                </a:cubicBezTo>
                <a:cubicBezTo>
                  <a:pt x="2954" y="1360"/>
                  <a:pt x="2954" y="1360"/>
                  <a:pt x="2955" y="1361"/>
                </a:cubicBezTo>
                <a:cubicBezTo>
                  <a:pt x="2955" y="1361"/>
                  <a:pt x="2955" y="1361"/>
                  <a:pt x="2956" y="1361"/>
                </a:cubicBezTo>
                <a:cubicBezTo>
                  <a:pt x="2956" y="1362"/>
                  <a:pt x="2956" y="1362"/>
                  <a:pt x="2957" y="1362"/>
                </a:cubicBezTo>
                <a:cubicBezTo>
                  <a:pt x="2957" y="1362"/>
                  <a:pt x="2957" y="1362"/>
                  <a:pt x="2958" y="1362"/>
                </a:cubicBezTo>
                <a:cubicBezTo>
                  <a:pt x="2958" y="1362"/>
                  <a:pt x="2959" y="1363"/>
                  <a:pt x="2959" y="1362"/>
                </a:cubicBezTo>
                <a:cubicBezTo>
                  <a:pt x="2960" y="1362"/>
                  <a:pt x="2960" y="1361"/>
                  <a:pt x="2960" y="1360"/>
                </a:cubicBezTo>
                <a:cubicBezTo>
                  <a:pt x="2960" y="1360"/>
                  <a:pt x="2961" y="1360"/>
                  <a:pt x="2962" y="1360"/>
                </a:cubicBezTo>
                <a:cubicBezTo>
                  <a:pt x="2962" y="1360"/>
                  <a:pt x="2962" y="1361"/>
                  <a:pt x="2962" y="1361"/>
                </a:cubicBezTo>
                <a:cubicBezTo>
                  <a:pt x="2962" y="1361"/>
                  <a:pt x="2963" y="1362"/>
                  <a:pt x="2963" y="1362"/>
                </a:cubicBezTo>
                <a:cubicBezTo>
                  <a:pt x="2963" y="1362"/>
                  <a:pt x="2963" y="1362"/>
                  <a:pt x="2964" y="1362"/>
                </a:cubicBezTo>
                <a:close/>
                <a:moveTo>
                  <a:pt x="1278" y="471"/>
                </a:moveTo>
                <a:cubicBezTo>
                  <a:pt x="1278" y="471"/>
                  <a:pt x="1278" y="472"/>
                  <a:pt x="1279" y="471"/>
                </a:cubicBezTo>
                <a:cubicBezTo>
                  <a:pt x="1279" y="471"/>
                  <a:pt x="1279" y="470"/>
                  <a:pt x="1278" y="470"/>
                </a:cubicBezTo>
                <a:cubicBezTo>
                  <a:pt x="1278" y="470"/>
                  <a:pt x="1278" y="470"/>
                  <a:pt x="1278" y="471"/>
                </a:cubicBezTo>
                <a:close/>
                <a:moveTo>
                  <a:pt x="1156" y="305"/>
                </a:moveTo>
                <a:cubicBezTo>
                  <a:pt x="1157" y="305"/>
                  <a:pt x="1157" y="306"/>
                  <a:pt x="1158" y="305"/>
                </a:cubicBezTo>
                <a:cubicBezTo>
                  <a:pt x="1158" y="305"/>
                  <a:pt x="1159" y="305"/>
                  <a:pt x="1159" y="305"/>
                </a:cubicBezTo>
                <a:cubicBezTo>
                  <a:pt x="1159" y="304"/>
                  <a:pt x="1160" y="304"/>
                  <a:pt x="1160" y="304"/>
                </a:cubicBezTo>
                <a:cubicBezTo>
                  <a:pt x="1161" y="303"/>
                  <a:pt x="1162" y="304"/>
                  <a:pt x="1162" y="303"/>
                </a:cubicBezTo>
                <a:cubicBezTo>
                  <a:pt x="1163" y="302"/>
                  <a:pt x="1161" y="302"/>
                  <a:pt x="1160" y="302"/>
                </a:cubicBezTo>
                <a:cubicBezTo>
                  <a:pt x="1160" y="302"/>
                  <a:pt x="1159" y="302"/>
                  <a:pt x="1158" y="302"/>
                </a:cubicBezTo>
                <a:cubicBezTo>
                  <a:pt x="1157" y="302"/>
                  <a:pt x="1157" y="302"/>
                  <a:pt x="1156" y="302"/>
                </a:cubicBezTo>
                <a:cubicBezTo>
                  <a:pt x="1156" y="301"/>
                  <a:pt x="1155" y="301"/>
                  <a:pt x="1154" y="301"/>
                </a:cubicBezTo>
                <a:cubicBezTo>
                  <a:pt x="1153" y="301"/>
                  <a:pt x="1154" y="303"/>
                  <a:pt x="1154" y="303"/>
                </a:cubicBezTo>
                <a:cubicBezTo>
                  <a:pt x="1154" y="305"/>
                  <a:pt x="1155" y="304"/>
                  <a:pt x="1156" y="305"/>
                </a:cubicBezTo>
                <a:close/>
                <a:moveTo>
                  <a:pt x="1551" y="222"/>
                </a:moveTo>
                <a:cubicBezTo>
                  <a:pt x="1552" y="222"/>
                  <a:pt x="1554" y="222"/>
                  <a:pt x="1555" y="222"/>
                </a:cubicBezTo>
                <a:cubicBezTo>
                  <a:pt x="1556" y="222"/>
                  <a:pt x="1556" y="222"/>
                  <a:pt x="1557" y="223"/>
                </a:cubicBezTo>
                <a:cubicBezTo>
                  <a:pt x="1557" y="223"/>
                  <a:pt x="1558" y="223"/>
                  <a:pt x="1559" y="223"/>
                </a:cubicBezTo>
                <a:cubicBezTo>
                  <a:pt x="1559" y="223"/>
                  <a:pt x="1559" y="223"/>
                  <a:pt x="1560" y="223"/>
                </a:cubicBezTo>
                <a:cubicBezTo>
                  <a:pt x="1560" y="223"/>
                  <a:pt x="1560" y="222"/>
                  <a:pt x="1561" y="222"/>
                </a:cubicBezTo>
                <a:cubicBezTo>
                  <a:pt x="1561" y="222"/>
                  <a:pt x="1561" y="221"/>
                  <a:pt x="1562" y="221"/>
                </a:cubicBezTo>
                <a:cubicBezTo>
                  <a:pt x="1562" y="221"/>
                  <a:pt x="1563" y="221"/>
                  <a:pt x="1563" y="220"/>
                </a:cubicBezTo>
                <a:cubicBezTo>
                  <a:pt x="1563" y="219"/>
                  <a:pt x="1563" y="218"/>
                  <a:pt x="1563" y="218"/>
                </a:cubicBezTo>
                <a:cubicBezTo>
                  <a:pt x="1562" y="217"/>
                  <a:pt x="1561" y="218"/>
                  <a:pt x="1561" y="219"/>
                </a:cubicBezTo>
                <a:cubicBezTo>
                  <a:pt x="1560" y="219"/>
                  <a:pt x="1559" y="219"/>
                  <a:pt x="1558" y="219"/>
                </a:cubicBezTo>
                <a:cubicBezTo>
                  <a:pt x="1557" y="219"/>
                  <a:pt x="1556" y="219"/>
                  <a:pt x="1556" y="219"/>
                </a:cubicBezTo>
                <a:cubicBezTo>
                  <a:pt x="1555" y="218"/>
                  <a:pt x="1555" y="217"/>
                  <a:pt x="1555" y="216"/>
                </a:cubicBezTo>
                <a:cubicBezTo>
                  <a:pt x="1556" y="216"/>
                  <a:pt x="1557" y="215"/>
                  <a:pt x="1557" y="215"/>
                </a:cubicBezTo>
                <a:cubicBezTo>
                  <a:pt x="1557" y="214"/>
                  <a:pt x="1557" y="214"/>
                  <a:pt x="1557" y="213"/>
                </a:cubicBezTo>
                <a:cubicBezTo>
                  <a:pt x="1556" y="213"/>
                  <a:pt x="1556" y="212"/>
                  <a:pt x="1555" y="212"/>
                </a:cubicBezTo>
                <a:cubicBezTo>
                  <a:pt x="1554" y="211"/>
                  <a:pt x="1554" y="212"/>
                  <a:pt x="1554" y="213"/>
                </a:cubicBezTo>
                <a:cubicBezTo>
                  <a:pt x="1553" y="214"/>
                  <a:pt x="1553" y="214"/>
                  <a:pt x="1552" y="214"/>
                </a:cubicBezTo>
                <a:cubicBezTo>
                  <a:pt x="1551" y="214"/>
                  <a:pt x="1551" y="214"/>
                  <a:pt x="1551" y="214"/>
                </a:cubicBezTo>
                <a:cubicBezTo>
                  <a:pt x="1550" y="213"/>
                  <a:pt x="1550" y="213"/>
                  <a:pt x="1550" y="213"/>
                </a:cubicBezTo>
                <a:cubicBezTo>
                  <a:pt x="1549" y="213"/>
                  <a:pt x="1548" y="213"/>
                  <a:pt x="1547" y="213"/>
                </a:cubicBezTo>
                <a:cubicBezTo>
                  <a:pt x="1546" y="213"/>
                  <a:pt x="1545" y="213"/>
                  <a:pt x="1545" y="215"/>
                </a:cubicBezTo>
                <a:cubicBezTo>
                  <a:pt x="1545" y="215"/>
                  <a:pt x="1545" y="216"/>
                  <a:pt x="1545" y="216"/>
                </a:cubicBezTo>
                <a:cubicBezTo>
                  <a:pt x="1545" y="217"/>
                  <a:pt x="1545" y="218"/>
                  <a:pt x="1545" y="218"/>
                </a:cubicBezTo>
                <a:cubicBezTo>
                  <a:pt x="1545" y="219"/>
                  <a:pt x="1545" y="220"/>
                  <a:pt x="1545" y="221"/>
                </a:cubicBezTo>
                <a:cubicBezTo>
                  <a:pt x="1547" y="223"/>
                  <a:pt x="1549" y="222"/>
                  <a:pt x="1551" y="222"/>
                </a:cubicBezTo>
                <a:close/>
                <a:moveTo>
                  <a:pt x="1553" y="158"/>
                </a:moveTo>
                <a:cubicBezTo>
                  <a:pt x="1554" y="158"/>
                  <a:pt x="1554" y="158"/>
                  <a:pt x="1554" y="158"/>
                </a:cubicBezTo>
                <a:cubicBezTo>
                  <a:pt x="1555" y="158"/>
                  <a:pt x="1555" y="158"/>
                  <a:pt x="1556" y="158"/>
                </a:cubicBezTo>
                <a:cubicBezTo>
                  <a:pt x="1557" y="159"/>
                  <a:pt x="1557" y="158"/>
                  <a:pt x="1558" y="157"/>
                </a:cubicBezTo>
                <a:cubicBezTo>
                  <a:pt x="1558" y="157"/>
                  <a:pt x="1559" y="157"/>
                  <a:pt x="1559" y="156"/>
                </a:cubicBezTo>
                <a:cubicBezTo>
                  <a:pt x="1559" y="155"/>
                  <a:pt x="1559" y="155"/>
                  <a:pt x="1559" y="155"/>
                </a:cubicBezTo>
                <a:cubicBezTo>
                  <a:pt x="1559" y="154"/>
                  <a:pt x="1560" y="154"/>
                  <a:pt x="1560" y="153"/>
                </a:cubicBezTo>
                <a:cubicBezTo>
                  <a:pt x="1559" y="152"/>
                  <a:pt x="1558" y="153"/>
                  <a:pt x="1557" y="153"/>
                </a:cubicBezTo>
                <a:cubicBezTo>
                  <a:pt x="1556" y="153"/>
                  <a:pt x="1556" y="154"/>
                  <a:pt x="1555" y="155"/>
                </a:cubicBezTo>
                <a:cubicBezTo>
                  <a:pt x="1555" y="156"/>
                  <a:pt x="1554" y="156"/>
                  <a:pt x="1554" y="157"/>
                </a:cubicBezTo>
                <a:cubicBezTo>
                  <a:pt x="1553" y="157"/>
                  <a:pt x="1552" y="158"/>
                  <a:pt x="1553" y="158"/>
                </a:cubicBezTo>
                <a:close/>
                <a:moveTo>
                  <a:pt x="950" y="166"/>
                </a:moveTo>
                <a:cubicBezTo>
                  <a:pt x="950" y="166"/>
                  <a:pt x="951" y="166"/>
                  <a:pt x="952" y="166"/>
                </a:cubicBezTo>
                <a:cubicBezTo>
                  <a:pt x="953" y="165"/>
                  <a:pt x="954" y="165"/>
                  <a:pt x="955" y="165"/>
                </a:cubicBezTo>
                <a:cubicBezTo>
                  <a:pt x="956" y="165"/>
                  <a:pt x="957" y="165"/>
                  <a:pt x="958" y="166"/>
                </a:cubicBezTo>
                <a:cubicBezTo>
                  <a:pt x="959" y="166"/>
                  <a:pt x="962" y="165"/>
                  <a:pt x="961" y="165"/>
                </a:cubicBezTo>
                <a:cubicBezTo>
                  <a:pt x="960" y="165"/>
                  <a:pt x="960" y="165"/>
                  <a:pt x="959" y="165"/>
                </a:cubicBezTo>
                <a:cubicBezTo>
                  <a:pt x="959" y="165"/>
                  <a:pt x="958" y="165"/>
                  <a:pt x="958" y="165"/>
                </a:cubicBezTo>
                <a:cubicBezTo>
                  <a:pt x="957" y="165"/>
                  <a:pt x="956" y="164"/>
                  <a:pt x="955" y="164"/>
                </a:cubicBezTo>
                <a:cubicBezTo>
                  <a:pt x="954" y="164"/>
                  <a:pt x="953" y="164"/>
                  <a:pt x="952" y="164"/>
                </a:cubicBezTo>
                <a:cubicBezTo>
                  <a:pt x="951" y="164"/>
                  <a:pt x="951" y="164"/>
                  <a:pt x="950" y="164"/>
                </a:cubicBezTo>
                <a:cubicBezTo>
                  <a:pt x="950" y="164"/>
                  <a:pt x="947" y="163"/>
                  <a:pt x="947" y="164"/>
                </a:cubicBezTo>
                <a:cubicBezTo>
                  <a:pt x="947" y="164"/>
                  <a:pt x="948" y="164"/>
                  <a:pt x="948" y="164"/>
                </a:cubicBezTo>
                <a:cubicBezTo>
                  <a:pt x="949" y="165"/>
                  <a:pt x="949" y="165"/>
                  <a:pt x="950" y="166"/>
                </a:cubicBezTo>
                <a:close/>
                <a:moveTo>
                  <a:pt x="1544" y="184"/>
                </a:moveTo>
                <a:cubicBezTo>
                  <a:pt x="1543" y="184"/>
                  <a:pt x="1543" y="185"/>
                  <a:pt x="1542" y="186"/>
                </a:cubicBezTo>
                <a:cubicBezTo>
                  <a:pt x="1542" y="186"/>
                  <a:pt x="1542" y="187"/>
                  <a:pt x="1543" y="188"/>
                </a:cubicBezTo>
                <a:cubicBezTo>
                  <a:pt x="1543" y="188"/>
                  <a:pt x="1543" y="188"/>
                  <a:pt x="1543" y="189"/>
                </a:cubicBezTo>
                <a:cubicBezTo>
                  <a:pt x="1544" y="189"/>
                  <a:pt x="1544" y="190"/>
                  <a:pt x="1544" y="190"/>
                </a:cubicBezTo>
                <a:cubicBezTo>
                  <a:pt x="1544" y="190"/>
                  <a:pt x="1544" y="191"/>
                  <a:pt x="1545" y="191"/>
                </a:cubicBezTo>
                <a:cubicBezTo>
                  <a:pt x="1545" y="193"/>
                  <a:pt x="1546" y="194"/>
                  <a:pt x="1546" y="196"/>
                </a:cubicBezTo>
                <a:cubicBezTo>
                  <a:pt x="1546" y="196"/>
                  <a:pt x="1546" y="197"/>
                  <a:pt x="1546" y="197"/>
                </a:cubicBezTo>
                <a:cubicBezTo>
                  <a:pt x="1547" y="198"/>
                  <a:pt x="1547" y="199"/>
                  <a:pt x="1547" y="199"/>
                </a:cubicBezTo>
                <a:cubicBezTo>
                  <a:pt x="1547" y="200"/>
                  <a:pt x="1548" y="201"/>
                  <a:pt x="1548" y="201"/>
                </a:cubicBezTo>
                <a:cubicBezTo>
                  <a:pt x="1549" y="202"/>
                  <a:pt x="1549" y="199"/>
                  <a:pt x="1549" y="198"/>
                </a:cubicBezTo>
                <a:cubicBezTo>
                  <a:pt x="1549" y="197"/>
                  <a:pt x="1548" y="196"/>
                  <a:pt x="1548" y="196"/>
                </a:cubicBezTo>
                <a:cubicBezTo>
                  <a:pt x="1548" y="195"/>
                  <a:pt x="1548" y="194"/>
                  <a:pt x="1548" y="193"/>
                </a:cubicBezTo>
                <a:cubicBezTo>
                  <a:pt x="1548" y="192"/>
                  <a:pt x="1548" y="191"/>
                  <a:pt x="1548" y="190"/>
                </a:cubicBezTo>
                <a:cubicBezTo>
                  <a:pt x="1548" y="189"/>
                  <a:pt x="1548" y="188"/>
                  <a:pt x="1548" y="187"/>
                </a:cubicBezTo>
                <a:cubicBezTo>
                  <a:pt x="1548" y="185"/>
                  <a:pt x="1548" y="184"/>
                  <a:pt x="1547" y="183"/>
                </a:cubicBezTo>
                <a:cubicBezTo>
                  <a:pt x="1546" y="182"/>
                  <a:pt x="1546" y="182"/>
                  <a:pt x="1545" y="181"/>
                </a:cubicBezTo>
                <a:cubicBezTo>
                  <a:pt x="1545" y="181"/>
                  <a:pt x="1544" y="180"/>
                  <a:pt x="1543" y="181"/>
                </a:cubicBezTo>
                <a:cubicBezTo>
                  <a:pt x="1543" y="181"/>
                  <a:pt x="1543" y="181"/>
                  <a:pt x="1543" y="182"/>
                </a:cubicBezTo>
                <a:cubicBezTo>
                  <a:pt x="1543" y="182"/>
                  <a:pt x="1544" y="184"/>
                  <a:pt x="1544" y="184"/>
                </a:cubicBezTo>
                <a:cubicBezTo>
                  <a:pt x="1545" y="184"/>
                  <a:pt x="1546" y="184"/>
                  <a:pt x="1546" y="185"/>
                </a:cubicBezTo>
                <a:cubicBezTo>
                  <a:pt x="1545" y="185"/>
                  <a:pt x="1544" y="185"/>
                  <a:pt x="1544" y="184"/>
                </a:cubicBezTo>
                <a:close/>
                <a:moveTo>
                  <a:pt x="1212" y="503"/>
                </a:moveTo>
                <a:cubicBezTo>
                  <a:pt x="1213" y="503"/>
                  <a:pt x="1213" y="503"/>
                  <a:pt x="1213" y="503"/>
                </a:cubicBezTo>
                <a:cubicBezTo>
                  <a:pt x="1214" y="503"/>
                  <a:pt x="1215" y="502"/>
                  <a:pt x="1215" y="502"/>
                </a:cubicBezTo>
                <a:cubicBezTo>
                  <a:pt x="1217" y="502"/>
                  <a:pt x="1216" y="501"/>
                  <a:pt x="1215" y="501"/>
                </a:cubicBezTo>
                <a:cubicBezTo>
                  <a:pt x="1214" y="501"/>
                  <a:pt x="1214" y="501"/>
                  <a:pt x="1213" y="501"/>
                </a:cubicBezTo>
                <a:cubicBezTo>
                  <a:pt x="1213" y="501"/>
                  <a:pt x="1212" y="501"/>
                  <a:pt x="1212" y="501"/>
                </a:cubicBezTo>
                <a:cubicBezTo>
                  <a:pt x="1211" y="501"/>
                  <a:pt x="1211" y="501"/>
                  <a:pt x="1211" y="501"/>
                </a:cubicBezTo>
                <a:cubicBezTo>
                  <a:pt x="1211" y="501"/>
                  <a:pt x="1210" y="501"/>
                  <a:pt x="1210" y="501"/>
                </a:cubicBezTo>
                <a:cubicBezTo>
                  <a:pt x="1210" y="502"/>
                  <a:pt x="1211" y="502"/>
                  <a:pt x="1211" y="502"/>
                </a:cubicBezTo>
                <a:cubicBezTo>
                  <a:pt x="1211" y="502"/>
                  <a:pt x="1211" y="503"/>
                  <a:pt x="1211" y="503"/>
                </a:cubicBezTo>
                <a:cubicBezTo>
                  <a:pt x="1212" y="503"/>
                  <a:pt x="1212" y="503"/>
                  <a:pt x="1212" y="503"/>
                </a:cubicBezTo>
                <a:close/>
                <a:moveTo>
                  <a:pt x="1187" y="1293"/>
                </a:moveTo>
                <a:cubicBezTo>
                  <a:pt x="1188" y="1293"/>
                  <a:pt x="1188" y="1292"/>
                  <a:pt x="1189" y="1291"/>
                </a:cubicBezTo>
                <a:cubicBezTo>
                  <a:pt x="1190" y="1290"/>
                  <a:pt x="1189" y="1289"/>
                  <a:pt x="1188" y="1290"/>
                </a:cubicBezTo>
                <a:cubicBezTo>
                  <a:pt x="1187" y="1290"/>
                  <a:pt x="1187" y="1291"/>
                  <a:pt x="1187" y="1291"/>
                </a:cubicBezTo>
                <a:cubicBezTo>
                  <a:pt x="1187" y="1291"/>
                  <a:pt x="1186" y="1293"/>
                  <a:pt x="1187" y="1293"/>
                </a:cubicBezTo>
                <a:close/>
                <a:moveTo>
                  <a:pt x="1181" y="1297"/>
                </a:moveTo>
                <a:cubicBezTo>
                  <a:pt x="1180" y="1297"/>
                  <a:pt x="1180" y="1298"/>
                  <a:pt x="1180" y="1298"/>
                </a:cubicBezTo>
                <a:cubicBezTo>
                  <a:pt x="1179" y="1298"/>
                  <a:pt x="1179" y="1298"/>
                  <a:pt x="1179" y="1298"/>
                </a:cubicBezTo>
                <a:cubicBezTo>
                  <a:pt x="1178" y="1299"/>
                  <a:pt x="1178" y="1299"/>
                  <a:pt x="1178" y="1299"/>
                </a:cubicBezTo>
                <a:cubicBezTo>
                  <a:pt x="1179" y="1300"/>
                  <a:pt x="1179" y="1300"/>
                  <a:pt x="1179" y="1300"/>
                </a:cubicBezTo>
                <a:cubicBezTo>
                  <a:pt x="1180" y="1300"/>
                  <a:pt x="1180" y="1300"/>
                  <a:pt x="1181" y="1300"/>
                </a:cubicBezTo>
                <a:cubicBezTo>
                  <a:pt x="1181" y="1299"/>
                  <a:pt x="1181" y="1298"/>
                  <a:pt x="1182" y="1298"/>
                </a:cubicBezTo>
                <a:cubicBezTo>
                  <a:pt x="1183" y="1298"/>
                  <a:pt x="1183" y="1298"/>
                  <a:pt x="1183" y="1297"/>
                </a:cubicBezTo>
                <a:cubicBezTo>
                  <a:pt x="1183" y="1297"/>
                  <a:pt x="1181" y="1297"/>
                  <a:pt x="1181" y="1297"/>
                </a:cubicBezTo>
                <a:close/>
                <a:moveTo>
                  <a:pt x="1186" y="1293"/>
                </a:moveTo>
                <a:cubicBezTo>
                  <a:pt x="1186" y="1292"/>
                  <a:pt x="1186" y="1291"/>
                  <a:pt x="1186" y="1291"/>
                </a:cubicBezTo>
                <a:cubicBezTo>
                  <a:pt x="1186" y="1291"/>
                  <a:pt x="1185" y="1291"/>
                  <a:pt x="1185" y="1291"/>
                </a:cubicBezTo>
                <a:cubicBezTo>
                  <a:pt x="1185" y="1291"/>
                  <a:pt x="1185" y="1292"/>
                  <a:pt x="1185" y="1292"/>
                </a:cubicBezTo>
                <a:cubicBezTo>
                  <a:pt x="1185" y="1293"/>
                  <a:pt x="1185" y="1293"/>
                  <a:pt x="1185" y="1293"/>
                </a:cubicBezTo>
                <a:cubicBezTo>
                  <a:pt x="1185" y="1294"/>
                  <a:pt x="1184" y="1294"/>
                  <a:pt x="1185" y="1294"/>
                </a:cubicBezTo>
                <a:cubicBezTo>
                  <a:pt x="1186" y="1295"/>
                  <a:pt x="1186" y="1293"/>
                  <a:pt x="1186" y="1293"/>
                </a:cubicBezTo>
                <a:close/>
                <a:moveTo>
                  <a:pt x="1184" y="1296"/>
                </a:moveTo>
                <a:cubicBezTo>
                  <a:pt x="1184" y="1297"/>
                  <a:pt x="1184" y="1297"/>
                  <a:pt x="1184" y="1297"/>
                </a:cubicBezTo>
                <a:cubicBezTo>
                  <a:pt x="1184" y="1297"/>
                  <a:pt x="1185" y="1297"/>
                  <a:pt x="1185" y="1297"/>
                </a:cubicBezTo>
                <a:cubicBezTo>
                  <a:pt x="1185" y="1297"/>
                  <a:pt x="1185" y="1296"/>
                  <a:pt x="1185" y="1296"/>
                </a:cubicBezTo>
                <a:cubicBezTo>
                  <a:pt x="1184" y="1296"/>
                  <a:pt x="1185" y="1295"/>
                  <a:pt x="1184" y="1295"/>
                </a:cubicBezTo>
                <a:cubicBezTo>
                  <a:pt x="1183" y="1295"/>
                  <a:pt x="1183" y="1295"/>
                  <a:pt x="1183" y="1296"/>
                </a:cubicBezTo>
                <a:cubicBezTo>
                  <a:pt x="1183" y="1296"/>
                  <a:pt x="1183" y="1296"/>
                  <a:pt x="1184" y="1296"/>
                </a:cubicBezTo>
                <a:close/>
                <a:moveTo>
                  <a:pt x="1192" y="1297"/>
                </a:moveTo>
                <a:cubicBezTo>
                  <a:pt x="1192" y="1297"/>
                  <a:pt x="1191" y="1298"/>
                  <a:pt x="1192" y="1298"/>
                </a:cubicBezTo>
                <a:cubicBezTo>
                  <a:pt x="1192" y="1298"/>
                  <a:pt x="1193" y="1298"/>
                  <a:pt x="1194" y="1298"/>
                </a:cubicBezTo>
                <a:cubicBezTo>
                  <a:pt x="1194" y="1298"/>
                  <a:pt x="1195" y="1297"/>
                  <a:pt x="1195" y="1297"/>
                </a:cubicBezTo>
                <a:cubicBezTo>
                  <a:pt x="1195" y="1297"/>
                  <a:pt x="1196" y="1297"/>
                  <a:pt x="1196" y="1297"/>
                </a:cubicBezTo>
                <a:cubicBezTo>
                  <a:pt x="1196" y="1297"/>
                  <a:pt x="1196" y="1296"/>
                  <a:pt x="1196" y="1296"/>
                </a:cubicBezTo>
                <a:cubicBezTo>
                  <a:pt x="1195" y="1296"/>
                  <a:pt x="1195" y="1297"/>
                  <a:pt x="1194" y="1297"/>
                </a:cubicBezTo>
                <a:cubicBezTo>
                  <a:pt x="1194" y="1297"/>
                  <a:pt x="1193" y="1296"/>
                  <a:pt x="1192" y="1297"/>
                </a:cubicBezTo>
                <a:close/>
                <a:moveTo>
                  <a:pt x="1559" y="123"/>
                </a:moveTo>
                <a:cubicBezTo>
                  <a:pt x="1559" y="123"/>
                  <a:pt x="1559" y="122"/>
                  <a:pt x="1559" y="121"/>
                </a:cubicBezTo>
                <a:cubicBezTo>
                  <a:pt x="1559" y="121"/>
                  <a:pt x="1559" y="120"/>
                  <a:pt x="1559" y="120"/>
                </a:cubicBezTo>
                <a:cubicBezTo>
                  <a:pt x="1558" y="120"/>
                  <a:pt x="1557" y="120"/>
                  <a:pt x="1557" y="120"/>
                </a:cubicBezTo>
                <a:cubicBezTo>
                  <a:pt x="1556" y="120"/>
                  <a:pt x="1556" y="122"/>
                  <a:pt x="1555" y="123"/>
                </a:cubicBezTo>
                <a:cubicBezTo>
                  <a:pt x="1555" y="123"/>
                  <a:pt x="1554" y="123"/>
                  <a:pt x="1554" y="124"/>
                </a:cubicBezTo>
                <a:cubicBezTo>
                  <a:pt x="1554" y="124"/>
                  <a:pt x="1554" y="125"/>
                  <a:pt x="1554" y="125"/>
                </a:cubicBezTo>
                <a:cubicBezTo>
                  <a:pt x="1555" y="126"/>
                  <a:pt x="1556" y="124"/>
                  <a:pt x="1556" y="124"/>
                </a:cubicBezTo>
                <a:cubicBezTo>
                  <a:pt x="1557" y="124"/>
                  <a:pt x="1558" y="124"/>
                  <a:pt x="1559" y="123"/>
                </a:cubicBezTo>
                <a:close/>
                <a:moveTo>
                  <a:pt x="1231" y="503"/>
                </a:moveTo>
                <a:cubicBezTo>
                  <a:pt x="1231" y="503"/>
                  <a:pt x="1232" y="502"/>
                  <a:pt x="1232" y="502"/>
                </a:cubicBezTo>
                <a:cubicBezTo>
                  <a:pt x="1231" y="501"/>
                  <a:pt x="1230" y="503"/>
                  <a:pt x="1231" y="503"/>
                </a:cubicBezTo>
                <a:close/>
                <a:moveTo>
                  <a:pt x="1233" y="499"/>
                </a:moveTo>
                <a:cubicBezTo>
                  <a:pt x="1232" y="499"/>
                  <a:pt x="1231" y="499"/>
                  <a:pt x="1231" y="499"/>
                </a:cubicBezTo>
                <a:cubicBezTo>
                  <a:pt x="1230" y="499"/>
                  <a:pt x="1230" y="499"/>
                  <a:pt x="1230" y="500"/>
                </a:cubicBezTo>
                <a:cubicBezTo>
                  <a:pt x="1229" y="500"/>
                  <a:pt x="1229" y="500"/>
                  <a:pt x="1229" y="500"/>
                </a:cubicBezTo>
                <a:cubicBezTo>
                  <a:pt x="1228" y="500"/>
                  <a:pt x="1228" y="500"/>
                  <a:pt x="1227" y="501"/>
                </a:cubicBezTo>
                <a:cubicBezTo>
                  <a:pt x="1227" y="501"/>
                  <a:pt x="1227" y="501"/>
                  <a:pt x="1227" y="501"/>
                </a:cubicBezTo>
                <a:cubicBezTo>
                  <a:pt x="1226" y="501"/>
                  <a:pt x="1226" y="502"/>
                  <a:pt x="1226" y="502"/>
                </a:cubicBezTo>
                <a:cubicBezTo>
                  <a:pt x="1227" y="502"/>
                  <a:pt x="1228" y="501"/>
                  <a:pt x="1228" y="501"/>
                </a:cubicBezTo>
                <a:cubicBezTo>
                  <a:pt x="1229" y="501"/>
                  <a:pt x="1230" y="500"/>
                  <a:pt x="1231" y="500"/>
                </a:cubicBezTo>
                <a:cubicBezTo>
                  <a:pt x="1231" y="500"/>
                  <a:pt x="1232" y="500"/>
                  <a:pt x="1232" y="500"/>
                </a:cubicBezTo>
                <a:cubicBezTo>
                  <a:pt x="1233" y="500"/>
                  <a:pt x="1233" y="500"/>
                  <a:pt x="1233" y="499"/>
                </a:cubicBezTo>
                <a:close/>
                <a:moveTo>
                  <a:pt x="1174" y="1302"/>
                </a:moveTo>
                <a:cubicBezTo>
                  <a:pt x="1175" y="1303"/>
                  <a:pt x="1176" y="1301"/>
                  <a:pt x="1176" y="1301"/>
                </a:cubicBezTo>
                <a:cubicBezTo>
                  <a:pt x="1176" y="1300"/>
                  <a:pt x="1177" y="1300"/>
                  <a:pt x="1177" y="1300"/>
                </a:cubicBezTo>
                <a:cubicBezTo>
                  <a:pt x="1177" y="1300"/>
                  <a:pt x="1177" y="1299"/>
                  <a:pt x="1177" y="1299"/>
                </a:cubicBezTo>
                <a:cubicBezTo>
                  <a:pt x="1177" y="1299"/>
                  <a:pt x="1176" y="1300"/>
                  <a:pt x="1176" y="1300"/>
                </a:cubicBezTo>
                <a:cubicBezTo>
                  <a:pt x="1175" y="1300"/>
                  <a:pt x="1174" y="1301"/>
                  <a:pt x="1174" y="1302"/>
                </a:cubicBezTo>
                <a:close/>
                <a:moveTo>
                  <a:pt x="1188" y="1288"/>
                </a:moveTo>
                <a:cubicBezTo>
                  <a:pt x="1189" y="1288"/>
                  <a:pt x="1189" y="1288"/>
                  <a:pt x="1189" y="1288"/>
                </a:cubicBezTo>
                <a:cubicBezTo>
                  <a:pt x="1190" y="1287"/>
                  <a:pt x="1189" y="1287"/>
                  <a:pt x="1189" y="1287"/>
                </a:cubicBezTo>
                <a:cubicBezTo>
                  <a:pt x="1188" y="1287"/>
                  <a:pt x="1187" y="1288"/>
                  <a:pt x="1187" y="1289"/>
                </a:cubicBezTo>
                <a:cubicBezTo>
                  <a:pt x="1188" y="1289"/>
                  <a:pt x="1188" y="1288"/>
                  <a:pt x="1188" y="1288"/>
                </a:cubicBezTo>
                <a:close/>
                <a:moveTo>
                  <a:pt x="1243" y="511"/>
                </a:moveTo>
                <a:cubicBezTo>
                  <a:pt x="1243" y="511"/>
                  <a:pt x="1243" y="510"/>
                  <a:pt x="1244" y="510"/>
                </a:cubicBezTo>
                <a:cubicBezTo>
                  <a:pt x="1244" y="509"/>
                  <a:pt x="1246" y="509"/>
                  <a:pt x="1244" y="509"/>
                </a:cubicBezTo>
                <a:cubicBezTo>
                  <a:pt x="1244" y="508"/>
                  <a:pt x="1244" y="508"/>
                  <a:pt x="1244" y="508"/>
                </a:cubicBezTo>
                <a:cubicBezTo>
                  <a:pt x="1243" y="508"/>
                  <a:pt x="1243" y="508"/>
                  <a:pt x="1243" y="508"/>
                </a:cubicBezTo>
                <a:cubicBezTo>
                  <a:pt x="1242" y="509"/>
                  <a:pt x="1242" y="510"/>
                  <a:pt x="1242" y="511"/>
                </a:cubicBezTo>
                <a:cubicBezTo>
                  <a:pt x="1242" y="511"/>
                  <a:pt x="1242" y="511"/>
                  <a:pt x="1242" y="512"/>
                </a:cubicBezTo>
                <a:cubicBezTo>
                  <a:pt x="1243" y="512"/>
                  <a:pt x="1243" y="511"/>
                  <a:pt x="1243" y="511"/>
                </a:cubicBezTo>
                <a:close/>
                <a:moveTo>
                  <a:pt x="1149" y="308"/>
                </a:moveTo>
                <a:cubicBezTo>
                  <a:pt x="1149" y="308"/>
                  <a:pt x="1150" y="308"/>
                  <a:pt x="1150" y="307"/>
                </a:cubicBezTo>
                <a:cubicBezTo>
                  <a:pt x="1151" y="306"/>
                  <a:pt x="1151" y="305"/>
                  <a:pt x="1150" y="305"/>
                </a:cubicBezTo>
                <a:cubicBezTo>
                  <a:pt x="1150" y="304"/>
                  <a:pt x="1150" y="304"/>
                  <a:pt x="1150" y="304"/>
                </a:cubicBezTo>
                <a:cubicBezTo>
                  <a:pt x="1149" y="303"/>
                  <a:pt x="1149" y="303"/>
                  <a:pt x="1149" y="303"/>
                </a:cubicBezTo>
                <a:cubicBezTo>
                  <a:pt x="1148" y="302"/>
                  <a:pt x="1148" y="302"/>
                  <a:pt x="1147" y="303"/>
                </a:cubicBezTo>
                <a:cubicBezTo>
                  <a:pt x="1147" y="303"/>
                  <a:pt x="1146" y="303"/>
                  <a:pt x="1146" y="304"/>
                </a:cubicBezTo>
                <a:cubicBezTo>
                  <a:pt x="1146" y="304"/>
                  <a:pt x="1145" y="305"/>
                  <a:pt x="1145" y="306"/>
                </a:cubicBezTo>
                <a:cubicBezTo>
                  <a:pt x="1145" y="306"/>
                  <a:pt x="1145" y="306"/>
                  <a:pt x="1145" y="307"/>
                </a:cubicBezTo>
                <a:cubicBezTo>
                  <a:pt x="1146" y="307"/>
                  <a:pt x="1146" y="307"/>
                  <a:pt x="1147" y="307"/>
                </a:cubicBezTo>
                <a:cubicBezTo>
                  <a:pt x="1148" y="307"/>
                  <a:pt x="1148" y="308"/>
                  <a:pt x="1149" y="308"/>
                </a:cubicBezTo>
                <a:close/>
                <a:moveTo>
                  <a:pt x="2692" y="1209"/>
                </a:moveTo>
                <a:cubicBezTo>
                  <a:pt x="2692" y="1210"/>
                  <a:pt x="2692" y="1210"/>
                  <a:pt x="2692" y="1211"/>
                </a:cubicBezTo>
                <a:cubicBezTo>
                  <a:pt x="2692" y="1211"/>
                  <a:pt x="2692" y="1212"/>
                  <a:pt x="2692" y="1211"/>
                </a:cubicBezTo>
                <a:cubicBezTo>
                  <a:pt x="2692" y="1211"/>
                  <a:pt x="2692" y="1210"/>
                  <a:pt x="2692" y="1210"/>
                </a:cubicBezTo>
                <a:cubicBezTo>
                  <a:pt x="2691" y="1210"/>
                  <a:pt x="2691" y="1210"/>
                  <a:pt x="2691" y="1210"/>
                </a:cubicBezTo>
                <a:cubicBezTo>
                  <a:pt x="2691" y="1209"/>
                  <a:pt x="2691" y="1209"/>
                  <a:pt x="2691" y="1209"/>
                </a:cubicBezTo>
                <a:cubicBezTo>
                  <a:pt x="2691" y="1209"/>
                  <a:pt x="2691" y="1209"/>
                  <a:pt x="2692" y="1210"/>
                </a:cubicBezTo>
                <a:cubicBezTo>
                  <a:pt x="2692" y="1209"/>
                  <a:pt x="2691" y="1208"/>
                  <a:pt x="2690" y="1207"/>
                </a:cubicBezTo>
                <a:cubicBezTo>
                  <a:pt x="2690" y="1206"/>
                  <a:pt x="2690" y="1206"/>
                  <a:pt x="2689" y="1205"/>
                </a:cubicBezTo>
                <a:cubicBezTo>
                  <a:pt x="2689" y="1204"/>
                  <a:pt x="2689" y="1204"/>
                  <a:pt x="2689" y="1203"/>
                </a:cubicBezTo>
                <a:cubicBezTo>
                  <a:pt x="2688" y="1202"/>
                  <a:pt x="2688" y="1202"/>
                  <a:pt x="2687" y="1201"/>
                </a:cubicBezTo>
                <a:cubicBezTo>
                  <a:pt x="2687" y="1200"/>
                  <a:pt x="2687" y="1200"/>
                  <a:pt x="2687" y="1199"/>
                </a:cubicBezTo>
                <a:cubicBezTo>
                  <a:pt x="2686" y="1199"/>
                  <a:pt x="2686" y="1199"/>
                  <a:pt x="2686" y="1198"/>
                </a:cubicBezTo>
                <a:cubicBezTo>
                  <a:pt x="2684" y="1197"/>
                  <a:pt x="2683" y="1195"/>
                  <a:pt x="2682" y="1194"/>
                </a:cubicBezTo>
                <a:cubicBezTo>
                  <a:pt x="2682" y="1193"/>
                  <a:pt x="2682" y="1192"/>
                  <a:pt x="2681" y="1191"/>
                </a:cubicBezTo>
                <a:cubicBezTo>
                  <a:pt x="2681" y="1191"/>
                  <a:pt x="2680" y="1190"/>
                  <a:pt x="2680" y="1190"/>
                </a:cubicBezTo>
                <a:cubicBezTo>
                  <a:pt x="2679" y="1188"/>
                  <a:pt x="2678" y="1187"/>
                  <a:pt x="2677" y="1186"/>
                </a:cubicBezTo>
                <a:cubicBezTo>
                  <a:pt x="2676" y="1186"/>
                  <a:pt x="2676" y="1186"/>
                  <a:pt x="2675" y="1185"/>
                </a:cubicBezTo>
                <a:cubicBezTo>
                  <a:pt x="2675" y="1185"/>
                  <a:pt x="2675" y="1185"/>
                  <a:pt x="2674" y="1184"/>
                </a:cubicBezTo>
                <a:cubicBezTo>
                  <a:pt x="2674" y="1184"/>
                  <a:pt x="2674" y="1185"/>
                  <a:pt x="2674" y="1185"/>
                </a:cubicBezTo>
                <a:cubicBezTo>
                  <a:pt x="2673" y="1185"/>
                  <a:pt x="2673" y="1185"/>
                  <a:pt x="2672" y="1185"/>
                </a:cubicBezTo>
                <a:cubicBezTo>
                  <a:pt x="2672" y="1184"/>
                  <a:pt x="2671" y="1184"/>
                  <a:pt x="2671" y="1185"/>
                </a:cubicBezTo>
                <a:cubicBezTo>
                  <a:pt x="2671" y="1185"/>
                  <a:pt x="2672" y="1185"/>
                  <a:pt x="2672" y="1185"/>
                </a:cubicBezTo>
                <a:cubicBezTo>
                  <a:pt x="2672" y="1185"/>
                  <a:pt x="2672" y="1186"/>
                  <a:pt x="2673" y="1186"/>
                </a:cubicBezTo>
                <a:cubicBezTo>
                  <a:pt x="2673" y="1186"/>
                  <a:pt x="2674" y="1186"/>
                  <a:pt x="2673" y="1187"/>
                </a:cubicBezTo>
                <a:cubicBezTo>
                  <a:pt x="2674" y="1187"/>
                  <a:pt x="2674" y="1187"/>
                  <a:pt x="2674" y="1188"/>
                </a:cubicBezTo>
                <a:cubicBezTo>
                  <a:pt x="2673" y="1188"/>
                  <a:pt x="2673" y="1188"/>
                  <a:pt x="2673" y="1188"/>
                </a:cubicBezTo>
                <a:cubicBezTo>
                  <a:pt x="2674" y="1188"/>
                  <a:pt x="2674" y="1188"/>
                  <a:pt x="2674" y="1188"/>
                </a:cubicBezTo>
                <a:cubicBezTo>
                  <a:pt x="2674" y="1187"/>
                  <a:pt x="2674" y="1187"/>
                  <a:pt x="2675" y="1187"/>
                </a:cubicBezTo>
                <a:cubicBezTo>
                  <a:pt x="2675" y="1187"/>
                  <a:pt x="2675" y="1187"/>
                  <a:pt x="2675" y="1187"/>
                </a:cubicBezTo>
                <a:cubicBezTo>
                  <a:pt x="2675" y="1187"/>
                  <a:pt x="2675" y="1187"/>
                  <a:pt x="2676" y="1187"/>
                </a:cubicBezTo>
                <a:cubicBezTo>
                  <a:pt x="2676" y="1187"/>
                  <a:pt x="2676" y="1188"/>
                  <a:pt x="2676" y="1188"/>
                </a:cubicBezTo>
                <a:cubicBezTo>
                  <a:pt x="2677" y="1188"/>
                  <a:pt x="2676" y="1189"/>
                  <a:pt x="2676" y="1188"/>
                </a:cubicBezTo>
                <a:cubicBezTo>
                  <a:pt x="2675" y="1188"/>
                  <a:pt x="2675" y="1188"/>
                  <a:pt x="2675" y="1188"/>
                </a:cubicBezTo>
                <a:cubicBezTo>
                  <a:pt x="2675" y="1188"/>
                  <a:pt x="2674" y="1188"/>
                  <a:pt x="2674" y="1188"/>
                </a:cubicBezTo>
                <a:cubicBezTo>
                  <a:pt x="2674" y="1188"/>
                  <a:pt x="2674" y="1189"/>
                  <a:pt x="2674" y="1189"/>
                </a:cubicBezTo>
                <a:cubicBezTo>
                  <a:pt x="2674" y="1189"/>
                  <a:pt x="2673" y="1189"/>
                  <a:pt x="2673" y="1189"/>
                </a:cubicBezTo>
                <a:cubicBezTo>
                  <a:pt x="2673" y="1189"/>
                  <a:pt x="2673" y="1189"/>
                  <a:pt x="2673" y="1190"/>
                </a:cubicBezTo>
                <a:cubicBezTo>
                  <a:pt x="2673" y="1190"/>
                  <a:pt x="2672" y="1190"/>
                  <a:pt x="2673" y="1191"/>
                </a:cubicBezTo>
                <a:cubicBezTo>
                  <a:pt x="2673" y="1191"/>
                  <a:pt x="2673" y="1191"/>
                  <a:pt x="2673" y="1191"/>
                </a:cubicBezTo>
                <a:cubicBezTo>
                  <a:pt x="2673" y="1192"/>
                  <a:pt x="2673" y="1192"/>
                  <a:pt x="2673" y="1192"/>
                </a:cubicBezTo>
                <a:cubicBezTo>
                  <a:pt x="2672" y="1193"/>
                  <a:pt x="2672" y="1193"/>
                  <a:pt x="2671" y="1194"/>
                </a:cubicBezTo>
                <a:cubicBezTo>
                  <a:pt x="2671" y="1194"/>
                  <a:pt x="2671" y="1194"/>
                  <a:pt x="2670" y="1193"/>
                </a:cubicBezTo>
                <a:cubicBezTo>
                  <a:pt x="2670" y="1193"/>
                  <a:pt x="2670" y="1193"/>
                  <a:pt x="2669" y="1193"/>
                </a:cubicBezTo>
                <a:cubicBezTo>
                  <a:pt x="2669" y="1193"/>
                  <a:pt x="2669" y="1193"/>
                  <a:pt x="2669" y="1193"/>
                </a:cubicBezTo>
                <a:cubicBezTo>
                  <a:pt x="2670" y="1194"/>
                  <a:pt x="2670" y="1194"/>
                  <a:pt x="2671" y="1194"/>
                </a:cubicBezTo>
                <a:cubicBezTo>
                  <a:pt x="2671" y="1195"/>
                  <a:pt x="2671" y="1196"/>
                  <a:pt x="2671" y="1197"/>
                </a:cubicBezTo>
                <a:cubicBezTo>
                  <a:pt x="2671" y="1197"/>
                  <a:pt x="2671" y="1198"/>
                  <a:pt x="2671" y="1198"/>
                </a:cubicBezTo>
                <a:cubicBezTo>
                  <a:pt x="2671" y="1199"/>
                  <a:pt x="2671" y="1199"/>
                  <a:pt x="2671" y="1199"/>
                </a:cubicBezTo>
                <a:cubicBezTo>
                  <a:pt x="2671" y="1200"/>
                  <a:pt x="2671" y="1200"/>
                  <a:pt x="2671" y="1200"/>
                </a:cubicBezTo>
                <a:cubicBezTo>
                  <a:pt x="2671" y="1201"/>
                  <a:pt x="2671" y="1201"/>
                  <a:pt x="2671" y="1202"/>
                </a:cubicBezTo>
                <a:cubicBezTo>
                  <a:pt x="2671" y="1202"/>
                  <a:pt x="2670" y="1203"/>
                  <a:pt x="2670" y="1203"/>
                </a:cubicBezTo>
                <a:cubicBezTo>
                  <a:pt x="2670" y="1204"/>
                  <a:pt x="2670" y="1204"/>
                  <a:pt x="2670" y="1205"/>
                </a:cubicBezTo>
                <a:cubicBezTo>
                  <a:pt x="2669" y="1206"/>
                  <a:pt x="2669" y="1205"/>
                  <a:pt x="2669" y="1204"/>
                </a:cubicBezTo>
                <a:cubicBezTo>
                  <a:pt x="2669" y="1204"/>
                  <a:pt x="2670" y="1203"/>
                  <a:pt x="2670" y="1203"/>
                </a:cubicBezTo>
                <a:cubicBezTo>
                  <a:pt x="2668" y="1203"/>
                  <a:pt x="2669" y="1207"/>
                  <a:pt x="2669" y="1207"/>
                </a:cubicBezTo>
                <a:cubicBezTo>
                  <a:pt x="2669" y="1208"/>
                  <a:pt x="2669" y="1209"/>
                  <a:pt x="2670" y="1210"/>
                </a:cubicBezTo>
                <a:cubicBezTo>
                  <a:pt x="2670" y="1211"/>
                  <a:pt x="2670" y="1211"/>
                  <a:pt x="2670" y="1212"/>
                </a:cubicBezTo>
                <a:cubicBezTo>
                  <a:pt x="2670" y="1212"/>
                  <a:pt x="2670" y="1212"/>
                  <a:pt x="2670" y="1213"/>
                </a:cubicBezTo>
                <a:cubicBezTo>
                  <a:pt x="2670" y="1213"/>
                  <a:pt x="2670" y="1213"/>
                  <a:pt x="2670" y="1214"/>
                </a:cubicBezTo>
                <a:cubicBezTo>
                  <a:pt x="2670" y="1215"/>
                  <a:pt x="2670" y="1216"/>
                  <a:pt x="2670" y="1216"/>
                </a:cubicBezTo>
                <a:cubicBezTo>
                  <a:pt x="2671" y="1217"/>
                  <a:pt x="2671" y="1218"/>
                  <a:pt x="2671" y="1219"/>
                </a:cubicBezTo>
                <a:cubicBezTo>
                  <a:pt x="2671" y="1220"/>
                  <a:pt x="2671" y="1220"/>
                  <a:pt x="2671" y="1221"/>
                </a:cubicBezTo>
                <a:cubicBezTo>
                  <a:pt x="2671" y="1221"/>
                  <a:pt x="2671" y="1222"/>
                  <a:pt x="2671" y="1222"/>
                </a:cubicBezTo>
                <a:cubicBezTo>
                  <a:pt x="2672" y="1224"/>
                  <a:pt x="2673" y="1225"/>
                  <a:pt x="2673" y="1227"/>
                </a:cubicBezTo>
                <a:cubicBezTo>
                  <a:pt x="2674" y="1227"/>
                  <a:pt x="2674" y="1228"/>
                  <a:pt x="2675" y="1228"/>
                </a:cubicBezTo>
                <a:cubicBezTo>
                  <a:pt x="2676" y="1229"/>
                  <a:pt x="2676" y="1229"/>
                  <a:pt x="2677" y="1229"/>
                </a:cubicBezTo>
                <a:cubicBezTo>
                  <a:pt x="2678" y="1229"/>
                  <a:pt x="2679" y="1229"/>
                  <a:pt x="2680" y="1229"/>
                </a:cubicBezTo>
                <a:cubicBezTo>
                  <a:pt x="2680" y="1229"/>
                  <a:pt x="2681" y="1229"/>
                  <a:pt x="2682" y="1228"/>
                </a:cubicBezTo>
                <a:cubicBezTo>
                  <a:pt x="2682" y="1228"/>
                  <a:pt x="2683" y="1227"/>
                  <a:pt x="2683" y="1227"/>
                </a:cubicBezTo>
                <a:cubicBezTo>
                  <a:pt x="2684" y="1227"/>
                  <a:pt x="2685" y="1227"/>
                  <a:pt x="2686" y="1226"/>
                </a:cubicBezTo>
                <a:cubicBezTo>
                  <a:pt x="2687" y="1226"/>
                  <a:pt x="2687" y="1225"/>
                  <a:pt x="2688" y="1225"/>
                </a:cubicBezTo>
                <a:cubicBezTo>
                  <a:pt x="2689" y="1224"/>
                  <a:pt x="2689" y="1224"/>
                  <a:pt x="2690" y="1224"/>
                </a:cubicBezTo>
                <a:cubicBezTo>
                  <a:pt x="2691" y="1223"/>
                  <a:pt x="2692" y="1223"/>
                  <a:pt x="2692" y="1222"/>
                </a:cubicBezTo>
                <a:cubicBezTo>
                  <a:pt x="2693" y="1222"/>
                  <a:pt x="2693" y="1221"/>
                  <a:pt x="2693" y="1220"/>
                </a:cubicBezTo>
                <a:cubicBezTo>
                  <a:pt x="2693" y="1218"/>
                  <a:pt x="2694" y="1217"/>
                  <a:pt x="2694" y="1215"/>
                </a:cubicBezTo>
                <a:cubicBezTo>
                  <a:pt x="2694" y="1214"/>
                  <a:pt x="2693" y="1212"/>
                  <a:pt x="2693" y="1211"/>
                </a:cubicBezTo>
                <a:cubicBezTo>
                  <a:pt x="2693" y="1210"/>
                  <a:pt x="2693" y="1210"/>
                  <a:pt x="2692" y="1209"/>
                </a:cubicBezTo>
                <a:close/>
                <a:moveTo>
                  <a:pt x="2672" y="1187"/>
                </a:moveTo>
                <a:cubicBezTo>
                  <a:pt x="2672" y="1187"/>
                  <a:pt x="2671" y="1186"/>
                  <a:pt x="2671" y="1186"/>
                </a:cubicBezTo>
                <a:cubicBezTo>
                  <a:pt x="2671" y="1186"/>
                  <a:pt x="2672" y="1187"/>
                  <a:pt x="2672" y="1187"/>
                </a:cubicBezTo>
                <a:close/>
                <a:moveTo>
                  <a:pt x="2857" y="1267"/>
                </a:moveTo>
                <a:cubicBezTo>
                  <a:pt x="2857" y="1267"/>
                  <a:pt x="2856" y="1267"/>
                  <a:pt x="2856" y="1266"/>
                </a:cubicBezTo>
                <a:cubicBezTo>
                  <a:pt x="2855" y="1265"/>
                  <a:pt x="2854" y="1265"/>
                  <a:pt x="2853" y="1264"/>
                </a:cubicBezTo>
                <a:cubicBezTo>
                  <a:pt x="2852" y="1264"/>
                  <a:pt x="2852" y="1263"/>
                  <a:pt x="2852" y="1264"/>
                </a:cubicBezTo>
                <a:cubicBezTo>
                  <a:pt x="2851" y="1264"/>
                  <a:pt x="2851" y="1264"/>
                  <a:pt x="2851" y="1265"/>
                </a:cubicBezTo>
                <a:cubicBezTo>
                  <a:pt x="2851" y="1265"/>
                  <a:pt x="2852" y="1265"/>
                  <a:pt x="2852" y="1266"/>
                </a:cubicBezTo>
                <a:cubicBezTo>
                  <a:pt x="2852" y="1266"/>
                  <a:pt x="2852" y="1266"/>
                  <a:pt x="2853" y="1267"/>
                </a:cubicBezTo>
                <a:cubicBezTo>
                  <a:pt x="2853" y="1268"/>
                  <a:pt x="2854" y="1268"/>
                  <a:pt x="2855" y="1268"/>
                </a:cubicBezTo>
                <a:cubicBezTo>
                  <a:pt x="2856" y="1268"/>
                  <a:pt x="2856" y="1268"/>
                  <a:pt x="2857" y="1269"/>
                </a:cubicBezTo>
                <a:cubicBezTo>
                  <a:pt x="2857" y="1269"/>
                  <a:pt x="2858" y="1269"/>
                  <a:pt x="2858" y="1270"/>
                </a:cubicBezTo>
                <a:cubicBezTo>
                  <a:pt x="2858" y="1270"/>
                  <a:pt x="2858" y="1270"/>
                  <a:pt x="2859" y="1270"/>
                </a:cubicBezTo>
                <a:cubicBezTo>
                  <a:pt x="2860" y="1271"/>
                  <a:pt x="2860" y="1269"/>
                  <a:pt x="2859" y="1269"/>
                </a:cubicBezTo>
                <a:cubicBezTo>
                  <a:pt x="2859" y="1268"/>
                  <a:pt x="2858" y="1268"/>
                  <a:pt x="2857" y="1267"/>
                </a:cubicBezTo>
                <a:close/>
                <a:moveTo>
                  <a:pt x="2665" y="1191"/>
                </a:moveTo>
                <a:cubicBezTo>
                  <a:pt x="2665" y="1191"/>
                  <a:pt x="2665" y="1191"/>
                  <a:pt x="2664" y="1191"/>
                </a:cubicBezTo>
                <a:cubicBezTo>
                  <a:pt x="2664" y="1191"/>
                  <a:pt x="2664" y="1191"/>
                  <a:pt x="2663" y="1191"/>
                </a:cubicBezTo>
                <a:cubicBezTo>
                  <a:pt x="2663" y="1190"/>
                  <a:pt x="2662" y="1191"/>
                  <a:pt x="2662" y="1191"/>
                </a:cubicBezTo>
                <a:cubicBezTo>
                  <a:pt x="2662" y="1191"/>
                  <a:pt x="2662" y="1191"/>
                  <a:pt x="2662" y="1191"/>
                </a:cubicBezTo>
                <a:cubicBezTo>
                  <a:pt x="2663" y="1191"/>
                  <a:pt x="2663" y="1192"/>
                  <a:pt x="2663" y="1192"/>
                </a:cubicBezTo>
                <a:cubicBezTo>
                  <a:pt x="2664" y="1192"/>
                  <a:pt x="2664" y="1192"/>
                  <a:pt x="2665" y="1192"/>
                </a:cubicBezTo>
                <a:cubicBezTo>
                  <a:pt x="2665" y="1192"/>
                  <a:pt x="2665" y="1192"/>
                  <a:pt x="2666" y="1192"/>
                </a:cubicBezTo>
                <a:cubicBezTo>
                  <a:pt x="2666" y="1192"/>
                  <a:pt x="2665" y="1192"/>
                  <a:pt x="2665" y="1191"/>
                </a:cubicBezTo>
                <a:close/>
                <a:moveTo>
                  <a:pt x="2876" y="1286"/>
                </a:moveTo>
                <a:cubicBezTo>
                  <a:pt x="2876" y="1285"/>
                  <a:pt x="2875" y="1285"/>
                  <a:pt x="2875" y="1285"/>
                </a:cubicBezTo>
                <a:cubicBezTo>
                  <a:pt x="2875" y="1285"/>
                  <a:pt x="2875" y="1285"/>
                  <a:pt x="2874" y="1285"/>
                </a:cubicBezTo>
                <a:cubicBezTo>
                  <a:pt x="2874" y="1284"/>
                  <a:pt x="2874" y="1283"/>
                  <a:pt x="2873" y="1283"/>
                </a:cubicBezTo>
                <a:cubicBezTo>
                  <a:pt x="2873" y="1282"/>
                  <a:pt x="2872" y="1282"/>
                  <a:pt x="2872" y="1281"/>
                </a:cubicBezTo>
                <a:cubicBezTo>
                  <a:pt x="2871" y="1281"/>
                  <a:pt x="2871" y="1279"/>
                  <a:pt x="2870" y="1279"/>
                </a:cubicBezTo>
                <a:cubicBezTo>
                  <a:pt x="2870" y="1279"/>
                  <a:pt x="2870" y="1280"/>
                  <a:pt x="2869" y="1280"/>
                </a:cubicBezTo>
                <a:cubicBezTo>
                  <a:pt x="2869" y="1281"/>
                  <a:pt x="2868" y="1280"/>
                  <a:pt x="2868" y="1280"/>
                </a:cubicBezTo>
                <a:cubicBezTo>
                  <a:pt x="2867" y="1281"/>
                  <a:pt x="2867" y="1281"/>
                  <a:pt x="2868" y="1281"/>
                </a:cubicBezTo>
                <a:cubicBezTo>
                  <a:pt x="2868" y="1282"/>
                  <a:pt x="2868" y="1282"/>
                  <a:pt x="2869" y="1282"/>
                </a:cubicBezTo>
                <a:cubicBezTo>
                  <a:pt x="2870" y="1283"/>
                  <a:pt x="2869" y="1284"/>
                  <a:pt x="2870" y="1284"/>
                </a:cubicBezTo>
                <a:cubicBezTo>
                  <a:pt x="2870" y="1285"/>
                  <a:pt x="2871" y="1286"/>
                  <a:pt x="2872" y="1286"/>
                </a:cubicBezTo>
                <a:cubicBezTo>
                  <a:pt x="2872" y="1287"/>
                  <a:pt x="2873" y="1287"/>
                  <a:pt x="2873" y="1288"/>
                </a:cubicBezTo>
                <a:cubicBezTo>
                  <a:pt x="2873" y="1289"/>
                  <a:pt x="2873" y="1289"/>
                  <a:pt x="2874" y="1289"/>
                </a:cubicBezTo>
                <a:cubicBezTo>
                  <a:pt x="2874" y="1290"/>
                  <a:pt x="2874" y="1290"/>
                  <a:pt x="2875" y="1290"/>
                </a:cubicBezTo>
                <a:cubicBezTo>
                  <a:pt x="2875" y="1290"/>
                  <a:pt x="2875" y="1291"/>
                  <a:pt x="2875" y="1291"/>
                </a:cubicBezTo>
                <a:cubicBezTo>
                  <a:pt x="2876" y="1291"/>
                  <a:pt x="2876" y="1291"/>
                  <a:pt x="2876" y="1290"/>
                </a:cubicBezTo>
                <a:cubicBezTo>
                  <a:pt x="2876" y="1289"/>
                  <a:pt x="2876" y="1288"/>
                  <a:pt x="2876" y="1288"/>
                </a:cubicBezTo>
                <a:cubicBezTo>
                  <a:pt x="2876" y="1287"/>
                  <a:pt x="2877" y="1286"/>
                  <a:pt x="2876" y="1286"/>
                </a:cubicBezTo>
                <a:close/>
                <a:moveTo>
                  <a:pt x="2416" y="1528"/>
                </a:moveTo>
                <a:cubicBezTo>
                  <a:pt x="2415" y="1528"/>
                  <a:pt x="2415" y="1529"/>
                  <a:pt x="2415" y="1529"/>
                </a:cubicBezTo>
                <a:cubicBezTo>
                  <a:pt x="2414" y="1530"/>
                  <a:pt x="2413" y="1531"/>
                  <a:pt x="2413" y="1532"/>
                </a:cubicBezTo>
                <a:cubicBezTo>
                  <a:pt x="2413" y="1532"/>
                  <a:pt x="2413" y="1533"/>
                  <a:pt x="2413" y="1533"/>
                </a:cubicBezTo>
                <a:cubicBezTo>
                  <a:pt x="2413" y="1533"/>
                  <a:pt x="2412" y="1533"/>
                  <a:pt x="2413" y="1533"/>
                </a:cubicBezTo>
                <a:cubicBezTo>
                  <a:pt x="2413" y="1534"/>
                  <a:pt x="2414" y="1534"/>
                  <a:pt x="2415" y="1534"/>
                </a:cubicBezTo>
                <a:cubicBezTo>
                  <a:pt x="2415" y="1534"/>
                  <a:pt x="2417" y="1534"/>
                  <a:pt x="2417" y="1533"/>
                </a:cubicBezTo>
                <a:cubicBezTo>
                  <a:pt x="2417" y="1533"/>
                  <a:pt x="2417" y="1532"/>
                  <a:pt x="2417" y="1532"/>
                </a:cubicBezTo>
                <a:cubicBezTo>
                  <a:pt x="2418" y="1531"/>
                  <a:pt x="2418" y="1531"/>
                  <a:pt x="2418" y="1531"/>
                </a:cubicBezTo>
                <a:cubicBezTo>
                  <a:pt x="2418" y="1530"/>
                  <a:pt x="2417" y="1527"/>
                  <a:pt x="2416" y="1528"/>
                </a:cubicBezTo>
                <a:close/>
                <a:moveTo>
                  <a:pt x="2891" y="1313"/>
                </a:moveTo>
                <a:cubicBezTo>
                  <a:pt x="2891" y="1313"/>
                  <a:pt x="2890" y="1312"/>
                  <a:pt x="2890" y="1312"/>
                </a:cubicBezTo>
                <a:cubicBezTo>
                  <a:pt x="2889" y="1311"/>
                  <a:pt x="2889" y="1310"/>
                  <a:pt x="2889" y="1309"/>
                </a:cubicBezTo>
                <a:cubicBezTo>
                  <a:pt x="2888" y="1309"/>
                  <a:pt x="2888" y="1308"/>
                  <a:pt x="2888" y="1307"/>
                </a:cubicBezTo>
                <a:cubicBezTo>
                  <a:pt x="2887" y="1307"/>
                  <a:pt x="2887" y="1307"/>
                  <a:pt x="2886" y="1307"/>
                </a:cubicBezTo>
                <a:cubicBezTo>
                  <a:pt x="2885" y="1308"/>
                  <a:pt x="2884" y="1309"/>
                  <a:pt x="2884" y="1311"/>
                </a:cubicBezTo>
                <a:cubicBezTo>
                  <a:pt x="2884" y="1312"/>
                  <a:pt x="2885" y="1313"/>
                  <a:pt x="2886" y="1313"/>
                </a:cubicBezTo>
                <a:cubicBezTo>
                  <a:pt x="2887" y="1314"/>
                  <a:pt x="2887" y="1315"/>
                  <a:pt x="2888" y="1315"/>
                </a:cubicBezTo>
                <a:cubicBezTo>
                  <a:pt x="2888" y="1316"/>
                  <a:pt x="2888" y="1316"/>
                  <a:pt x="2888" y="1317"/>
                </a:cubicBezTo>
                <a:cubicBezTo>
                  <a:pt x="2889" y="1317"/>
                  <a:pt x="2889" y="1317"/>
                  <a:pt x="2889" y="1317"/>
                </a:cubicBezTo>
                <a:cubicBezTo>
                  <a:pt x="2890" y="1317"/>
                  <a:pt x="2890" y="1318"/>
                  <a:pt x="2890" y="1318"/>
                </a:cubicBezTo>
                <a:cubicBezTo>
                  <a:pt x="2891" y="1318"/>
                  <a:pt x="2891" y="1317"/>
                  <a:pt x="2891" y="1317"/>
                </a:cubicBezTo>
                <a:cubicBezTo>
                  <a:pt x="2891" y="1316"/>
                  <a:pt x="2892" y="1315"/>
                  <a:pt x="2891" y="1314"/>
                </a:cubicBezTo>
                <a:cubicBezTo>
                  <a:pt x="2891" y="1314"/>
                  <a:pt x="2891" y="1314"/>
                  <a:pt x="2891" y="1313"/>
                </a:cubicBezTo>
                <a:close/>
                <a:moveTo>
                  <a:pt x="2905" y="1332"/>
                </a:moveTo>
                <a:cubicBezTo>
                  <a:pt x="2906" y="1332"/>
                  <a:pt x="2906" y="1331"/>
                  <a:pt x="2905" y="1330"/>
                </a:cubicBezTo>
                <a:cubicBezTo>
                  <a:pt x="2904" y="1330"/>
                  <a:pt x="2904" y="1330"/>
                  <a:pt x="2904" y="1330"/>
                </a:cubicBezTo>
                <a:cubicBezTo>
                  <a:pt x="2904" y="1329"/>
                  <a:pt x="2903" y="1329"/>
                  <a:pt x="2903" y="1329"/>
                </a:cubicBezTo>
                <a:cubicBezTo>
                  <a:pt x="2903" y="1328"/>
                  <a:pt x="2902" y="1328"/>
                  <a:pt x="2902" y="1328"/>
                </a:cubicBezTo>
                <a:cubicBezTo>
                  <a:pt x="2902" y="1327"/>
                  <a:pt x="2902" y="1327"/>
                  <a:pt x="2902" y="1326"/>
                </a:cubicBezTo>
                <a:cubicBezTo>
                  <a:pt x="2902" y="1326"/>
                  <a:pt x="2901" y="1326"/>
                  <a:pt x="2901" y="1326"/>
                </a:cubicBezTo>
                <a:cubicBezTo>
                  <a:pt x="2900" y="1325"/>
                  <a:pt x="2900" y="1326"/>
                  <a:pt x="2900" y="1327"/>
                </a:cubicBezTo>
                <a:cubicBezTo>
                  <a:pt x="2900" y="1327"/>
                  <a:pt x="2900" y="1329"/>
                  <a:pt x="2901" y="1329"/>
                </a:cubicBezTo>
                <a:cubicBezTo>
                  <a:pt x="2901" y="1330"/>
                  <a:pt x="2902" y="1329"/>
                  <a:pt x="2903" y="1329"/>
                </a:cubicBezTo>
                <a:cubicBezTo>
                  <a:pt x="2903" y="1329"/>
                  <a:pt x="2903" y="1331"/>
                  <a:pt x="2904" y="1331"/>
                </a:cubicBezTo>
                <a:cubicBezTo>
                  <a:pt x="2904" y="1332"/>
                  <a:pt x="2904" y="1332"/>
                  <a:pt x="2904" y="1332"/>
                </a:cubicBezTo>
                <a:cubicBezTo>
                  <a:pt x="2904" y="1333"/>
                  <a:pt x="2904" y="1333"/>
                  <a:pt x="2904" y="1334"/>
                </a:cubicBezTo>
                <a:cubicBezTo>
                  <a:pt x="2905" y="1334"/>
                  <a:pt x="2905" y="1336"/>
                  <a:pt x="2906" y="1335"/>
                </a:cubicBezTo>
                <a:cubicBezTo>
                  <a:pt x="2906" y="1334"/>
                  <a:pt x="2905" y="1334"/>
                  <a:pt x="2905" y="1334"/>
                </a:cubicBezTo>
                <a:cubicBezTo>
                  <a:pt x="2905" y="1333"/>
                  <a:pt x="2905" y="1333"/>
                  <a:pt x="2905" y="1332"/>
                </a:cubicBezTo>
                <a:close/>
                <a:moveTo>
                  <a:pt x="2881" y="1298"/>
                </a:moveTo>
                <a:cubicBezTo>
                  <a:pt x="2881" y="1299"/>
                  <a:pt x="2882" y="1299"/>
                  <a:pt x="2882" y="1300"/>
                </a:cubicBezTo>
                <a:cubicBezTo>
                  <a:pt x="2882" y="1300"/>
                  <a:pt x="2882" y="1300"/>
                  <a:pt x="2881" y="1301"/>
                </a:cubicBezTo>
                <a:cubicBezTo>
                  <a:pt x="2881" y="1302"/>
                  <a:pt x="2882" y="1302"/>
                  <a:pt x="2881" y="1302"/>
                </a:cubicBezTo>
                <a:cubicBezTo>
                  <a:pt x="2881" y="1303"/>
                  <a:pt x="2881" y="1303"/>
                  <a:pt x="2881" y="1303"/>
                </a:cubicBezTo>
                <a:cubicBezTo>
                  <a:pt x="2881" y="1304"/>
                  <a:pt x="2882" y="1303"/>
                  <a:pt x="2882" y="1303"/>
                </a:cubicBezTo>
                <a:cubicBezTo>
                  <a:pt x="2883" y="1303"/>
                  <a:pt x="2883" y="1303"/>
                  <a:pt x="2883" y="1302"/>
                </a:cubicBezTo>
                <a:cubicBezTo>
                  <a:pt x="2883" y="1302"/>
                  <a:pt x="2883" y="1302"/>
                  <a:pt x="2883" y="1301"/>
                </a:cubicBezTo>
                <a:cubicBezTo>
                  <a:pt x="2884" y="1300"/>
                  <a:pt x="2883" y="1300"/>
                  <a:pt x="2883" y="1299"/>
                </a:cubicBezTo>
                <a:cubicBezTo>
                  <a:pt x="2883" y="1299"/>
                  <a:pt x="2881" y="1297"/>
                  <a:pt x="2881" y="1298"/>
                </a:cubicBezTo>
                <a:close/>
                <a:moveTo>
                  <a:pt x="2959" y="1372"/>
                </a:moveTo>
                <a:cubicBezTo>
                  <a:pt x="2959" y="1372"/>
                  <a:pt x="2959" y="1372"/>
                  <a:pt x="2959" y="1372"/>
                </a:cubicBezTo>
                <a:cubicBezTo>
                  <a:pt x="2960" y="1372"/>
                  <a:pt x="2960" y="1371"/>
                  <a:pt x="2959" y="1372"/>
                </a:cubicBezTo>
                <a:close/>
                <a:moveTo>
                  <a:pt x="2395" y="1540"/>
                </a:moveTo>
                <a:cubicBezTo>
                  <a:pt x="2395" y="1539"/>
                  <a:pt x="2394" y="1539"/>
                  <a:pt x="2393" y="1539"/>
                </a:cubicBezTo>
                <a:cubicBezTo>
                  <a:pt x="2392" y="1539"/>
                  <a:pt x="2390" y="1539"/>
                  <a:pt x="2390" y="1540"/>
                </a:cubicBezTo>
                <a:cubicBezTo>
                  <a:pt x="2390" y="1541"/>
                  <a:pt x="2389" y="1541"/>
                  <a:pt x="2390" y="1542"/>
                </a:cubicBezTo>
                <a:cubicBezTo>
                  <a:pt x="2390" y="1542"/>
                  <a:pt x="2390" y="1543"/>
                  <a:pt x="2391" y="1544"/>
                </a:cubicBezTo>
                <a:cubicBezTo>
                  <a:pt x="2392" y="1544"/>
                  <a:pt x="2396" y="1546"/>
                  <a:pt x="2396" y="1544"/>
                </a:cubicBezTo>
                <a:cubicBezTo>
                  <a:pt x="2396" y="1543"/>
                  <a:pt x="2397" y="1542"/>
                  <a:pt x="2396" y="1542"/>
                </a:cubicBezTo>
                <a:cubicBezTo>
                  <a:pt x="2396" y="1542"/>
                  <a:pt x="2395" y="1541"/>
                  <a:pt x="2395" y="1540"/>
                </a:cubicBezTo>
                <a:close/>
                <a:moveTo>
                  <a:pt x="2898" y="1323"/>
                </a:moveTo>
                <a:cubicBezTo>
                  <a:pt x="2897" y="1322"/>
                  <a:pt x="2897" y="1320"/>
                  <a:pt x="2896" y="1320"/>
                </a:cubicBezTo>
                <a:cubicBezTo>
                  <a:pt x="2895" y="1320"/>
                  <a:pt x="2895" y="1322"/>
                  <a:pt x="2896" y="1322"/>
                </a:cubicBezTo>
                <a:cubicBezTo>
                  <a:pt x="2896" y="1323"/>
                  <a:pt x="2897" y="1323"/>
                  <a:pt x="2898" y="1324"/>
                </a:cubicBezTo>
                <a:cubicBezTo>
                  <a:pt x="2898" y="1324"/>
                  <a:pt x="2899" y="1324"/>
                  <a:pt x="2899" y="1324"/>
                </a:cubicBezTo>
                <a:cubicBezTo>
                  <a:pt x="2899" y="1323"/>
                  <a:pt x="2898" y="1323"/>
                  <a:pt x="2898" y="1323"/>
                </a:cubicBezTo>
                <a:close/>
                <a:moveTo>
                  <a:pt x="1528" y="238"/>
                </a:moveTo>
                <a:cubicBezTo>
                  <a:pt x="1527" y="238"/>
                  <a:pt x="1527" y="238"/>
                  <a:pt x="1527" y="237"/>
                </a:cubicBezTo>
                <a:cubicBezTo>
                  <a:pt x="1527" y="237"/>
                  <a:pt x="1527" y="236"/>
                  <a:pt x="1527" y="236"/>
                </a:cubicBezTo>
                <a:cubicBezTo>
                  <a:pt x="1526" y="235"/>
                  <a:pt x="1526" y="234"/>
                  <a:pt x="1525" y="234"/>
                </a:cubicBezTo>
                <a:cubicBezTo>
                  <a:pt x="1524" y="235"/>
                  <a:pt x="1524" y="235"/>
                  <a:pt x="1524" y="235"/>
                </a:cubicBezTo>
                <a:cubicBezTo>
                  <a:pt x="1523" y="235"/>
                  <a:pt x="1523" y="234"/>
                  <a:pt x="1523" y="234"/>
                </a:cubicBezTo>
                <a:cubicBezTo>
                  <a:pt x="1522" y="234"/>
                  <a:pt x="1522" y="234"/>
                  <a:pt x="1521" y="234"/>
                </a:cubicBezTo>
                <a:cubicBezTo>
                  <a:pt x="1521" y="234"/>
                  <a:pt x="1521" y="234"/>
                  <a:pt x="1520" y="234"/>
                </a:cubicBezTo>
                <a:cubicBezTo>
                  <a:pt x="1520" y="234"/>
                  <a:pt x="1519" y="235"/>
                  <a:pt x="1519" y="235"/>
                </a:cubicBezTo>
                <a:cubicBezTo>
                  <a:pt x="1517" y="236"/>
                  <a:pt x="1515" y="237"/>
                  <a:pt x="1514" y="237"/>
                </a:cubicBezTo>
                <a:cubicBezTo>
                  <a:pt x="1513" y="237"/>
                  <a:pt x="1512" y="238"/>
                  <a:pt x="1511" y="238"/>
                </a:cubicBezTo>
                <a:cubicBezTo>
                  <a:pt x="1511" y="238"/>
                  <a:pt x="1510" y="238"/>
                  <a:pt x="1510" y="239"/>
                </a:cubicBezTo>
                <a:cubicBezTo>
                  <a:pt x="1509" y="240"/>
                  <a:pt x="1511" y="240"/>
                  <a:pt x="1511" y="240"/>
                </a:cubicBezTo>
                <a:cubicBezTo>
                  <a:pt x="1512" y="240"/>
                  <a:pt x="1512" y="240"/>
                  <a:pt x="1513" y="240"/>
                </a:cubicBezTo>
                <a:cubicBezTo>
                  <a:pt x="1514" y="240"/>
                  <a:pt x="1514" y="241"/>
                  <a:pt x="1515" y="241"/>
                </a:cubicBezTo>
                <a:cubicBezTo>
                  <a:pt x="1516" y="241"/>
                  <a:pt x="1516" y="242"/>
                  <a:pt x="1517" y="242"/>
                </a:cubicBezTo>
                <a:cubicBezTo>
                  <a:pt x="1518" y="242"/>
                  <a:pt x="1519" y="242"/>
                  <a:pt x="1520" y="242"/>
                </a:cubicBezTo>
                <a:cubicBezTo>
                  <a:pt x="1521" y="241"/>
                  <a:pt x="1522" y="241"/>
                  <a:pt x="1523" y="241"/>
                </a:cubicBezTo>
                <a:cubicBezTo>
                  <a:pt x="1524" y="241"/>
                  <a:pt x="1524" y="241"/>
                  <a:pt x="1525" y="241"/>
                </a:cubicBezTo>
                <a:cubicBezTo>
                  <a:pt x="1525" y="241"/>
                  <a:pt x="1526" y="241"/>
                  <a:pt x="1526" y="241"/>
                </a:cubicBezTo>
                <a:cubicBezTo>
                  <a:pt x="1527" y="241"/>
                  <a:pt x="1528" y="241"/>
                  <a:pt x="1529" y="240"/>
                </a:cubicBezTo>
                <a:cubicBezTo>
                  <a:pt x="1529" y="240"/>
                  <a:pt x="1531" y="240"/>
                  <a:pt x="1530" y="239"/>
                </a:cubicBezTo>
                <a:cubicBezTo>
                  <a:pt x="1529" y="239"/>
                  <a:pt x="1528" y="239"/>
                  <a:pt x="1528" y="238"/>
                </a:cubicBezTo>
                <a:close/>
                <a:moveTo>
                  <a:pt x="1524" y="226"/>
                </a:moveTo>
                <a:cubicBezTo>
                  <a:pt x="1524" y="226"/>
                  <a:pt x="1525" y="226"/>
                  <a:pt x="1525" y="227"/>
                </a:cubicBezTo>
                <a:cubicBezTo>
                  <a:pt x="1526" y="227"/>
                  <a:pt x="1526" y="227"/>
                  <a:pt x="1526" y="227"/>
                </a:cubicBezTo>
                <a:cubicBezTo>
                  <a:pt x="1527" y="227"/>
                  <a:pt x="1527" y="227"/>
                  <a:pt x="1527" y="227"/>
                </a:cubicBezTo>
                <a:cubicBezTo>
                  <a:pt x="1528" y="228"/>
                  <a:pt x="1528" y="228"/>
                  <a:pt x="1528" y="228"/>
                </a:cubicBezTo>
                <a:cubicBezTo>
                  <a:pt x="1529" y="228"/>
                  <a:pt x="1529" y="228"/>
                  <a:pt x="1530" y="228"/>
                </a:cubicBezTo>
                <a:cubicBezTo>
                  <a:pt x="1531" y="228"/>
                  <a:pt x="1531" y="227"/>
                  <a:pt x="1532" y="226"/>
                </a:cubicBezTo>
                <a:cubicBezTo>
                  <a:pt x="1533" y="226"/>
                  <a:pt x="1534" y="226"/>
                  <a:pt x="1535" y="225"/>
                </a:cubicBezTo>
                <a:cubicBezTo>
                  <a:pt x="1535" y="225"/>
                  <a:pt x="1535" y="224"/>
                  <a:pt x="1535" y="224"/>
                </a:cubicBezTo>
                <a:cubicBezTo>
                  <a:pt x="1534" y="224"/>
                  <a:pt x="1534" y="224"/>
                  <a:pt x="1534" y="224"/>
                </a:cubicBezTo>
                <a:cubicBezTo>
                  <a:pt x="1533" y="224"/>
                  <a:pt x="1533" y="223"/>
                  <a:pt x="1533" y="223"/>
                </a:cubicBezTo>
                <a:cubicBezTo>
                  <a:pt x="1532" y="223"/>
                  <a:pt x="1532" y="223"/>
                  <a:pt x="1531" y="223"/>
                </a:cubicBezTo>
                <a:cubicBezTo>
                  <a:pt x="1531" y="223"/>
                  <a:pt x="1530" y="223"/>
                  <a:pt x="1530" y="223"/>
                </a:cubicBezTo>
                <a:cubicBezTo>
                  <a:pt x="1531" y="222"/>
                  <a:pt x="1531" y="222"/>
                  <a:pt x="1531" y="222"/>
                </a:cubicBezTo>
                <a:cubicBezTo>
                  <a:pt x="1532" y="221"/>
                  <a:pt x="1531" y="221"/>
                  <a:pt x="1530" y="221"/>
                </a:cubicBezTo>
                <a:cubicBezTo>
                  <a:pt x="1530" y="221"/>
                  <a:pt x="1529" y="221"/>
                  <a:pt x="1529" y="221"/>
                </a:cubicBezTo>
                <a:cubicBezTo>
                  <a:pt x="1529" y="220"/>
                  <a:pt x="1528" y="220"/>
                  <a:pt x="1528" y="220"/>
                </a:cubicBezTo>
                <a:cubicBezTo>
                  <a:pt x="1528" y="220"/>
                  <a:pt x="1527" y="220"/>
                  <a:pt x="1527" y="221"/>
                </a:cubicBezTo>
                <a:cubicBezTo>
                  <a:pt x="1526" y="221"/>
                  <a:pt x="1526" y="221"/>
                  <a:pt x="1526" y="221"/>
                </a:cubicBezTo>
                <a:cubicBezTo>
                  <a:pt x="1525" y="221"/>
                  <a:pt x="1525" y="222"/>
                  <a:pt x="1526" y="223"/>
                </a:cubicBezTo>
                <a:cubicBezTo>
                  <a:pt x="1526" y="223"/>
                  <a:pt x="1525" y="223"/>
                  <a:pt x="1525" y="224"/>
                </a:cubicBezTo>
                <a:cubicBezTo>
                  <a:pt x="1525" y="224"/>
                  <a:pt x="1524" y="225"/>
                  <a:pt x="1524" y="226"/>
                </a:cubicBezTo>
                <a:close/>
                <a:moveTo>
                  <a:pt x="1539" y="94"/>
                </a:moveTo>
                <a:cubicBezTo>
                  <a:pt x="1538" y="94"/>
                  <a:pt x="1538" y="93"/>
                  <a:pt x="1537" y="93"/>
                </a:cubicBezTo>
                <a:cubicBezTo>
                  <a:pt x="1536" y="93"/>
                  <a:pt x="1536" y="93"/>
                  <a:pt x="1535" y="93"/>
                </a:cubicBezTo>
                <a:cubicBezTo>
                  <a:pt x="1535" y="93"/>
                  <a:pt x="1534" y="94"/>
                  <a:pt x="1534" y="94"/>
                </a:cubicBezTo>
                <a:cubicBezTo>
                  <a:pt x="1533" y="94"/>
                  <a:pt x="1533" y="95"/>
                  <a:pt x="1533" y="96"/>
                </a:cubicBezTo>
                <a:cubicBezTo>
                  <a:pt x="1533" y="96"/>
                  <a:pt x="1531" y="97"/>
                  <a:pt x="1532" y="97"/>
                </a:cubicBezTo>
                <a:cubicBezTo>
                  <a:pt x="1533" y="97"/>
                  <a:pt x="1533" y="97"/>
                  <a:pt x="1534" y="97"/>
                </a:cubicBezTo>
                <a:cubicBezTo>
                  <a:pt x="1534" y="97"/>
                  <a:pt x="1534" y="97"/>
                  <a:pt x="1535" y="97"/>
                </a:cubicBezTo>
                <a:cubicBezTo>
                  <a:pt x="1536" y="96"/>
                  <a:pt x="1536" y="97"/>
                  <a:pt x="1537" y="97"/>
                </a:cubicBezTo>
                <a:cubicBezTo>
                  <a:pt x="1538" y="96"/>
                  <a:pt x="1538" y="96"/>
                  <a:pt x="1538" y="96"/>
                </a:cubicBezTo>
                <a:cubicBezTo>
                  <a:pt x="1539" y="96"/>
                  <a:pt x="1539" y="96"/>
                  <a:pt x="1540" y="96"/>
                </a:cubicBezTo>
                <a:cubicBezTo>
                  <a:pt x="1540" y="96"/>
                  <a:pt x="1542" y="96"/>
                  <a:pt x="1542" y="96"/>
                </a:cubicBezTo>
                <a:cubicBezTo>
                  <a:pt x="1543" y="95"/>
                  <a:pt x="1541" y="95"/>
                  <a:pt x="1541" y="95"/>
                </a:cubicBezTo>
                <a:cubicBezTo>
                  <a:pt x="1540" y="94"/>
                  <a:pt x="1540" y="94"/>
                  <a:pt x="1539" y="94"/>
                </a:cubicBezTo>
                <a:close/>
                <a:moveTo>
                  <a:pt x="1540" y="126"/>
                </a:moveTo>
                <a:cubicBezTo>
                  <a:pt x="1539" y="126"/>
                  <a:pt x="1538" y="128"/>
                  <a:pt x="1538" y="129"/>
                </a:cubicBezTo>
                <a:cubicBezTo>
                  <a:pt x="1537" y="129"/>
                  <a:pt x="1537" y="129"/>
                  <a:pt x="1537" y="129"/>
                </a:cubicBezTo>
                <a:cubicBezTo>
                  <a:pt x="1536" y="130"/>
                  <a:pt x="1535" y="130"/>
                  <a:pt x="1535" y="131"/>
                </a:cubicBezTo>
                <a:cubicBezTo>
                  <a:pt x="1536" y="131"/>
                  <a:pt x="1536" y="131"/>
                  <a:pt x="1536" y="131"/>
                </a:cubicBezTo>
                <a:cubicBezTo>
                  <a:pt x="1537" y="131"/>
                  <a:pt x="1537" y="131"/>
                  <a:pt x="1538" y="131"/>
                </a:cubicBezTo>
                <a:cubicBezTo>
                  <a:pt x="1538" y="131"/>
                  <a:pt x="1538" y="131"/>
                  <a:pt x="1539" y="131"/>
                </a:cubicBezTo>
                <a:cubicBezTo>
                  <a:pt x="1539" y="131"/>
                  <a:pt x="1540" y="131"/>
                  <a:pt x="1540" y="131"/>
                </a:cubicBezTo>
                <a:cubicBezTo>
                  <a:pt x="1541" y="131"/>
                  <a:pt x="1541" y="130"/>
                  <a:pt x="1541" y="129"/>
                </a:cubicBezTo>
                <a:cubicBezTo>
                  <a:pt x="1542" y="128"/>
                  <a:pt x="1542" y="128"/>
                  <a:pt x="1541" y="127"/>
                </a:cubicBezTo>
                <a:cubicBezTo>
                  <a:pt x="1541" y="127"/>
                  <a:pt x="1541" y="126"/>
                  <a:pt x="1540" y="126"/>
                </a:cubicBezTo>
                <a:close/>
                <a:moveTo>
                  <a:pt x="1509" y="268"/>
                </a:moveTo>
                <a:cubicBezTo>
                  <a:pt x="1509" y="268"/>
                  <a:pt x="1510" y="269"/>
                  <a:pt x="1510" y="268"/>
                </a:cubicBezTo>
                <a:cubicBezTo>
                  <a:pt x="1510" y="267"/>
                  <a:pt x="1508" y="267"/>
                  <a:pt x="1508" y="267"/>
                </a:cubicBezTo>
                <a:cubicBezTo>
                  <a:pt x="1507" y="267"/>
                  <a:pt x="1506" y="266"/>
                  <a:pt x="1505" y="266"/>
                </a:cubicBezTo>
                <a:cubicBezTo>
                  <a:pt x="1504" y="266"/>
                  <a:pt x="1503" y="266"/>
                  <a:pt x="1502" y="266"/>
                </a:cubicBezTo>
                <a:cubicBezTo>
                  <a:pt x="1500" y="265"/>
                  <a:pt x="1499" y="266"/>
                  <a:pt x="1498" y="265"/>
                </a:cubicBezTo>
                <a:cubicBezTo>
                  <a:pt x="1497" y="265"/>
                  <a:pt x="1496" y="265"/>
                  <a:pt x="1495" y="265"/>
                </a:cubicBezTo>
                <a:cubicBezTo>
                  <a:pt x="1494" y="265"/>
                  <a:pt x="1493" y="265"/>
                  <a:pt x="1492" y="265"/>
                </a:cubicBezTo>
                <a:cubicBezTo>
                  <a:pt x="1491" y="265"/>
                  <a:pt x="1490" y="266"/>
                  <a:pt x="1490" y="266"/>
                </a:cubicBezTo>
                <a:cubicBezTo>
                  <a:pt x="1488" y="267"/>
                  <a:pt x="1485" y="266"/>
                  <a:pt x="1483" y="266"/>
                </a:cubicBezTo>
                <a:cubicBezTo>
                  <a:pt x="1482" y="266"/>
                  <a:pt x="1481" y="266"/>
                  <a:pt x="1480" y="266"/>
                </a:cubicBezTo>
                <a:cubicBezTo>
                  <a:pt x="1480" y="266"/>
                  <a:pt x="1479" y="266"/>
                  <a:pt x="1479" y="266"/>
                </a:cubicBezTo>
                <a:cubicBezTo>
                  <a:pt x="1479" y="267"/>
                  <a:pt x="1479" y="267"/>
                  <a:pt x="1480" y="267"/>
                </a:cubicBezTo>
                <a:cubicBezTo>
                  <a:pt x="1481" y="267"/>
                  <a:pt x="1481" y="267"/>
                  <a:pt x="1482" y="267"/>
                </a:cubicBezTo>
                <a:cubicBezTo>
                  <a:pt x="1483" y="267"/>
                  <a:pt x="1484" y="267"/>
                  <a:pt x="1485" y="267"/>
                </a:cubicBezTo>
                <a:cubicBezTo>
                  <a:pt x="1486" y="267"/>
                  <a:pt x="1486" y="268"/>
                  <a:pt x="1487" y="268"/>
                </a:cubicBezTo>
                <a:cubicBezTo>
                  <a:pt x="1488" y="268"/>
                  <a:pt x="1489" y="268"/>
                  <a:pt x="1490" y="268"/>
                </a:cubicBezTo>
                <a:cubicBezTo>
                  <a:pt x="1490" y="268"/>
                  <a:pt x="1491" y="269"/>
                  <a:pt x="1491" y="269"/>
                </a:cubicBezTo>
                <a:cubicBezTo>
                  <a:pt x="1491" y="269"/>
                  <a:pt x="1492" y="269"/>
                  <a:pt x="1492" y="269"/>
                </a:cubicBezTo>
                <a:cubicBezTo>
                  <a:pt x="1492" y="269"/>
                  <a:pt x="1493" y="269"/>
                  <a:pt x="1493" y="269"/>
                </a:cubicBezTo>
                <a:cubicBezTo>
                  <a:pt x="1494" y="269"/>
                  <a:pt x="1493" y="270"/>
                  <a:pt x="1493" y="270"/>
                </a:cubicBezTo>
                <a:cubicBezTo>
                  <a:pt x="1492" y="270"/>
                  <a:pt x="1491" y="270"/>
                  <a:pt x="1490" y="270"/>
                </a:cubicBezTo>
                <a:cubicBezTo>
                  <a:pt x="1490" y="270"/>
                  <a:pt x="1490" y="269"/>
                  <a:pt x="1489" y="269"/>
                </a:cubicBezTo>
                <a:cubicBezTo>
                  <a:pt x="1489" y="269"/>
                  <a:pt x="1488" y="269"/>
                  <a:pt x="1488" y="269"/>
                </a:cubicBezTo>
                <a:cubicBezTo>
                  <a:pt x="1487" y="269"/>
                  <a:pt x="1485" y="269"/>
                  <a:pt x="1484" y="269"/>
                </a:cubicBezTo>
                <a:cubicBezTo>
                  <a:pt x="1484" y="269"/>
                  <a:pt x="1482" y="269"/>
                  <a:pt x="1482" y="269"/>
                </a:cubicBezTo>
                <a:cubicBezTo>
                  <a:pt x="1481" y="269"/>
                  <a:pt x="1481" y="271"/>
                  <a:pt x="1481" y="271"/>
                </a:cubicBezTo>
                <a:cubicBezTo>
                  <a:pt x="1481" y="272"/>
                  <a:pt x="1482" y="273"/>
                  <a:pt x="1482" y="274"/>
                </a:cubicBezTo>
                <a:cubicBezTo>
                  <a:pt x="1482" y="274"/>
                  <a:pt x="1482" y="275"/>
                  <a:pt x="1483" y="275"/>
                </a:cubicBezTo>
                <a:cubicBezTo>
                  <a:pt x="1484" y="276"/>
                  <a:pt x="1485" y="276"/>
                  <a:pt x="1485" y="276"/>
                </a:cubicBezTo>
                <a:cubicBezTo>
                  <a:pt x="1485" y="278"/>
                  <a:pt x="1486" y="278"/>
                  <a:pt x="1487" y="278"/>
                </a:cubicBezTo>
                <a:cubicBezTo>
                  <a:pt x="1488" y="278"/>
                  <a:pt x="1489" y="278"/>
                  <a:pt x="1489" y="278"/>
                </a:cubicBezTo>
                <a:cubicBezTo>
                  <a:pt x="1491" y="278"/>
                  <a:pt x="1492" y="278"/>
                  <a:pt x="1493" y="279"/>
                </a:cubicBezTo>
                <a:cubicBezTo>
                  <a:pt x="1494" y="279"/>
                  <a:pt x="1495" y="279"/>
                  <a:pt x="1496" y="280"/>
                </a:cubicBezTo>
                <a:cubicBezTo>
                  <a:pt x="1497" y="281"/>
                  <a:pt x="1498" y="282"/>
                  <a:pt x="1498" y="282"/>
                </a:cubicBezTo>
                <a:cubicBezTo>
                  <a:pt x="1499" y="283"/>
                  <a:pt x="1500" y="284"/>
                  <a:pt x="1501" y="284"/>
                </a:cubicBezTo>
                <a:cubicBezTo>
                  <a:pt x="1502" y="284"/>
                  <a:pt x="1502" y="284"/>
                  <a:pt x="1503" y="284"/>
                </a:cubicBezTo>
                <a:cubicBezTo>
                  <a:pt x="1503" y="285"/>
                  <a:pt x="1503" y="285"/>
                  <a:pt x="1504" y="285"/>
                </a:cubicBezTo>
                <a:cubicBezTo>
                  <a:pt x="1505" y="286"/>
                  <a:pt x="1506" y="285"/>
                  <a:pt x="1507" y="285"/>
                </a:cubicBezTo>
                <a:cubicBezTo>
                  <a:pt x="1507" y="284"/>
                  <a:pt x="1507" y="284"/>
                  <a:pt x="1507" y="283"/>
                </a:cubicBezTo>
                <a:cubicBezTo>
                  <a:pt x="1507" y="283"/>
                  <a:pt x="1508" y="283"/>
                  <a:pt x="1508" y="283"/>
                </a:cubicBezTo>
                <a:cubicBezTo>
                  <a:pt x="1508" y="282"/>
                  <a:pt x="1508" y="282"/>
                  <a:pt x="1508" y="282"/>
                </a:cubicBezTo>
                <a:cubicBezTo>
                  <a:pt x="1508" y="281"/>
                  <a:pt x="1507" y="282"/>
                  <a:pt x="1507" y="282"/>
                </a:cubicBezTo>
                <a:cubicBezTo>
                  <a:pt x="1506" y="282"/>
                  <a:pt x="1506" y="281"/>
                  <a:pt x="1505" y="281"/>
                </a:cubicBezTo>
                <a:cubicBezTo>
                  <a:pt x="1504" y="281"/>
                  <a:pt x="1504" y="281"/>
                  <a:pt x="1504" y="280"/>
                </a:cubicBezTo>
                <a:cubicBezTo>
                  <a:pt x="1503" y="280"/>
                  <a:pt x="1503" y="280"/>
                  <a:pt x="1503" y="280"/>
                </a:cubicBezTo>
                <a:cubicBezTo>
                  <a:pt x="1502" y="279"/>
                  <a:pt x="1501" y="279"/>
                  <a:pt x="1500" y="279"/>
                </a:cubicBezTo>
                <a:cubicBezTo>
                  <a:pt x="1500" y="278"/>
                  <a:pt x="1502" y="278"/>
                  <a:pt x="1502" y="277"/>
                </a:cubicBezTo>
                <a:cubicBezTo>
                  <a:pt x="1504" y="277"/>
                  <a:pt x="1505" y="277"/>
                  <a:pt x="1506" y="277"/>
                </a:cubicBezTo>
                <a:cubicBezTo>
                  <a:pt x="1507" y="277"/>
                  <a:pt x="1507" y="278"/>
                  <a:pt x="1508" y="278"/>
                </a:cubicBezTo>
                <a:cubicBezTo>
                  <a:pt x="1508" y="278"/>
                  <a:pt x="1509" y="278"/>
                  <a:pt x="1509" y="278"/>
                </a:cubicBezTo>
                <a:cubicBezTo>
                  <a:pt x="1509" y="277"/>
                  <a:pt x="1508" y="277"/>
                  <a:pt x="1508" y="276"/>
                </a:cubicBezTo>
                <a:cubicBezTo>
                  <a:pt x="1507" y="276"/>
                  <a:pt x="1506" y="276"/>
                  <a:pt x="1505" y="275"/>
                </a:cubicBezTo>
                <a:cubicBezTo>
                  <a:pt x="1505" y="275"/>
                  <a:pt x="1504" y="274"/>
                  <a:pt x="1503" y="274"/>
                </a:cubicBezTo>
                <a:cubicBezTo>
                  <a:pt x="1502" y="274"/>
                  <a:pt x="1501" y="274"/>
                  <a:pt x="1500" y="274"/>
                </a:cubicBezTo>
                <a:cubicBezTo>
                  <a:pt x="1499" y="273"/>
                  <a:pt x="1499" y="272"/>
                  <a:pt x="1499" y="271"/>
                </a:cubicBezTo>
                <a:cubicBezTo>
                  <a:pt x="1498" y="270"/>
                  <a:pt x="1497" y="271"/>
                  <a:pt x="1496" y="270"/>
                </a:cubicBezTo>
                <a:cubicBezTo>
                  <a:pt x="1495" y="270"/>
                  <a:pt x="1496" y="269"/>
                  <a:pt x="1496" y="269"/>
                </a:cubicBezTo>
                <a:cubicBezTo>
                  <a:pt x="1496" y="269"/>
                  <a:pt x="1497" y="269"/>
                  <a:pt x="1497" y="269"/>
                </a:cubicBezTo>
                <a:cubicBezTo>
                  <a:pt x="1498" y="270"/>
                  <a:pt x="1499" y="270"/>
                  <a:pt x="1500" y="270"/>
                </a:cubicBezTo>
                <a:cubicBezTo>
                  <a:pt x="1500" y="270"/>
                  <a:pt x="1501" y="271"/>
                  <a:pt x="1501" y="271"/>
                </a:cubicBezTo>
                <a:cubicBezTo>
                  <a:pt x="1501" y="271"/>
                  <a:pt x="1501" y="272"/>
                  <a:pt x="1501" y="272"/>
                </a:cubicBezTo>
                <a:cubicBezTo>
                  <a:pt x="1502" y="273"/>
                  <a:pt x="1503" y="273"/>
                  <a:pt x="1503" y="273"/>
                </a:cubicBezTo>
                <a:cubicBezTo>
                  <a:pt x="1504" y="273"/>
                  <a:pt x="1505" y="273"/>
                  <a:pt x="1506" y="273"/>
                </a:cubicBezTo>
                <a:cubicBezTo>
                  <a:pt x="1507" y="273"/>
                  <a:pt x="1507" y="273"/>
                  <a:pt x="1507" y="272"/>
                </a:cubicBezTo>
                <a:cubicBezTo>
                  <a:pt x="1507" y="272"/>
                  <a:pt x="1508" y="272"/>
                  <a:pt x="1508" y="272"/>
                </a:cubicBezTo>
                <a:cubicBezTo>
                  <a:pt x="1509" y="272"/>
                  <a:pt x="1509" y="273"/>
                  <a:pt x="1509" y="273"/>
                </a:cubicBezTo>
                <a:cubicBezTo>
                  <a:pt x="1509" y="274"/>
                  <a:pt x="1510" y="274"/>
                  <a:pt x="1510" y="273"/>
                </a:cubicBezTo>
                <a:cubicBezTo>
                  <a:pt x="1510" y="272"/>
                  <a:pt x="1509" y="272"/>
                  <a:pt x="1509" y="272"/>
                </a:cubicBezTo>
                <a:cubicBezTo>
                  <a:pt x="1509" y="271"/>
                  <a:pt x="1509" y="271"/>
                  <a:pt x="1509" y="271"/>
                </a:cubicBezTo>
                <a:cubicBezTo>
                  <a:pt x="1508" y="270"/>
                  <a:pt x="1508" y="271"/>
                  <a:pt x="1507" y="270"/>
                </a:cubicBezTo>
                <a:cubicBezTo>
                  <a:pt x="1507" y="270"/>
                  <a:pt x="1508" y="270"/>
                  <a:pt x="1508" y="269"/>
                </a:cubicBezTo>
                <a:cubicBezTo>
                  <a:pt x="1508" y="269"/>
                  <a:pt x="1509" y="269"/>
                  <a:pt x="1509" y="268"/>
                </a:cubicBezTo>
                <a:close/>
                <a:moveTo>
                  <a:pt x="1549" y="134"/>
                </a:moveTo>
                <a:cubicBezTo>
                  <a:pt x="1548" y="134"/>
                  <a:pt x="1548" y="134"/>
                  <a:pt x="1547" y="135"/>
                </a:cubicBezTo>
                <a:cubicBezTo>
                  <a:pt x="1547" y="135"/>
                  <a:pt x="1548" y="135"/>
                  <a:pt x="1548" y="135"/>
                </a:cubicBezTo>
                <a:cubicBezTo>
                  <a:pt x="1549" y="135"/>
                  <a:pt x="1549" y="134"/>
                  <a:pt x="1550" y="134"/>
                </a:cubicBezTo>
                <a:cubicBezTo>
                  <a:pt x="1551" y="134"/>
                  <a:pt x="1551" y="134"/>
                  <a:pt x="1552" y="134"/>
                </a:cubicBezTo>
                <a:cubicBezTo>
                  <a:pt x="1552" y="134"/>
                  <a:pt x="1551" y="133"/>
                  <a:pt x="1551" y="133"/>
                </a:cubicBezTo>
                <a:cubicBezTo>
                  <a:pt x="1550" y="133"/>
                  <a:pt x="1549" y="133"/>
                  <a:pt x="1549" y="134"/>
                </a:cubicBezTo>
                <a:close/>
                <a:moveTo>
                  <a:pt x="2381" y="1152"/>
                </a:moveTo>
                <a:cubicBezTo>
                  <a:pt x="2380" y="1152"/>
                  <a:pt x="2380" y="1152"/>
                  <a:pt x="2379" y="1152"/>
                </a:cubicBezTo>
                <a:cubicBezTo>
                  <a:pt x="2379" y="1152"/>
                  <a:pt x="2379" y="1152"/>
                  <a:pt x="2378" y="1152"/>
                </a:cubicBezTo>
                <a:cubicBezTo>
                  <a:pt x="2378" y="1151"/>
                  <a:pt x="2377" y="1151"/>
                  <a:pt x="2376" y="1151"/>
                </a:cubicBezTo>
                <a:cubicBezTo>
                  <a:pt x="2375" y="1151"/>
                  <a:pt x="2375" y="1152"/>
                  <a:pt x="2374" y="1152"/>
                </a:cubicBezTo>
                <a:cubicBezTo>
                  <a:pt x="2373" y="1152"/>
                  <a:pt x="2371" y="1151"/>
                  <a:pt x="2370" y="1151"/>
                </a:cubicBezTo>
                <a:cubicBezTo>
                  <a:pt x="2369" y="1151"/>
                  <a:pt x="2369" y="1151"/>
                  <a:pt x="2369" y="1152"/>
                </a:cubicBezTo>
                <a:cubicBezTo>
                  <a:pt x="2369" y="1153"/>
                  <a:pt x="2368" y="1153"/>
                  <a:pt x="2368" y="1153"/>
                </a:cubicBezTo>
                <a:cubicBezTo>
                  <a:pt x="2368" y="1154"/>
                  <a:pt x="2370" y="1154"/>
                  <a:pt x="2370" y="1154"/>
                </a:cubicBezTo>
                <a:cubicBezTo>
                  <a:pt x="2371" y="1155"/>
                  <a:pt x="2371" y="1155"/>
                  <a:pt x="2371" y="1155"/>
                </a:cubicBezTo>
                <a:cubicBezTo>
                  <a:pt x="2372" y="1156"/>
                  <a:pt x="2372" y="1156"/>
                  <a:pt x="2373" y="1156"/>
                </a:cubicBezTo>
                <a:cubicBezTo>
                  <a:pt x="2374" y="1156"/>
                  <a:pt x="2374" y="1155"/>
                  <a:pt x="2376" y="1155"/>
                </a:cubicBezTo>
                <a:cubicBezTo>
                  <a:pt x="2376" y="1155"/>
                  <a:pt x="2376" y="1156"/>
                  <a:pt x="2377" y="1156"/>
                </a:cubicBezTo>
                <a:cubicBezTo>
                  <a:pt x="2377" y="1155"/>
                  <a:pt x="2378" y="1155"/>
                  <a:pt x="2378" y="1155"/>
                </a:cubicBezTo>
                <a:cubicBezTo>
                  <a:pt x="2378" y="1155"/>
                  <a:pt x="2379" y="1154"/>
                  <a:pt x="2379" y="1154"/>
                </a:cubicBezTo>
                <a:cubicBezTo>
                  <a:pt x="2380" y="1154"/>
                  <a:pt x="2380" y="1154"/>
                  <a:pt x="2380" y="1154"/>
                </a:cubicBezTo>
                <a:cubicBezTo>
                  <a:pt x="2381" y="1153"/>
                  <a:pt x="2381" y="1154"/>
                  <a:pt x="2382" y="1153"/>
                </a:cubicBezTo>
                <a:cubicBezTo>
                  <a:pt x="2382" y="1153"/>
                  <a:pt x="2381" y="1152"/>
                  <a:pt x="2381" y="1152"/>
                </a:cubicBezTo>
                <a:close/>
                <a:moveTo>
                  <a:pt x="2311" y="1449"/>
                </a:moveTo>
                <a:cubicBezTo>
                  <a:pt x="2311" y="1448"/>
                  <a:pt x="2310" y="1449"/>
                  <a:pt x="2310" y="1449"/>
                </a:cubicBezTo>
                <a:cubicBezTo>
                  <a:pt x="2310" y="1450"/>
                  <a:pt x="2310" y="1449"/>
                  <a:pt x="2310" y="1449"/>
                </a:cubicBezTo>
                <a:cubicBezTo>
                  <a:pt x="2310" y="1449"/>
                  <a:pt x="2310" y="1451"/>
                  <a:pt x="2310" y="1451"/>
                </a:cubicBezTo>
                <a:cubicBezTo>
                  <a:pt x="2310" y="1451"/>
                  <a:pt x="2311" y="1451"/>
                  <a:pt x="2311" y="1451"/>
                </a:cubicBezTo>
                <a:cubicBezTo>
                  <a:pt x="2312" y="1451"/>
                  <a:pt x="2312" y="1451"/>
                  <a:pt x="2311" y="1451"/>
                </a:cubicBezTo>
                <a:cubicBezTo>
                  <a:pt x="2311" y="1450"/>
                  <a:pt x="2311" y="1450"/>
                  <a:pt x="2311" y="1450"/>
                </a:cubicBezTo>
                <a:cubicBezTo>
                  <a:pt x="2311" y="1450"/>
                  <a:pt x="2311" y="1449"/>
                  <a:pt x="2311" y="1449"/>
                </a:cubicBezTo>
                <a:cubicBezTo>
                  <a:pt x="2311" y="1449"/>
                  <a:pt x="2311" y="1449"/>
                  <a:pt x="2311" y="1449"/>
                </a:cubicBezTo>
                <a:close/>
                <a:moveTo>
                  <a:pt x="2334" y="1468"/>
                </a:moveTo>
                <a:cubicBezTo>
                  <a:pt x="2334" y="1467"/>
                  <a:pt x="2334" y="1467"/>
                  <a:pt x="2334" y="1466"/>
                </a:cubicBezTo>
                <a:cubicBezTo>
                  <a:pt x="2334" y="1466"/>
                  <a:pt x="2333" y="1466"/>
                  <a:pt x="2333" y="1465"/>
                </a:cubicBezTo>
                <a:cubicBezTo>
                  <a:pt x="2333" y="1465"/>
                  <a:pt x="2333" y="1464"/>
                  <a:pt x="2333" y="1464"/>
                </a:cubicBezTo>
                <a:cubicBezTo>
                  <a:pt x="2333" y="1463"/>
                  <a:pt x="2333" y="1463"/>
                  <a:pt x="2333" y="1462"/>
                </a:cubicBezTo>
                <a:cubicBezTo>
                  <a:pt x="2333" y="1462"/>
                  <a:pt x="2332" y="1461"/>
                  <a:pt x="2332" y="1461"/>
                </a:cubicBezTo>
                <a:cubicBezTo>
                  <a:pt x="2332" y="1460"/>
                  <a:pt x="2332" y="1459"/>
                  <a:pt x="2332" y="1459"/>
                </a:cubicBezTo>
                <a:cubicBezTo>
                  <a:pt x="2332" y="1458"/>
                  <a:pt x="2332" y="1457"/>
                  <a:pt x="2332" y="1456"/>
                </a:cubicBezTo>
                <a:cubicBezTo>
                  <a:pt x="2332" y="1455"/>
                  <a:pt x="2332" y="1454"/>
                  <a:pt x="2332" y="1454"/>
                </a:cubicBezTo>
                <a:cubicBezTo>
                  <a:pt x="2331" y="1453"/>
                  <a:pt x="2331" y="1453"/>
                  <a:pt x="2331" y="1453"/>
                </a:cubicBezTo>
                <a:cubicBezTo>
                  <a:pt x="2331" y="1453"/>
                  <a:pt x="2331" y="1453"/>
                  <a:pt x="2331" y="1452"/>
                </a:cubicBezTo>
                <a:cubicBezTo>
                  <a:pt x="2331" y="1452"/>
                  <a:pt x="2331" y="1451"/>
                  <a:pt x="2331" y="1451"/>
                </a:cubicBezTo>
                <a:cubicBezTo>
                  <a:pt x="2331" y="1451"/>
                  <a:pt x="2330" y="1450"/>
                  <a:pt x="2330" y="1450"/>
                </a:cubicBezTo>
                <a:cubicBezTo>
                  <a:pt x="2330" y="1449"/>
                  <a:pt x="2330" y="1448"/>
                  <a:pt x="2330" y="1447"/>
                </a:cubicBezTo>
                <a:cubicBezTo>
                  <a:pt x="2329" y="1446"/>
                  <a:pt x="2329" y="1446"/>
                  <a:pt x="2328" y="1446"/>
                </a:cubicBezTo>
                <a:cubicBezTo>
                  <a:pt x="2328" y="1445"/>
                  <a:pt x="2329" y="1444"/>
                  <a:pt x="2328" y="1444"/>
                </a:cubicBezTo>
                <a:cubicBezTo>
                  <a:pt x="2328" y="1443"/>
                  <a:pt x="2328" y="1443"/>
                  <a:pt x="2327" y="1443"/>
                </a:cubicBezTo>
                <a:cubicBezTo>
                  <a:pt x="2326" y="1443"/>
                  <a:pt x="2326" y="1442"/>
                  <a:pt x="2326" y="1442"/>
                </a:cubicBezTo>
                <a:cubicBezTo>
                  <a:pt x="2325" y="1441"/>
                  <a:pt x="2325" y="1441"/>
                  <a:pt x="2325" y="1440"/>
                </a:cubicBezTo>
                <a:cubicBezTo>
                  <a:pt x="2325" y="1439"/>
                  <a:pt x="2325" y="1439"/>
                  <a:pt x="2325" y="1438"/>
                </a:cubicBezTo>
                <a:cubicBezTo>
                  <a:pt x="2325" y="1438"/>
                  <a:pt x="2324" y="1438"/>
                  <a:pt x="2323" y="1438"/>
                </a:cubicBezTo>
                <a:cubicBezTo>
                  <a:pt x="2323" y="1438"/>
                  <a:pt x="2323" y="1437"/>
                  <a:pt x="2323" y="1437"/>
                </a:cubicBezTo>
                <a:cubicBezTo>
                  <a:pt x="2322" y="1437"/>
                  <a:pt x="2322" y="1437"/>
                  <a:pt x="2322" y="1437"/>
                </a:cubicBezTo>
                <a:cubicBezTo>
                  <a:pt x="2321" y="1437"/>
                  <a:pt x="2321" y="1436"/>
                  <a:pt x="2322" y="1436"/>
                </a:cubicBezTo>
                <a:cubicBezTo>
                  <a:pt x="2322" y="1436"/>
                  <a:pt x="2322" y="1436"/>
                  <a:pt x="2323" y="1436"/>
                </a:cubicBezTo>
                <a:cubicBezTo>
                  <a:pt x="2323" y="1436"/>
                  <a:pt x="2323" y="1434"/>
                  <a:pt x="2323" y="1434"/>
                </a:cubicBezTo>
                <a:cubicBezTo>
                  <a:pt x="2322" y="1434"/>
                  <a:pt x="2322" y="1433"/>
                  <a:pt x="2321" y="1433"/>
                </a:cubicBezTo>
                <a:cubicBezTo>
                  <a:pt x="2321" y="1434"/>
                  <a:pt x="2321" y="1434"/>
                  <a:pt x="2321" y="1434"/>
                </a:cubicBezTo>
                <a:cubicBezTo>
                  <a:pt x="2321" y="1434"/>
                  <a:pt x="2321" y="1434"/>
                  <a:pt x="2320" y="1434"/>
                </a:cubicBezTo>
                <a:cubicBezTo>
                  <a:pt x="2320" y="1434"/>
                  <a:pt x="2320" y="1435"/>
                  <a:pt x="2321" y="1435"/>
                </a:cubicBezTo>
                <a:cubicBezTo>
                  <a:pt x="2321" y="1436"/>
                  <a:pt x="2320" y="1437"/>
                  <a:pt x="2320" y="1437"/>
                </a:cubicBezTo>
                <a:cubicBezTo>
                  <a:pt x="2319" y="1437"/>
                  <a:pt x="2319" y="1438"/>
                  <a:pt x="2318" y="1439"/>
                </a:cubicBezTo>
                <a:cubicBezTo>
                  <a:pt x="2318" y="1439"/>
                  <a:pt x="2318" y="1440"/>
                  <a:pt x="2318" y="1440"/>
                </a:cubicBezTo>
                <a:cubicBezTo>
                  <a:pt x="2317" y="1440"/>
                  <a:pt x="2317" y="1439"/>
                  <a:pt x="2317" y="1439"/>
                </a:cubicBezTo>
                <a:cubicBezTo>
                  <a:pt x="2317" y="1439"/>
                  <a:pt x="2316" y="1439"/>
                  <a:pt x="2316" y="1439"/>
                </a:cubicBezTo>
                <a:cubicBezTo>
                  <a:pt x="2316" y="1439"/>
                  <a:pt x="2316" y="1440"/>
                  <a:pt x="2316" y="1440"/>
                </a:cubicBezTo>
                <a:cubicBezTo>
                  <a:pt x="2317" y="1440"/>
                  <a:pt x="2317" y="1440"/>
                  <a:pt x="2317" y="1440"/>
                </a:cubicBezTo>
                <a:cubicBezTo>
                  <a:pt x="2317" y="1441"/>
                  <a:pt x="2317" y="1441"/>
                  <a:pt x="2317" y="1442"/>
                </a:cubicBezTo>
                <a:cubicBezTo>
                  <a:pt x="2317" y="1442"/>
                  <a:pt x="2318" y="1442"/>
                  <a:pt x="2318" y="1442"/>
                </a:cubicBezTo>
                <a:cubicBezTo>
                  <a:pt x="2319" y="1444"/>
                  <a:pt x="2318" y="1445"/>
                  <a:pt x="2317" y="1447"/>
                </a:cubicBezTo>
                <a:cubicBezTo>
                  <a:pt x="2317" y="1447"/>
                  <a:pt x="2317" y="1448"/>
                  <a:pt x="2317" y="1448"/>
                </a:cubicBezTo>
                <a:cubicBezTo>
                  <a:pt x="2317" y="1449"/>
                  <a:pt x="2317" y="1450"/>
                  <a:pt x="2316" y="1451"/>
                </a:cubicBezTo>
                <a:cubicBezTo>
                  <a:pt x="2316" y="1451"/>
                  <a:pt x="2315" y="1451"/>
                  <a:pt x="2314" y="1451"/>
                </a:cubicBezTo>
                <a:cubicBezTo>
                  <a:pt x="2314" y="1451"/>
                  <a:pt x="2313" y="1450"/>
                  <a:pt x="2313" y="1450"/>
                </a:cubicBezTo>
                <a:cubicBezTo>
                  <a:pt x="2313" y="1450"/>
                  <a:pt x="2313" y="1452"/>
                  <a:pt x="2313" y="1452"/>
                </a:cubicBezTo>
                <a:cubicBezTo>
                  <a:pt x="2313" y="1452"/>
                  <a:pt x="2313" y="1452"/>
                  <a:pt x="2312" y="1452"/>
                </a:cubicBezTo>
                <a:cubicBezTo>
                  <a:pt x="2312" y="1453"/>
                  <a:pt x="2312" y="1453"/>
                  <a:pt x="2311" y="1453"/>
                </a:cubicBezTo>
                <a:cubicBezTo>
                  <a:pt x="2311" y="1453"/>
                  <a:pt x="2311" y="1454"/>
                  <a:pt x="2311" y="1454"/>
                </a:cubicBezTo>
                <a:cubicBezTo>
                  <a:pt x="2311" y="1454"/>
                  <a:pt x="2311" y="1455"/>
                  <a:pt x="2311" y="1455"/>
                </a:cubicBezTo>
                <a:cubicBezTo>
                  <a:pt x="2310" y="1456"/>
                  <a:pt x="2310" y="1455"/>
                  <a:pt x="2309" y="1455"/>
                </a:cubicBezTo>
                <a:cubicBezTo>
                  <a:pt x="2309" y="1454"/>
                  <a:pt x="2309" y="1454"/>
                  <a:pt x="2309" y="1453"/>
                </a:cubicBezTo>
                <a:cubicBezTo>
                  <a:pt x="2309" y="1453"/>
                  <a:pt x="2309" y="1453"/>
                  <a:pt x="2308" y="1453"/>
                </a:cubicBezTo>
                <a:cubicBezTo>
                  <a:pt x="2308" y="1453"/>
                  <a:pt x="2309" y="1452"/>
                  <a:pt x="2308" y="1452"/>
                </a:cubicBezTo>
                <a:cubicBezTo>
                  <a:pt x="2308" y="1452"/>
                  <a:pt x="2308" y="1452"/>
                  <a:pt x="2308" y="1452"/>
                </a:cubicBezTo>
                <a:cubicBezTo>
                  <a:pt x="2308" y="1452"/>
                  <a:pt x="2308" y="1452"/>
                  <a:pt x="2307" y="1452"/>
                </a:cubicBezTo>
                <a:cubicBezTo>
                  <a:pt x="2307" y="1451"/>
                  <a:pt x="2307" y="1452"/>
                  <a:pt x="2307" y="1453"/>
                </a:cubicBezTo>
                <a:cubicBezTo>
                  <a:pt x="2307" y="1453"/>
                  <a:pt x="2306" y="1453"/>
                  <a:pt x="2306" y="1454"/>
                </a:cubicBezTo>
                <a:cubicBezTo>
                  <a:pt x="2306" y="1454"/>
                  <a:pt x="2306" y="1454"/>
                  <a:pt x="2306" y="1454"/>
                </a:cubicBezTo>
                <a:cubicBezTo>
                  <a:pt x="2306" y="1454"/>
                  <a:pt x="2306" y="1455"/>
                  <a:pt x="2307" y="1455"/>
                </a:cubicBezTo>
                <a:cubicBezTo>
                  <a:pt x="2306" y="1455"/>
                  <a:pt x="2306" y="1457"/>
                  <a:pt x="2307" y="1457"/>
                </a:cubicBezTo>
                <a:cubicBezTo>
                  <a:pt x="2308" y="1458"/>
                  <a:pt x="2308" y="1457"/>
                  <a:pt x="2307" y="1458"/>
                </a:cubicBezTo>
                <a:cubicBezTo>
                  <a:pt x="2307" y="1458"/>
                  <a:pt x="2308" y="1459"/>
                  <a:pt x="2308" y="1459"/>
                </a:cubicBezTo>
                <a:cubicBezTo>
                  <a:pt x="2308" y="1459"/>
                  <a:pt x="2308" y="1459"/>
                  <a:pt x="2308" y="1460"/>
                </a:cubicBezTo>
                <a:cubicBezTo>
                  <a:pt x="2308" y="1460"/>
                  <a:pt x="2308" y="1462"/>
                  <a:pt x="2307" y="1462"/>
                </a:cubicBezTo>
                <a:cubicBezTo>
                  <a:pt x="2307" y="1462"/>
                  <a:pt x="2307" y="1460"/>
                  <a:pt x="2307" y="1460"/>
                </a:cubicBezTo>
                <a:cubicBezTo>
                  <a:pt x="2307" y="1460"/>
                  <a:pt x="2307" y="1460"/>
                  <a:pt x="2307" y="1459"/>
                </a:cubicBezTo>
                <a:cubicBezTo>
                  <a:pt x="2307" y="1459"/>
                  <a:pt x="2307" y="1459"/>
                  <a:pt x="2307" y="1459"/>
                </a:cubicBezTo>
                <a:cubicBezTo>
                  <a:pt x="2306" y="1459"/>
                  <a:pt x="2307" y="1460"/>
                  <a:pt x="2307" y="1460"/>
                </a:cubicBezTo>
                <a:cubicBezTo>
                  <a:pt x="2307" y="1460"/>
                  <a:pt x="2307" y="1461"/>
                  <a:pt x="2307" y="1461"/>
                </a:cubicBezTo>
                <a:cubicBezTo>
                  <a:pt x="2306" y="1461"/>
                  <a:pt x="2306" y="1461"/>
                  <a:pt x="2305" y="1461"/>
                </a:cubicBezTo>
                <a:cubicBezTo>
                  <a:pt x="2305" y="1461"/>
                  <a:pt x="2305" y="1462"/>
                  <a:pt x="2304" y="1462"/>
                </a:cubicBezTo>
                <a:cubicBezTo>
                  <a:pt x="2304" y="1463"/>
                  <a:pt x="2304" y="1464"/>
                  <a:pt x="2304" y="1464"/>
                </a:cubicBezTo>
                <a:cubicBezTo>
                  <a:pt x="2304" y="1464"/>
                  <a:pt x="2304" y="1465"/>
                  <a:pt x="2305" y="1465"/>
                </a:cubicBezTo>
                <a:cubicBezTo>
                  <a:pt x="2305" y="1465"/>
                  <a:pt x="2305" y="1465"/>
                  <a:pt x="2305" y="1465"/>
                </a:cubicBezTo>
                <a:cubicBezTo>
                  <a:pt x="2305" y="1465"/>
                  <a:pt x="2305" y="1465"/>
                  <a:pt x="2306" y="1465"/>
                </a:cubicBezTo>
                <a:cubicBezTo>
                  <a:pt x="2306" y="1465"/>
                  <a:pt x="2306" y="1465"/>
                  <a:pt x="2306" y="1465"/>
                </a:cubicBezTo>
                <a:cubicBezTo>
                  <a:pt x="2308" y="1465"/>
                  <a:pt x="2308" y="1467"/>
                  <a:pt x="2307" y="1467"/>
                </a:cubicBezTo>
                <a:cubicBezTo>
                  <a:pt x="2307" y="1467"/>
                  <a:pt x="2308" y="1466"/>
                  <a:pt x="2307" y="1465"/>
                </a:cubicBezTo>
                <a:cubicBezTo>
                  <a:pt x="2307" y="1465"/>
                  <a:pt x="2307" y="1466"/>
                  <a:pt x="2307" y="1466"/>
                </a:cubicBezTo>
                <a:cubicBezTo>
                  <a:pt x="2306" y="1466"/>
                  <a:pt x="2306" y="1466"/>
                  <a:pt x="2306" y="1466"/>
                </a:cubicBezTo>
                <a:cubicBezTo>
                  <a:pt x="2305" y="1466"/>
                  <a:pt x="2305" y="1466"/>
                  <a:pt x="2304" y="1466"/>
                </a:cubicBezTo>
                <a:cubicBezTo>
                  <a:pt x="2304" y="1466"/>
                  <a:pt x="2304" y="1466"/>
                  <a:pt x="2304" y="1466"/>
                </a:cubicBezTo>
                <a:cubicBezTo>
                  <a:pt x="2303" y="1466"/>
                  <a:pt x="2303" y="1466"/>
                  <a:pt x="2303" y="1467"/>
                </a:cubicBezTo>
                <a:cubicBezTo>
                  <a:pt x="2302" y="1467"/>
                  <a:pt x="2302" y="1468"/>
                  <a:pt x="2302" y="1468"/>
                </a:cubicBezTo>
                <a:cubicBezTo>
                  <a:pt x="2302" y="1469"/>
                  <a:pt x="2302" y="1469"/>
                  <a:pt x="2302" y="1469"/>
                </a:cubicBezTo>
                <a:cubicBezTo>
                  <a:pt x="2301" y="1469"/>
                  <a:pt x="2302" y="1468"/>
                  <a:pt x="2302" y="1468"/>
                </a:cubicBezTo>
                <a:cubicBezTo>
                  <a:pt x="2302" y="1468"/>
                  <a:pt x="2302" y="1467"/>
                  <a:pt x="2302" y="1467"/>
                </a:cubicBezTo>
                <a:cubicBezTo>
                  <a:pt x="2301" y="1466"/>
                  <a:pt x="2302" y="1466"/>
                  <a:pt x="2301" y="1465"/>
                </a:cubicBezTo>
                <a:cubicBezTo>
                  <a:pt x="2300" y="1465"/>
                  <a:pt x="2300" y="1466"/>
                  <a:pt x="2300" y="1466"/>
                </a:cubicBezTo>
                <a:cubicBezTo>
                  <a:pt x="2300" y="1467"/>
                  <a:pt x="2300" y="1467"/>
                  <a:pt x="2299" y="1468"/>
                </a:cubicBezTo>
                <a:cubicBezTo>
                  <a:pt x="2299" y="1468"/>
                  <a:pt x="2299" y="1469"/>
                  <a:pt x="2298" y="1470"/>
                </a:cubicBezTo>
                <a:cubicBezTo>
                  <a:pt x="2298" y="1470"/>
                  <a:pt x="2297" y="1471"/>
                  <a:pt x="2297" y="1471"/>
                </a:cubicBezTo>
                <a:cubicBezTo>
                  <a:pt x="2297" y="1472"/>
                  <a:pt x="2297" y="1473"/>
                  <a:pt x="2297" y="1473"/>
                </a:cubicBezTo>
                <a:cubicBezTo>
                  <a:pt x="2297" y="1474"/>
                  <a:pt x="2297" y="1474"/>
                  <a:pt x="2298" y="1474"/>
                </a:cubicBezTo>
                <a:cubicBezTo>
                  <a:pt x="2298" y="1474"/>
                  <a:pt x="2298" y="1475"/>
                  <a:pt x="2298" y="1475"/>
                </a:cubicBezTo>
                <a:cubicBezTo>
                  <a:pt x="2298" y="1475"/>
                  <a:pt x="2297" y="1475"/>
                  <a:pt x="2297" y="1475"/>
                </a:cubicBezTo>
                <a:cubicBezTo>
                  <a:pt x="2296" y="1476"/>
                  <a:pt x="2297" y="1475"/>
                  <a:pt x="2297" y="1475"/>
                </a:cubicBezTo>
                <a:cubicBezTo>
                  <a:pt x="2297" y="1474"/>
                  <a:pt x="2296" y="1474"/>
                  <a:pt x="2296" y="1473"/>
                </a:cubicBezTo>
                <a:cubicBezTo>
                  <a:pt x="2295" y="1473"/>
                  <a:pt x="2296" y="1472"/>
                  <a:pt x="2295" y="1472"/>
                </a:cubicBezTo>
                <a:cubicBezTo>
                  <a:pt x="2294" y="1472"/>
                  <a:pt x="2294" y="1472"/>
                  <a:pt x="2294" y="1472"/>
                </a:cubicBezTo>
                <a:cubicBezTo>
                  <a:pt x="2292" y="1473"/>
                  <a:pt x="2291" y="1475"/>
                  <a:pt x="2290" y="1476"/>
                </a:cubicBezTo>
                <a:cubicBezTo>
                  <a:pt x="2289" y="1476"/>
                  <a:pt x="2289" y="1476"/>
                  <a:pt x="2288" y="1477"/>
                </a:cubicBezTo>
                <a:cubicBezTo>
                  <a:pt x="2288" y="1477"/>
                  <a:pt x="2288" y="1479"/>
                  <a:pt x="2289" y="1479"/>
                </a:cubicBezTo>
                <a:cubicBezTo>
                  <a:pt x="2289" y="1480"/>
                  <a:pt x="2289" y="1480"/>
                  <a:pt x="2290" y="1480"/>
                </a:cubicBezTo>
                <a:cubicBezTo>
                  <a:pt x="2290" y="1480"/>
                  <a:pt x="2290" y="1480"/>
                  <a:pt x="2290" y="1481"/>
                </a:cubicBezTo>
                <a:cubicBezTo>
                  <a:pt x="2290" y="1481"/>
                  <a:pt x="2290" y="1481"/>
                  <a:pt x="2289" y="1481"/>
                </a:cubicBezTo>
                <a:cubicBezTo>
                  <a:pt x="2289" y="1481"/>
                  <a:pt x="2289" y="1481"/>
                  <a:pt x="2289" y="1480"/>
                </a:cubicBezTo>
                <a:cubicBezTo>
                  <a:pt x="2288" y="1480"/>
                  <a:pt x="2288" y="1481"/>
                  <a:pt x="2288" y="1481"/>
                </a:cubicBezTo>
                <a:cubicBezTo>
                  <a:pt x="2287" y="1481"/>
                  <a:pt x="2287" y="1480"/>
                  <a:pt x="2287" y="1480"/>
                </a:cubicBezTo>
                <a:cubicBezTo>
                  <a:pt x="2287" y="1479"/>
                  <a:pt x="2287" y="1478"/>
                  <a:pt x="2286" y="1478"/>
                </a:cubicBezTo>
                <a:cubicBezTo>
                  <a:pt x="2286" y="1477"/>
                  <a:pt x="2286" y="1478"/>
                  <a:pt x="2285" y="1478"/>
                </a:cubicBezTo>
                <a:cubicBezTo>
                  <a:pt x="2285" y="1478"/>
                  <a:pt x="2285" y="1478"/>
                  <a:pt x="2284" y="1479"/>
                </a:cubicBezTo>
                <a:cubicBezTo>
                  <a:pt x="2284" y="1479"/>
                  <a:pt x="2284" y="1478"/>
                  <a:pt x="2284" y="1478"/>
                </a:cubicBezTo>
                <a:cubicBezTo>
                  <a:pt x="2283" y="1478"/>
                  <a:pt x="2283" y="1478"/>
                  <a:pt x="2283" y="1479"/>
                </a:cubicBezTo>
                <a:cubicBezTo>
                  <a:pt x="2283" y="1479"/>
                  <a:pt x="2282" y="1479"/>
                  <a:pt x="2282" y="1479"/>
                </a:cubicBezTo>
                <a:cubicBezTo>
                  <a:pt x="2282" y="1479"/>
                  <a:pt x="2281" y="1478"/>
                  <a:pt x="2281" y="1478"/>
                </a:cubicBezTo>
                <a:cubicBezTo>
                  <a:pt x="2280" y="1478"/>
                  <a:pt x="2280" y="1479"/>
                  <a:pt x="2280" y="1479"/>
                </a:cubicBezTo>
                <a:cubicBezTo>
                  <a:pt x="2279" y="1480"/>
                  <a:pt x="2279" y="1480"/>
                  <a:pt x="2279" y="1480"/>
                </a:cubicBezTo>
                <a:cubicBezTo>
                  <a:pt x="2278" y="1480"/>
                  <a:pt x="2278" y="1480"/>
                  <a:pt x="2278" y="1480"/>
                </a:cubicBezTo>
                <a:cubicBezTo>
                  <a:pt x="2278" y="1480"/>
                  <a:pt x="2278" y="1481"/>
                  <a:pt x="2277" y="1481"/>
                </a:cubicBezTo>
                <a:cubicBezTo>
                  <a:pt x="2277" y="1482"/>
                  <a:pt x="2276" y="1481"/>
                  <a:pt x="2276" y="1481"/>
                </a:cubicBezTo>
                <a:cubicBezTo>
                  <a:pt x="2276" y="1480"/>
                  <a:pt x="2275" y="1480"/>
                  <a:pt x="2275" y="1480"/>
                </a:cubicBezTo>
                <a:cubicBezTo>
                  <a:pt x="2274" y="1481"/>
                  <a:pt x="2274" y="1482"/>
                  <a:pt x="2274" y="1482"/>
                </a:cubicBezTo>
                <a:cubicBezTo>
                  <a:pt x="2273" y="1483"/>
                  <a:pt x="2273" y="1483"/>
                  <a:pt x="2272" y="1483"/>
                </a:cubicBezTo>
                <a:cubicBezTo>
                  <a:pt x="2271" y="1483"/>
                  <a:pt x="2271" y="1483"/>
                  <a:pt x="2270" y="1483"/>
                </a:cubicBezTo>
                <a:cubicBezTo>
                  <a:pt x="2270" y="1483"/>
                  <a:pt x="2269" y="1482"/>
                  <a:pt x="2269" y="1482"/>
                </a:cubicBezTo>
                <a:cubicBezTo>
                  <a:pt x="2267" y="1482"/>
                  <a:pt x="2266" y="1484"/>
                  <a:pt x="2266" y="1486"/>
                </a:cubicBezTo>
                <a:cubicBezTo>
                  <a:pt x="2266" y="1487"/>
                  <a:pt x="2266" y="1488"/>
                  <a:pt x="2266" y="1489"/>
                </a:cubicBezTo>
                <a:cubicBezTo>
                  <a:pt x="2266" y="1489"/>
                  <a:pt x="2266" y="1490"/>
                  <a:pt x="2266" y="1490"/>
                </a:cubicBezTo>
                <a:cubicBezTo>
                  <a:pt x="2266" y="1491"/>
                  <a:pt x="2266" y="1491"/>
                  <a:pt x="2265" y="1491"/>
                </a:cubicBezTo>
                <a:cubicBezTo>
                  <a:pt x="2264" y="1493"/>
                  <a:pt x="2262" y="1495"/>
                  <a:pt x="2261" y="1497"/>
                </a:cubicBezTo>
                <a:cubicBezTo>
                  <a:pt x="2261" y="1498"/>
                  <a:pt x="2261" y="1500"/>
                  <a:pt x="2261" y="1501"/>
                </a:cubicBezTo>
                <a:cubicBezTo>
                  <a:pt x="2261" y="1502"/>
                  <a:pt x="2261" y="1502"/>
                  <a:pt x="2262" y="1503"/>
                </a:cubicBezTo>
                <a:cubicBezTo>
                  <a:pt x="2262" y="1503"/>
                  <a:pt x="2262" y="1504"/>
                  <a:pt x="2262" y="1504"/>
                </a:cubicBezTo>
                <a:cubicBezTo>
                  <a:pt x="2262" y="1505"/>
                  <a:pt x="2262" y="1505"/>
                  <a:pt x="2262" y="1506"/>
                </a:cubicBezTo>
                <a:cubicBezTo>
                  <a:pt x="2261" y="1508"/>
                  <a:pt x="2262" y="1509"/>
                  <a:pt x="2262" y="1510"/>
                </a:cubicBezTo>
                <a:cubicBezTo>
                  <a:pt x="2262" y="1511"/>
                  <a:pt x="2262" y="1511"/>
                  <a:pt x="2262" y="1512"/>
                </a:cubicBezTo>
                <a:cubicBezTo>
                  <a:pt x="2262" y="1513"/>
                  <a:pt x="2263" y="1514"/>
                  <a:pt x="2264" y="1515"/>
                </a:cubicBezTo>
                <a:cubicBezTo>
                  <a:pt x="2264" y="1515"/>
                  <a:pt x="2264" y="1515"/>
                  <a:pt x="2264" y="1515"/>
                </a:cubicBezTo>
                <a:cubicBezTo>
                  <a:pt x="2264" y="1516"/>
                  <a:pt x="2264" y="1516"/>
                  <a:pt x="2264" y="1517"/>
                </a:cubicBezTo>
                <a:cubicBezTo>
                  <a:pt x="2265" y="1518"/>
                  <a:pt x="2264" y="1519"/>
                  <a:pt x="2265" y="1520"/>
                </a:cubicBezTo>
                <a:cubicBezTo>
                  <a:pt x="2266" y="1521"/>
                  <a:pt x="2266" y="1521"/>
                  <a:pt x="2267" y="1522"/>
                </a:cubicBezTo>
                <a:cubicBezTo>
                  <a:pt x="2267" y="1523"/>
                  <a:pt x="2267" y="1523"/>
                  <a:pt x="2267" y="1524"/>
                </a:cubicBezTo>
                <a:cubicBezTo>
                  <a:pt x="2267" y="1524"/>
                  <a:pt x="2267" y="1525"/>
                  <a:pt x="2266" y="1526"/>
                </a:cubicBezTo>
                <a:cubicBezTo>
                  <a:pt x="2266" y="1526"/>
                  <a:pt x="2266" y="1527"/>
                  <a:pt x="2266" y="1528"/>
                </a:cubicBezTo>
                <a:cubicBezTo>
                  <a:pt x="2266" y="1529"/>
                  <a:pt x="2266" y="1529"/>
                  <a:pt x="2266" y="1530"/>
                </a:cubicBezTo>
                <a:cubicBezTo>
                  <a:pt x="2266" y="1531"/>
                  <a:pt x="2266" y="1531"/>
                  <a:pt x="2266" y="1531"/>
                </a:cubicBezTo>
                <a:cubicBezTo>
                  <a:pt x="2265" y="1532"/>
                  <a:pt x="2264" y="1533"/>
                  <a:pt x="2264" y="1534"/>
                </a:cubicBezTo>
                <a:cubicBezTo>
                  <a:pt x="2264" y="1534"/>
                  <a:pt x="2264" y="1534"/>
                  <a:pt x="2264" y="1534"/>
                </a:cubicBezTo>
                <a:cubicBezTo>
                  <a:pt x="2264" y="1535"/>
                  <a:pt x="2264" y="1535"/>
                  <a:pt x="2263" y="1535"/>
                </a:cubicBezTo>
                <a:cubicBezTo>
                  <a:pt x="2263" y="1536"/>
                  <a:pt x="2263" y="1536"/>
                  <a:pt x="2263" y="1537"/>
                </a:cubicBezTo>
                <a:cubicBezTo>
                  <a:pt x="2262" y="1537"/>
                  <a:pt x="2262" y="1537"/>
                  <a:pt x="2262" y="1538"/>
                </a:cubicBezTo>
                <a:cubicBezTo>
                  <a:pt x="2261" y="1538"/>
                  <a:pt x="2260" y="1539"/>
                  <a:pt x="2260" y="1539"/>
                </a:cubicBezTo>
                <a:cubicBezTo>
                  <a:pt x="2260" y="1540"/>
                  <a:pt x="2260" y="1540"/>
                  <a:pt x="2260" y="1541"/>
                </a:cubicBezTo>
                <a:cubicBezTo>
                  <a:pt x="2260" y="1542"/>
                  <a:pt x="2260" y="1542"/>
                  <a:pt x="2260" y="1543"/>
                </a:cubicBezTo>
                <a:cubicBezTo>
                  <a:pt x="2259" y="1543"/>
                  <a:pt x="2259" y="1543"/>
                  <a:pt x="2259" y="1543"/>
                </a:cubicBezTo>
                <a:cubicBezTo>
                  <a:pt x="2258" y="1543"/>
                  <a:pt x="2258" y="1543"/>
                  <a:pt x="2257" y="1543"/>
                </a:cubicBezTo>
                <a:cubicBezTo>
                  <a:pt x="2256" y="1544"/>
                  <a:pt x="2256" y="1544"/>
                  <a:pt x="2256" y="1545"/>
                </a:cubicBezTo>
                <a:cubicBezTo>
                  <a:pt x="2256" y="1545"/>
                  <a:pt x="2255" y="1546"/>
                  <a:pt x="2255" y="1546"/>
                </a:cubicBezTo>
                <a:cubicBezTo>
                  <a:pt x="2255" y="1547"/>
                  <a:pt x="2255" y="1548"/>
                  <a:pt x="2255" y="1549"/>
                </a:cubicBezTo>
                <a:cubicBezTo>
                  <a:pt x="2255" y="1549"/>
                  <a:pt x="2255" y="1550"/>
                  <a:pt x="2255" y="1550"/>
                </a:cubicBezTo>
                <a:cubicBezTo>
                  <a:pt x="2255" y="1551"/>
                  <a:pt x="2254" y="1551"/>
                  <a:pt x="2254" y="1551"/>
                </a:cubicBezTo>
                <a:cubicBezTo>
                  <a:pt x="2254" y="1552"/>
                  <a:pt x="2253" y="1552"/>
                  <a:pt x="2253" y="1553"/>
                </a:cubicBezTo>
                <a:cubicBezTo>
                  <a:pt x="2253" y="1553"/>
                  <a:pt x="2253" y="1554"/>
                  <a:pt x="2253" y="1555"/>
                </a:cubicBezTo>
                <a:cubicBezTo>
                  <a:pt x="2253" y="1555"/>
                  <a:pt x="2253" y="1556"/>
                  <a:pt x="2253" y="1556"/>
                </a:cubicBezTo>
                <a:cubicBezTo>
                  <a:pt x="2253" y="1557"/>
                  <a:pt x="2252" y="1556"/>
                  <a:pt x="2252" y="1557"/>
                </a:cubicBezTo>
                <a:cubicBezTo>
                  <a:pt x="2252" y="1557"/>
                  <a:pt x="2252" y="1557"/>
                  <a:pt x="2252" y="1558"/>
                </a:cubicBezTo>
                <a:cubicBezTo>
                  <a:pt x="2252" y="1558"/>
                  <a:pt x="2252" y="1559"/>
                  <a:pt x="2253" y="1559"/>
                </a:cubicBezTo>
                <a:cubicBezTo>
                  <a:pt x="2253" y="1560"/>
                  <a:pt x="2253" y="1561"/>
                  <a:pt x="2253" y="1562"/>
                </a:cubicBezTo>
                <a:cubicBezTo>
                  <a:pt x="2253" y="1563"/>
                  <a:pt x="2253" y="1564"/>
                  <a:pt x="2254" y="1565"/>
                </a:cubicBezTo>
                <a:cubicBezTo>
                  <a:pt x="2254" y="1566"/>
                  <a:pt x="2255" y="1566"/>
                  <a:pt x="2256" y="1567"/>
                </a:cubicBezTo>
                <a:cubicBezTo>
                  <a:pt x="2257" y="1568"/>
                  <a:pt x="2256" y="1569"/>
                  <a:pt x="2256" y="1570"/>
                </a:cubicBezTo>
                <a:cubicBezTo>
                  <a:pt x="2257" y="1570"/>
                  <a:pt x="2258" y="1571"/>
                  <a:pt x="2258" y="1572"/>
                </a:cubicBezTo>
                <a:cubicBezTo>
                  <a:pt x="2258" y="1572"/>
                  <a:pt x="2258" y="1573"/>
                  <a:pt x="2257" y="1574"/>
                </a:cubicBezTo>
                <a:cubicBezTo>
                  <a:pt x="2256" y="1574"/>
                  <a:pt x="2256" y="1575"/>
                  <a:pt x="2257" y="1575"/>
                </a:cubicBezTo>
                <a:cubicBezTo>
                  <a:pt x="2257" y="1577"/>
                  <a:pt x="2257" y="1579"/>
                  <a:pt x="2257" y="1581"/>
                </a:cubicBezTo>
                <a:cubicBezTo>
                  <a:pt x="2257" y="1583"/>
                  <a:pt x="2259" y="1584"/>
                  <a:pt x="2260" y="1586"/>
                </a:cubicBezTo>
                <a:cubicBezTo>
                  <a:pt x="2260" y="1586"/>
                  <a:pt x="2259" y="1587"/>
                  <a:pt x="2260" y="1587"/>
                </a:cubicBezTo>
                <a:cubicBezTo>
                  <a:pt x="2260" y="1588"/>
                  <a:pt x="2260" y="1588"/>
                  <a:pt x="2260" y="1588"/>
                </a:cubicBezTo>
                <a:cubicBezTo>
                  <a:pt x="2261" y="1589"/>
                  <a:pt x="2260" y="1589"/>
                  <a:pt x="2261" y="1590"/>
                </a:cubicBezTo>
                <a:cubicBezTo>
                  <a:pt x="2261" y="1590"/>
                  <a:pt x="2261" y="1590"/>
                  <a:pt x="2262" y="1590"/>
                </a:cubicBezTo>
                <a:cubicBezTo>
                  <a:pt x="2262" y="1590"/>
                  <a:pt x="2263" y="1591"/>
                  <a:pt x="2263" y="1591"/>
                </a:cubicBezTo>
                <a:cubicBezTo>
                  <a:pt x="2264" y="1592"/>
                  <a:pt x="2265" y="1592"/>
                  <a:pt x="2266" y="1592"/>
                </a:cubicBezTo>
                <a:cubicBezTo>
                  <a:pt x="2267" y="1592"/>
                  <a:pt x="2267" y="1593"/>
                  <a:pt x="2268" y="1593"/>
                </a:cubicBezTo>
                <a:cubicBezTo>
                  <a:pt x="2269" y="1593"/>
                  <a:pt x="2269" y="1594"/>
                  <a:pt x="2270" y="1594"/>
                </a:cubicBezTo>
                <a:cubicBezTo>
                  <a:pt x="2271" y="1594"/>
                  <a:pt x="2271" y="1595"/>
                  <a:pt x="2272" y="1595"/>
                </a:cubicBezTo>
                <a:cubicBezTo>
                  <a:pt x="2272" y="1595"/>
                  <a:pt x="2273" y="1596"/>
                  <a:pt x="2273" y="1596"/>
                </a:cubicBezTo>
                <a:cubicBezTo>
                  <a:pt x="2274" y="1596"/>
                  <a:pt x="2275" y="1596"/>
                  <a:pt x="2275" y="1596"/>
                </a:cubicBezTo>
                <a:cubicBezTo>
                  <a:pt x="2277" y="1596"/>
                  <a:pt x="2278" y="1595"/>
                  <a:pt x="2280" y="1594"/>
                </a:cubicBezTo>
                <a:cubicBezTo>
                  <a:pt x="2281" y="1593"/>
                  <a:pt x="2283" y="1592"/>
                  <a:pt x="2285" y="1591"/>
                </a:cubicBezTo>
                <a:cubicBezTo>
                  <a:pt x="2286" y="1591"/>
                  <a:pt x="2287" y="1590"/>
                  <a:pt x="2288" y="1590"/>
                </a:cubicBezTo>
                <a:cubicBezTo>
                  <a:pt x="2289" y="1590"/>
                  <a:pt x="2289" y="1591"/>
                  <a:pt x="2290" y="1591"/>
                </a:cubicBezTo>
                <a:cubicBezTo>
                  <a:pt x="2291" y="1590"/>
                  <a:pt x="2291" y="1590"/>
                  <a:pt x="2291" y="1590"/>
                </a:cubicBezTo>
                <a:cubicBezTo>
                  <a:pt x="2292" y="1590"/>
                  <a:pt x="2292" y="1590"/>
                  <a:pt x="2292" y="1590"/>
                </a:cubicBezTo>
                <a:cubicBezTo>
                  <a:pt x="2292" y="1589"/>
                  <a:pt x="2292" y="1589"/>
                  <a:pt x="2293" y="1589"/>
                </a:cubicBezTo>
                <a:cubicBezTo>
                  <a:pt x="2293" y="1589"/>
                  <a:pt x="2293" y="1590"/>
                  <a:pt x="2293" y="1589"/>
                </a:cubicBezTo>
                <a:cubicBezTo>
                  <a:pt x="2294" y="1589"/>
                  <a:pt x="2294" y="1589"/>
                  <a:pt x="2294" y="1588"/>
                </a:cubicBezTo>
                <a:cubicBezTo>
                  <a:pt x="2294" y="1588"/>
                  <a:pt x="2295" y="1588"/>
                  <a:pt x="2295" y="1588"/>
                </a:cubicBezTo>
                <a:cubicBezTo>
                  <a:pt x="2296" y="1588"/>
                  <a:pt x="2296" y="1587"/>
                  <a:pt x="2296" y="1586"/>
                </a:cubicBezTo>
                <a:cubicBezTo>
                  <a:pt x="2296" y="1586"/>
                  <a:pt x="2296" y="1585"/>
                  <a:pt x="2296" y="1585"/>
                </a:cubicBezTo>
                <a:cubicBezTo>
                  <a:pt x="2297" y="1584"/>
                  <a:pt x="2297" y="1583"/>
                  <a:pt x="2297" y="1582"/>
                </a:cubicBezTo>
                <a:cubicBezTo>
                  <a:pt x="2298" y="1582"/>
                  <a:pt x="2297" y="1580"/>
                  <a:pt x="2298" y="1580"/>
                </a:cubicBezTo>
                <a:cubicBezTo>
                  <a:pt x="2298" y="1579"/>
                  <a:pt x="2298" y="1579"/>
                  <a:pt x="2299" y="1579"/>
                </a:cubicBezTo>
                <a:cubicBezTo>
                  <a:pt x="2299" y="1578"/>
                  <a:pt x="2299" y="1578"/>
                  <a:pt x="2299" y="1577"/>
                </a:cubicBezTo>
                <a:cubicBezTo>
                  <a:pt x="2299" y="1577"/>
                  <a:pt x="2300" y="1576"/>
                  <a:pt x="2300" y="1575"/>
                </a:cubicBezTo>
                <a:cubicBezTo>
                  <a:pt x="2301" y="1575"/>
                  <a:pt x="2301" y="1574"/>
                  <a:pt x="2301" y="1574"/>
                </a:cubicBezTo>
                <a:cubicBezTo>
                  <a:pt x="2301" y="1573"/>
                  <a:pt x="2301" y="1573"/>
                  <a:pt x="2301" y="1572"/>
                </a:cubicBezTo>
                <a:cubicBezTo>
                  <a:pt x="2301" y="1572"/>
                  <a:pt x="2302" y="1572"/>
                  <a:pt x="2302" y="1572"/>
                </a:cubicBezTo>
                <a:cubicBezTo>
                  <a:pt x="2302" y="1571"/>
                  <a:pt x="2302" y="1571"/>
                  <a:pt x="2302" y="1570"/>
                </a:cubicBezTo>
                <a:cubicBezTo>
                  <a:pt x="2302" y="1568"/>
                  <a:pt x="2303" y="1567"/>
                  <a:pt x="2304" y="1566"/>
                </a:cubicBezTo>
                <a:cubicBezTo>
                  <a:pt x="2304" y="1565"/>
                  <a:pt x="2304" y="1564"/>
                  <a:pt x="2304" y="1563"/>
                </a:cubicBezTo>
                <a:cubicBezTo>
                  <a:pt x="2304" y="1562"/>
                  <a:pt x="2305" y="1562"/>
                  <a:pt x="2305" y="1561"/>
                </a:cubicBezTo>
                <a:cubicBezTo>
                  <a:pt x="2305" y="1560"/>
                  <a:pt x="2305" y="1560"/>
                  <a:pt x="2305" y="1559"/>
                </a:cubicBezTo>
                <a:cubicBezTo>
                  <a:pt x="2306" y="1556"/>
                  <a:pt x="2306" y="1554"/>
                  <a:pt x="2308" y="1551"/>
                </a:cubicBezTo>
                <a:cubicBezTo>
                  <a:pt x="2309" y="1549"/>
                  <a:pt x="2310" y="1547"/>
                  <a:pt x="2310" y="1544"/>
                </a:cubicBezTo>
                <a:cubicBezTo>
                  <a:pt x="2310" y="1544"/>
                  <a:pt x="2311" y="1543"/>
                  <a:pt x="2311" y="1542"/>
                </a:cubicBezTo>
                <a:cubicBezTo>
                  <a:pt x="2311" y="1542"/>
                  <a:pt x="2311" y="1541"/>
                  <a:pt x="2311" y="1541"/>
                </a:cubicBezTo>
                <a:cubicBezTo>
                  <a:pt x="2311" y="1540"/>
                  <a:pt x="2311" y="1539"/>
                  <a:pt x="2312" y="1539"/>
                </a:cubicBezTo>
                <a:cubicBezTo>
                  <a:pt x="2312" y="1538"/>
                  <a:pt x="2312" y="1537"/>
                  <a:pt x="2312" y="1536"/>
                </a:cubicBezTo>
                <a:cubicBezTo>
                  <a:pt x="2313" y="1535"/>
                  <a:pt x="2313" y="1534"/>
                  <a:pt x="2314" y="1533"/>
                </a:cubicBezTo>
                <a:cubicBezTo>
                  <a:pt x="2314" y="1532"/>
                  <a:pt x="2314" y="1531"/>
                  <a:pt x="2315" y="1531"/>
                </a:cubicBezTo>
                <a:cubicBezTo>
                  <a:pt x="2315" y="1530"/>
                  <a:pt x="2315" y="1530"/>
                  <a:pt x="2315" y="1529"/>
                </a:cubicBezTo>
                <a:cubicBezTo>
                  <a:pt x="2315" y="1529"/>
                  <a:pt x="2315" y="1529"/>
                  <a:pt x="2315" y="1528"/>
                </a:cubicBezTo>
                <a:cubicBezTo>
                  <a:pt x="2315" y="1528"/>
                  <a:pt x="2315" y="1527"/>
                  <a:pt x="2316" y="1527"/>
                </a:cubicBezTo>
                <a:cubicBezTo>
                  <a:pt x="2316" y="1526"/>
                  <a:pt x="2316" y="1526"/>
                  <a:pt x="2316" y="1526"/>
                </a:cubicBezTo>
                <a:cubicBezTo>
                  <a:pt x="2316" y="1525"/>
                  <a:pt x="2316" y="1524"/>
                  <a:pt x="2317" y="1523"/>
                </a:cubicBezTo>
                <a:cubicBezTo>
                  <a:pt x="2318" y="1521"/>
                  <a:pt x="2318" y="1520"/>
                  <a:pt x="2319" y="1518"/>
                </a:cubicBezTo>
                <a:cubicBezTo>
                  <a:pt x="2320" y="1516"/>
                  <a:pt x="2320" y="1514"/>
                  <a:pt x="2321" y="1512"/>
                </a:cubicBezTo>
                <a:cubicBezTo>
                  <a:pt x="2322" y="1511"/>
                  <a:pt x="2322" y="1510"/>
                  <a:pt x="2322" y="1509"/>
                </a:cubicBezTo>
                <a:cubicBezTo>
                  <a:pt x="2322" y="1509"/>
                  <a:pt x="2322" y="1508"/>
                  <a:pt x="2323" y="1507"/>
                </a:cubicBezTo>
                <a:cubicBezTo>
                  <a:pt x="2323" y="1506"/>
                  <a:pt x="2323" y="1506"/>
                  <a:pt x="2323" y="1505"/>
                </a:cubicBezTo>
                <a:cubicBezTo>
                  <a:pt x="2323" y="1504"/>
                  <a:pt x="2324" y="1503"/>
                  <a:pt x="2324" y="1502"/>
                </a:cubicBezTo>
                <a:cubicBezTo>
                  <a:pt x="2324" y="1501"/>
                  <a:pt x="2324" y="1499"/>
                  <a:pt x="2323" y="1497"/>
                </a:cubicBezTo>
                <a:cubicBezTo>
                  <a:pt x="2323" y="1496"/>
                  <a:pt x="2324" y="1494"/>
                  <a:pt x="2325" y="1493"/>
                </a:cubicBezTo>
                <a:cubicBezTo>
                  <a:pt x="2325" y="1493"/>
                  <a:pt x="2325" y="1492"/>
                  <a:pt x="2326" y="1492"/>
                </a:cubicBezTo>
                <a:cubicBezTo>
                  <a:pt x="2326" y="1492"/>
                  <a:pt x="2326" y="1491"/>
                  <a:pt x="2327" y="1491"/>
                </a:cubicBezTo>
                <a:cubicBezTo>
                  <a:pt x="2327" y="1491"/>
                  <a:pt x="2327" y="1491"/>
                  <a:pt x="2328" y="1491"/>
                </a:cubicBezTo>
                <a:cubicBezTo>
                  <a:pt x="2328" y="1490"/>
                  <a:pt x="2327" y="1490"/>
                  <a:pt x="2327" y="1490"/>
                </a:cubicBezTo>
                <a:cubicBezTo>
                  <a:pt x="2326" y="1490"/>
                  <a:pt x="2328" y="1488"/>
                  <a:pt x="2328" y="1488"/>
                </a:cubicBezTo>
                <a:cubicBezTo>
                  <a:pt x="2328" y="1487"/>
                  <a:pt x="2328" y="1486"/>
                  <a:pt x="2328" y="1485"/>
                </a:cubicBezTo>
                <a:cubicBezTo>
                  <a:pt x="2328" y="1485"/>
                  <a:pt x="2329" y="1483"/>
                  <a:pt x="2328" y="1483"/>
                </a:cubicBezTo>
                <a:cubicBezTo>
                  <a:pt x="2326" y="1482"/>
                  <a:pt x="2327" y="1481"/>
                  <a:pt x="2327" y="1480"/>
                </a:cubicBezTo>
                <a:cubicBezTo>
                  <a:pt x="2327" y="1478"/>
                  <a:pt x="2325" y="1477"/>
                  <a:pt x="2326" y="1475"/>
                </a:cubicBezTo>
                <a:cubicBezTo>
                  <a:pt x="2327" y="1474"/>
                  <a:pt x="2327" y="1474"/>
                  <a:pt x="2328" y="1474"/>
                </a:cubicBezTo>
                <a:cubicBezTo>
                  <a:pt x="2329" y="1474"/>
                  <a:pt x="2329" y="1474"/>
                  <a:pt x="2329" y="1475"/>
                </a:cubicBezTo>
                <a:cubicBezTo>
                  <a:pt x="2329" y="1476"/>
                  <a:pt x="2330" y="1476"/>
                  <a:pt x="2330" y="1477"/>
                </a:cubicBezTo>
                <a:cubicBezTo>
                  <a:pt x="2330" y="1477"/>
                  <a:pt x="2330" y="1478"/>
                  <a:pt x="2330" y="1479"/>
                </a:cubicBezTo>
                <a:cubicBezTo>
                  <a:pt x="2331" y="1479"/>
                  <a:pt x="2331" y="1479"/>
                  <a:pt x="2332" y="1480"/>
                </a:cubicBezTo>
                <a:cubicBezTo>
                  <a:pt x="2332" y="1481"/>
                  <a:pt x="2333" y="1480"/>
                  <a:pt x="2333" y="1480"/>
                </a:cubicBezTo>
                <a:cubicBezTo>
                  <a:pt x="2333" y="1479"/>
                  <a:pt x="2334" y="1479"/>
                  <a:pt x="2334" y="1478"/>
                </a:cubicBezTo>
                <a:cubicBezTo>
                  <a:pt x="2334" y="1477"/>
                  <a:pt x="2335" y="1476"/>
                  <a:pt x="2335" y="1476"/>
                </a:cubicBezTo>
                <a:cubicBezTo>
                  <a:pt x="2336" y="1474"/>
                  <a:pt x="2336" y="1473"/>
                  <a:pt x="2336" y="1471"/>
                </a:cubicBezTo>
                <a:cubicBezTo>
                  <a:pt x="2335" y="1470"/>
                  <a:pt x="2335" y="1469"/>
                  <a:pt x="2334" y="1468"/>
                </a:cubicBezTo>
                <a:close/>
                <a:moveTo>
                  <a:pt x="1483" y="260"/>
                </a:moveTo>
                <a:cubicBezTo>
                  <a:pt x="1484" y="260"/>
                  <a:pt x="1485" y="260"/>
                  <a:pt x="1486" y="260"/>
                </a:cubicBezTo>
                <a:cubicBezTo>
                  <a:pt x="1487" y="260"/>
                  <a:pt x="1487" y="261"/>
                  <a:pt x="1488" y="261"/>
                </a:cubicBezTo>
                <a:cubicBezTo>
                  <a:pt x="1489" y="261"/>
                  <a:pt x="1490" y="261"/>
                  <a:pt x="1491" y="261"/>
                </a:cubicBezTo>
                <a:cubicBezTo>
                  <a:pt x="1492" y="261"/>
                  <a:pt x="1493" y="261"/>
                  <a:pt x="1494" y="261"/>
                </a:cubicBezTo>
                <a:cubicBezTo>
                  <a:pt x="1495" y="261"/>
                  <a:pt x="1494" y="260"/>
                  <a:pt x="1493" y="260"/>
                </a:cubicBezTo>
                <a:cubicBezTo>
                  <a:pt x="1491" y="259"/>
                  <a:pt x="1489" y="258"/>
                  <a:pt x="1487" y="258"/>
                </a:cubicBezTo>
                <a:cubicBezTo>
                  <a:pt x="1486" y="258"/>
                  <a:pt x="1485" y="258"/>
                  <a:pt x="1484" y="257"/>
                </a:cubicBezTo>
                <a:cubicBezTo>
                  <a:pt x="1482" y="257"/>
                  <a:pt x="1480" y="257"/>
                  <a:pt x="1478" y="257"/>
                </a:cubicBezTo>
                <a:cubicBezTo>
                  <a:pt x="1478" y="257"/>
                  <a:pt x="1477" y="257"/>
                  <a:pt x="1477" y="257"/>
                </a:cubicBezTo>
                <a:cubicBezTo>
                  <a:pt x="1476" y="257"/>
                  <a:pt x="1474" y="256"/>
                  <a:pt x="1473" y="257"/>
                </a:cubicBezTo>
                <a:cubicBezTo>
                  <a:pt x="1472" y="257"/>
                  <a:pt x="1473" y="257"/>
                  <a:pt x="1473" y="258"/>
                </a:cubicBezTo>
                <a:cubicBezTo>
                  <a:pt x="1474" y="259"/>
                  <a:pt x="1475" y="259"/>
                  <a:pt x="1475" y="259"/>
                </a:cubicBezTo>
                <a:cubicBezTo>
                  <a:pt x="1477" y="259"/>
                  <a:pt x="1479" y="259"/>
                  <a:pt x="1481" y="259"/>
                </a:cubicBezTo>
                <a:cubicBezTo>
                  <a:pt x="1482" y="259"/>
                  <a:pt x="1482" y="260"/>
                  <a:pt x="1483" y="260"/>
                </a:cubicBezTo>
                <a:close/>
                <a:moveTo>
                  <a:pt x="2329" y="1491"/>
                </a:moveTo>
                <a:cubicBezTo>
                  <a:pt x="2328" y="1492"/>
                  <a:pt x="2328" y="1493"/>
                  <a:pt x="2328" y="1494"/>
                </a:cubicBezTo>
                <a:cubicBezTo>
                  <a:pt x="2329" y="1492"/>
                  <a:pt x="2330" y="1491"/>
                  <a:pt x="2330" y="1489"/>
                </a:cubicBezTo>
                <a:cubicBezTo>
                  <a:pt x="2329" y="1489"/>
                  <a:pt x="2329" y="1491"/>
                  <a:pt x="2329" y="1491"/>
                </a:cubicBezTo>
                <a:close/>
                <a:moveTo>
                  <a:pt x="1563" y="449"/>
                </a:moveTo>
                <a:cubicBezTo>
                  <a:pt x="1564" y="448"/>
                  <a:pt x="1565" y="448"/>
                  <a:pt x="1566" y="448"/>
                </a:cubicBezTo>
                <a:cubicBezTo>
                  <a:pt x="1566" y="448"/>
                  <a:pt x="1568" y="448"/>
                  <a:pt x="1568" y="448"/>
                </a:cubicBezTo>
                <a:cubicBezTo>
                  <a:pt x="1569" y="448"/>
                  <a:pt x="1570" y="447"/>
                  <a:pt x="1571" y="447"/>
                </a:cubicBezTo>
                <a:cubicBezTo>
                  <a:pt x="1571" y="446"/>
                  <a:pt x="1572" y="446"/>
                  <a:pt x="1573" y="445"/>
                </a:cubicBezTo>
                <a:cubicBezTo>
                  <a:pt x="1574" y="444"/>
                  <a:pt x="1576" y="443"/>
                  <a:pt x="1578" y="442"/>
                </a:cubicBezTo>
                <a:cubicBezTo>
                  <a:pt x="1578" y="442"/>
                  <a:pt x="1579" y="441"/>
                  <a:pt x="1580" y="441"/>
                </a:cubicBezTo>
                <a:cubicBezTo>
                  <a:pt x="1581" y="441"/>
                  <a:pt x="1582" y="441"/>
                  <a:pt x="1582" y="440"/>
                </a:cubicBezTo>
                <a:cubicBezTo>
                  <a:pt x="1583" y="440"/>
                  <a:pt x="1584" y="439"/>
                  <a:pt x="1585" y="439"/>
                </a:cubicBezTo>
                <a:cubicBezTo>
                  <a:pt x="1586" y="439"/>
                  <a:pt x="1586" y="440"/>
                  <a:pt x="1587" y="440"/>
                </a:cubicBezTo>
                <a:cubicBezTo>
                  <a:pt x="1587" y="440"/>
                  <a:pt x="1588" y="440"/>
                  <a:pt x="1588" y="440"/>
                </a:cubicBezTo>
                <a:cubicBezTo>
                  <a:pt x="1589" y="440"/>
                  <a:pt x="1590" y="440"/>
                  <a:pt x="1591" y="439"/>
                </a:cubicBezTo>
                <a:cubicBezTo>
                  <a:pt x="1592" y="438"/>
                  <a:pt x="1592" y="438"/>
                  <a:pt x="1593" y="438"/>
                </a:cubicBezTo>
                <a:cubicBezTo>
                  <a:pt x="1593" y="437"/>
                  <a:pt x="1595" y="436"/>
                  <a:pt x="1594" y="435"/>
                </a:cubicBezTo>
                <a:cubicBezTo>
                  <a:pt x="1594" y="435"/>
                  <a:pt x="1594" y="435"/>
                  <a:pt x="1594" y="435"/>
                </a:cubicBezTo>
                <a:cubicBezTo>
                  <a:pt x="1593" y="434"/>
                  <a:pt x="1594" y="434"/>
                  <a:pt x="1594" y="433"/>
                </a:cubicBezTo>
                <a:cubicBezTo>
                  <a:pt x="1594" y="433"/>
                  <a:pt x="1595" y="433"/>
                  <a:pt x="1595" y="432"/>
                </a:cubicBezTo>
                <a:cubicBezTo>
                  <a:pt x="1595" y="432"/>
                  <a:pt x="1595" y="431"/>
                  <a:pt x="1596" y="431"/>
                </a:cubicBezTo>
                <a:cubicBezTo>
                  <a:pt x="1596" y="431"/>
                  <a:pt x="1597" y="432"/>
                  <a:pt x="1598" y="432"/>
                </a:cubicBezTo>
                <a:cubicBezTo>
                  <a:pt x="1598" y="432"/>
                  <a:pt x="1599" y="432"/>
                  <a:pt x="1599" y="431"/>
                </a:cubicBezTo>
                <a:cubicBezTo>
                  <a:pt x="1600" y="431"/>
                  <a:pt x="1600" y="431"/>
                  <a:pt x="1601" y="430"/>
                </a:cubicBezTo>
                <a:cubicBezTo>
                  <a:pt x="1601" y="430"/>
                  <a:pt x="1601" y="429"/>
                  <a:pt x="1601" y="429"/>
                </a:cubicBezTo>
                <a:cubicBezTo>
                  <a:pt x="1601" y="429"/>
                  <a:pt x="1601" y="428"/>
                  <a:pt x="1601" y="428"/>
                </a:cubicBezTo>
                <a:cubicBezTo>
                  <a:pt x="1601" y="428"/>
                  <a:pt x="1602" y="428"/>
                  <a:pt x="1602" y="427"/>
                </a:cubicBezTo>
                <a:cubicBezTo>
                  <a:pt x="1602" y="427"/>
                  <a:pt x="1602" y="427"/>
                  <a:pt x="1601" y="426"/>
                </a:cubicBezTo>
                <a:cubicBezTo>
                  <a:pt x="1600" y="426"/>
                  <a:pt x="1602" y="425"/>
                  <a:pt x="1602" y="425"/>
                </a:cubicBezTo>
                <a:cubicBezTo>
                  <a:pt x="1603" y="425"/>
                  <a:pt x="1604" y="425"/>
                  <a:pt x="1605" y="425"/>
                </a:cubicBezTo>
                <a:cubicBezTo>
                  <a:pt x="1605" y="425"/>
                  <a:pt x="1606" y="425"/>
                  <a:pt x="1605" y="424"/>
                </a:cubicBezTo>
                <a:cubicBezTo>
                  <a:pt x="1605" y="424"/>
                  <a:pt x="1604" y="424"/>
                  <a:pt x="1604" y="424"/>
                </a:cubicBezTo>
                <a:cubicBezTo>
                  <a:pt x="1603" y="424"/>
                  <a:pt x="1602" y="423"/>
                  <a:pt x="1603" y="422"/>
                </a:cubicBezTo>
                <a:cubicBezTo>
                  <a:pt x="1603" y="421"/>
                  <a:pt x="1605" y="422"/>
                  <a:pt x="1605" y="421"/>
                </a:cubicBezTo>
                <a:cubicBezTo>
                  <a:pt x="1605" y="420"/>
                  <a:pt x="1603" y="421"/>
                  <a:pt x="1603" y="420"/>
                </a:cubicBezTo>
                <a:cubicBezTo>
                  <a:pt x="1603" y="420"/>
                  <a:pt x="1603" y="419"/>
                  <a:pt x="1604" y="419"/>
                </a:cubicBezTo>
                <a:cubicBezTo>
                  <a:pt x="1604" y="418"/>
                  <a:pt x="1605" y="418"/>
                  <a:pt x="1605" y="418"/>
                </a:cubicBezTo>
                <a:cubicBezTo>
                  <a:pt x="1605" y="417"/>
                  <a:pt x="1604" y="416"/>
                  <a:pt x="1603" y="416"/>
                </a:cubicBezTo>
                <a:cubicBezTo>
                  <a:pt x="1602" y="416"/>
                  <a:pt x="1602" y="415"/>
                  <a:pt x="1601" y="415"/>
                </a:cubicBezTo>
                <a:cubicBezTo>
                  <a:pt x="1600" y="415"/>
                  <a:pt x="1599" y="415"/>
                  <a:pt x="1599" y="415"/>
                </a:cubicBezTo>
                <a:cubicBezTo>
                  <a:pt x="1598" y="415"/>
                  <a:pt x="1598" y="415"/>
                  <a:pt x="1598" y="414"/>
                </a:cubicBezTo>
                <a:cubicBezTo>
                  <a:pt x="1597" y="414"/>
                  <a:pt x="1597" y="414"/>
                  <a:pt x="1597" y="414"/>
                </a:cubicBezTo>
                <a:cubicBezTo>
                  <a:pt x="1596" y="413"/>
                  <a:pt x="1597" y="412"/>
                  <a:pt x="1596" y="411"/>
                </a:cubicBezTo>
                <a:cubicBezTo>
                  <a:pt x="1595" y="411"/>
                  <a:pt x="1592" y="414"/>
                  <a:pt x="1591" y="412"/>
                </a:cubicBezTo>
                <a:cubicBezTo>
                  <a:pt x="1591" y="411"/>
                  <a:pt x="1592" y="410"/>
                  <a:pt x="1592" y="410"/>
                </a:cubicBezTo>
                <a:cubicBezTo>
                  <a:pt x="1593" y="409"/>
                  <a:pt x="1593" y="408"/>
                  <a:pt x="1592" y="407"/>
                </a:cubicBezTo>
                <a:cubicBezTo>
                  <a:pt x="1592" y="407"/>
                  <a:pt x="1591" y="407"/>
                  <a:pt x="1591" y="407"/>
                </a:cubicBezTo>
                <a:cubicBezTo>
                  <a:pt x="1590" y="407"/>
                  <a:pt x="1589" y="407"/>
                  <a:pt x="1589" y="406"/>
                </a:cubicBezTo>
                <a:cubicBezTo>
                  <a:pt x="1588" y="406"/>
                  <a:pt x="1588" y="406"/>
                  <a:pt x="1587" y="406"/>
                </a:cubicBezTo>
                <a:cubicBezTo>
                  <a:pt x="1587" y="406"/>
                  <a:pt x="1588" y="405"/>
                  <a:pt x="1588" y="405"/>
                </a:cubicBezTo>
                <a:cubicBezTo>
                  <a:pt x="1588" y="405"/>
                  <a:pt x="1588" y="404"/>
                  <a:pt x="1589" y="404"/>
                </a:cubicBezTo>
                <a:cubicBezTo>
                  <a:pt x="1589" y="404"/>
                  <a:pt x="1589" y="403"/>
                  <a:pt x="1589" y="403"/>
                </a:cubicBezTo>
                <a:cubicBezTo>
                  <a:pt x="1589" y="402"/>
                  <a:pt x="1590" y="402"/>
                  <a:pt x="1591" y="402"/>
                </a:cubicBezTo>
                <a:cubicBezTo>
                  <a:pt x="1591" y="401"/>
                  <a:pt x="1592" y="402"/>
                  <a:pt x="1593" y="401"/>
                </a:cubicBezTo>
                <a:cubicBezTo>
                  <a:pt x="1593" y="401"/>
                  <a:pt x="1593" y="401"/>
                  <a:pt x="1593" y="400"/>
                </a:cubicBezTo>
                <a:cubicBezTo>
                  <a:pt x="1592" y="400"/>
                  <a:pt x="1592" y="400"/>
                  <a:pt x="1591" y="400"/>
                </a:cubicBezTo>
                <a:cubicBezTo>
                  <a:pt x="1590" y="400"/>
                  <a:pt x="1588" y="401"/>
                  <a:pt x="1587" y="402"/>
                </a:cubicBezTo>
                <a:cubicBezTo>
                  <a:pt x="1586" y="402"/>
                  <a:pt x="1585" y="403"/>
                  <a:pt x="1585" y="403"/>
                </a:cubicBezTo>
                <a:cubicBezTo>
                  <a:pt x="1585" y="404"/>
                  <a:pt x="1585" y="404"/>
                  <a:pt x="1585" y="404"/>
                </a:cubicBezTo>
                <a:cubicBezTo>
                  <a:pt x="1584" y="405"/>
                  <a:pt x="1584" y="404"/>
                  <a:pt x="1584" y="404"/>
                </a:cubicBezTo>
                <a:cubicBezTo>
                  <a:pt x="1583" y="404"/>
                  <a:pt x="1582" y="404"/>
                  <a:pt x="1582" y="403"/>
                </a:cubicBezTo>
                <a:cubicBezTo>
                  <a:pt x="1581" y="402"/>
                  <a:pt x="1581" y="402"/>
                  <a:pt x="1581" y="401"/>
                </a:cubicBezTo>
                <a:cubicBezTo>
                  <a:pt x="1581" y="399"/>
                  <a:pt x="1580" y="400"/>
                  <a:pt x="1579" y="400"/>
                </a:cubicBezTo>
                <a:cubicBezTo>
                  <a:pt x="1578" y="399"/>
                  <a:pt x="1579" y="398"/>
                  <a:pt x="1578" y="398"/>
                </a:cubicBezTo>
                <a:cubicBezTo>
                  <a:pt x="1577" y="397"/>
                  <a:pt x="1576" y="398"/>
                  <a:pt x="1575" y="398"/>
                </a:cubicBezTo>
                <a:cubicBezTo>
                  <a:pt x="1574" y="398"/>
                  <a:pt x="1574" y="398"/>
                  <a:pt x="1573" y="398"/>
                </a:cubicBezTo>
                <a:cubicBezTo>
                  <a:pt x="1572" y="398"/>
                  <a:pt x="1571" y="398"/>
                  <a:pt x="1571" y="399"/>
                </a:cubicBezTo>
                <a:cubicBezTo>
                  <a:pt x="1571" y="400"/>
                  <a:pt x="1572" y="400"/>
                  <a:pt x="1572" y="400"/>
                </a:cubicBezTo>
                <a:cubicBezTo>
                  <a:pt x="1572" y="401"/>
                  <a:pt x="1572" y="401"/>
                  <a:pt x="1572" y="401"/>
                </a:cubicBezTo>
                <a:cubicBezTo>
                  <a:pt x="1572" y="402"/>
                  <a:pt x="1573" y="402"/>
                  <a:pt x="1572" y="403"/>
                </a:cubicBezTo>
                <a:cubicBezTo>
                  <a:pt x="1572" y="403"/>
                  <a:pt x="1572" y="404"/>
                  <a:pt x="1572" y="404"/>
                </a:cubicBezTo>
                <a:cubicBezTo>
                  <a:pt x="1572" y="404"/>
                  <a:pt x="1571" y="404"/>
                  <a:pt x="1571" y="404"/>
                </a:cubicBezTo>
                <a:cubicBezTo>
                  <a:pt x="1570" y="404"/>
                  <a:pt x="1569" y="404"/>
                  <a:pt x="1568" y="404"/>
                </a:cubicBezTo>
                <a:cubicBezTo>
                  <a:pt x="1568" y="404"/>
                  <a:pt x="1567" y="404"/>
                  <a:pt x="1566" y="404"/>
                </a:cubicBezTo>
                <a:cubicBezTo>
                  <a:pt x="1565" y="404"/>
                  <a:pt x="1565" y="404"/>
                  <a:pt x="1564" y="405"/>
                </a:cubicBezTo>
                <a:cubicBezTo>
                  <a:pt x="1564" y="405"/>
                  <a:pt x="1563" y="406"/>
                  <a:pt x="1562" y="406"/>
                </a:cubicBezTo>
                <a:cubicBezTo>
                  <a:pt x="1561" y="407"/>
                  <a:pt x="1560" y="407"/>
                  <a:pt x="1559" y="407"/>
                </a:cubicBezTo>
                <a:cubicBezTo>
                  <a:pt x="1557" y="407"/>
                  <a:pt x="1557" y="405"/>
                  <a:pt x="1556" y="405"/>
                </a:cubicBezTo>
                <a:cubicBezTo>
                  <a:pt x="1555" y="405"/>
                  <a:pt x="1554" y="405"/>
                  <a:pt x="1553" y="405"/>
                </a:cubicBezTo>
                <a:cubicBezTo>
                  <a:pt x="1553" y="404"/>
                  <a:pt x="1551" y="403"/>
                  <a:pt x="1551" y="405"/>
                </a:cubicBezTo>
                <a:cubicBezTo>
                  <a:pt x="1552" y="405"/>
                  <a:pt x="1552" y="405"/>
                  <a:pt x="1552" y="406"/>
                </a:cubicBezTo>
                <a:cubicBezTo>
                  <a:pt x="1552" y="406"/>
                  <a:pt x="1552" y="407"/>
                  <a:pt x="1552" y="407"/>
                </a:cubicBezTo>
                <a:cubicBezTo>
                  <a:pt x="1552" y="407"/>
                  <a:pt x="1552" y="408"/>
                  <a:pt x="1552" y="408"/>
                </a:cubicBezTo>
                <a:cubicBezTo>
                  <a:pt x="1552" y="409"/>
                  <a:pt x="1552" y="409"/>
                  <a:pt x="1553" y="410"/>
                </a:cubicBezTo>
                <a:cubicBezTo>
                  <a:pt x="1553" y="410"/>
                  <a:pt x="1554" y="412"/>
                  <a:pt x="1553" y="412"/>
                </a:cubicBezTo>
                <a:cubicBezTo>
                  <a:pt x="1552" y="412"/>
                  <a:pt x="1552" y="411"/>
                  <a:pt x="1552" y="410"/>
                </a:cubicBezTo>
                <a:cubicBezTo>
                  <a:pt x="1551" y="409"/>
                  <a:pt x="1550" y="409"/>
                  <a:pt x="1550" y="408"/>
                </a:cubicBezTo>
                <a:cubicBezTo>
                  <a:pt x="1549" y="407"/>
                  <a:pt x="1549" y="406"/>
                  <a:pt x="1548" y="405"/>
                </a:cubicBezTo>
                <a:cubicBezTo>
                  <a:pt x="1547" y="405"/>
                  <a:pt x="1546" y="405"/>
                  <a:pt x="1546" y="404"/>
                </a:cubicBezTo>
                <a:cubicBezTo>
                  <a:pt x="1544" y="404"/>
                  <a:pt x="1540" y="404"/>
                  <a:pt x="1539" y="406"/>
                </a:cubicBezTo>
                <a:cubicBezTo>
                  <a:pt x="1539" y="407"/>
                  <a:pt x="1539" y="407"/>
                  <a:pt x="1538" y="408"/>
                </a:cubicBezTo>
                <a:cubicBezTo>
                  <a:pt x="1538" y="408"/>
                  <a:pt x="1537" y="408"/>
                  <a:pt x="1537" y="409"/>
                </a:cubicBezTo>
                <a:cubicBezTo>
                  <a:pt x="1537" y="409"/>
                  <a:pt x="1538" y="410"/>
                  <a:pt x="1538" y="411"/>
                </a:cubicBezTo>
                <a:cubicBezTo>
                  <a:pt x="1539" y="411"/>
                  <a:pt x="1538" y="413"/>
                  <a:pt x="1537" y="412"/>
                </a:cubicBezTo>
                <a:cubicBezTo>
                  <a:pt x="1536" y="412"/>
                  <a:pt x="1536" y="411"/>
                  <a:pt x="1535" y="411"/>
                </a:cubicBezTo>
                <a:cubicBezTo>
                  <a:pt x="1534" y="409"/>
                  <a:pt x="1533" y="407"/>
                  <a:pt x="1531" y="406"/>
                </a:cubicBezTo>
                <a:cubicBezTo>
                  <a:pt x="1530" y="405"/>
                  <a:pt x="1529" y="405"/>
                  <a:pt x="1528" y="406"/>
                </a:cubicBezTo>
                <a:cubicBezTo>
                  <a:pt x="1527" y="408"/>
                  <a:pt x="1528" y="409"/>
                  <a:pt x="1529" y="411"/>
                </a:cubicBezTo>
                <a:cubicBezTo>
                  <a:pt x="1529" y="412"/>
                  <a:pt x="1529" y="413"/>
                  <a:pt x="1528" y="413"/>
                </a:cubicBezTo>
                <a:cubicBezTo>
                  <a:pt x="1528" y="414"/>
                  <a:pt x="1528" y="416"/>
                  <a:pt x="1527" y="416"/>
                </a:cubicBezTo>
                <a:cubicBezTo>
                  <a:pt x="1526" y="417"/>
                  <a:pt x="1526" y="417"/>
                  <a:pt x="1526" y="416"/>
                </a:cubicBezTo>
                <a:cubicBezTo>
                  <a:pt x="1526" y="416"/>
                  <a:pt x="1525" y="416"/>
                  <a:pt x="1525" y="415"/>
                </a:cubicBezTo>
                <a:cubicBezTo>
                  <a:pt x="1524" y="415"/>
                  <a:pt x="1524" y="414"/>
                  <a:pt x="1524" y="413"/>
                </a:cubicBezTo>
                <a:cubicBezTo>
                  <a:pt x="1524" y="413"/>
                  <a:pt x="1523" y="414"/>
                  <a:pt x="1523" y="414"/>
                </a:cubicBezTo>
                <a:cubicBezTo>
                  <a:pt x="1522" y="414"/>
                  <a:pt x="1522" y="414"/>
                  <a:pt x="1522" y="415"/>
                </a:cubicBezTo>
                <a:cubicBezTo>
                  <a:pt x="1522" y="415"/>
                  <a:pt x="1521" y="415"/>
                  <a:pt x="1521" y="416"/>
                </a:cubicBezTo>
                <a:cubicBezTo>
                  <a:pt x="1521" y="417"/>
                  <a:pt x="1522" y="418"/>
                  <a:pt x="1521" y="418"/>
                </a:cubicBezTo>
                <a:cubicBezTo>
                  <a:pt x="1521" y="419"/>
                  <a:pt x="1520" y="419"/>
                  <a:pt x="1520" y="418"/>
                </a:cubicBezTo>
                <a:cubicBezTo>
                  <a:pt x="1520" y="418"/>
                  <a:pt x="1520" y="417"/>
                  <a:pt x="1519" y="418"/>
                </a:cubicBezTo>
                <a:cubicBezTo>
                  <a:pt x="1519" y="418"/>
                  <a:pt x="1519" y="420"/>
                  <a:pt x="1519" y="421"/>
                </a:cubicBezTo>
                <a:cubicBezTo>
                  <a:pt x="1520" y="421"/>
                  <a:pt x="1520" y="423"/>
                  <a:pt x="1519" y="422"/>
                </a:cubicBezTo>
                <a:cubicBezTo>
                  <a:pt x="1518" y="422"/>
                  <a:pt x="1518" y="421"/>
                  <a:pt x="1517" y="420"/>
                </a:cubicBezTo>
                <a:cubicBezTo>
                  <a:pt x="1517" y="419"/>
                  <a:pt x="1516" y="419"/>
                  <a:pt x="1516" y="418"/>
                </a:cubicBezTo>
                <a:cubicBezTo>
                  <a:pt x="1516" y="418"/>
                  <a:pt x="1516" y="418"/>
                  <a:pt x="1516" y="417"/>
                </a:cubicBezTo>
                <a:cubicBezTo>
                  <a:pt x="1516" y="417"/>
                  <a:pt x="1517" y="417"/>
                  <a:pt x="1517" y="416"/>
                </a:cubicBezTo>
                <a:cubicBezTo>
                  <a:pt x="1516" y="415"/>
                  <a:pt x="1516" y="416"/>
                  <a:pt x="1516" y="415"/>
                </a:cubicBezTo>
                <a:cubicBezTo>
                  <a:pt x="1516" y="415"/>
                  <a:pt x="1516" y="415"/>
                  <a:pt x="1515" y="415"/>
                </a:cubicBezTo>
                <a:cubicBezTo>
                  <a:pt x="1515" y="414"/>
                  <a:pt x="1514" y="414"/>
                  <a:pt x="1514" y="414"/>
                </a:cubicBezTo>
                <a:cubicBezTo>
                  <a:pt x="1514" y="414"/>
                  <a:pt x="1513" y="414"/>
                  <a:pt x="1513" y="414"/>
                </a:cubicBezTo>
                <a:cubicBezTo>
                  <a:pt x="1512" y="413"/>
                  <a:pt x="1512" y="413"/>
                  <a:pt x="1513" y="412"/>
                </a:cubicBezTo>
                <a:cubicBezTo>
                  <a:pt x="1513" y="412"/>
                  <a:pt x="1514" y="413"/>
                  <a:pt x="1514" y="413"/>
                </a:cubicBezTo>
                <a:cubicBezTo>
                  <a:pt x="1514" y="414"/>
                  <a:pt x="1514" y="414"/>
                  <a:pt x="1515" y="414"/>
                </a:cubicBezTo>
                <a:cubicBezTo>
                  <a:pt x="1515" y="414"/>
                  <a:pt x="1516" y="413"/>
                  <a:pt x="1516" y="412"/>
                </a:cubicBezTo>
                <a:cubicBezTo>
                  <a:pt x="1517" y="411"/>
                  <a:pt x="1517" y="411"/>
                  <a:pt x="1517" y="410"/>
                </a:cubicBezTo>
                <a:cubicBezTo>
                  <a:pt x="1517" y="409"/>
                  <a:pt x="1516" y="409"/>
                  <a:pt x="1516" y="409"/>
                </a:cubicBezTo>
                <a:cubicBezTo>
                  <a:pt x="1516" y="409"/>
                  <a:pt x="1515" y="409"/>
                  <a:pt x="1515" y="409"/>
                </a:cubicBezTo>
                <a:cubicBezTo>
                  <a:pt x="1514" y="408"/>
                  <a:pt x="1517" y="409"/>
                  <a:pt x="1516" y="408"/>
                </a:cubicBezTo>
                <a:cubicBezTo>
                  <a:pt x="1516" y="407"/>
                  <a:pt x="1515" y="407"/>
                  <a:pt x="1514" y="407"/>
                </a:cubicBezTo>
                <a:cubicBezTo>
                  <a:pt x="1514" y="407"/>
                  <a:pt x="1513" y="407"/>
                  <a:pt x="1512" y="406"/>
                </a:cubicBezTo>
                <a:cubicBezTo>
                  <a:pt x="1512" y="406"/>
                  <a:pt x="1511" y="405"/>
                  <a:pt x="1510" y="404"/>
                </a:cubicBezTo>
                <a:cubicBezTo>
                  <a:pt x="1510" y="403"/>
                  <a:pt x="1509" y="403"/>
                  <a:pt x="1508" y="402"/>
                </a:cubicBezTo>
                <a:cubicBezTo>
                  <a:pt x="1508" y="402"/>
                  <a:pt x="1507" y="401"/>
                  <a:pt x="1506" y="400"/>
                </a:cubicBezTo>
                <a:cubicBezTo>
                  <a:pt x="1505" y="399"/>
                  <a:pt x="1505" y="399"/>
                  <a:pt x="1503" y="398"/>
                </a:cubicBezTo>
                <a:cubicBezTo>
                  <a:pt x="1503" y="398"/>
                  <a:pt x="1502" y="398"/>
                  <a:pt x="1501" y="398"/>
                </a:cubicBezTo>
                <a:cubicBezTo>
                  <a:pt x="1500" y="398"/>
                  <a:pt x="1499" y="399"/>
                  <a:pt x="1498" y="399"/>
                </a:cubicBezTo>
                <a:cubicBezTo>
                  <a:pt x="1497" y="399"/>
                  <a:pt x="1496" y="399"/>
                  <a:pt x="1496" y="400"/>
                </a:cubicBezTo>
                <a:cubicBezTo>
                  <a:pt x="1496" y="401"/>
                  <a:pt x="1496" y="402"/>
                  <a:pt x="1497" y="402"/>
                </a:cubicBezTo>
                <a:cubicBezTo>
                  <a:pt x="1498" y="402"/>
                  <a:pt x="1498" y="401"/>
                  <a:pt x="1499" y="401"/>
                </a:cubicBezTo>
                <a:cubicBezTo>
                  <a:pt x="1499" y="401"/>
                  <a:pt x="1499" y="402"/>
                  <a:pt x="1500" y="402"/>
                </a:cubicBezTo>
                <a:cubicBezTo>
                  <a:pt x="1500" y="402"/>
                  <a:pt x="1500" y="401"/>
                  <a:pt x="1500" y="401"/>
                </a:cubicBezTo>
                <a:cubicBezTo>
                  <a:pt x="1501" y="401"/>
                  <a:pt x="1501" y="401"/>
                  <a:pt x="1502" y="401"/>
                </a:cubicBezTo>
                <a:cubicBezTo>
                  <a:pt x="1501" y="401"/>
                  <a:pt x="1501" y="401"/>
                  <a:pt x="1501" y="401"/>
                </a:cubicBezTo>
                <a:cubicBezTo>
                  <a:pt x="1501" y="402"/>
                  <a:pt x="1500" y="402"/>
                  <a:pt x="1501" y="402"/>
                </a:cubicBezTo>
                <a:cubicBezTo>
                  <a:pt x="1501" y="402"/>
                  <a:pt x="1502" y="402"/>
                  <a:pt x="1502" y="402"/>
                </a:cubicBezTo>
                <a:cubicBezTo>
                  <a:pt x="1503" y="402"/>
                  <a:pt x="1503" y="402"/>
                  <a:pt x="1504" y="402"/>
                </a:cubicBezTo>
                <a:cubicBezTo>
                  <a:pt x="1504" y="402"/>
                  <a:pt x="1504" y="403"/>
                  <a:pt x="1504" y="403"/>
                </a:cubicBezTo>
                <a:cubicBezTo>
                  <a:pt x="1504" y="403"/>
                  <a:pt x="1503" y="403"/>
                  <a:pt x="1503" y="403"/>
                </a:cubicBezTo>
                <a:cubicBezTo>
                  <a:pt x="1502" y="404"/>
                  <a:pt x="1502" y="404"/>
                  <a:pt x="1502" y="404"/>
                </a:cubicBezTo>
                <a:cubicBezTo>
                  <a:pt x="1501" y="404"/>
                  <a:pt x="1501" y="404"/>
                  <a:pt x="1501" y="405"/>
                </a:cubicBezTo>
                <a:cubicBezTo>
                  <a:pt x="1501" y="405"/>
                  <a:pt x="1501" y="405"/>
                  <a:pt x="1501" y="405"/>
                </a:cubicBezTo>
                <a:cubicBezTo>
                  <a:pt x="1502" y="406"/>
                  <a:pt x="1503" y="405"/>
                  <a:pt x="1504" y="406"/>
                </a:cubicBezTo>
                <a:cubicBezTo>
                  <a:pt x="1504" y="407"/>
                  <a:pt x="1503" y="408"/>
                  <a:pt x="1504" y="408"/>
                </a:cubicBezTo>
                <a:cubicBezTo>
                  <a:pt x="1505" y="409"/>
                  <a:pt x="1505" y="408"/>
                  <a:pt x="1505" y="409"/>
                </a:cubicBezTo>
                <a:cubicBezTo>
                  <a:pt x="1505" y="409"/>
                  <a:pt x="1505" y="410"/>
                  <a:pt x="1504" y="410"/>
                </a:cubicBezTo>
                <a:cubicBezTo>
                  <a:pt x="1504" y="410"/>
                  <a:pt x="1504" y="410"/>
                  <a:pt x="1503" y="409"/>
                </a:cubicBezTo>
                <a:cubicBezTo>
                  <a:pt x="1503" y="409"/>
                  <a:pt x="1504" y="408"/>
                  <a:pt x="1503" y="408"/>
                </a:cubicBezTo>
                <a:cubicBezTo>
                  <a:pt x="1503" y="409"/>
                  <a:pt x="1503" y="409"/>
                  <a:pt x="1502" y="409"/>
                </a:cubicBezTo>
                <a:cubicBezTo>
                  <a:pt x="1502" y="409"/>
                  <a:pt x="1502" y="408"/>
                  <a:pt x="1502" y="408"/>
                </a:cubicBezTo>
                <a:cubicBezTo>
                  <a:pt x="1502" y="407"/>
                  <a:pt x="1502" y="407"/>
                  <a:pt x="1502" y="407"/>
                </a:cubicBezTo>
                <a:cubicBezTo>
                  <a:pt x="1501" y="406"/>
                  <a:pt x="1501" y="407"/>
                  <a:pt x="1501" y="407"/>
                </a:cubicBezTo>
                <a:cubicBezTo>
                  <a:pt x="1500" y="408"/>
                  <a:pt x="1500" y="409"/>
                  <a:pt x="1499" y="408"/>
                </a:cubicBezTo>
                <a:cubicBezTo>
                  <a:pt x="1499" y="408"/>
                  <a:pt x="1499" y="407"/>
                  <a:pt x="1499" y="407"/>
                </a:cubicBezTo>
                <a:cubicBezTo>
                  <a:pt x="1498" y="406"/>
                  <a:pt x="1498" y="406"/>
                  <a:pt x="1497" y="406"/>
                </a:cubicBezTo>
                <a:cubicBezTo>
                  <a:pt x="1497" y="405"/>
                  <a:pt x="1496" y="405"/>
                  <a:pt x="1495" y="405"/>
                </a:cubicBezTo>
                <a:cubicBezTo>
                  <a:pt x="1495" y="405"/>
                  <a:pt x="1494" y="405"/>
                  <a:pt x="1494" y="405"/>
                </a:cubicBezTo>
                <a:cubicBezTo>
                  <a:pt x="1493" y="405"/>
                  <a:pt x="1493" y="404"/>
                  <a:pt x="1492" y="404"/>
                </a:cubicBezTo>
                <a:cubicBezTo>
                  <a:pt x="1492" y="404"/>
                  <a:pt x="1491" y="404"/>
                  <a:pt x="1491" y="404"/>
                </a:cubicBezTo>
                <a:cubicBezTo>
                  <a:pt x="1491" y="404"/>
                  <a:pt x="1492" y="404"/>
                  <a:pt x="1492" y="405"/>
                </a:cubicBezTo>
                <a:cubicBezTo>
                  <a:pt x="1492" y="405"/>
                  <a:pt x="1492" y="405"/>
                  <a:pt x="1491" y="405"/>
                </a:cubicBezTo>
                <a:cubicBezTo>
                  <a:pt x="1491" y="405"/>
                  <a:pt x="1489" y="404"/>
                  <a:pt x="1490" y="405"/>
                </a:cubicBezTo>
                <a:cubicBezTo>
                  <a:pt x="1490" y="405"/>
                  <a:pt x="1490" y="406"/>
                  <a:pt x="1491" y="406"/>
                </a:cubicBezTo>
                <a:cubicBezTo>
                  <a:pt x="1491" y="406"/>
                  <a:pt x="1491" y="406"/>
                  <a:pt x="1492" y="406"/>
                </a:cubicBezTo>
                <a:cubicBezTo>
                  <a:pt x="1492" y="407"/>
                  <a:pt x="1492" y="407"/>
                  <a:pt x="1491" y="407"/>
                </a:cubicBezTo>
                <a:cubicBezTo>
                  <a:pt x="1491" y="407"/>
                  <a:pt x="1491" y="407"/>
                  <a:pt x="1490" y="407"/>
                </a:cubicBezTo>
                <a:cubicBezTo>
                  <a:pt x="1490" y="406"/>
                  <a:pt x="1490" y="406"/>
                  <a:pt x="1489" y="406"/>
                </a:cubicBezTo>
                <a:cubicBezTo>
                  <a:pt x="1489" y="406"/>
                  <a:pt x="1488" y="407"/>
                  <a:pt x="1488" y="407"/>
                </a:cubicBezTo>
                <a:cubicBezTo>
                  <a:pt x="1488" y="408"/>
                  <a:pt x="1489" y="408"/>
                  <a:pt x="1489" y="408"/>
                </a:cubicBezTo>
                <a:cubicBezTo>
                  <a:pt x="1490" y="408"/>
                  <a:pt x="1490" y="409"/>
                  <a:pt x="1491" y="409"/>
                </a:cubicBezTo>
                <a:cubicBezTo>
                  <a:pt x="1491" y="409"/>
                  <a:pt x="1492" y="409"/>
                  <a:pt x="1492" y="410"/>
                </a:cubicBezTo>
                <a:cubicBezTo>
                  <a:pt x="1492" y="411"/>
                  <a:pt x="1491" y="410"/>
                  <a:pt x="1490" y="409"/>
                </a:cubicBezTo>
                <a:cubicBezTo>
                  <a:pt x="1490" y="409"/>
                  <a:pt x="1490" y="409"/>
                  <a:pt x="1489" y="409"/>
                </a:cubicBezTo>
                <a:cubicBezTo>
                  <a:pt x="1489" y="409"/>
                  <a:pt x="1489" y="409"/>
                  <a:pt x="1488" y="409"/>
                </a:cubicBezTo>
                <a:cubicBezTo>
                  <a:pt x="1487" y="410"/>
                  <a:pt x="1489" y="410"/>
                  <a:pt x="1489" y="410"/>
                </a:cubicBezTo>
                <a:cubicBezTo>
                  <a:pt x="1490" y="411"/>
                  <a:pt x="1491" y="411"/>
                  <a:pt x="1492" y="411"/>
                </a:cubicBezTo>
                <a:cubicBezTo>
                  <a:pt x="1493" y="411"/>
                  <a:pt x="1493" y="412"/>
                  <a:pt x="1492" y="413"/>
                </a:cubicBezTo>
                <a:cubicBezTo>
                  <a:pt x="1492" y="413"/>
                  <a:pt x="1491" y="413"/>
                  <a:pt x="1491" y="413"/>
                </a:cubicBezTo>
                <a:cubicBezTo>
                  <a:pt x="1491" y="413"/>
                  <a:pt x="1491" y="414"/>
                  <a:pt x="1491" y="414"/>
                </a:cubicBezTo>
                <a:cubicBezTo>
                  <a:pt x="1490" y="414"/>
                  <a:pt x="1490" y="414"/>
                  <a:pt x="1490" y="414"/>
                </a:cubicBezTo>
                <a:cubicBezTo>
                  <a:pt x="1490" y="413"/>
                  <a:pt x="1490" y="413"/>
                  <a:pt x="1489" y="413"/>
                </a:cubicBezTo>
                <a:cubicBezTo>
                  <a:pt x="1489" y="412"/>
                  <a:pt x="1488" y="412"/>
                  <a:pt x="1488" y="412"/>
                </a:cubicBezTo>
                <a:cubicBezTo>
                  <a:pt x="1487" y="412"/>
                  <a:pt x="1487" y="412"/>
                  <a:pt x="1486" y="412"/>
                </a:cubicBezTo>
                <a:cubicBezTo>
                  <a:pt x="1486" y="411"/>
                  <a:pt x="1486" y="411"/>
                  <a:pt x="1486" y="411"/>
                </a:cubicBezTo>
                <a:cubicBezTo>
                  <a:pt x="1485" y="410"/>
                  <a:pt x="1485" y="412"/>
                  <a:pt x="1485" y="413"/>
                </a:cubicBezTo>
                <a:cubicBezTo>
                  <a:pt x="1486" y="413"/>
                  <a:pt x="1486" y="414"/>
                  <a:pt x="1487" y="414"/>
                </a:cubicBezTo>
                <a:cubicBezTo>
                  <a:pt x="1487" y="414"/>
                  <a:pt x="1487" y="414"/>
                  <a:pt x="1487" y="414"/>
                </a:cubicBezTo>
                <a:cubicBezTo>
                  <a:pt x="1486" y="414"/>
                  <a:pt x="1486" y="414"/>
                  <a:pt x="1485" y="414"/>
                </a:cubicBezTo>
                <a:cubicBezTo>
                  <a:pt x="1485" y="414"/>
                  <a:pt x="1485" y="415"/>
                  <a:pt x="1486" y="415"/>
                </a:cubicBezTo>
                <a:cubicBezTo>
                  <a:pt x="1486" y="415"/>
                  <a:pt x="1487" y="415"/>
                  <a:pt x="1487" y="415"/>
                </a:cubicBezTo>
                <a:cubicBezTo>
                  <a:pt x="1487" y="416"/>
                  <a:pt x="1486" y="416"/>
                  <a:pt x="1486" y="416"/>
                </a:cubicBezTo>
                <a:cubicBezTo>
                  <a:pt x="1485" y="416"/>
                  <a:pt x="1485" y="415"/>
                  <a:pt x="1484" y="415"/>
                </a:cubicBezTo>
                <a:cubicBezTo>
                  <a:pt x="1484" y="414"/>
                  <a:pt x="1483" y="414"/>
                  <a:pt x="1482" y="415"/>
                </a:cubicBezTo>
                <a:cubicBezTo>
                  <a:pt x="1482" y="415"/>
                  <a:pt x="1481" y="416"/>
                  <a:pt x="1480" y="416"/>
                </a:cubicBezTo>
                <a:cubicBezTo>
                  <a:pt x="1479" y="416"/>
                  <a:pt x="1480" y="417"/>
                  <a:pt x="1481" y="417"/>
                </a:cubicBezTo>
                <a:cubicBezTo>
                  <a:pt x="1482" y="417"/>
                  <a:pt x="1483" y="417"/>
                  <a:pt x="1483" y="418"/>
                </a:cubicBezTo>
                <a:cubicBezTo>
                  <a:pt x="1484" y="418"/>
                  <a:pt x="1485" y="418"/>
                  <a:pt x="1486" y="418"/>
                </a:cubicBezTo>
                <a:cubicBezTo>
                  <a:pt x="1486" y="419"/>
                  <a:pt x="1488" y="419"/>
                  <a:pt x="1488" y="418"/>
                </a:cubicBezTo>
                <a:cubicBezTo>
                  <a:pt x="1490" y="418"/>
                  <a:pt x="1492" y="417"/>
                  <a:pt x="1493" y="417"/>
                </a:cubicBezTo>
                <a:cubicBezTo>
                  <a:pt x="1494" y="416"/>
                  <a:pt x="1495" y="416"/>
                  <a:pt x="1496" y="416"/>
                </a:cubicBezTo>
                <a:cubicBezTo>
                  <a:pt x="1497" y="416"/>
                  <a:pt x="1497" y="415"/>
                  <a:pt x="1498" y="415"/>
                </a:cubicBezTo>
                <a:cubicBezTo>
                  <a:pt x="1500" y="415"/>
                  <a:pt x="1502" y="416"/>
                  <a:pt x="1504" y="416"/>
                </a:cubicBezTo>
                <a:cubicBezTo>
                  <a:pt x="1505" y="416"/>
                  <a:pt x="1505" y="417"/>
                  <a:pt x="1506" y="417"/>
                </a:cubicBezTo>
                <a:cubicBezTo>
                  <a:pt x="1507" y="417"/>
                  <a:pt x="1508" y="417"/>
                  <a:pt x="1509" y="417"/>
                </a:cubicBezTo>
                <a:cubicBezTo>
                  <a:pt x="1509" y="417"/>
                  <a:pt x="1510" y="417"/>
                  <a:pt x="1510" y="417"/>
                </a:cubicBezTo>
                <a:cubicBezTo>
                  <a:pt x="1510" y="418"/>
                  <a:pt x="1511" y="417"/>
                  <a:pt x="1511" y="418"/>
                </a:cubicBezTo>
                <a:cubicBezTo>
                  <a:pt x="1511" y="418"/>
                  <a:pt x="1511" y="418"/>
                  <a:pt x="1511" y="418"/>
                </a:cubicBezTo>
                <a:cubicBezTo>
                  <a:pt x="1511" y="419"/>
                  <a:pt x="1510" y="419"/>
                  <a:pt x="1509" y="419"/>
                </a:cubicBezTo>
                <a:cubicBezTo>
                  <a:pt x="1509" y="419"/>
                  <a:pt x="1508" y="420"/>
                  <a:pt x="1508" y="420"/>
                </a:cubicBezTo>
                <a:cubicBezTo>
                  <a:pt x="1507" y="420"/>
                  <a:pt x="1507" y="420"/>
                  <a:pt x="1506" y="420"/>
                </a:cubicBezTo>
                <a:cubicBezTo>
                  <a:pt x="1506" y="420"/>
                  <a:pt x="1506" y="420"/>
                  <a:pt x="1505" y="421"/>
                </a:cubicBezTo>
                <a:cubicBezTo>
                  <a:pt x="1505" y="421"/>
                  <a:pt x="1504" y="421"/>
                  <a:pt x="1504" y="422"/>
                </a:cubicBezTo>
                <a:cubicBezTo>
                  <a:pt x="1503" y="422"/>
                  <a:pt x="1503" y="422"/>
                  <a:pt x="1503" y="423"/>
                </a:cubicBezTo>
                <a:cubicBezTo>
                  <a:pt x="1504" y="423"/>
                  <a:pt x="1505" y="423"/>
                  <a:pt x="1506" y="423"/>
                </a:cubicBezTo>
                <a:cubicBezTo>
                  <a:pt x="1506" y="423"/>
                  <a:pt x="1507" y="423"/>
                  <a:pt x="1508" y="424"/>
                </a:cubicBezTo>
                <a:cubicBezTo>
                  <a:pt x="1509" y="424"/>
                  <a:pt x="1509" y="424"/>
                  <a:pt x="1510" y="423"/>
                </a:cubicBezTo>
                <a:cubicBezTo>
                  <a:pt x="1510" y="423"/>
                  <a:pt x="1511" y="423"/>
                  <a:pt x="1511" y="423"/>
                </a:cubicBezTo>
                <a:cubicBezTo>
                  <a:pt x="1512" y="423"/>
                  <a:pt x="1512" y="422"/>
                  <a:pt x="1512" y="422"/>
                </a:cubicBezTo>
                <a:cubicBezTo>
                  <a:pt x="1512" y="423"/>
                  <a:pt x="1512" y="423"/>
                  <a:pt x="1512" y="423"/>
                </a:cubicBezTo>
                <a:cubicBezTo>
                  <a:pt x="1512" y="424"/>
                  <a:pt x="1512" y="424"/>
                  <a:pt x="1512" y="424"/>
                </a:cubicBezTo>
                <a:cubicBezTo>
                  <a:pt x="1511" y="425"/>
                  <a:pt x="1511" y="425"/>
                  <a:pt x="1511" y="425"/>
                </a:cubicBezTo>
                <a:cubicBezTo>
                  <a:pt x="1510" y="425"/>
                  <a:pt x="1510" y="425"/>
                  <a:pt x="1510" y="425"/>
                </a:cubicBezTo>
                <a:cubicBezTo>
                  <a:pt x="1509" y="425"/>
                  <a:pt x="1509" y="425"/>
                  <a:pt x="1509" y="426"/>
                </a:cubicBezTo>
                <a:cubicBezTo>
                  <a:pt x="1508" y="426"/>
                  <a:pt x="1507" y="426"/>
                  <a:pt x="1506" y="426"/>
                </a:cubicBezTo>
                <a:cubicBezTo>
                  <a:pt x="1505" y="425"/>
                  <a:pt x="1505" y="425"/>
                  <a:pt x="1504" y="425"/>
                </a:cubicBezTo>
                <a:cubicBezTo>
                  <a:pt x="1503" y="425"/>
                  <a:pt x="1502" y="427"/>
                  <a:pt x="1501" y="425"/>
                </a:cubicBezTo>
                <a:cubicBezTo>
                  <a:pt x="1501" y="425"/>
                  <a:pt x="1501" y="425"/>
                  <a:pt x="1501" y="425"/>
                </a:cubicBezTo>
                <a:cubicBezTo>
                  <a:pt x="1500" y="425"/>
                  <a:pt x="1500" y="426"/>
                  <a:pt x="1500" y="426"/>
                </a:cubicBezTo>
                <a:cubicBezTo>
                  <a:pt x="1500" y="426"/>
                  <a:pt x="1499" y="426"/>
                  <a:pt x="1499" y="426"/>
                </a:cubicBezTo>
                <a:cubicBezTo>
                  <a:pt x="1498" y="426"/>
                  <a:pt x="1498" y="426"/>
                  <a:pt x="1497" y="426"/>
                </a:cubicBezTo>
                <a:cubicBezTo>
                  <a:pt x="1497" y="427"/>
                  <a:pt x="1497" y="427"/>
                  <a:pt x="1496" y="427"/>
                </a:cubicBezTo>
                <a:cubicBezTo>
                  <a:pt x="1496" y="427"/>
                  <a:pt x="1496" y="426"/>
                  <a:pt x="1496" y="426"/>
                </a:cubicBezTo>
                <a:cubicBezTo>
                  <a:pt x="1495" y="426"/>
                  <a:pt x="1494" y="427"/>
                  <a:pt x="1494" y="427"/>
                </a:cubicBezTo>
                <a:cubicBezTo>
                  <a:pt x="1493" y="427"/>
                  <a:pt x="1493" y="427"/>
                  <a:pt x="1493" y="427"/>
                </a:cubicBezTo>
                <a:cubicBezTo>
                  <a:pt x="1492" y="427"/>
                  <a:pt x="1492" y="427"/>
                  <a:pt x="1491" y="427"/>
                </a:cubicBezTo>
                <a:cubicBezTo>
                  <a:pt x="1491" y="428"/>
                  <a:pt x="1490" y="428"/>
                  <a:pt x="1489" y="428"/>
                </a:cubicBezTo>
                <a:cubicBezTo>
                  <a:pt x="1489" y="428"/>
                  <a:pt x="1489" y="428"/>
                  <a:pt x="1488" y="428"/>
                </a:cubicBezTo>
                <a:cubicBezTo>
                  <a:pt x="1487" y="427"/>
                  <a:pt x="1487" y="428"/>
                  <a:pt x="1487" y="428"/>
                </a:cubicBezTo>
                <a:cubicBezTo>
                  <a:pt x="1486" y="428"/>
                  <a:pt x="1485" y="428"/>
                  <a:pt x="1486" y="429"/>
                </a:cubicBezTo>
                <a:cubicBezTo>
                  <a:pt x="1486" y="429"/>
                  <a:pt x="1487" y="430"/>
                  <a:pt x="1487" y="430"/>
                </a:cubicBezTo>
                <a:cubicBezTo>
                  <a:pt x="1488" y="431"/>
                  <a:pt x="1488" y="431"/>
                  <a:pt x="1489" y="431"/>
                </a:cubicBezTo>
                <a:cubicBezTo>
                  <a:pt x="1490" y="431"/>
                  <a:pt x="1491" y="431"/>
                  <a:pt x="1493" y="431"/>
                </a:cubicBezTo>
                <a:cubicBezTo>
                  <a:pt x="1495" y="431"/>
                  <a:pt x="1497" y="431"/>
                  <a:pt x="1500" y="431"/>
                </a:cubicBezTo>
                <a:cubicBezTo>
                  <a:pt x="1501" y="431"/>
                  <a:pt x="1502" y="431"/>
                  <a:pt x="1503" y="431"/>
                </a:cubicBezTo>
                <a:cubicBezTo>
                  <a:pt x="1503" y="431"/>
                  <a:pt x="1504" y="432"/>
                  <a:pt x="1505" y="431"/>
                </a:cubicBezTo>
                <a:cubicBezTo>
                  <a:pt x="1505" y="431"/>
                  <a:pt x="1505" y="431"/>
                  <a:pt x="1506" y="431"/>
                </a:cubicBezTo>
                <a:cubicBezTo>
                  <a:pt x="1506" y="432"/>
                  <a:pt x="1505" y="432"/>
                  <a:pt x="1505" y="432"/>
                </a:cubicBezTo>
                <a:cubicBezTo>
                  <a:pt x="1505" y="433"/>
                  <a:pt x="1504" y="433"/>
                  <a:pt x="1505" y="433"/>
                </a:cubicBezTo>
                <a:cubicBezTo>
                  <a:pt x="1505" y="434"/>
                  <a:pt x="1505" y="434"/>
                  <a:pt x="1506" y="435"/>
                </a:cubicBezTo>
                <a:cubicBezTo>
                  <a:pt x="1506" y="435"/>
                  <a:pt x="1506" y="435"/>
                  <a:pt x="1506" y="435"/>
                </a:cubicBezTo>
                <a:cubicBezTo>
                  <a:pt x="1507" y="436"/>
                  <a:pt x="1507" y="436"/>
                  <a:pt x="1507" y="436"/>
                </a:cubicBezTo>
                <a:cubicBezTo>
                  <a:pt x="1508" y="436"/>
                  <a:pt x="1509" y="435"/>
                  <a:pt x="1509" y="436"/>
                </a:cubicBezTo>
                <a:cubicBezTo>
                  <a:pt x="1509" y="437"/>
                  <a:pt x="1509" y="438"/>
                  <a:pt x="1508" y="438"/>
                </a:cubicBezTo>
                <a:cubicBezTo>
                  <a:pt x="1508" y="438"/>
                  <a:pt x="1508" y="439"/>
                  <a:pt x="1508" y="439"/>
                </a:cubicBezTo>
                <a:cubicBezTo>
                  <a:pt x="1509" y="439"/>
                  <a:pt x="1509" y="439"/>
                  <a:pt x="1510" y="438"/>
                </a:cubicBezTo>
                <a:cubicBezTo>
                  <a:pt x="1510" y="438"/>
                  <a:pt x="1511" y="438"/>
                  <a:pt x="1510" y="439"/>
                </a:cubicBezTo>
                <a:cubicBezTo>
                  <a:pt x="1510" y="439"/>
                  <a:pt x="1510" y="440"/>
                  <a:pt x="1510" y="440"/>
                </a:cubicBezTo>
                <a:cubicBezTo>
                  <a:pt x="1509" y="440"/>
                  <a:pt x="1510" y="441"/>
                  <a:pt x="1510" y="441"/>
                </a:cubicBezTo>
                <a:cubicBezTo>
                  <a:pt x="1511" y="441"/>
                  <a:pt x="1511" y="441"/>
                  <a:pt x="1511" y="442"/>
                </a:cubicBezTo>
                <a:cubicBezTo>
                  <a:pt x="1511" y="442"/>
                  <a:pt x="1511" y="442"/>
                  <a:pt x="1510" y="442"/>
                </a:cubicBezTo>
                <a:cubicBezTo>
                  <a:pt x="1510" y="443"/>
                  <a:pt x="1509" y="443"/>
                  <a:pt x="1508" y="443"/>
                </a:cubicBezTo>
                <a:cubicBezTo>
                  <a:pt x="1507" y="443"/>
                  <a:pt x="1506" y="443"/>
                  <a:pt x="1506" y="444"/>
                </a:cubicBezTo>
                <a:cubicBezTo>
                  <a:pt x="1505" y="444"/>
                  <a:pt x="1505" y="444"/>
                  <a:pt x="1505" y="444"/>
                </a:cubicBezTo>
                <a:cubicBezTo>
                  <a:pt x="1504" y="444"/>
                  <a:pt x="1504" y="444"/>
                  <a:pt x="1503" y="444"/>
                </a:cubicBezTo>
                <a:cubicBezTo>
                  <a:pt x="1503" y="444"/>
                  <a:pt x="1502" y="444"/>
                  <a:pt x="1502" y="444"/>
                </a:cubicBezTo>
                <a:cubicBezTo>
                  <a:pt x="1502" y="444"/>
                  <a:pt x="1502" y="444"/>
                  <a:pt x="1502" y="443"/>
                </a:cubicBezTo>
                <a:cubicBezTo>
                  <a:pt x="1502" y="443"/>
                  <a:pt x="1501" y="442"/>
                  <a:pt x="1501" y="443"/>
                </a:cubicBezTo>
                <a:cubicBezTo>
                  <a:pt x="1501" y="443"/>
                  <a:pt x="1501" y="444"/>
                  <a:pt x="1501" y="444"/>
                </a:cubicBezTo>
                <a:cubicBezTo>
                  <a:pt x="1501" y="445"/>
                  <a:pt x="1502" y="446"/>
                  <a:pt x="1501" y="447"/>
                </a:cubicBezTo>
                <a:cubicBezTo>
                  <a:pt x="1501" y="447"/>
                  <a:pt x="1501" y="448"/>
                  <a:pt x="1501" y="448"/>
                </a:cubicBezTo>
                <a:cubicBezTo>
                  <a:pt x="1501" y="448"/>
                  <a:pt x="1502" y="448"/>
                  <a:pt x="1502" y="448"/>
                </a:cubicBezTo>
                <a:cubicBezTo>
                  <a:pt x="1503" y="448"/>
                  <a:pt x="1504" y="447"/>
                  <a:pt x="1505" y="447"/>
                </a:cubicBezTo>
                <a:cubicBezTo>
                  <a:pt x="1506" y="447"/>
                  <a:pt x="1508" y="447"/>
                  <a:pt x="1509" y="447"/>
                </a:cubicBezTo>
                <a:cubicBezTo>
                  <a:pt x="1511" y="447"/>
                  <a:pt x="1512" y="447"/>
                  <a:pt x="1513" y="447"/>
                </a:cubicBezTo>
                <a:cubicBezTo>
                  <a:pt x="1515" y="447"/>
                  <a:pt x="1516" y="447"/>
                  <a:pt x="1517" y="447"/>
                </a:cubicBezTo>
                <a:cubicBezTo>
                  <a:pt x="1518" y="447"/>
                  <a:pt x="1518" y="447"/>
                  <a:pt x="1519" y="447"/>
                </a:cubicBezTo>
                <a:cubicBezTo>
                  <a:pt x="1519" y="447"/>
                  <a:pt x="1520" y="447"/>
                  <a:pt x="1520" y="447"/>
                </a:cubicBezTo>
                <a:cubicBezTo>
                  <a:pt x="1520" y="447"/>
                  <a:pt x="1521" y="447"/>
                  <a:pt x="1521" y="447"/>
                </a:cubicBezTo>
                <a:cubicBezTo>
                  <a:pt x="1521" y="447"/>
                  <a:pt x="1522" y="447"/>
                  <a:pt x="1522" y="447"/>
                </a:cubicBezTo>
                <a:cubicBezTo>
                  <a:pt x="1523" y="447"/>
                  <a:pt x="1524" y="447"/>
                  <a:pt x="1523" y="448"/>
                </a:cubicBezTo>
                <a:cubicBezTo>
                  <a:pt x="1523" y="448"/>
                  <a:pt x="1522" y="449"/>
                  <a:pt x="1523" y="449"/>
                </a:cubicBezTo>
                <a:cubicBezTo>
                  <a:pt x="1524" y="449"/>
                  <a:pt x="1524" y="449"/>
                  <a:pt x="1525" y="449"/>
                </a:cubicBezTo>
                <a:cubicBezTo>
                  <a:pt x="1525" y="449"/>
                  <a:pt x="1525" y="449"/>
                  <a:pt x="1525" y="449"/>
                </a:cubicBezTo>
                <a:cubicBezTo>
                  <a:pt x="1526" y="449"/>
                  <a:pt x="1525" y="450"/>
                  <a:pt x="1526" y="450"/>
                </a:cubicBezTo>
                <a:cubicBezTo>
                  <a:pt x="1526" y="451"/>
                  <a:pt x="1526" y="451"/>
                  <a:pt x="1527" y="451"/>
                </a:cubicBezTo>
                <a:cubicBezTo>
                  <a:pt x="1528" y="452"/>
                  <a:pt x="1530" y="453"/>
                  <a:pt x="1531" y="453"/>
                </a:cubicBezTo>
                <a:cubicBezTo>
                  <a:pt x="1533" y="453"/>
                  <a:pt x="1535" y="453"/>
                  <a:pt x="1537" y="454"/>
                </a:cubicBezTo>
                <a:cubicBezTo>
                  <a:pt x="1538" y="454"/>
                  <a:pt x="1539" y="454"/>
                  <a:pt x="1539" y="454"/>
                </a:cubicBezTo>
                <a:cubicBezTo>
                  <a:pt x="1540" y="454"/>
                  <a:pt x="1541" y="455"/>
                  <a:pt x="1542" y="455"/>
                </a:cubicBezTo>
                <a:cubicBezTo>
                  <a:pt x="1544" y="455"/>
                  <a:pt x="1546" y="455"/>
                  <a:pt x="1548" y="455"/>
                </a:cubicBezTo>
                <a:cubicBezTo>
                  <a:pt x="1548" y="455"/>
                  <a:pt x="1549" y="455"/>
                  <a:pt x="1550" y="454"/>
                </a:cubicBezTo>
                <a:cubicBezTo>
                  <a:pt x="1551" y="454"/>
                  <a:pt x="1552" y="454"/>
                  <a:pt x="1553" y="454"/>
                </a:cubicBezTo>
                <a:cubicBezTo>
                  <a:pt x="1554" y="453"/>
                  <a:pt x="1554" y="453"/>
                  <a:pt x="1554" y="452"/>
                </a:cubicBezTo>
                <a:cubicBezTo>
                  <a:pt x="1555" y="451"/>
                  <a:pt x="1555" y="451"/>
                  <a:pt x="1555" y="450"/>
                </a:cubicBezTo>
                <a:cubicBezTo>
                  <a:pt x="1556" y="449"/>
                  <a:pt x="1557" y="449"/>
                  <a:pt x="1557" y="449"/>
                </a:cubicBezTo>
                <a:cubicBezTo>
                  <a:pt x="1558" y="449"/>
                  <a:pt x="1559" y="449"/>
                  <a:pt x="1560" y="449"/>
                </a:cubicBezTo>
                <a:cubicBezTo>
                  <a:pt x="1561" y="449"/>
                  <a:pt x="1562" y="449"/>
                  <a:pt x="1563" y="449"/>
                </a:cubicBezTo>
                <a:close/>
                <a:moveTo>
                  <a:pt x="1258" y="518"/>
                </a:moveTo>
                <a:cubicBezTo>
                  <a:pt x="1258" y="518"/>
                  <a:pt x="1258" y="518"/>
                  <a:pt x="1258" y="518"/>
                </a:cubicBezTo>
                <a:cubicBezTo>
                  <a:pt x="1259" y="519"/>
                  <a:pt x="1259" y="518"/>
                  <a:pt x="1260" y="517"/>
                </a:cubicBezTo>
                <a:cubicBezTo>
                  <a:pt x="1260" y="517"/>
                  <a:pt x="1261" y="517"/>
                  <a:pt x="1261" y="517"/>
                </a:cubicBezTo>
                <a:cubicBezTo>
                  <a:pt x="1261" y="517"/>
                  <a:pt x="1262" y="518"/>
                  <a:pt x="1262" y="518"/>
                </a:cubicBezTo>
                <a:cubicBezTo>
                  <a:pt x="1263" y="517"/>
                  <a:pt x="1261" y="516"/>
                  <a:pt x="1261" y="516"/>
                </a:cubicBezTo>
                <a:cubicBezTo>
                  <a:pt x="1260" y="516"/>
                  <a:pt x="1259" y="517"/>
                  <a:pt x="1259" y="517"/>
                </a:cubicBezTo>
                <a:cubicBezTo>
                  <a:pt x="1258" y="517"/>
                  <a:pt x="1257" y="517"/>
                  <a:pt x="1257" y="517"/>
                </a:cubicBezTo>
                <a:cubicBezTo>
                  <a:pt x="1257" y="518"/>
                  <a:pt x="1257" y="517"/>
                  <a:pt x="1258" y="518"/>
                </a:cubicBezTo>
                <a:close/>
                <a:moveTo>
                  <a:pt x="911" y="1017"/>
                </a:moveTo>
                <a:cubicBezTo>
                  <a:pt x="911" y="1017"/>
                  <a:pt x="911" y="1016"/>
                  <a:pt x="911" y="1016"/>
                </a:cubicBezTo>
                <a:cubicBezTo>
                  <a:pt x="911" y="1016"/>
                  <a:pt x="911" y="1015"/>
                  <a:pt x="911" y="1015"/>
                </a:cubicBezTo>
                <a:cubicBezTo>
                  <a:pt x="910" y="1015"/>
                  <a:pt x="910" y="1016"/>
                  <a:pt x="910" y="1017"/>
                </a:cubicBezTo>
                <a:cubicBezTo>
                  <a:pt x="910" y="1017"/>
                  <a:pt x="909" y="1018"/>
                  <a:pt x="910" y="1018"/>
                </a:cubicBezTo>
                <a:cubicBezTo>
                  <a:pt x="910" y="1018"/>
                  <a:pt x="910" y="1017"/>
                  <a:pt x="911" y="1017"/>
                </a:cubicBezTo>
                <a:close/>
                <a:moveTo>
                  <a:pt x="934" y="801"/>
                </a:moveTo>
                <a:cubicBezTo>
                  <a:pt x="935" y="801"/>
                  <a:pt x="935" y="800"/>
                  <a:pt x="935" y="800"/>
                </a:cubicBezTo>
                <a:cubicBezTo>
                  <a:pt x="935" y="800"/>
                  <a:pt x="936" y="800"/>
                  <a:pt x="936" y="800"/>
                </a:cubicBezTo>
                <a:cubicBezTo>
                  <a:pt x="936" y="799"/>
                  <a:pt x="935" y="800"/>
                  <a:pt x="935" y="800"/>
                </a:cubicBezTo>
                <a:cubicBezTo>
                  <a:pt x="934" y="800"/>
                  <a:pt x="933" y="800"/>
                  <a:pt x="933" y="800"/>
                </a:cubicBezTo>
                <a:cubicBezTo>
                  <a:pt x="932" y="800"/>
                  <a:pt x="931" y="801"/>
                  <a:pt x="930" y="801"/>
                </a:cubicBezTo>
                <a:cubicBezTo>
                  <a:pt x="930" y="801"/>
                  <a:pt x="929" y="802"/>
                  <a:pt x="928" y="802"/>
                </a:cubicBezTo>
                <a:cubicBezTo>
                  <a:pt x="927" y="802"/>
                  <a:pt x="926" y="802"/>
                  <a:pt x="926" y="802"/>
                </a:cubicBezTo>
                <a:cubicBezTo>
                  <a:pt x="925" y="802"/>
                  <a:pt x="925" y="802"/>
                  <a:pt x="924" y="802"/>
                </a:cubicBezTo>
                <a:cubicBezTo>
                  <a:pt x="924" y="802"/>
                  <a:pt x="924" y="802"/>
                  <a:pt x="923" y="802"/>
                </a:cubicBezTo>
                <a:cubicBezTo>
                  <a:pt x="923" y="802"/>
                  <a:pt x="921" y="802"/>
                  <a:pt x="921" y="802"/>
                </a:cubicBezTo>
                <a:cubicBezTo>
                  <a:pt x="920" y="803"/>
                  <a:pt x="920" y="803"/>
                  <a:pt x="919" y="804"/>
                </a:cubicBezTo>
                <a:cubicBezTo>
                  <a:pt x="919" y="804"/>
                  <a:pt x="919" y="804"/>
                  <a:pt x="918" y="804"/>
                </a:cubicBezTo>
                <a:cubicBezTo>
                  <a:pt x="918" y="804"/>
                  <a:pt x="918" y="804"/>
                  <a:pt x="917" y="804"/>
                </a:cubicBezTo>
                <a:cubicBezTo>
                  <a:pt x="917" y="805"/>
                  <a:pt x="917" y="805"/>
                  <a:pt x="917" y="805"/>
                </a:cubicBezTo>
                <a:cubicBezTo>
                  <a:pt x="916" y="805"/>
                  <a:pt x="916" y="805"/>
                  <a:pt x="916" y="806"/>
                </a:cubicBezTo>
                <a:cubicBezTo>
                  <a:pt x="916" y="806"/>
                  <a:pt x="915" y="806"/>
                  <a:pt x="915" y="806"/>
                </a:cubicBezTo>
                <a:cubicBezTo>
                  <a:pt x="915" y="807"/>
                  <a:pt x="916" y="807"/>
                  <a:pt x="916" y="807"/>
                </a:cubicBezTo>
                <a:cubicBezTo>
                  <a:pt x="917" y="807"/>
                  <a:pt x="918" y="807"/>
                  <a:pt x="919" y="806"/>
                </a:cubicBezTo>
                <a:cubicBezTo>
                  <a:pt x="920" y="806"/>
                  <a:pt x="921" y="807"/>
                  <a:pt x="922" y="806"/>
                </a:cubicBezTo>
                <a:cubicBezTo>
                  <a:pt x="923" y="806"/>
                  <a:pt x="924" y="805"/>
                  <a:pt x="925" y="805"/>
                </a:cubicBezTo>
                <a:cubicBezTo>
                  <a:pt x="926" y="805"/>
                  <a:pt x="926" y="805"/>
                  <a:pt x="927" y="805"/>
                </a:cubicBezTo>
                <a:cubicBezTo>
                  <a:pt x="928" y="805"/>
                  <a:pt x="929" y="805"/>
                  <a:pt x="930" y="804"/>
                </a:cubicBezTo>
                <a:cubicBezTo>
                  <a:pt x="930" y="804"/>
                  <a:pt x="931" y="804"/>
                  <a:pt x="932" y="804"/>
                </a:cubicBezTo>
                <a:cubicBezTo>
                  <a:pt x="933" y="804"/>
                  <a:pt x="933" y="804"/>
                  <a:pt x="934" y="803"/>
                </a:cubicBezTo>
                <a:cubicBezTo>
                  <a:pt x="934" y="803"/>
                  <a:pt x="935" y="803"/>
                  <a:pt x="936" y="803"/>
                </a:cubicBezTo>
                <a:cubicBezTo>
                  <a:pt x="936" y="803"/>
                  <a:pt x="936" y="803"/>
                  <a:pt x="937" y="803"/>
                </a:cubicBezTo>
                <a:cubicBezTo>
                  <a:pt x="937" y="802"/>
                  <a:pt x="937" y="802"/>
                  <a:pt x="938" y="802"/>
                </a:cubicBezTo>
                <a:cubicBezTo>
                  <a:pt x="938" y="801"/>
                  <a:pt x="939" y="801"/>
                  <a:pt x="940" y="801"/>
                </a:cubicBezTo>
                <a:cubicBezTo>
                  <a:pt x="940" y="801"/>
                  <a:pt x="941" y="801"/>
                  <a:pt x="940" y="801"/>
                </a:cubicBezTo>
                <a:cubicBezTo>
                  <a:pt x="940" y="800"/>
                  <a:pt x="939" y="801"/>
                  <a:pt x="939" y="801"/>
                </a:cubicBezTo>
                <a:cubicBezTo>
                  <a:pt x="938" y="801"/>
                  <a:pt x="938" y="801"/>
                  <a:pt x="937" y="801"/>
                </a:cubicBezTo>
                <a:cubicBezTo>
                  <a:pt x="937" y="801"/>
                  <a:pt x="937" y="801"/>
                  <a:pt x="936" y="801"/>
                </a:cubicBezTo>
                <a:cubicBezTo>
                  <a:pt x="936" y="801"/>
                  <a:pt x="935" y="801"/>
                  <a:pt x="935" y="801"/>
                </a:cubicBezTo>
                <a:cubicBezTo>
                  <a:pt x="934" y="801"/>
                  <a:pt x="934" y="802"/>
                  <a:pt x="934" y="801"/>
                </a:cubicBezTo>
                <a:cubicBezTo>
                  <a:pt x="934" y="801"/>
                  <a:pt x="934" y="801"/>
                  <a:pt x="934" y="801"/>
                </a:cubicBezTo>
                <a:close/>
                <a:moveTo>
                  <a:pt x="945" y="1049"/>
                </a:moveTo>
                <a:cubicBezTo>
                  <a:pt x="945" y="1049"/>
                  <a:pt x="945" y="1049"/>
                  <a:pt x="945" y="1048"/>
                </a:cubicBezTo>
                <a:cubicBezTo>
                  <a:pt x="945" y="1047"/>
                  <a:pt x="943" y="1048"/>
                  <a:pt x="944" y="1049"/>
                </a:cubicBezTo>
                <a:cubicBezTo>
                  <a:pt x="944" y="1049"/>
                  <a:pt x="944" y="1049"/>
                  <a:pt x="945" y="1049"/>
                </a:cubicBezTo>
                <a:close/>
                <a:moveTo>
                  <a:pt x="943" y="1045"/>
                </a:moveTo>
                <a:cubicBezTo>
                  <a:pt x="942" y="1044"/>
                  <a:pt x="942" y="1044"/>
                  <a:pt x="942" y="1044"/>
                </a:cubicBezTo>
                <a:cubicBezTo>
                  <a:pt x="942" y="1044"/>
                  <a:pt x="942" y="1043"/>
                  <a:pt x="941" y="1043"/>
                </a:cubicBezTo>
                <a:cubicBezTo>
                  <a:pt x="941" y="1043"/>
                  <a:pt x="940" y="1044"/>
                  <a:pt x="940" y="1043"/>
                </a:cubicBezTo>
                <a:cubicBezTo>
                  <a:pt x="939" y="1043"/>
                  <a:pt x="940" y="1042"/>
                  <a:pt x="939" y="1042"/>
                </a:cubicBezTo>
                <a:cubicBezTo>
                  <a:pt x="939" y="1042"/>
                  <a:pt x="939" y="1042"/>
                  <a:pt x="938" y="1042"/>
                </a:cubicBezTo>
                <a:cubicBezTo>
                  <a:pt x="938" y="1042"/>
                  <a:pt x="937" y="1042"/>
                  <a:pt x="937" y="1043"/>
                </a:cubicBezTo>
                <a:cubicBezTo>
                  <a:pt x="936" y="1043"/>
                  <a:pt x="936" y="1044"/>
                  <a:pt x="935" y="1044"/>
                </a:cubicBezTo>
                <a:cubicBezTo>
                  <a:pt x="935" y="1043"/>
                  <a:pt x="935" y="1043"/>
                  <a:pt x="934" y="1043"/>
                </a:cubicBezTo>
                <a:cubicBezTo>
                  <a:pt x="934" y="1043"/>
                  <a:pt x="934" y="1044"/>
                  <a:pt x="934" y="1044"/>
                </a:cubicBezTo>
                <a:cubicBezTo>
                  <a:pt x="934" y="1044"/>
                  <a:pt x="933" y="1044"/>
                  <a:pt x="933" y="1044"/>
                </a:cubicBezTo>
                <a:cubicBezTo>
                  <a:pt x="933" y="1044"/>
                  <a:pt x="934" y="1044"/>
                  <a:pt x="934" y="1044"/>
                </a:cubicBezTo>
                <a:cubicBezTo>
                  <a:pt x="934" y="1045"/>
                  <a:pt x="933" y="1045"/>
                  <a:pt x="933" y="1045"/>
                </a:cubicBezTo>
                <a:cubicBezTo>
                  <a:pt x="933" y="1045"/>
                  <a:pt x="933" y="1046"/>
                  <a:pt x="933" y="1046"/>
                </a:cubicBezTo>
                <a:cubicBezTo>
                  <a:pt x="933" y="1046"/>
                  <a:pt x="934" y="1046"/>
                  <a:pt x="934" y="1046"/>
                </a:cubicBezTo>
                <a:cubicBezTo>
                  <a:pt x="934" y="1046"/>
                  <a:pt x="934" y="1046"/>
                  <a:pt x="934" y="1046"/>
                </a:cubicBezTo>
                <a:cubicBezTo>
                  <a:pt x="934" y="1046"/>
                  <a:pt x="933" y="1046"/>
                  <a:pt x="933" y="1045"/>
                </a:cubicBezTo>
                <a:cubicBezTo>
                  <a:pt x="933" y="1045"/>
                  <a:pt x="934" y="1045"/>
                  <a:pt x="934" y="1045"/>
                </a:cubicBezTo>
                <a:cubicBezTo>
                  <a:pt x="934" y="1045"/>
                  <a:pt x="934" y="1045"/>
                  <a:pt x="934" y="1044"/>
                </a:cubicBezTo>
                <a:cubicBezTo>
                  <a:pt x="934" y="1043"/>
                  <a:pt x="935" y="1044"/>
                  <a:pt x="935" y="1044"/>
                </a:cubicBezTo>
                <a:cubicBezTo>
                  <a:pt x="935" y="1044"/>
                  <a:pt x="935" y="1044"/>
                  <a:pt x="935" y="1044"/>
                </a:cubicBezTo>
                <a:cubicBezTo>
                  <a:pt x="936" y="1044"/>
                  <a:pt x="936" y="1044"/>
                  <a:pt x="936" y="1044"/>
                </a:cubicBezTo>
                <a:cubicBezTo>
                  <a:pt x="936" y="1044"/>
                  <a:pt x="936" y="1044"/>
                  <a:pt x="936" y="1044"/>
                </a:cubicBezTo>
                <a:cubicBezTo>
                  <a:pt x="937" y="1044"/>
                  <a:pt x="937" y="1042"/>
                  <a:pt x="937" y="1043"/>
                </a:cubicBezTo>
                <a:cubicBezTo>
                  <a:pt x="938" y="1043"/>
                  <a:pt x="938" y="1043"/>
                  <a:pt x="938" y="1043"/>
                </a:cubicBezTo>
                <a:cubicBezTo>
                  <a:pt x="938" y="1043"/>
                  <a:pt x="939" y="1044"/>
                  <a:pt x="939" y="1044"/>
                </a:cubicBezTo>
                <a:cubicBezTo>
                  <a:pt x="939" y="1044"/>
                  <a:pt x="939" y="1044"/>
                  <a:pt x="940" y="1045"/>
                </a:cubicBezTo>
                <a:cubicBezTo>
                  <a:pt x="940" y="1045"/>
                  <a:pt x="940" y="1044"/>
                  <a:pt x="941" y="1045"/>
                </a:cubicBezTo>
                <a:cubicBezTo>
                  <a:pt x="941" y="1045"/>
                  <a:pt x="941" y="1045"/>
                  <a:pt x="942" y="1045"/>
                </a:cubicBezTo>
                <a:cubicBezTo>
                  <a:pt x="942" y="1045"/>
                  <a:pt x="942" y="1045"/>
                  <a:pt x="942" y="1046"/>
                </a:cubicBezTo>
                <a:cubicBezTo>
                  <a:pt x="943" y="1046"/>
                  <a:pt x="943" y="1046"/>
                  <a:pt x="943" y="1047"/>
                </a:cubicBezTo>
                <a:cubicBezTo>
                  <a:pt x="943" y="1047"/>
                  <a:pt x="942" y="1048"/>
                  <a:pt x="943" y="1048"/>
                </a:cubicBezTo>
                <a:cubicBezTo>
                  <a:pt x="943" y="1048"/>
                  <a:pt x="944" y="1047"/>
                  <a:pt x="944" y="1047"/>
                </a:cubicBezTo>
                <a:cubicBezTo>
                  <a:pt x="944" y="1047"/>
                  <a:pt x="943" y="1047"/>
                  <a:pt x="944" y="1046"/>
                </a:cubicBezTo>
                <a:cubicBezTo>
                  <a:pt x="944" y="1046"/>
                  <a:pt x="944" y="1046"/>
                  <a:pt x="944" y="1046"/>
                </a:cubicBezTo>
                <a:cubicBezTo>
                  <a:pt x="944" y="1045"/>
                  <a:pt x="944" y="1045"/>
                  <a:pt x="944" y="1045"/>
                </a:cubicBezTo>
                <a:cubicBezTo>
                  <a:pt x="943" y="1044"/>
                  <a:pt x="943" y="1045"/>
                  <a:pt x="943" y="1045"/>
                </a:cubicBezTo>
                <a:close/>
                <a:moveTo>
                  <a:pt x="874" y="1020"/>
                </a:moveTo>
                <a:cubicBezTo>
                  <a:pt x="875" y="1020"/>
                  <a:pt x="874" y="1021"/>
                  <a:pt x="875" y="1020"/>
                </a:cubicBezTo>
                <a:cubicBezTo>
                  <a:pt x="875" y="1020"/>
                  <a:pt x="875" y="1020"/>
                  <a:pt x="876" y="1020"/>
                </a:cubicBezTo>
                <a:cubicBezTo>
                  <a:pt x="876" y="1020"/>
                  <a:pt x="876" y="1020"/>
                  <a:pt x="876" y="1019"/>
                </a:cubicBezTo>
                <a:cubicBezTo>
                  <a:pt x="876" y="1019"/>
                  <a:pt x="876" y="1019"/>
                  <a:pt x="876" y="1019"/>
                </a:cubicBezTo>
                <a:cubicBezTo>
                  <a:pt x="875" y="1019"/>
                  <a:pt x="875" y="1019"/>
                  <a:pt x="875" y="1018"/>
                </a:cubicBezTo>
                <a:cubicBezTo>
                  <a:pt x="875" y="1018"/>
                  <a:pt x="876" y="1018"/>
                  <a:pt x="876" y="1018"/>
                </a:cubicBezTo>
                <a:cubicBezTo>
                  <a:pt x="876" y="1018"/>
                  <a:pt x="876" y="1017"/>
                  <a:pt x="876" y="1017"/>
                </a:cubicBezTo>
                <a:cubicBezTo>
                  <a:pt x="876" y="1017"/>
                  <a:pt x="876" y="1017"/>
                  <a:pt x="876" y="1016"/>
                </a:cubicBezTo>
                <a:cubicBezTo>
                  <a:pt x="876" y="1016"/>
                  <a:pt x="876" y="1016"/>
                  <a:pt x="876" y="1015"/>
                </a:cubicBezTo>
                <a:cubicBezTo>
                  <a:pt x="875" y="1015"/>
                  <a:pt x="875" y="1016"/>
                  <a:pt x="874" y="1016"/>
                </a:cubicBezTo>
                <a:cubicBezTo>
                  <a:pt x="874" y="1017"/>
                  <a:pt x="874" y="1016"/>
                  <a:pt x="874" y="1016"/>
                </a:cubicBezTo>
                <a:cubicBezTo>
                  <a:pt x="874" y="1016"/>
                  <a:pt x="874" y="1016"/>
                  <a:pt x="874" y="1016"/>
                </a:cubicBezTo>
                <a:cubicBezTo>
                  <a:pt x="875" y="1015"/>
                  <a:pt x="875" y="1015"/>
                  <a:pt x="875" y="1014"/>
                </a:cubicBezTo>
                <a:cubicBezTo>
                  <a:pt x="874" y="1014"/>
                  <a:pt x="873" y="1014"/>
                  <a:pt x="873" y="1014"/>
                </a:cubicBezTo>
                <a:cubicBezTo>
                  <a:pt x="872" y="1014"/>
                  <a:pt x="871" y="1015"/>
                  <a:pt x="871" y="1014"/>
                </a:cubicBezTo>
                <a:cubicBezTo>
                  <a:pt x="871" y="1014"/>
                  <a:pt x="872" y="1013"/>
                  <a:pt x="872" y="1014"/>
                </a:cubicBezTo>
                <a:cubicBezTo>
                  <a:pt x="872" y="1014"/>
                  <a:pt x="872" y="1014"/>
                  <a:pt x="873" y="1014"/>
                </a:cubicBezTo>
                <a:cubicBezTo>
                  <a:pt x="873" y="1014"/>
                  <a:pt x="874" y="1014"/>
                  <a:pt x="874" y="1013"/>
                </a:cubicBezTo>
                <a:cubicBezTo>
                  <a:pt x="874" y="1013"/>
                  <a:pt x="875" y="1013"/>
                  <a:pt x="874" y="1012"/>
                </a:cubicBezTo>
                <a:cubicBezTo>
                  <a:pt x="874" y="1012"/>
                  <a:pt x="874" y="1013"/>
                  <a:pt x="874" y="1013"/>
                </a:cubicBezTo>
                <a:cubicBezTo>
                  <a:pt x="873" y="1013"/>
                  <a:pt x="873" y="1014"/>
                  <a:pt x="873" y="1014"/>
                </a:cubicBezTo>
                <a:cubicBezTo>
                  <a:pt x="873" y="1014"/>
                  <a:pt x="872" y="1013"/>
                  <a:pt x="872" y="1013"/>
                </a:cubicBezTo>
                <a:cubicBezTo>
                  <a:pt x="872" y="1012"/>
                  <a:pt x="874" y="1012"/>
                  <a:pt x="874" y="1012"/>
                </a:cubicBezTo>
                <a:cubicBezTo>
                  <a:pt x="874" y="1012"/>
                  <a:pt x="874" y="1011"/>
                  <a:pt x="874" y="1011"/>
                </a:cubicBezTo>
                <a:cubicBezTo>
                  <a:pt x="874" y="1011"/>
                  <a:pt x="874" y="1011"/>
                  <a:pt x="874" y="1010"/>
                </a:cubicBezTo>
                <a:cubicBezTo>
                  <a:pt x="874" y="1010"/>
                  <a:pt x="874" y="1009"/>
                  <a:pt x="874" y="1009"/>
                </a:cubicBezTo>
                <a:cubicBezTo>
                  <a:pt x="873" y="1009"/>
                  <a:pt x="873" y="1009"/>
                  <a:pt x="873" y="1009"/>
                </a:cubicBezTo>
                <a:cubicBezTo>
                  <a:pt x="873" y="1009"/>
                  <a:pt x="873" y="1009"/>
                  <a:pt x="872" y="1010"/>
                </a:cubicBezTo>
                <a:cubicBezTo>
                  <a:pt x="872" y="1010"/>
                  <a:pt x="871" y="1009"/>
                  <a:pt x="872" y="1009"/>
                </a:cubicBezTo>
                <a:cubicBezTo>
                  <a:pt x="872" y="1009"/>
                  <a:pt x="872" y="1009"/>
                  <a:pt x="873" y="1009"/>
                </a:cubicBezTo>
                <a:cubicBezTo>
                  <a:pt x="873" y="1009"/>
                  <a:pt x="873" y="1009"/>
                  <a:pt x="873" y="1008"/>
                </a:cubicBezTo>
                <a:cubicBezTo>
                  <a:pt x="873" y="1008"/>
                  <a:pt x="873" y="1008"/>
                  <a:pt x="873" y="1008"/>
                </a:cubicBezTo>
                <a:cubicBezTo>
                  <a:pt x="873" y="1008"/>
                  <a:pt x="873" y="1007"/>
                  <a:pt x="872" y="1007"/>
                </a:cubicBezTo>
                <a:cubicBezTo>
                  <a:pt x="872" y="1007"/>
                  <a:pt x="872" y="1007"/>
                  <a:pt x="871" y="1007"/>
                </a:cubicBezTo>
                <a:cubicBezTo>
                  <a:pt x="871" y="1007"/>
                  <a:pt x="871" y="1007"/>
                  <a:pt x="871" y="1007"/>
                </a:cubicBezTo>
                <a:cubicBezTo>
                  <a:pt x="871" y="1006"/>
                  <a:pt x="872" y="1007"/>
                  <a:pt x="872" y="1006"/>
                </a:cubicBezTo>
                <a:cubicBezTo>
                  <a:pt x="872" y="1006"/>
                  <a:pt x="871" y="1005"/>
                  <a:pt x="871" y="1005"/>
                </a:cubicBezTo>
                <a:cubicBezTo>
                  <a:pt x="872" y="1005"/>
                  <a:pt x="872" y="1005"/>
                  <a:pt x="872" y="1004"/>
                </a:cubicBezTo>
                <a:cubicBezTo>
                  <a:pt x="872" y="1004"/>
                  <a:pt x="871" y="1004"/>
                  <a:pt x="871" y="1004"/>
                </a:cubicBezTo>
                <a:cubicBezTo>
                  <a:pt x="871" y="1004"/>
                  <a:pt x="871" y="1003"/>
                  <a:pt x="870" y="1003"/>
                </a:cubicBezTo>
                <a:cubicBezTo>
                  <a:pt x="870" y="1003"/>
                  <a:pt x="870" y="1004"/>
                  <a:pt x="870" y="1003"/>
                </a:cubicBezTo>
                <a:cubicBezTo>
                  <a:pt x="869" y="1003"/>
                  <a:pt x="869" y="1002"/>
                  <a:pt x="869" y="1003"/>
                </a:cubicBezTo>
                <a:cubicBezTo>
                  <a:pt x="868" y="1003"/>
                  <a:pt x="869" y="1004"/>
                  <a:pt x="869" y="1005"/>
                </a:cubicBezTo>
                <a:cubicBezTo>
                  <a:pt x="869" y="1005"/>
                  <a:pt x="869" y="1005"/>
                  <a:pt x="869" y="1006"/>
                </a:cubicBezTo>
                <a:cubicBezTo>
                  <a:pt x="869" y="1006"/>
                  <a:pt x="869" y="1006"/>
                  <a:pt x="869" y="1007"/>
                </a:cubicBezTo>
                <a:cubicBezTo>
                  <a:pt x="869" y="1007"/>
                  <a:pt x="868" y="1008"/>
                  <a:pt x="868" y="1008"/>
                </a:cubicBezTo>
                <a:cubicBezTo>
                  <a:pt x="868" y="1008"/>
                  <a:pt x="868" y="1008"/>
                  <a:pt x="868" y="1008"/>
                </a:cubicBezTo>
                <a:cubicBezTo>
                  <a:pt x="869" y="1008"/>
                  <a:pt x="869" y="1009"/>
                  <a:pt x="868" y="1009"/>
                </a:cubicBezTo>
                <a:cubicBezTo>
                  <a:pt x="868" y="1009"/>
                  <a:pt x="868" y="1008"/>
                  <a:pt x="867" y="1009"/>
                </a:cubicBezTo>
                <a:cubicBezTo>
                  <a:pt x="867" y="1009"/>
                  <a:pt x="867" y="1009"/>
                  <a:pt x="867" y="1009"/>
                </a:cubicBezTo>
                <a:cubicBezTo>
                  <a:pt x="866" y="1010"/>
                  <a:pt x="867" y="1009"/>
                  <a:pt x="866" y="1009"/>
                </a:cubicBezTo>
                <a:cubicBezTo>
                  <a:pt x="866" y="1009"/>
                  <a:pt x="866" y="1009"/>
                  <a:pt x="866" y="1010"/>
                </a:cubicBezTo>
                <a:cubicBezTo>
                  <a:pt x="866" y="1010"/>
                  <a:pt x="866" y="1010"/>
                  <a:pt x="866" y="1011"/>
                </a:cubicBezTo>
                <a:cubicBezTo>
                  <a:pt x="867" y="1011"/>
                  <a:pt x="867" y="1011"/>
                  <a:pt x="868" y="1011"/>
                </a:cubicBezTo>
                <a:cubicBezTo>
                  <a:pt x="868" y="1012"/>
                  <a:pt x="868" y="1012"/>
                  <a:pt x="868" y="1012"/>
                </a:cubicBezTo>
                <a:cubicBezTo>
                  <a:pt x="868" y="1012"/>
                  <a:pt x="869" y="1012"/>
                  <a:pt x="869" y="1012"/>
                </a:cubicBezTo>
                <a:cubicBezTo>
                  <a:pt x="869" y="1012"/>
                  <a:pt x="869" y="1011"/>
                  <a:pt x="869" y="1012"/>
                </a:cubicBezTo>
                <a:cubicBezTo>
                  <a:pt x="870" y="1012"/>
                  <a:pt x="869" y="1012"/>
                  <a:pt x="869" y="1012"/>
                </a:cubicBezTo>
                <a:cubicBezTo>
                  <a:pt x="869" y="1013"/>
                  <a:pt x="870" y="1013"/>
                  <a:pt x="870" y="1013"/>
                </a:cubicBezTo>
                <a:cubicBezTo>
                  <a:pt x="870" y="1013"/>
                  <a:pt x="870" y="1014"/>
                  <a:pt x="870" y="1014"/>
                </a:cubicBezTo>
                <a:cubicBezTo>
                  <a:pt x="870" y="1014"/>
                  <a:pt x="870" y="1014"/>
                  <a:pt x="870" y="1014"/>
                </a:cubicBezTo>
                <a:cubicBezTo>
                  <a:pt x="871" y="1015"/>
                  <a:pt x="871" y="1015"/>
                  <a:pt x="872" y="1015"/>
                </a:cubicBezTo>
                <a:cubicBezTo>
                  <a:pt x="872" y="1015"/>
                  <a:pt x="870" y="1016"/>
                  <a:pt x="871" y="1016"/>
                </a:cubicBezTo>
                <a:cubicBezTo>
                  <a:pt x="872" y="1016"/>
                  <a:pt x="872" y="1015"/>
                  <a:pt x="872" y="1015"/>
                </a:cubicBezTo>
                <a:cubicBezTo>
                  <a:pt x="872" y="1015"/>
                  <a:pt x="873" y="1015"/>
                  <a:pt x="873" y="1015"/>
                </a:cubicBezTo>
                <a:cubicBezTo>
                  <a:pt x="873" y="1015"/>
                  <a:pt x="872" y="1016"/>
                  <a:pt x="872" y="1016"/>
                </a:cubicBezTo>
                <a:cubicBezTo>
                  <a:pt x="872" y="1016"/>
                  <a:pt x="872" y="1017"/>
                  <a:pt x="872" y="1017"/>
                </a:cubicBezTo>
                <a:cubicBezTo>
                  <a:pt x="872" y="1017"/>
                  <a:pt x="872" y="1017"/>
                  <a:pt x="872" y="1017"/>
                </a:cubicBezTo>
                <a:cubicBezTo>
                  <a:pt x="872" y="1018"/>
                  <a:pt x="873" y="1018"/>
                  <a:pt x="873" y="1017"/>
                </a:cubicBezTo>
                <a:cubicBezTo>
                  <a:pt x="873" y="1017"/>
                  <a:pt x="874" y="1017"/>
                  <a:pt x="874" y="1017"/>
                </a:cubicBezTo>
                <a:cubicBezTo>
                  <a:pt x="874" y="1018"/>
                  <a:pt x="873" y="1017"/>
                  <a:pt x="873" y="1018"/>
                </a:cubicBezTo>
                <a:cubicBezTo>
                  <a:pt x="873" y="1018"/>
                  <a:pt x="873" y="1018"/>
                  <a:pt x="873" y="1019"/>
                </a:cubicBezTo>
                <a:cubicBezTo>
                  <a:pt x="873" y="1019"/>
                  <a:pt x="873" y="1019"/>
                  <a:pt x="873" y="1019"/>
                </a:cubicBezTo>
                <a:cubicBezTo>
                  <a:pt x="873" y="1020"/>
                  <a:pt x="873" y="1020"/>
                  <a:pt x="873" y="1021"/>
                </a:cubicBezTo>
                <a:cubicBezTo>
                  <a:pt x="874" y="1021"/>
                  <a:pt x="876" y="1022"/>
                  <a:pt x="876" y="1020"/>
                </a:cubicBezTo>
                <a:cubicBezTo>
                  <a:pt x="876" y="1020"/>
                  <a:pt x="875" y="1021"/>
                  <a:pt x="875" y="1021"/>
                </a:cubicBezTo>
                <a:cubicBezTo>
                  <a:pt x="875" y="1021"/>
                  <a:pt x="874" y="1021"/>
                  <a:pt x="874" y="1021"/>
                </a:cubicBezTo>
                <a:cubicBezTo>
                  <a:pt x="874" y="1020"/>
                  <a:pt x="873" y="1020"/>
                  <a:pt x="874" y="1020"/>
                </a:cubicBezTo>
                <a:close/>
                <a:moveTo>
                  <a:pt x="877" y="1006"/>
                </a:moveTo>
                <a:cubicBezTo>
                  <a:pt x="877" y="1006"/>
                  <a:pt x="878" y="1006"/>
                  <a:pt x="878" y="1006"/>
                </a:cubicBezTo>
                <a:cubicBezTo>
                  <a:pt x="879" y="1006"/>
                  <a:pt x="879" y="1005"/>
                  <a:pt x="879" y="1005"/>
                </a:cubicBezTo>
                <a:cubicBezTo>
                  <a:pt x="880" y="1005"/>
                  <a:pt x="881" y="1005"/>
                  <a:pt x="880" y="1004"/>
                </a:cubicBezTo>
                <a:cubicBezTo>
                  <a:pt x="880" y="1004"/>
                  <a:pt x="879" y="1004"/>
                  <a:pt x="879" y="1004"/>
                </a:cubicBezTo>
                <a:cubicBezTo>
                  <a:pt x="879" y="1004"/>
                  <a:pt x="878" y="1004"/>
                  <a:pt x="878" y="1004"/>
                </a:cubicBezTo>
                <a:cubicBezTo>
                  <a:pt x="878" y="1004"/>
                  <a:pt x="877" y="1004"/>
                  <a:pt x="877" y="1005"/>
                </a:cubicBezTo>
                <a:cubicBezTo>
                  <a:pt x="877" y="1005"/>
                  <a:pt x="875" y="1005"/>
                  <a:pt x="876" y="1006"/>
                </a:cubicBezTo>
                <a:cubicBezTo>
                  <a:pt x="876" y="1006"/>
                  <a:pt x="877" y="1006"/>
                  <a:pt x="877" y="1006"/>
                </a:cubicBezTo>
                <a:close/>
                <a:moveTo>
                  <a:pt x="922" y="1054"/>
                </a:moveTo>
                <a:cubicBezTo>
                  <a:pt x="922" y="1054"/>
                  <a:pt x="923" y="1054"/>
                  <a:pt x="923" y="1054"/>
                </a:cubicBezTo>
                <a:cubicBezTo>
                  <a:pt x="924" y="1054"/>
                  <a:pt x="924" y="1054"/>
                  <a:pt x="924" y="1054"/>
                </a:cubicBezTo>
                <a:cubicBezTo>
                  <a:pt x="925" y="1054"/>
                  <a:pt x="925" y="1054"/>
                  <a:pt x="925" y="1053"/>
                </a:cubicBezTo>
                <a:cubicBezTo>
                  <a:pt x="926" y="1053"/>
                  <a:pt x="926" y="1053"/>
                  <a:pt x="926" y="1052"/>
                </a:cubicBezTo>
                <a:cubicBezTo>
                  <a:pt x="926" y="1052"/>
                  <a:pt x="926" y="1052"/>
                  <a:pt x="927" y="1051"/>
                </a:cubicBezTo>
                <a:cubicBezTo>
                  <a:pt x="927" y="1051"/>
                  <a:pt x="927" y="1049"/>
                  <a:pt x="927" y="1049"/>
                </a:cubicBezTo>
                <a:cubicBezTo>
                  <a:pt x="926" y="1050"/>
                  <a:pt x="926" y="1050"/>
                  <a:pt x="926" y="1050"/>
                </a:cubicBezTo>
                <a:cubicBezTo>
                  <a:pt x="926" y="1051"/>
                  <a:pt x="925" y="1051"/>
                  <a:pt x="925" y="1051"/>
                </a:cubicBezTo>
                <a:cubicBezTo>
                  <a:pt x="925" y="1052"/>
                  <a:pt x="925" y="1052"/>
                  <a:pt x="924" y="1052"/>
                </a:cubicBezTo>
                <a:cubicBezTo>
                  <a:pt x="924" y="1052"/>
                  <a:pt x="924" y="1052"/>
                  <a:pt x="923" y="1051"/>
                </a:cubicBezTo>
                <a:cubicBezTo>
                  <a:pt x="923" y="1051"/>
                  <a:pt x="922" y="1051"/>
                  <a:pt x="922" y="1051"/>
                </a:cubicBezTo>
                <a:cubicBezTo>
                  <a:pt x="921" y="1052"/>
                  <a:pt x="921" y="1052"/>
                  <a:pt x="921" y="1052"/>
                </a:cubicBezTo>
                <a:cubicBezTo>
                  <a:pt x="921" y="1052"/>
                  <a:pt x="920" y="1052"/>
                  <a:pt x="920" y="1052"/>
                </a:cubicBezTo>
                <a:cubicBezTo>
                  <a:pt x="920" y="1052"/>
                  <a:pt x="920" y="1052"/>
                  <a:pt x="920" y="1053"/>
                </a:cubicBezTo>
                <a:cubicBezTo>
                  <a:pt x="920" y="1053"/>
                  <a:pt x="919" y="1053"/>
                  <a:pt x="919" y="1054"/>
                </a:cubicBezTo>
                <a:cubicBezTo>
                  <a:pt x="919" y="1055"/>
                  <a:pt x="920" y="1054"/>
                  <a:pt x="921" y="1054"/>
                </a:cubicBezTo>
                <a:cubicBezTo>
                  <a:pt x="921" y="1054"/>
                  <a:pt x="922" y="1054"/>
                  <a:pt x="922" y="1054"/>
                </a:cubicBezTo>
                <a:close/>
                <a:moveTo>
                  <a:pt x="919" y="1082"/>
                </a:moveTo>
                <a:cubicBezTo>
                  <a:pt x="919" y="1082"/>
                  <a:pt x="919" y="1082"/>
                  <a:pt x="919" y="1082"/>
                </a:cubicBezTo>
                <a:cubicBezTo>
                  <a:pt x="919" y="1083"/>
                  <a:pt x="920" y="1082"/>
                  <a:pt x="920" y="1082"/>
                </a:cubicBezTo>
                <a:cubicBezTo>
                  <a:pt x="920" y="1082"/>
                  <a:pt x="921" y="1082"/>
                  <a:pt x="920" y="1082"/>
                </a:cubicBezTo>
                <a:cubicBezTo>
                  <a:pt x="920" y="1082"/>
                  <a:pt x="920" y="1082"/>
                  <a:pt x="919" y="1082"/>
                </a:cubicBezTo>
                <a:close/>
                <a:moveTo>
                  <a:pt x="938" y="1051"/>
                </a:moveTo>
                <a:cubicBezTo>
                  <a:pt x="938" y="1051"/>
                  <a:pt x="938" y="1049"/>
                  <a:pt x="937" y="1049"/>
                </a:cubicBezTo>
                <a:cubicBezTo>
                  <a:pt x="937" y="1049"/>
                  <a:pt x="937" y="1050"/>
                  <a:pt x="937" y="1050"/>
                </a:cubicBezTo>
                <a:cubicBezTo>
                  <a:pt x="938" y="1050"/>
                  <a:pt x="938" y="1051"/>
                  <a:pt x="938" y="1051"/>
                </a:cubicBezTo>
                <a:close/>
                <a:moveTo>
                  <a:pt x="921" y="1034"/>
                </a:moveTo>
                <a:cubicBezTo>
                  <a:pt x="921" y="1034"/>
                  <a:pt x="920" y="1034"/>
                  <a:pt x="920" y="1034"/>
                </a:cubicBezTo>
                <a:cubicBezTo>
                  <a:pt x="920" y="1034"/>
                  <a:pt x="920" y="1034"/>
                  <a:pt x="921" y="1034"/>
                </a:cubicBezTo>
                <a:cubicBezTo>
                  <a:pt x="921" y="1034"/>
                  <a:pt x="921" y="1034"/>
                  <a:pt x="921" y="1034"/>
                </a:cubicBezTo>
                <a:close/>
                <a:moveTo>
                  <a:pt x="938" y="1048"/>
                </a:moveTo>
                <a:cubicBezTo>
                  <a:pt x="938" y="1047"/>
                  <a:pt x="937" y="1047"/>
                  <a:pt x="937" y="1047"/>
                </a:cubicBezTo>
                <a:cubicBezTo>
                  <a:pt x="937" y="1046"/>
                  <a:pt x="936" y="1046"/>
                  <a:pt x="935" y="1046"/>
                </a:cubicBezTo>
                <a:cubicBezTo>
                  <a:pt x="935" y="1045"/>
                  <a:pt x="935" y="1045"/>
                  <a:pt x="935" y="1046"/>
                </a:cubicBezTo>
                <a:cubicBezTo>
                  <a:pt x="934" y="1046"/>
                  <a:pt x="935" y="1046"/>
                  <a:pt x="935" y="1046"/>
                </a:cubicBezTo>
                <a:cubicBezTo>
                  <a:pt x="935" y="1046"/>
                  <a:pt x="936" y="1047"/>
                  <a:pt x="936" y="1047"/>
                </a:cubicBezTo>
                <a:cubicBezTo>
                  <a:pt x="936" y="1047"/>
                  <a:pt x="937" y="1047"/>
                  <a:pt x="937" y="1048"/>
                </a:cubicBezTo>
                <a:cubicBezTo>
                  <a:pt x="937" y="1048"/>
                  <a:pt x="937" y="1048"/>
                  <a:pt x="938" y="1048"/>
                </a:cubicBezTo>
                <a:close/>
                <a:moveTo>
                  <a:pt x="758" y="1088"/>
                </a:moveTo>
                <a:cubicBezTo>
                  <a:pt x="757" y="1087"/>
                  <a:pt x="757" y="1089"/>
                  <a:pt x="757" y="1089"/>
                </a:cubicBezTo>
                <a:cubicBezTo>
                  <a:pt x="757" y="1090"/>
                  <a:pt x="756" y="1090"/>
                  <a:pt x="756" y="1091"/>
                </a:cubicBezTo>
                <a:cubicBezTo>
                  <a:pt x="757" y="1091"/>
                  <a:pt x="757" y="1090"/>
                  <a:pt x="757" y="1089"/>
                </a:cubicBezTo>
                <a:cubicBezTo>
                  <a:pt x="758" y="1089"/>
                  <a:pt x="759" y="1088"/>
                  <a:pt x="758" y="1088"/>
                </a:cubicBezTo>
                <a:close/>
                <a:moveTo>
                  <a:pt x="903" y="1025"/>
                </a:moveTo>
                <a:cubicBezTo>
                  <a:pt x="903" y="1025"/>
                  <a:pt x="903" y="1024"/>
                  <a:pt x="902" y="1024"/>
                </a:cubicBezTo>
                <a:cubicBezTo>
                  <a:pt x="902" y="1023"/>
                  <a:pt x="902" y="1023"/>
                  <a:pt x="902" y="1023"/>
                </a:cubicBezTo>
                <a:cubicBezTo>
                  <a:pt x="902" y="1022"/>
                  <a:pt x="902" y="1022"/>
                  <a:pt x="901" y="1021"/>
                </a:cubicBezTo>
                <a:cubicBezTo>
                  <a:pt x="901" y="1021"/>
                  <a:pt x="901" y="1021"/>
                  <a:pt x="901" y="1021"/>
                </a:cubicBezTo>
                <a:cubicBezTo>
                  <a:pt x="900" y="1022"/>
                  <a:pt x="901" y="1022"/>
                  <a:pt x="901" y="1022"/>
                </a:cubicBezTo>
                <a:cubicBezTo>
                  <a:pt x="902" y="1023"/>
                  <a:pt x="902" y="1024"/>
                  <a:pt x="902" y="1024"/>
                </a:cubicBezTo>
                <a:cubicBezTo>
                  <a:pt x="903" y="1025"/>
                  <a:pt x="903" y="1025"/>
                  <a:pt x="903" y="1025"/>
                </a:cubicBezTo>
                <a:cubicBezTo>
                  <a:pt x="903" y="1026"/>
                  <a:pt x="903" y="1026"/>
                  <a:pt x="903" y="1027"/>
                </a:cubicBezTo>
                <a:cubicBezTo>
                  <a:pt x="903" y="1027"/>
                  <a:pt x="903" y="1027"/>
                  <a:pt x="903" y="1027"/>
                </a:cubicBezTo>
                <a:cubicBezTo>
                  <a:pt x="903" y="1027"/>
                  <a:pt x="902" y="1027"/>
                  <a:pt x="902" y="1027"/>
                </a:cubicBezTo>
                <a:cubicBezTo>
                  <a:pt x="902" y="1027"/>
                  <a:pt x="902" y="1028"/>
                  <a:pt x="903" y="1028"/>
                </a:cubicBezTo>
                <a:cubicBezTo>
                  <a:pt x="903" y="1028"/>
                  <a:pt x="903" y="1028"/>
                  <a:pt x="903" y="1029"/>
                </a:cubicBezTo>
                <a:cubicBezTo>
                  <a:pt x="904" y="1029"/>
                  <a:pt x="904" y="1029"/>
                  <a:pt x="904" y="1029"/>
                </a:cubicBezTo>
                <a:cubicBezTo>
                  <a:pt x="905" y="1029"/>
                  <a:pt x="905" y="1029"/>
                  <a:pt x="905" y="1029"/>
                </a:cubicBezTo>
                <a:cubicBezTo>
                  <a:pt x="906" y="1030"/>
                  <a:pt x="906" y="1030"/>
                  <a:pt x="906" y="1031"/>
                </a:cubicBezTo>
                <a:cubicBezTo>
                  <a:pt x="906" y="1031"/>
                  <a:pt x="906" y="1032"/>
                  <a:pt x="907" y="1031"/>
                </a:cubicBezTo>
                <a:cubicBezTo>
                  <a:pt x="907" y="1031"/>
                  <a:pt x="906" y="1030"/>
                  <a:pt x="906" y="1030"/>
                </a:cubicBezTo>
                <a:cubicBezTo>
                  <a:pt x="906" y="1029"/>
                  <a:pt x="906" y="1029"/>
                  <a:pt x="905" y="1028"/>
                </a:cubicBezTo>
                <a:cubicBezTo>
                  <a:pt x="904" y="1028"/>
                  <a:pt x="903" y="1028"/>
                  <a:pt x="903" y="1027"/>
                </a:cubicBezTo>
                <a:cubicBezTo>
                  <a:pt x="903" y="1027"/>
                  <a:pt x="904" y="1027"/>
                  <a:pt x="904" y="1026"/>
                </a:cubicBezTo>
                <a:cubicBezTo>
                  <a:pt x="904" y="1026"/>
                  <a:pt x="904" y="1026"/>
                  <a:pt x="903" y="1025"/>
                </a:cubicBezTo>
                <a:close/>
                <a:moveTo>
                  <a:pt x="927" y="1048"/>
                </a:moveTo>
                <a:cubicBezTo>
                  <a:pt x="928" y="1048"/>
                  <a:pt x="928" y="1048"/>
                  <a:pt x="928" y="1047"/>
                </a:cubicBezTo>
                <a:cubicBezTo>
                  <a:pt x="928" y="1047"/>
                  <a:pt x="928" y="1047"/>
                  <a:pt x="927" y="1047"/>
                </a:cubicBezTo>
                <a:cubicBezTo>
                  <a:pt x="927" y="1047"/>
                  <a:pt x="927" y="1047"/>
                  <a:pt x="926" y="1047"/>
                </a:cubicBezTo>
                <a:cubicBezTo>
                  <a:pt x="926" y="1047"/>
                  <a:pt x="926" y="1048"/>
                  <a:pt x="926" y="1048"/>
                </a:cubicBezTo>
                <a:cubicBezTo>
                  <a:pt x="926" y="1048"/>
                  <a:pt x="926" y="1049"/>
                  <a:pt x="927" y="1048"/>
                </a:cubicBezTo>
                <a:cubicBezTo>
                  <a:pt x="927" y="1048"/>
                  <a:pt x="927" y="1048"/>
                  <a:pt x="927" y="1048"/>
                </a:cubicBezTo>
                <a:close/>
                <a:moveTo>
                  <a:pt x="898" y="878"/>
                </a:moveTo>
                <a:cubicBezTo>
                  <a:pt x="897" y="878"/>
                  <a:pt x="896" y="878"/>
                  <a:pt x="895" y="879"/>
                </a:cubicBezTo>
                <a:cubicBezTo>
                  <a:pt x="895" y="879"/>
                  <a:pt x="894" y="879"/>
                  <a:pt x="893" y="880"/>
                </a:cubicBezTo>
                <a:cubicBezTo>
                  <a:pt x="893" y="880"/>
                  <a:pt x="893" y="880"/>
                  <a:pt x="893" y="880"/>
                </a:cubicBezTo>
                <a:cubicBezTo>
                  <a:pt x="894" y="880"/>
                  <a:pt x="894" y="880"/>
                  <a:pt x="894" y="880"/>
                </a:cubicBezTo>
                <a:cubicBezTo>
                  <a:pt x="895" y="879"/>
                  <a:pt x="896" y="879"/>
                  <a:pt x="896" y="879"/>
                </a:cubicBezTo>
                <a:cubicBezTo>
                  <a:pt x="897" y="879"/>
                  <a:pt x="897" y="879"/>
                  <a:pt x="897" y="878"/>
                </a:cubicBezTo>
                <a:cubicBezTo>
                  <a:pt x="898" y="878"/>
                  <a:pt x="898" y="878"/>
                  <a:pt x="898" y="878"/>
                </a:cubicBezTo>
                <a:cubicBezTo>
                  <a:pt x="899" y="878"/>
                  <a:pt x="899" y="877"/>
                  <a:pt x="899" y="876"/>
                </a:cubicBezTo>
                <a:cubicBezTo>
                  <a:pt x="899" y="874"/>
                  <a:pt x="899" y="872"/>
                  <a:pt x="898" y="870"/>
                </a:cubicBezTo>
                <a:cubicBezTo>
                  <a:pt x="898" y="869"/>
                  <a:pt x="898" y="869"/>
                  <a:pt x="898" y="868"/>
                </a:cubicBezTo>
                <a:cubicBezTo>
                  <a:pt x="898" y="868"/>
                  <a:pt x="898" y="867"/>
                  <a:pt x="898" y="867"/>
                </a:cubicBezTo>
                <a:cubicBezTo>
                  <a:pt x="898" y="867"/>
                  <a:pt x="897" y="867"/>
                  <a:pt x="897" y="867"/>
                </a:cubicBezTo>
                <a:cubicBezTo>
                  <a:pt x="897" y="867"/>
                  <a:pt x="897" y="868"/>
                  <a:pt x="897" y="868"/>
                </a:cubicBezTo>
                <a:cubicBezTo>
                  <a:pt x="898" y="868"/>
                  <a:pt x="898" y="869"/>
                  <a:pt x="898" y="870"/>
                </a:cubicBezTo>
                <a:cubicBezTo>
                  <a:pt x="898" y="871"/>
                  <a:pt x="898" y="872"/>
                  <a:pt x="898" y="873"/>
                </a:cubicBezTo>
                <a:cubicBezTo>
                  <a:pt x="898" y="873"/>
                  <a:pt x="899" y="873"/>
                  <a:pt x="899" y="874"/>
                </a:cubicBezTo>
                <a:cubicBezTo>
                  <a:pt x="899" y="874"/>
                  <a:pt x="899" y="875"/>
                  <a:pt x="899" y="875"/>
                </a:cubicBezTo>
                <a:cubicBezTo>
                  <a:pt x="899" y="876"/>
                  <a:pt x="899" y="877"/>
                  <a:pt x="898" y="878"/>
                </a:cubicBezTo>
                <a:close/>
                <a:moveTo>
                  <a:pt x="885" y="998"/>
                </a:moveTo>
                <a:cubicBezTo>
                  <a:pt x="884" y="998"/>
                  <a:pt x="884" y="999"/>
                  <a:pt x="884" y="999"/>
                </a:cubicBezTo>
                <a:cubicBezTo>
                  <a:pt x="884" y="999"/>
                  <a:pt x="883" y="999"/>
                  <a:pt x="883" y="999"/>
                </a:cubicBezTo>
                <a:cubicBezTo>
                  <a:pt x="884" y="1000"/>
                  <a:pt x="884" y="999"/>
                  <a:pt x="884" y="999"/>
                </a:cubicBezTo>
                <a:cubicBezTo>
                  <a:pt x="885" y="1000"/>
                  <a:pt x="884" y="1001"/>
                  <a:pt x="884" y="1001"/>
                </a:cubicBezTo>
                <a:cubicBezTo>
                  <a:pt x="884" y="1001"/>
                  <a:pt x="883" y="1002"/>
                  <a:pt x="884" y="1002"/>
                </a:cubicBezTo>
                <a:cubicBezTo>
                  <a:pt x="884" y="1002"/>
                  <a:pt x="884" y="1001"/>
                  <a:pt x="884" y="1001"/>
                </a:cubicBezTo>
                <a:cubicBezTo>
                  <a:pt x="884" y="1000"/>
                  <a:pt x="885" y="1000"/>
                  <a:pt x="886" y="1000"/>
                </a:cubicBezTo>
                <a:cubicBezTo>
                  <a:pt x="886" y="1000"/>
                  <a:pt x="887" y="1001"/>
                  <a:pt x="887" y="1002"/>
                </a:cubicBezTo>
                <a:cubicBezTo>
                  <a:pt x="888" y="1002"/>
                  <a:pt x="889" y="1001"/>
                  <a:pt x="889" y="1002"/>
                </a:cubicBezTo>
                <a:cubicBezTo>
                  <a:pt x="889" y="1002"/>
                  <a:pt x="889" y="1003"/>
                  <a:pt x="890" y="1003"/>
                </a:cubicBezTo>
                <a:cubicBezTo>
                  <a:pt x="890" y="1003"/>
                  <a:pt x="890" y="1003"/>
                  <a:pt x="890" y="1004"/>
                </a:cubicBezTo>
                <a:cubicBezTo>
                  <a:pt x="891" y="1004"/>
                  <a:pt x="892" y="1004"/>
                  <a:pt x="891" y="1005"/>
                </a:cubicBezTo>
                <a:cubicBezTo>
                  <a:pt x="891" y="1006"/>
                  <a:pt x="891" y="1006"/>
                  <a:pt x="891" y="1007"/>
                </a:cubicBezTo>
                <a:cubicBezTo>
                  <a:pt x="891" y="1007"/>
                  <a:pt x="891" y="1007"/>
                  <a:pt x="891" y="1008"/>
                </a:cubicBezTo>
                <a:cubicBezTo>
                  <a:pt x="890" y="1008"/>
                  <a:pt x="890" y="1008"/>
                  <a:pt x="890" y="1009"/>
                </a:cubicBezTo>
                <a:cubicBezTo>
                  <a:pt x="891" y="1009"/>
                  <a:pt x="891" y="1010"/>
                  <a:pt x="892" y="1010"/>
                </a:cubicBezTo>
                <a:cubicBezTo>
                  <a:pt x="892" y="1010"/>
                  <a:pt x="891" y="1009"/>
                  <a:pt x="891" y="1009"/>
                </a:cubicBezTo>
                <a:cubicBezTo>
                  <a:pt x="891" y="1009"/>
                  <a:pt x="891" y="1008"/>
                  <a:pt x="891" y="1008"/>
                </a:cubicBezTo>
                <a:cubicBezTo>
                  <a:pt x="892" y="1008"/>
                  <a:pt x="892" y="1007"/>
                  <a:pt x="892" y="1007"/>
                </a:cubicBezTo>
                <a:cubicBezTo>
                  <a:pt x="892" y="1007"/>
                  <a:pt x="891" y="1007"/>
                  <a:pt x="891" y="1006"/>
                </a:cubicBezTo>
                <a:cubicBezTo>
                  <a:pt x="892" y="1006"/>
                  <a:pt x="892" y="1005"/>
                  <a:pt x="892" y="1004"/>
                </a:cubicBezTo>
                <a:cubicBezTo>
                  <a:pt x="892" y="1004"/>
                  <a:pt x="891" y="1003"/>
                  <a:pt x="891" y="1003"/>
                </a:cubicBezTo>
                <a:cubicBezTo>
                  <a:pt x="890" y="1003"/>
                  <a:pt x="890" y="1002"/>
                  <a:pt x="890" y="1002"/>
                </a:cubicBezTo>
                <a:cubicBezTo>
                  <a:pt x="889" y="1001"/>
                  <a:pt x="889" y="1001"/>
                  <a:pt x="888" y="1001"/>
                </a:cubicBezTo>
                <a:cubicBezTo>
                  <a:pt x="887" y="1001"/>
                  <a:pt x="887" y="1000"/>
                  <a:pt x="886" y="1000"/>
                </a:cubicBezTo>
                <a:cubicBezTo>
                  <a:pt x="886" y="999"/>
                  <a:pt x="886" y="998"/>
                  <a:pt x="885" y="998"/>
                </a:cubicBezTo>
                <a:close/>
                <a:moveTo>
                  <a:pt x="907" y="1022"/>
                </a:moveTo>
                <a:cubicBezTo>
                  <a:pt x="907" y="1022"/>
                  <a:pt x="907" y="1021"/>
                  <a:pt x="907" y="1021"/>
                </a:cubicBezTo>
                <a:cubicBezTo>
                  <a:pt x="907" y="1021"/>
                  <a:pt x="906" y="1021"/>
                  <a:pt x="906" y="1021"/>
                </a:cubicBezTo>
                <a:cubicBezTo>
                  <a:pt x="906" y="1021"/>
                  <a:pt x="905" y="1021"/>
                  <a:pt x="905" y="1021"/>
                </a:cubicBezTo>
                <a:cubicBezTo>
                  <a:pt x="905" y="1022"/>
                  <a:pt x="905" y="1022"/>
                  <a:pt x="906" y="1022"/>
                </a:cubicBezTo>
                <a:cubicBezTo>
                  <a:pt x="906" y="1022"/>
                  <a:pt x="907" y="1022"/>
                  <a:pt x="907" y="1022"/>
                </a:cubicBezTo>
                <a:close/>
                <a:moveTo>
                  <a:pt x="889" y="884"/>
                </a:moveTo>
                <a:cubicBezTo>
                  <a:pt x="889" y="884"/>
                  <a:pt x="891" y="882"/>
                  <a:pt x="891" y="882"/>
                </a:cubicBezTo>
                <a:cubicBezTo>
                  <a:pt x="891" y="881"/>
                  <a:pt x="890" y="882"/>
                  <a:pt x="890" y="883"/>
                </a:cubicBezTo>
                <a:cubicBezTo>
                  <a:pt x="889" y="883"/>
                  <a:pt x="889" y="883"/>
                  <a:pt x="888" y="884"/>
                </a:cubicBezTo>
                <a:cubicBezTo>
                  <a:pt x="888" y="884"/>
                  <a:pt x="887" y="885"/>
                  <a:pt x="887" y="886"/>
                </a:cubicBezTo>
                <a:cubicBezTo>
                  <a:pt x="887" y="886"/>
                  <a:pt x="889" y="884"/>
                  <a:pt x="889" y="884"/>
                </a:cubicBezTo>
                <a:close/>
                <a:moveTo>
                  <a:pt x="892" y="1020"/>
                </a:moveTo>
                <a:cubicBezTo>
                  <a:pt x="892" y="1020"/>
                  <a:pt x="892" y="1019"/>
                  <a:pt x="892" y="1020"/>
                </a:cubicBezTo>
                <a:cubicBezTo>
                  <a:pt x="892" y="1020"/>
                  <a:pt x="892" y="1021"/>
                  <a:pt x="892" y="1021"/>
                </a:cubicBezTo>
                <a:cubicBezTo>
                  <a:pt x="892" y="1021"/>
                  <a:pt x="893" y="1022"/>
                  <a:pt x="893" y="1022"/>
                </a:cubicBezTo>
                <a:cubicBezTo>
                  <a:pt x="893" y="1023"/>
                  <a:pt x="894" y="1023"/>
                  <a:pt x="894" y="1023"/>
                </a:cubicBezTo>
                <a:cubicBezTo>
                  <a:pt x="895" y="1023"/>
                  <a:pt x="895" y="1023"/>
                  <a:pt x="896" y="1024"/>
                </a:cubicBezTo>
                <a:cubicBezTo>
                  <a:pt x="896" y="1024"/>
                  <a:pt x="897" y="1025"/>
                  <a:pt x="898" y="1025"/>
                </a:cubicBezTo>
                <a:cubicBezTo>
                  <a:pt x="898" y="1025"/>
                  <a:pt x="898" y="1025"/>
                  <a:pt x="898" y="1024"/>
                </a:cubicBezTo>
                <a:cubicBezTo>
                  <a:pt x="899" y="1024"/>
                  <a:pt x="899" y="1024"/>
                  <a:pt x="899" y="1024"/>
                </a:cubicBezTo>
                <a:cubicBezTo>
                  <a:pt x="899" y="1024"/>
                  <a:pt x="899" y="1024"/>
                  <a:pt x="899" y="1024"/>
                </a:cubicBezTo>
                <a:cubicBezTo>
                  <a:pt x="899" y="1024"/>
                  <a:pt x="900" y="1023"/>
                  <a:pt x="899" y="1023"/>
                </a:cubicBezTo>
                <a:cubicBezTo>
                  <a:pt x="899" y="1023"/>
                  <a:pt x="899" y="1023"/>
                  <a:pt x="898" y="1023"/>
                </a:cubicBezTo>
                <a:cubicBezTo>
                  <a:pt x="898" y="1024"/>
                  <a:pt x="897" y="1024"/>
                  <a:pt x="897" y="1024"/>
                </a:cubicBezTo>
                <a:cubicBezTo>
                  <a:pt x="896" y="1023"/>
                  <a:pt x="896" y="1023"/>
                  <a:pt x="895" y="1022"/>
                </a:cubicBezTo>
                <a:cubicBezTo>
                  <a:pt x="894" y="1022"/>
                  <a:pt x="894" y="1022"/>
                  <a:pt x="893" y="1021"/>
                </a:cubicBezTo>
                <a:cubicBezTo>
                  <a:pt x="893" y="1021"/>
                  <a:pt x="893" y="1021"/>
                  <a:pt x="893" y="1021"/>
                </a:cubicBezTo>
                <a:cubicBezTo>
                  <a:pt x="893" y="1020"/>
                  <a:pt x="892" y="1021"/>
                  <a:pt x="892" y="1020"/>
                </a:cubicBezTo>
                <a:close/>
                <a:moveTo>
                  <a:pt x="896" y="1029"/>
                </a:moveTo>
                <a:cubicBezTo>
                  <a:pt x="897" y="1029"/>
                  <a:pt x="897" y="1028"/>
                  <a:pt x="898" y="1028"/>
                </a:cubicBezTo>
                <a:cubicBezTo>
                  <a:pt x="898" y="1028"/>
                  <a:pt x="899" y="1028"/>
                  <a:pt x="899" y="1027"/>
                </a:cubicBezTo>
                <a:cubicBezTo>
                  <a:pt x="898" y="1027"/>
                  <a:pt x="897" y="1028"/>
                  <a:pt x="896" y="1029"/>
                </a:cubicBezTo>
                <a:cubicBezTo>
                  <a:pt x="895" y="1029"/>
                  <a:pt x="895" y="1030"/>
                  <a:pt x="895" y="1031"/>
                </a:cubicBezTo>
                <a:cubicBezTo>
                  <a:pt x="894" y="1032"/>
                  <a:pt x="894" y="1034"/>
                  <a:pt x="895" y="1036"/>
                </a:cubicBezTo>
                <a:cubicBezTo>
                  <a:pt x="895" y="1036"/>
                  <a:pt x="896" y="1037"/>
                  <a:pt x="896" y="1038"/>
                </a:cubicBezTo>
                <a:cubicBezTo>
                  <a:pt x="896" y="1038"/>
                  <a:pt x="896" y="1040"/>
                  <a:pt x="897" y="1039"/>
                </a:cubicBezTo>
                <a:cubicBezTo>
                  <a:pt x="897" y="1039"/>
                  <a:pt x="896" y="1038"/>
                  <a:pt x="896" y="1038"/>
                </a:cubicBezTo>
                <a:cubicBezTo>
                  <a:pt x="896" y="1037"/>
                  <a:pt x="896" y="1037"/>
                  <a:pt x="895" y="1036"/>
                </a:cubicBezTo>
                <a:cubicBezTo>
                  <a:pt x="895" y="1036"/>
                  <a:pt x="895" y="1035"/>
                  <a:pt x="895" y="1035"/>
                </a:cubicBezTo>
                <a:cubicBezTo>
                  <a:pt x="895" y="1035"/>
                  <a:pt x="895" y="1034"/>
                  <a:pt x="895" y="1034"/>
                </a:cubicBezTo>
                <a:cubicBezTo>
                  <a:pt x="895" y="1034"/>
                  <a:pt x="895" y="1033"/>
                  <a:pt x="895" y="1033"/>
                </a:cubicBezTo>
                <a:cubicBezTo>
                  <a:pt x="895" y="1033"/>
                  <a:pt x="895" y="1033"/>
                  <a:pt x="895" y="1032"/>
                </a:cubicBezTo>
                <a:cubicBezTo>
                  <a:pt x="895" y="1032"/>
                  <a:pt x="895" y="1031"/>
                  <a:pt x="895" y="1031"/>
                </a:cubicBezTo>
                <a:cubicBezTo>
                  <a:pt x="895" y="1031"/>
                  <a:pt x="895" y="1030"/>
                  <a:pt x="895" y="1030"/>
                </a:cubicBezTo>
                <a:cubicBezTo>
                  <a:pt x="895" y="1030"/>
                  <a:pt x="896" y="1029"/>
                  <a:pt x="896" y="1029"/>
                </a:cubicBezTo>
                <a:close/>
                <a:moveTo>
                  <a:pt x="882" y="1007"/>
                </a:moveTo>
                <a:cubicBezTo>
                  <a:pt x="882" y="1007"/>
                  <a:pt x="881" y="1007"/>
                  <a:pt x="881" y="1007"/>
                </a:cubicBezTo>
                <a:cubicBezTo>
                  <a:pt x="882" y="1007"/>
                  <a:pt x="882" y="1007"/>
                  <a:pt x="883" y="1007"/>
                </a:cubicBezTo>
                <a:cubicBezTo>
                  <a:pt x="883" y="1007"/>
                  <a:pt x="884" y="1007"/>
                  <a:pt x="884" y="1006"/>
                </a:cubicBezTo>
                <a:cubicBezTo>
                  <a:pt x="884" y="1006"/>
                  <a:pt x="883" y="1006"/>
                  <a:pt x="883" y="1006"/>
                </a:cubicBezTo>
                <a:cubicBezTo>
                  <a:pt x="882" y="1006"/>
                  <a:pt x="882" y="1006"/>
                  <a:pt x="882" y="1007"/>
                </a:cubicBezTo>
                <a:close/>
                <a:moveTo>
                  <a:pt x="902" y="839"/>
                </a:moveTo>
                <a:cubicBezTo>
                  <a:pt x="902" y="839"/>
                  <a:pt x="902" y="840"/>
                  <a:pt x="902" y="841"/>
                </a:cubicBezTo>
                <a:cubicBezTo>
                  <a:pt x="901" y="842"/>
                  <a:pt x="901" y="842"/>
                  <a:pt x="901" y="843"/>
                </a:cubicBezTo>
                <a:cubicBezTo>
                  <a:pt x="901" y="843"/>
                  <a:pt x="901" y="844"/>
                  <a:pt x="901" y="844"/>
                </a:cubicBezTo>
                <a:cubicBezTo>
                  <a:pt x="901" y="843"/>
                  <a:pt x="902" y="843"/>
                  <a:pt x="902" y="843"/>
                </a:cubicBezTo>
                <a:cubicBezTo>
                  <a:pt x="902" y="842"/>
                  <a:pt x="902" y="841"/>
                  <a:pt x="902" y="840"/>
                </a:cubicBezTo>
                <a:cubicBezTo>
                  <a:pt x="903" y="840"/>
                  <a:pt x="904" y="838"/>
                  <a:pt x="904" y="838"/>
                </a:cubicBezTo>
                <a:cubicBezTo>
                  <a:pt x="903" y="838"/>
                  <a:pt x="903" y="839"/>
                  <a:pt x="902" y="839"/>
                </a:cubicBezTo>
                <a:close/>
                <a:moveTo>
                  <a:pt x="899" y="1013"/>
                </a:moveTo>
                <a:cubicBezTo>
                  <a:pt x="899" y="1013"/>
                  <a:pt x="898" y="1012"/>
                  <a:pt x="898" y="1012"/>
                </a:cubicBezTo>
                <a:cubicBezTo>
                  <a:pt x="898" y="1011"/>
                  <a:pt x="897" y="1010"/>
                  <a:pt x="897" y="1010"/>
                </a:cubicBezTo>
                <a:cubicBezTo>
                  <a:pt x="897" y="1009"/>
                  <a:pt x="896" y="1009"/>
                  <a:pt x="896" y="1009"/>
                </a:cubicBezTo>
                <a:cubicBezTo>
                  <a:pt x="895" y="1010"/>
                  <a:pt x="897" y="1010"/>
                  <a:pt x="897" y="1011"/>
                </a:cubicBezTo>
                <a:cubicBezTo>
                  <a:pt x="898" y="1011"/>
                  <a:pt x="898" y="1012"/>
                  <a:pt x="899" y="1013"/>
                </a:cubicBezTo>
                <a:cubicBezTo>
                  <a:pt x="899" y="1013"/>
                  <a:pt x="900" y="1015"/>
                  <a:pt x="900" y="1015"/>
                </a:cubicBezTo>
                <a:cubicBezTo>
                  <a:pt x="900" y="1015"/>
                  <a:pt x="899" y="1015"/>
                  <a:pt x="899" y="1016"/>
                </a:cubicBezTo>
                <a:cubicBezTo>
                  <a:pt x="899" y="1016"/>
                  <a:pt x="899" y="1016"/>
                  <a:pt x="899" y="1016"/>
                </a:cubicBezTo>
                <a:cubicBezTo>
                  <a:pt x="899" y="1016"/>
                  <a:pt x="900" y="1016"/>
                  <a:pt x="900" y="1016"/>
                </a:cubicBezTo>
                <a:cubicBezTo>
                  <a:pt x="900" y="1016"/>
                  <a:pt x="901" y="1016"/>
                  <a:pt x="901" y="1016"/>
                </a:cubicBezTo>
                <a:cubicBezTo>
                  <a:pt x="902" y="1016"/>
                  <a:pt x="901" y="1015"/>
                  <a:pt x="901" y="1015"/>
                </a:cubicBezTo>
                <a:cubicBezTo>
                  <a:pt x="900" y="1014"/>
                  <a:pt x="900" y="1014"/>
                  <a:pt x="899" y="1013"/>
                </a:cubicBezTo>
                <a:close/>
                <a:moveTo>
                  <a:pt x="882" y="1010"/>
                </a:moveTo>
                <a:cubicBezTo>
                  <a:pt x="882" y="1011"/>
                  <a:pt x="882" y="1010"/>
                  <a:pt x="883" y="1011"/>
                </a:cubicBezTo>
                <a:cubicBezTo>
                  <a:pt x="883" y="1011"/>
                  <a:pt x="883" y="1011"/>
                  <a:pt x="883" y="1011"/>
                </a:cubicBezTo>
                <a:cubicBezTo>
                  <a:pt x="883" y="1011"/>
                  <a:pt x="883" y="1011"/>
                  <a:pt x="883" y="1011"/>
                </a:cubicBezTo>
                <a:cubicBezTo>
                  <a:pt x="883" y="1011"/>
                  <a:pt x="883" y="1010"/>
                  <a:pt x="882" y="1010"/>
                </a:cubicBezTo>
                <a:cubicBezTo>
                  <a:pt x="882" y="1010"/>
                  <a:pt x="882" y="1010"/>
                  <a:pt x="882" y="1010"/>
                </a:cubicBezTo>
                <a:close/>
                <a:moveTo>
                  <a:pt x="881" y="1017"/>
                </a:moveTo>
                <a:cubicBezTo>
                  <a:pt x="882" y="1017"/>
                  <a:pt x="882" y="1016"/>
                  <a:pt x="882" y="1016"/>
                </a:cubicBezTo>
                <a:cubicBezTo>
                  <a:pt x="882" y="1016"/>
                  <a:pt x="880" y="1016"/>
                  <a:pt x="881" y="1017"/>
                </a:cubicBezTo>
                <a:close/>
                <a:moveTo>
                  <a:pt x="754" y="941"/>
                </a:moveTo>
                <a:cubicBezTo>
                  <a:pt x="754" y="941"/>
                  <a:pt x="754" y="941"/>
                  <a:pt x="754" y="941"/>
                </a:cubicBezTo>
                <a:cubicBezTo>
                  <a:pt x="753" y="941"/>
                  <a:pt x="753" y="941"/>
                  <a:pt x="753" y="941"/>
                </a:cubicBezTo>
                <a:cubicBezTo>
                  <a:pt x="752" y="941"/>
                  <a:pt x="753" y="942"/>
                  <a:pt x="754" y="941"/>
                </a:cubicBezTo>
                <a:close/>
                <a:moveTo>
                  <a:pt x="750" y="942"/>
                </a:moveTo>
                <a:cubicBezTo>
                  <a:pt x="750" y="941"/>
                  <a:pt x="749" y="941"/>
                  <a:pt x="749" y="941"/>
                </a:cubicBezTo>
                <a:cubicBezTo>
                  <a:pt x="749" y="941"/>
                  <a:pt x="748" y="941"/>
                  <a:pt x="748" y="941"/>
                </a:cubicBezTo>
                <a:cubicBezTo>
                  <a:pt x="748" y="942"/>
                  <a:pt x="750" y="942"/>
                  <a:pt x="750" y="942"/>
                </a:cubicBezTo>
                <a:close/>
                <a:moveTo>
                  <a:pt x="769" y="1059"/>
                </a:moveTo>
                <a:cubicBezTo>
                  <a:pt x="769" y="1060"/>
                  <a:pt x="768" y="1060"/>
                  <a:pt x="768" y="1061"/>
                </a:cubicBezTo>
                <a:cubicBezTo>
                  <a:pt x="768" y="1062"/>
                  <a:pt x="767" y="1063"/>
                  <a:pt x="768" y="1063"/>
                </a:cubicBezTo>
                <a:cubicBezTo>
                  <a:pt x="769" y="1063"/>
                  <a:pt x="768" y="1062"/>
                  <a:pt x="769" y="1062"/>
                </a:cubicBezTo>
                <a:cubicBezTo>
                  <a:pt x="769" y="1062"/>
                  <a:pt x="769" y="1061"/>
                  <a:pt x="769" y="1061"/>
                </a:cubicBezTo>
                <a:cubicBezTo>
                  <a:pt x="770" y="1060"/>
                  <a:pt x="770" y="1060"/>
                  <a:pt x="771" y="1059"/>
                </a:cubicBezTo>
                <a:cubicBezTo>
                  <a:pt x="771" y="1059"/>
                  <a:pt x="771" y="1059"/>
                  <a:pt x="770" y="1059"/>
                </a:cubicBezTo>
                <a:cubicBezTo>
                  <a:pt x="770" y="1058"/>
                  <a:pt x="770" y="1059"/>
                  <a:pt x="769" y="1059"/>
                </a:cubicBezTo>
                <a:close/>
                <a:moveTo>
                  <a:pt x="930" y="1038"/>
                </a:moveTo>
                <a:cubicBezTo>
                  <a:pt x="930" y="1038"/>
                  <a:pt x="930" y="1037"/>
                  <a:pt x="930" y="1037"/>
                </a:cubicBezTo>
                <a:cubicBezTo>
                  <a:pt x="929" y="1037"/>
                  <a:pt x="929" y="1036"/>
                  <a:pt x="928" y="1036"/>
                </a:cubicBezTo>
                <a:cubicBezTo>
                  <a:pt x="927" y="1036"/>
                  <a:pt x="927" y="1036"/>
                  <a:pt x="926" y="1036"/>
                </a:cubicBezTo>
                <a:cubicBezTo>
                  <a:pt x="926" y="1036"/>
                  <a:pt x="926" y="1035"/>
                  <a:pt x="925" y="1036"/>
                </a:cubicBezTo>
                <a:cubicBezTo>
                  <a:pt x="925" y="1036"/>
                  <a:pt x="925" y="1036"/>
                  <a:pt x="925" y="1036"/>
                </a:cubicBezTo>
                <a:cubicBezTo>
                  <a:pt x="925" y="1037"/>
                  <a:pt x="926" y="1037"/>
                  <a:pt x="926" y="1037"/>
                </a:cubicBezTo>
                <a:cubicBezTo>
                  <a:pt x="926" y="1037"/>
                  <a:pt x="926" y="1037"/>
                  <a:pt x="926" y="1037"/>
                </a:cubicBezTo>
                <a:cubicBezTo>
                  <a:pt x="926" y="1038"/>
                  <a:pt x="927" y="1037"/>
                  <a:pt x="927" y="1037"/>
                </a:cubicBezTo>
                <a:cubicBezTo>
                  <a:pt x="927" y="1037"/>
                  <a:pt x="928" y="1037"/>
                  <a:pt x="929" y="1037"/>
                </a:cubicBezTo>
                <a:cubicBezTo>
                  <a:pt x="929" y="1038"/>
                  <a:pt x="929" y="1038"/>
                  <a:pt x="930" y="1038"/>
                </a:cubicBezTo>
                <a:close/>
                <a:moveTo>
                  <a:pt x="781" y="1107"/>
                </a:moveTo>
                <a:cubicBezTo>
                  <a:pt x="781" y="1107"/>
                  <a:pt x="780" y="1107"/>
                  <a:pt x="780" y="1108"/>
                </a:cubicBezTo>
                <a:cubicBezTo>
                  <a:pt x="780" y="1108"/>
                  <a:pt x="780" y="1108"/>
                  <a:pt x="781" y="1107"/>
                </a:cubicBezTo>
                <a:close/>
                <a:moveTo>
                  <a:pt x="773" y="1109"/>
                </a:moveTo>
                <a:cubicBezTo>
                  <a:pt x="773" y="1109"/>
                  <a:pt x="772" y="1109"/>
                  <a:pt x="772" y="1109"/>
                </a:cubicBezTo>
                <a:cubicBezTo>
                  <a:pt x="772" y="1110"/>
                  <a:pt x="773" y="1110"/>
                  <a:pt x="773" y="1110"/>
                </a:cubicBezTo>
                <a:cubicBezTo>
                  <a:pt x="774" y="1109"/>
                  <a:pt x="775" y="1109"/>
                  <a:pt x="775" y="1109"/>
                </a:cubicBezTo>
                <a:cubicBezTo>
                  <a:pt x="776" y="1109"/>
                  <a:pt x="776" y="1108"/>
                  <a:pt x="776" y="1108"/>
                </a:cubicBezTo>
                <a:cubicBezTo>
                  <a:pt x="775" y="1108"/>
                  <a:pt x="775" y="1108"/>
                  <a:pt x="775" y="1108"/>
                </a:cubicBezTo>
                <a:cubicBezTo>
                  <a:pt x="774" y="1108"/>
                  <a:pt x="774" y="1109"/>
                  <a:pt x="773" y="1109"/>
                </a:cubicBezTo>
                <a:close/>
                <a:moveTo>
                  <a:pt x="743" y="942"/>
                </a:moveTo>
                <a:cubicBezTo>
                  <a:pt x="743" y="942"/>
                  <a:pt x="743" y="943"/>
                  <a:pt x="743" y="943"/>
                </a:cubicBezTo>
                <a:cubicBezTo>
                  <a:pt x="743" y="942"/>
                  <a:pt x="743" y="942"/>
                  <a:pt x="743" y="942"/>
                </a:cubicBezTo>
                <a:cubicBezTo>
                  <a:pt x="743" y="942"/>
                  <a:pt x="743" y="942"/>
                  <a:pt x="743" y="942"/>
                </a:cubicBezTo>
                <a:close/>
                <a:moveTo>
                  <a:pt x="712" y="949"/>
                </a:moveTo>
                <a:cubicBezTo>
                  <a:pt x="712" y="949"/>
                  <a:pt x="711" y="949"/>
                  <a:pt x="711" y="949"/>
                </a:cubicBezTo>
                <a:cubicBezTo>
                  <a:pt x="710" y="949"/>
                  <a:pt x="711" y="950"/>
                  <a:pt x="712" y="950"/>
                </a:cubicBezTo>
                <a:cubicBezTo>
                  <a:pt x="712" y="950"/>
                  <a:pt x="713" y="950"/>
                  <a:pt x="714" y="950"/>
                </a:cubicBezTo>
                <a:cubicBezTo>
                  <a:pt x="714" y="950"/>
                  <a:pt x="713" y="949"/>
                  <a:pt x="713" y="949"/>
                </a:cubicBezTo>
                <a:cubicBezTo>
                  <a:pt x="712" y="949"/>
                  <a:pt x="712" y="949"/>
                  <a:pt x="712" y="949"/>
                </a:cubicBezTo>
                <a:close/>
                <a:moveTo>
                  <a:pt x="759" y="1096"/>
                </a:moveTo>
                <a:cubicBezTo>
                  <a:pt x="758" y="1095"/>
                  <a:pt x="758" y="1096"/>
                  <a:pt x="757" y="1096"/>
                </a:cubicBezTo>
                <a:cubicBezTo>
                  <a:pt x="757" y="1097"/>
                  <a:pt x="757" y="1097"/>
                  <a:pt x="757" y="1097"/>
                </a:cubicBezTo>
                <a:cubicBezTo>
                  <a:pt x="757" y="1097"/>
                  <a:pt x="757" y="1098"/>
                  <a:pt x="757" y="1098"/>
                </a:cubicBezTo>
                <a:cubicBezTo>
                  <a:pt x="757" y="1098"/>
                  <a:pt x="758" y="1098"/>
                  <a:pt x="758" y="1098"/>
                </a:cubicBezTo>
                <a:cubicBezTo>
                  <a:pt x="758" y="1097"/>
                  <a:pt x="758" y="1097"/>
                  <a:pt x="758" y="1097"/>
                </a:cubicBezTo>
                <a:cubicBezTo>
                  <a:pt x="758" y="1097"/>
                  <a:pt x="759" y="1096"/>
                  <a:pt x="759" y="1096"/>
                </a:cubicBezTo>
                <a:close/>
                <a:moveTo>
                  <a:pt x="718" y="953"/>
                </a:moveTo>
                <a:cubicBezTo>
                  <a:pt x="718" y="952"/>
                  <a:pt x="718" y="953"/>
                  <a:pt x="718" y="953"/>
                </a:cubicBezTo>
                <a:cubicBezTo>
                  <a:pt x="718" y="953"/>
                  <a:pt x="719" y="953"/>
                  <a:pt x="719" y="953"/>
                </a:cubicBezTo>
                <a:cubicBezTo>
                  <a:pt x="719" y="953"/>
                  <a:pt x="719" y="954"/>
                  <a:pt x="719" y="954"/>
                </a:cubicBezTo>
                <a:cubicBezTo>
                  <a:pt x="719" y="954"/>
                  <a:pt x="719" y="954"/>
                  <a:pt x="719" y="954"/>
                </a:cubicBezTo>
                <a:cubicBezTo>
                  <a:pt x="720" y="954"/>
                  <a:pt x="720" y="954"/>
                  <a:pt x="720" y="954"/>
                </a:cubicBezTo>
                <a:cubicBezTo>
                  <a:pt x="720" y="954"/>
                  <a:pt x="720" y="953"/>
                  <a:pt x="720" y="953"/>
                </a:cubicBezTo>
                <a:cubicBezTo>
                  <a:pt x="720" y="953"/>
                  <a:pt x="719" y="953"/>
                  <a:pt x="719" y="953"/>
                </a:cubicBezTo>
                <a:cubicBezTo>
                  <a:pt x="719" y="953"/>
                  <a:pt x="719" y="953"/>
                  <a:pt x="718" y="953"/>
                </a:cubicBezTo>
                <a:close/>
                <a:moveTo>
                  <a:pt x="714" y="1081"/>
                </a:moveTo>
                <a:cubicBezTo>
                  <a:pt x="715" y="1081"/>
                  <a:pt x="715" y="1081"/>
                  <a:pt x="715" y="1081"/>
                </a:cubicBezTo>
                <a:cubicBezTo>
                  <a:pt x="716" y="1080"/>
                  <a:pt x="714" y="1081"/>
                  <a:pt x="714" y="1081"/>
                </a:cubicBezTo>
                <a:close/>
                <a:moveTo>
                  <a:pt x="895" y="861"/>
                </a:moveTo>
                <a:cubicBezTo>
                  <a:pt x="895" y="861"/>
                  <a:pt x="895" y="861"/>
                  <a:pt x="895" y="861"/>
                </a:cubicBezTo>
                <a:cubicBezTo>
                  <a:pt x="894" y="861"/>
                  <a:pt x="895" y="861"/>
                  <a:pt x="895" y="861"/>
                </a:cubicBezTo>
                <a:cubicBezTo>
                  <a:pt x="895" y="862"/>
                  <a:pt x="895" y="863"/>
                  <a:pt x="895" y="862"/>
                </a:cubicBezTo>
                <a:cubicBezTo>
                  <a:pt x="895" y="862"/>
                  <a:pt x="895" y="861"/>
                  <a:pt x="895" y="861"/>
                </a:cubicBezTo>
                <a:close/>
                <a:moveTo>
                  <a:pt x="913" y="1032"/>
                </a:moveTo>
                <a:cubicBezTo>
                  <a:pt x="913" y="1031"/>
                  <a:pt x="912" y="1030"/>
                  <a:pt x="912" y="1031"/>
                </a:cubicBezTo>
                <a:cubicBezTo>
                  <a:pt x="912" y="1031"/>
                  <a:pt x="912" y="1032"/>
                  <a:pt x="912" y="1033"/>
                </a:cubicBezTo>
                <a:cubicBezTo>
                  <a:pt x="913" y="1033"/>
                  <a:pt x="914" y="1033"/>
                  <a:pt x="915" y="1033"/>
                </a:cubicBezTo>
                <a:cubicBezTo>
                  <a:pt x="916" y="1033"/>
                  <a:pt x="916" y="1033"/>
                  <a:pt x="916" y="1033"/>
                </a:cubicBezTo>
                <a:cubicBezTo>
                  <a:pt x="916" y="1033"/>
                  <a:pt x="915" y="1033"/>
                  <a:pt x="915" y="1034"/>
                </a:cubicBezTo>
                <a:cubicBezTo>
                  <a:pt x="915" y="1034"/>
                  <a:pt x="916" y="1034"/>
                  <a:pt x="916" y="1034"/>
                </a:cubicBezTo>
                <a:cubicBezTo>
                  <a:pt x="916" y="1034"/>
                  <a:pt x="916" y="1034"/>
                  <a:pt x="917" y="1034"/>
                </a:cubicBezTo>
                <a:cubicBezTo>
                  <a:pt x="917" y="1035"/>
                  <a:pt x="917" y="1035"/>
                  <a:pt x="917" y="1035"/>
                </a:cubicBezTo>
                <a:cubicBezTo>
                  <a:pt x="917" y="1035"/>
                  <a:pt x="917" y="1035"/>
                  <a:pt x="917" y="1035"/>
                </a:cubicBezTo>
                <a:cubicBezTo>
                  <a:pt x="917" y="1036"/>
                  <a:pt x="916" y="1036"/>
                  <a:pt x="916" y="1036"/>
                </a:cubicBezTo>
                <a:cubicBezTo>
                  <a:pt x="915" y="1036"/>
                  <a:pt x="915" y="1036"/>
                  <a:pt x="915" y="1037"/>
                </a:cubicBezTo>
                <a:cubicBezTo>
                  <a:pt x="914" y="1037"/>
                  <a:pt x="914" y="1037"/>
                  <a:pt x="914" y="1038"/>
                </a:cubicBezTo>
                <a:cubicBezTo>
                  <a:pt x="914" y="1038"/>
                  <a:pt x="913" y="1038"/>
                  <a:pt x="913" y="1038"/>
                </a:cubicBezTo>
                <a:cubicBezTo>
                  <a:pt x="913" y="1039"/>
                  <a:pt x="912" y="1038"/>
                  <a:pt x="912" y="1039"/>
                </a:cubicBezTo>
                <a:cubicBezTo>
                  <a:pt x="912" y="1039"/>
                  <a:pt x="912" y="1039"/>
                  <a:pt x="913" y="1039"/>
                </a:cubicBezTo>
                <a:cubicBezTo>
                  <a:pt x="913" y="1039"/>
                  <a:pt x="914" y="1038"/>
                  <a:pt x="914" y="1038"/>
                </a:cubicBezTo>
                <a:cubicBezTo>
                  <a:pt x="915" y="1038"/>
                  <a:pt x="915" y="1038"/>
                  <a:pt x="915" y="1038"/>
                </a:cubicBezTo>
                <a:cubicBezTo>
                  <a:pt x="916" y="1037"/>
                  <a:pt x="916" y="1038"/>
                  <a:pt x="916" y="1037"/>
                </a:cubicBezTo>
                <a:cubicBezTo>
                  <a:pt x="916" y="1036"/>
                  <a:pt x="917" y="1036"/>
                  <a:pt x="917" y="1036"/>
                </a:cubicBezTo>
                <a:cubicBezTo>
                  <a:pt x="918" y="1035"/>
                  <a:pt x="918" y="1034"/>
                  <a:pt x="918" y="1034"/>
                </a:cubicBezTo>
                <a:cubicBezTo>
                  <a:pt x="917" y="1033"/>
                  <a:pt x="917" y="1033"/>
                  <a:pt x="917" y="1033"/>
                </a:cubicBezTo>
                <a:cubicBezTo>
                  <a:pt x="918" y="1033"/>
                  <a:pt x="918" y="1033"/>
                  <a:pt x="918" y="1032"/>
                </a:cubicBezTo>
                <a:cubicBezTo>
                  <a:pt x="918" y="1032"/>
                  <a:pt x="917" y="1032"/>
                  <a:pt x="917" y="1032"/>
                </a:cubicBezTo>
                <a:cubicBezTo>
                  <a:pt x="916" y="1032"/>
                  <a:pt x="915" y="1032"/>
                  <a:pt x="915" y="1032"/>
                </a:cubicBezTo>
                <a:cubicBezTo>
                  <a:pt x="914" y="1033"/>
                  <a:pt x="914" y="1032"/>
                  <a:pt x="913" y="1032"/>
                </a:cubicBezTo>
                <a:close/>
                <a:moveTo>
                  <a:pt x="982" y="755"/>
                </a:moveTo>
                <a:cubicBezTo>
                  <a:pt x="982" y="754"/>
                  <a:pt x="981" y="754"/>
                  <a:pt x="981" y="754"/>
                </a:cubicBezTo>
                <a:cubicBezTo>
                  <a:pt x="981" y="754"/>
                  <a:pt x="981" y="754"/>
                  <a:pt x="980" y="754"/>
                </a:cubicBezTo>
                <a:cubicBezTo>
                  <a:pt x="980" y="755"/>
                  <a:pt x="980" y="755"/>
                  <a:pt x="980" y="755"/>
                </a:cubicBezTo>
                <a:cubicBezTo>
                  <a:pt x="980" y="755"/>
                  <a:pt x="979" y="756"/>
                  <a:pt x="979" y="756"/>
                </a:cubicBezTo>
                <a:cubicBezTo>
                  <a:pt x="980" y="757"/>
                  <a:pt x="980" y="756"/>
                  <a:pt x="980" y="756"/>
                </a:cubicBezTo>
                <a:cubicBezTo>
                  <a:pt x="981" y="756"/>
                  <a:pt x="981" y="756"/>
                  <a:pt x="981" y="756"/>
                </a:cubicBezTo>
                <a:cubicBezTo>
                  <a:pt x="982" y="756"/>
                  <a:pt x="982" y="756"/>
                  <a:pt x="982" y="755"/>
                </a:cubicBezTo>
                <a:cubicBezTo>
                  <a:pt x="982" y="755"/>
                  <a:pt x="982" y="755"/>
                  <a:pt x="982" y="755"/>
                </a:cubicBezTo>
                <a:close/>
                <a:moveTo>
                  <a:pt x="929" y="1065"/>
                </a:moveTo>
                <a:cubicBezTo>
                  <a:pt x="930" y="1065"/>
                  <a:pt x="930" y="1065"/>
                  <a:pt x="930" y="1065"/>
                </a:cubicBezTo>
                <a:cubicBezTo>
                  <a:pt x="930" y="1065"/>
                  <a:pt x="931" y="1065"/>
                  <a:pt x="931" y="1065"/>
                </a:cubicBezTo>
                <a:cubicBezTo>
                  <a:pt x="931" y="1065"/>
                  <a:pt x="932" y="1066"/>
                  <a:pt x="932" y="1066"/>
                </a:cubicBezTo>
                <a:cubicBezTo>
                  <a:pt x="932" y="1065"/>
                  <a:pt x="932" y="1065"/>
                  <a:pt x="932" y="1065"/>
                </a:cubicBezTo>
                <a:cubicBezTo>
                  <a:pt x="932" y="1065"/>
                  <a:pt x="932" y="1065"/>
                  <a:pt x="932" y="1065"/>
                </a:cubicBezTo>
                <a:cubicBezTo>
                  <a:pt x="931" y="1065"/>
                  <a:pt x="931" y="1065"/>
                  <a:pt x="930" y="1064"/>
                </a:cubicBezTo>
                <a:cubicBezTo>
                  <a:pt x="930" y="1064"/>
                  <a:pt x="930" y="1064"/>
                  <a:pt x="930" y="1064"/>
                </a:cubicBezTo>
                <a:cubicBezTo>
                  <a:pt x="929" y="1064"/>
                  <a:pt x="928" y="1065"/>
                  <a:pt x="929" y="1065"/>
                </a:cubicBezTo>
                <a:cubicBezTo>
                  <a:pt x="929" y="1065"/>
                  <a:pt x="929" y="1065"/>
                  <a:pt x="929" y="1065"/>
                </a:cubicBezTo>
                <a:close/>
                <a:moveTo>
                  <a:pt x="912" y="1036"/>
                </a:moveTo>
                <a:cubicBezTo>
                  <a:pt x="913" y="1036"/>
                  <a:pt x="912" y="1035"/>
                  <a:pt x="912" y="1035"/>
                </a:cubicBezTo>
                <a:cubicBezTo>
                  <a:pt x="912" y="1034"/>
                  <a:pt x="912" y="1034"/>
                  <a:pt x="912" y="1033"/>
                </a:cubicBezTo>
                <a:cubicBezTo>
                  <a:pt x="912" y="1033"/>
                  <a:pt x="912" y="1033"/>
                  <a:pt x="912" y="1033"/>
                </a:cubicBezTo>
                <a:cubicBezTo>
                  <a:pt x="912" y="1034"/>
                  <a:pt x="912" y="1034"/>
                  <a:pt x="912" y="1035"/>
                </a:cubicBezTo>
                <a:cubicBezTo>
                  <a:pt x="912" y="1035"/>
                  <a:pt x="912" y="1036"/>
                  <a:pt x="912" y="1036"/>
                </a:cubicBezTo>
                <a:close/>
                <a:moveTo>
                  <a:pt x="918" y="1028"/>
                </a:moveTo>
                <a:cubicBezTo>
                  <a:pt x="918" y="1029"/>
                  <a:pt x="919" y="1028"/>
                  <a:pt x="919" y="1028"/>
                </a:cubicBezTo>
                <a:cubicBezTo>
                  <a:pt x="919" y="1027"/>
                  <a:pt x="917" y="1028"/>
                  <a:pt x="918" y="1028"/>
                </a:cubicBezTo>
                <a:close/>
                <a:moveTo>
                  <a:pt x="912" y="1033"/>
                </a:moveTo>
                <a:cubicBezTo>
                  <a:pt x="912" y="1033"/>
                  <a:pt x="912" y="1033"/>
                  <a:pt x="912" y="1033"/>
                </a:cubicBezTo>
                <a:cubicBezTo>
                  <a:pt x="912" y="1033"/>
                  <a:pt x="912" y="1033"/>
                  <a:pt x="912" y="1033"/>
                </a:cubicBezTo>
                <a:close/>
                <a:moveTo>
                  <a:pt x="961" y="798"/>
                </a:moveTo>
                <a:cubicBezTo>
                  <a:pt x="961" y="799"/>
                  <a:pt x="961" y="798"/>
                  <a:pt x="961" y="798"/>
                </a:cubicBezTo>
                <a:cubicBezTo>
                  <a:pt x="961" y="798"/>
                  <a:pt x="961" y="798"/>
                  <a:pt x="961" y="798"/>
                </a:cubicBezTo>
                <a:cubicBezTo>
                  <a:pt x="962" y="797"/>
                  <a:pt x="962" y="797"/>
                  <a:pt x="962" y="797"/>
                </a:cubicBezTo>
                <a:cubicBezTo>
                  <a:pt x="962" y="797"/>
                  <a:pt x="961" y="797"/>
                  <a:pt x="961" y="797"/>
                </a:cubicBezTo>
                <a:cubicBezTo>
                  <a:pt x="961" y="797"/>
                  <a:pt x="959" y="797"/>
                  <a:pt x="959" y="798"/>
                </a:cubicBezTo>
                <a:cubicBezTo>
                  <a:pt x="959" y="798"/>
                  <a:pt x="961" y="798"/>
                  <a:pt x="961" y="798"/>
                </a:cubicBezTo>
                <a:close/>
                <a:moveTo>
                  <a:pt x="981" y="1158"/>
                </a:moveTo>
                <a:cubicBezTo>
                  <a:pt x="982" y="1159"/>
                  <a:pt x="982" y="1159"/>
                  <a:pt x="982" y="1158"/>
                </a:cubicBezTo>
                <a:cubicBezTo>
                  <a:pt x="982" y="1157"/>
                  <a:pt x="982" y="1157"/>
                  <a:pt x="981" y="1157"/>
                </a:cubicBezTo>
                <a:cubicBezTo>
                  <a:pt x="981" y="1156"/>
                  <a:pt x="981" y="1156"/>
                  <a:pt x="980" y="1156"/>
                </a:cubicBezTo>
                <a:cubicBezTo>
                  <a:pt x="980" y="1156"/>
                  <a:pt x="980" y="1156"/>
                  <a:pt x="980" y="1157"/>
                </a:cubicBezTo>
                <a:cubicBezTo>
                  <a:pt x="981" y="1157"/>
                  <a:pt x="981" y="1158"/>
                  <a:pt x="981" y="1158"/>
                </a:cubicBezTo>
                <a:close/>
                <a:moveTo>
                  <a:pt x="948" y="1048"/>
                </a:moveTo>
                <a:cubicBezTo>
                  <a:pt x="948" y="1048"/>
                  <a:pt x="948" y="1047"/>
                  <a:pt x="948" y="1047"/>
                </a:cubicBezTo>
                <a:cubicBezTo>
                  <a:pt x="947" y="1047"/>
                  <a:pt x="947" y="1048"/>
                  <a:pt x="947" y="1049"/>
                </a:cubicBezTo>
                <a:cubicBezTo>
                  <a:pt x="947" y="1049"/>
                  <a:pt x="947" y="1050"/>
                  <a:pt x="947" y="1049"/>
                </a:cubicBezTo>
                <a:cubicBezTo>
                  <a:pt x="948" y="1049"/>
                  <a:pt x="948" y="1049"/>
                  <a:pt x="948" y="1048"/>
                </a:cubicBezTo>
                <a:close/>
                <a:moveTo>
                  <a:pt x="954" y="797"/>
                </a:moveTo>
                <a:cubicBezTo>
                  <a:pt x="954" y="797"/>
                  <a:pt x="954" y="797"/>
                  <a:pt x="954" y="797"/>
                </a:cubicBezTo>
                <a:cubicBezTo>
                  <a:pt x="955" y="797"/>
                  <a:pt x="955" y="796"/>
                  <a:pt x="955" y="796"/>
                </a:cubicBezTo>
                <a:cubicBezTo>
                  <a:pt x="955" y="796"/>
                  <a:pt x="955" y="795"/>
                  <a:pt x="955" y="795"/>
                </a:cubicBezTo>
                <a:cubicBezTo>
                  <a:pt x="954" y="795"/>
                  <a:pt x="954" y="796"/>
                  <a:pt x="954" y="796"/>
                </a:cubicBezTo>
                <a:cubicBezTo>
                  <a:pt x="953" y="796"/>
                  <a:pt x="953" y="796"/>
                  <a:pt x="953" y="797"/>
                </a:cubicBezTo>
                <a:cubicBezTo>
                  <a:pt x="953" y="797"/>
                  <a:pt x="953" y="797"/>
                  <a:pt x="954" y="797"/>
                </a:cubicBezTo>
                <a:close/>
                <a:moveTo>
                  <a:pt x="928" y="1081"/>
                </a:moveTo>
                <a:cubicBezTo>
                  <a:pt x="928" y="1081"/>
                  <a:pt x="929" y="1081"/>
                  <a:pt x="930" y="1081"/>
                </a:cubicBezTo>
                <a:cubicBezTo>
                  <a:pt x="930" y="1081"/>
                  <a:pt x="930" y="1081"/>
                  <a:pt x="931" y="1081"/>
                </a:cubicBezTo>
                <a:cubicBezTo>
                  <a:pt x="931" y="1081"/>
                  <a:pt x="931" y="1081"/>
                  <a:pt x="931" y="1081"/>
                </a:cubicBezTo>
                <a:cubicBezTo>
                  <a:pt x="931" y="1080"/>
                  <a:pt x="931" y="1080"/>
                  <a:pt x="930" y="1080"/>
                </a:cubicBezTo>
                <a:cubicBezTo>
                  <a:pt x="930" y="1079"/>
                  <a:pt x="930" y="1079"/>
                  <a:pt x="929" y="1079"/>
                </a:cubicBezTo>
                <a:cubicBezTo>
                  <a:pt x="929" y="1079"/>
                  <a:pt x="929" y="1079"/>
                  <a:pt x="928" y="1079"/>
                </a:cubicBezTo>
                <a:cubicBezTo>
                  <a:pt x="928" y="1079"/>
                  <a:pt x="928" y="1079"/>
                  <a:pt x="928" y="1079"/>
                </a:cubicBezTo>
                <a:cubicBezTo>
                  <a:pt x="927" y="1079"/>
                  <a:pt x="927" y="1079"/>
                  <a:pt x="926" y="1078"/>
                </a:cubicBezTo>
                <a:cubicBezTo>
                  <a:pt x="926" y="1078"/>
                  <a:pt x="926" y="1078"/>
                  <a:pt x="925" y="1078"/>
                </a:cubicBezTo>
                <a:cubicBezTo>
                  <a:pt x="925" y="1078"/>
                  <a:pt x="925" y="1079"/>
                  <a:pt x="925" y="1079"/>
                </a:cubicBezTo>
                <a:cubicBezTo>
                  <a:pt x="926" y="1080"/>
                  <a:pt x="926" y="1080"/>
                  <a:pt x="927" y="1080"/>
                </a:cubicBezTo>
                <a:cubicBezTo>
                  <a:pt x="927" y="1080"/>
                  <a:pt x="927" y="1080"/>
                  <a:pt x="928" y="1081"/>
                </a:cubicBezTo>
                <a:close/>
                <a:moveTo>
                  <a:pt x="3161" y="1131"/>
                </a:moveTo>
                <a:cubicBezTo>
                  <a:pt x="3161" y="1131"/>
                  <a:pt x="3162" y="1131"/>
                  <a:pt x="3162" y="1131"/>
                </a:cubicBezTo>
                <a:cubicBezTo>
                  <a:pt x="3162" y="1132"/>
                  <a:pt x="3162" y="1131"/>
                  <a:pt x="3162" y="1131"/>
                </a:cubicBezTo>
                <a:cubicBezTo>
                  <a:pt x="3162" y="1131"/>
                  <a:pt x="3162" y="1131"/>
                  <a:pt x="3162" y="1131"/>
                </a:cubicBezTo>
                <a:cubicBezTo>
                  <a:pt x="3162" y="1131"/>
                  <a:pt x="3162" y="1131"/>
                  <a:pt x="3162" y="1131"/>
                </a:cubicBezTo>
                <a:cubicBezTo>
                  <a:pt x="3162" y="1130"/>
                  <a:pt x="3161" y="1131"/>
                  <a:pt x="3161" y="1131"/>
                </a:cubicBezTo>
                <a:close/>
                <a:moveTo>
                  <a:pt x="3183" y="1164"/>
                </a:moveTo>
                <a:cubicBezTo>
                  <a:pt x="3183" y="1165"/>
                  <a:pt x="3183" y="1164"/>
                  <a:pt x="3183" y="1164"/>
                </a:cubicBezTo>
                <a:cubicBezTo>
                  <a:pt x="3183" y="1163"/>
                  <a:pt x="3183" y="1163"/>
                  <a:pt x="3183" y="1163"/>
                </a:cubicBezTo>
                <a:cubicBezTo>
                  <a:pt x="3183" y="1163"/>
                  <a:pt x="3182" y="1162"/>
                  <a:pt x="3182" y="1162"/>
                </a:cubicBezTo>
                <a:cubicBezTo>
                  <a:pt x="3182" y="1162"/>
                  <a:pt x="3182" y="1163"/>
                  <a:pt x="3182" y="1163"/>
                </a:cubicBezTo>
                <a:cubicBezTo>
                  <a:pt x="3182" y="1163"/>
                  <a:pt x="3182" y="1163"/>
                  <a:pt x="3182" y="1163"/>
                </a:cubicBezTo>
                <a:cubicBezTo>
                  <a:pt x="3183" y="1163"/>
                  <a:pt x="3182" y="1164"/>
                  <a:pt x="3182" y="1164"/>
                </a:cubicBezTo>
                <a:cubicBezTo>
                  <a:pt x="3183" y="1164"/>
                  <a:pt x="3183" y="1164"/>
                  <a:pt x="3183" y="1164"/>
                </a:cubicBezTo>
                <a:close/>
                <a:moveTo>
                  <a:pt x="3187" y="1180"/>
                </a:moveTo>
                <a:cubicBezTo>
                  <a:pt x="3187" y="1180"/>
                  <a:pt x="3187" y="1180"/>
                  <a:pt x="3187" y="1181"/>
                </a:cubicBezTo>
                <a:cubicBezTo>
                  <a:pt x="3187" y="1181"/>
                  <a:pt x="3187" y="1181"/>
                  <a:pt x="3187" y="1181"/>
                </a:cubicBezTo>
                <a:cubicBezTo>
                  <a:pt x="3188" y="1182"/>
                  <a:pt x="3188" y="1182"/>
                  <a:pt x="3188" y="1183"/>
                </a:cubicBezTo>
                <a:cubicBezTo>
                  <a:pt x="3188" y="1183"/>
                  <a:pt x="3189" y="1183"/>
                  <a:pt x="3189" y="1183"/>
                </a:cubicBezTo>
                <a:cubicBezTo>
                  <a:pt x="3189" y="1183"/>
                  <a:pt x="3188" y="1183"/>
                  <a:pt x="3188" y="1182"/>
                </a:cubicBezTo>
                <a:cubicBezTo>
                  <a:pt x="3188" y="1182"/>
                  <a:pt x="3188" y="1181"/>
                  <a:pt x="3187" y="1180"/>
                </a:cubicBezTo>
                <a:close/>
                <a:moveTo>
                  <a:pt x="3179" y="1174"/>
                </a:moveTo>
                <a:cubicBezTo>
                  <a:pt x="3179" y="1174"/>
                  <a:pt x="3178" y="1174"/>
                  <a:pt x="3178" y="1174"/>
                </a:cubicBezTo>
                <a:cubicBezTo>
                  <a:pt x="3178" y="1175"/>
                  <a:pt x="3179" y="1175"/>
                  <a:pt x="3179" y="1175"/>
                </a:cubicBezTo>
                <a:cubicBezTo>
                  <a:pt x="3179" y="1175"/>
                  <a:pt x="3180" y="1174"/>
                  <a:pt x="3180" y="1174"/>
                </a:cubicBezTo>
                <a:cubicBezTo>
                  <a:pt x="3179" y="1174"/>
                  <a:pt x="3179" y="1174"/>
                  <a:pt x="3179" y="1174"/>
                </a:cubicBezTo>
                <a:close/>
                <a:moveTo>
                  <a:pt x="3182" y="1191"/>
                </a:moveTo>
                <a:cubicBezTo>
                  <a:pt x="3181" y="1191"/>
                  <a:pt x="3181" y="1191"/>
                  <a:pt x="3181" y="1192"/>
                </a:cubicBezTo>
                <a:cubicBezTo>
                  <a:pt x="3182" y="1192"/>
                  <a:pt x="3182" y="1192"/>
                  <a:pt x="3182" y="1192"/>
                </a:cubicBezTo>
                <a:cubicBezTo>
                  <a:pt x="3182" y="1192"/>
                  <a:pt x="3183" y="1193"/>
                  <a:pt x="3183" y="1193"/>
                </a:cubicBezTo>
                <a:cubicBezTo>
                  <a:pt x="3183" y="1192"/>
                  <a:pt x="3183" y="1192"/>
                  <a:pt x="3183" y="1191"/>
                </a:cubicBezTo>
                <a:cubicBezTo>
                  <a:pt x="3183" y="1191"/>
                  <a:pt x="3183" y="1191"/>
                  <a:pt x="3182" y="1191"/>
                </a:cubicBezTo>
                <a:cubicBezTo>
                  <a:pt x="3182" y="1191"/>
                  <a:pt x="3182" y="1191"/>
                  <a:pt x="3182" y="1191"/>
                </a:cubicBezTo>
                <a:close/>
                <a:moveTo>
                  <a:pt x="3179" y="1165"/>
                </a:moveTo>
                <a:cubicBezTo>
                  <a:pt x="3179" y="1165"/>
                  <a:pt x="3180" y="1165"/>
                  <a:pt x="3180" y="1165"/>
                </a:cubicBezTo>
                <a:cubicBezTo>
                  <a:pt x="3180" y="1165"/>
                  <a:pt x="3181" y="1165"/>
                  <a:pt x="3181" y="1164"/>
                </a:cubicBezTo>
                <a:cubicBezTo>
                  <a:pt x="3181" y="1164"/>
                  <a:pt x="3180" y="1164"/>
                  <a:pt x="3180" y="1163"/>
                </a:cubicBezTo>
                <a:cubicBezTo>
                  <a:pt x="3180" y="1163"/>
                  <a:pt x="3180" y="1163"/>
                  <a:pt x="3179" y="1163"/>
                </a:cubicBezTo>
                <a:cubicBezTo>
                  <a:pt x="3179" y="1162"/>
                  <a:pt x="3178" y="1162"/>
                  <a:pt x="3178" y="1163"/>
                </a:cubicBezTo>
                <a:cubicBezTo>
                  <a:pt x="3178" y="1163"/>
                  <a:pt x="3178" y="1163"/>
                  <a:pt x="3178" y="1164"/>
                </a:cubicBezTo>
                <a:cubicBezTo>
                  <a:pt x="3178" y="1164"/>
                  <a:pt x="3179" y="1164"/>
                  <a:pt x="3179" y="1165"/>
                </a:cubicBezTo>
                <a:close/>
                <a:moveTo>
                  <a:pt x="3177" y="1164"/>
                </a:moveTo>
                <a:cubicBezTo>
                  <a:pt x="3177" y="1165"/>
                  <a:pt x="3177" y="1165"/>
                  <a:pt x="3177" y="1165"/>
                </a:cubicBezTo>
                <a:cubicBezTo>
                  <a:pt x="3178" y="1166"/>
                  <a:pt x="3178" y="1166"/>
                  <a:pt x="3178" y="1166"/>
                </a:cubicBezTo>
                <a:cubicBezTo>
                  <a:pt x="3178" y="1167"/>
                  <a:pt x="3178" y="1167"/>
                  <a:pt x="3178" y="1167"/>
                </a:cubicBezTo>
                <a:cubicBezTo>
                  <a:pt x="3178" y="1168"/>
                  <a:pt x="3178" y="1168"/>
                  <a:pt x="3178" y="1168"/>
                </a:cubicBezTo>
                <a:cubicBezTo>
                  <a:pt x="3178" y="1169"/>
                  <a:pt x="3178" y="1169"/>
                  <a:pt x="3178" y="1169"/>
                </a:cubicBezTo>
                <a:cubicBezTo>
                  <a:pt x="3178" y="1170"/>
                  <a:pt x="3178" y="1170"/>
                  <a:pt x="3178" y="1170"/>
                </a:cubicBezTo>
                <a:cubicBezTo>
                  <a:pt x="3178" y="1171"/>
                  <a:pt x="3178" y="1171"/>
                  <a:pt x="3179" y="1171"/>
                </a:cubicBezTo>
                <a:cubicBezTo>
                  <a:pt x="3179" y="1171"/>
                  <a:pt x="3179" y="1172"/>
                  <a:pt x="3179" y="1172"/>
                </a:cubicBezTo>
                <a:cubicBezTo>
                  <a:pt x="3180" y="1172"/>
                  <a:pt x="3180" y="1171"/>
                  <a:pt x="3180" y="1171"/>
                </a:cubicBezTo>
                <a:cubicBezTo>
                  <a:pt x="3180" y="1170"/>
                  <a:pt x="3181" y="1170"/>
                  <a:pt x="3181" y="1171"/>
                </a:cubicBezTo>
                <a:cubicBezTo>
                  <a:pt x="3182" y="1172"/>
                  <a:pt x="3182" y="1172"/>
                  <a:pt x="3183" y="1173"/>
                </a:cubicBezTo>
                <a:cubicBezTo>
                  <a:pt x="3183" y="1174"/>
                  <a:pt x="3183" y="1175"/>
                  <a:pt x="3182" y="1175"/>
                </a:cubicBezTo>
                <a:cubicBezTo>
                  <a:pt x="3182" y="1176"/>
                  <a:pt x="3182" y="1177"/>
                  <a:pt x="3182" y="1177"/>
                </a:cubicBezTo>
                <a:cubicBezTo>
                  <a:pt x="3182" y="1178"/>
                  <a:pt x="3183" y="1178"/>
                  <a:pt x="3183" y="1179"/>
                </a:cubicBezTo>
                <a:cubicBezTo>
                  <a:pt x="3183" y="1179"/>
                  <a:pt x="3182" y="1179"/>
                  <a:pt x="3183" y="1180"/>
                </a:cubicBezTo>
                <a:cubicBezTo>
                  <a:pt x="3183" y="1180"/>
                  <a:pt x="3183" y="1180"/>
                  <a:pt x="3183" y="1180"/>
                </a:cubicBezTo>
                <a:cubicBezTo>
                  <a:pt x="3184" y="1180"/>
                  <a:pt x="3184" y="1180"/>
                  <a:pt x="3184" y="1181"/>
                </a:cubicBezTo>
                <a:cubicBezTo>
                  <a:pt x="3184" y="1181"/>
                  <a:pt x="3185" y="1181"/>
                  <a:pt x="3185" y="1181"/>
                </a:cubicBezTo>
                <a:cubicBezTo>
                  <a:pt x="3185" y="1181"/>
                  <a:pt x="3185" y="1182"/>
                  <a:pt x="3185" y="1182"/>
                </a:cubicBezTo>
                <a:cubicBezTo>
                  <a:pt x="3185" y="1181"/>
                  <a:pt x="3186" y="1181"/>
                  <a:pt x="3185" y="1181"/>
                </a:cubicBezTo>
                <a:cubicBezTo>
                  <a:pt x="3185" y="1180"/>
                  <a:pt x="3185" y="1180"/>
                  <a:pt x="3185" y="1180"/>
                </a:cubicBezTo>
                <a:cubicBezTo>
                  <a:pt x="3185" y="1179"/>
                  <a:pt x="3185" y="1179"/>
                  <a:pt x="3185" y="1178"/>
                </a:cubicBezTo>
                <a:cubicBezTo>
                  <a:pt x="3185" y="1178"/>
                  <a:pt x="3185" y="1178"/>
                  <a:pt x="3185" y="1177"/>
                </a:cubicBezTo>
                <a:cubicBezTo>
                  <a:pt x="3185" y="1177"/>
                  <a:pt x="3186" y="1178"/>
                  <a:pt x="3186" y="1178"/>
                </a:cubicBezTo>
                <a:cubicBezTo>
                  <a:pt x="3186" y="1178"/>
                  <a:pt x="3186" y="1179"/>
                  <a:pt x="3186" y="1180"/>
                </a:cubicBezTo>
                <a:cubicBezTo>
                  <a:pt x="3187" y="1180"/>
                  <a:pt x="3187" y="1180"/>
                  <a:pt x="3187" y="1179"/>
                </a:cubicBezTo>
                <a:cubicBezTo>
                  <a:pt x="3187" y="1179"/>
                  <a:pt x="3187" y="1179"/>
                  <a:pt x="3187" y="1179"/>
                </a:cubicBezTo>
                <a:cubicBezTo>
                  <a:pt x="3187" y="1179"/>
                  <a:pt x="3188" y="1180"/>
                  <a:pt x="3188" y="1179"/>
                </a:cubicBezTo>
                <a:cubicBezTo>
                  <a:pt x="3188" y="1178"/>
                  <a:pt x="3188" y="1178"/>
                  <a:pt x="3188" y="1177"/>
                </a:cubicBezTo>
                <a:cubicBezTo>
                  <a:pt x="3187" y="1177"/>
                  <a:pt x="3187" y="1176"/>
                  <a:pt x="3187" y="1176"/>
                </a:cubicBezTo>
                <a:cubicBezTo>
                  <a:pt x="3187" y="1175"/>
                  <a:pt x="3187" y="1175"/>
                  <a:pt x="3187" y="1175"/>
                </a:cubicBezTo>
                <a:cubicBezTo>
                  <a:pt x="3187" y="1174"/>
                  <a:pt x="3187" y="1174"/>
                  <a:pt x="3186" y="1174"/>
                </a:cubicBezTo>
                <a:cubicBezTo>
                  <a:pt x="3186" y="1173"/>
                  <a:pt x="3185" y="1174"/>
                  <a:pt x="3185" y="1173"/>
                </a:cubicBezTo>
                <a:cubicBezTo>
                  <a:pt x="3185" y="1173"/>
                  <a:pt x="3185" y="1172"/>
                  <a:pt x="3185" y="1172"/>
                </a:cubicBezTo>
                <a:cubicBezTo>
                  <a:pt x="3185" y="1171"/>
                  <a:pt x="3186" y="1171"/>
                  <a:pt x="3186" y="1171"/>
                </a:cubicBezTo>
                <a:cubicBezTo>
                  <a:pt x="3186" y="1171"/>
                  <a:pt x="3185" y="1170"/>
                  <a:pt x="3185" y="1170"/>
                </a:cubicBezTo>
                <a:cubicBezTo>
                  <a:pt x="3185" y="1170"/>
                  <a:pt x="3185" y="1170"/>
                  <a:pt x="3185" y="1170"/>
                </a:cubicBezTo>
                <a:cubicBezTo>
                  <a:pt x="3185" y="1169"/>
                  <a:pt x="3185" y="1169"/>
                  <a:pt x="3185" y="1169"/>
                </a:cubicBezTo>
                <a:cubicBezTo>
                  <a:pt x="3185" y="1168"/>
                  <a:pt x="3186" y="1168"/>
                  <a:pt x="3185" y="1168"/>
                </a:cubicBezTo>
                <a:cubicBezTo>
                  <a:pt x="3185" y="1168"/>
                  <a:pt x="3185" y="1167"/>
                  <a:pt x="3185" y="1167"/>
                </a:cubicBezTo>
                <a:cubicBezTo>
                  <a:pt x="3184" y="1167"/>
                  <a:pt x="3185" y="1166"/>
                  <a:pt x="3185" y="1166"/>
                </a:cubicBezTo>
                <a:cubicBezTo>
                  <a:pt x="3185" y="1166"/>
                  <a:pt x="3184" y="1166"/>
                  <a:pt x="3184" y="1165"/>
                </a:cubicBezTo>
                <a:cubicBezTo>
                  <a:pt x="3184" y="1165"/>
                  <a:pt x="3184" y="1165"/>
                  <a:pt x="3184" y="1166"/>
                </a:cubicBezTo>
                <a:cubicBezTo>
                  <a:pt x="3183" y="1166"/>
                  <a:pt x="3183" y="1166"/>
                  <a:pt x="3183" y="1166"/>
                </a:cubicBezTo>
                <a:cubicBezTo>
                  <a:pt x="3182" y="1167"/>
                  <a:pt x="3182" y="1167"/>
                  <a:pt x="3181" y="1167"/>
                </a:cubicBezTo>
                <a:cubicBezTo>
                  <a:pt x="3180" y="1167"/>
                  <a:pt x="3180" y="1166"/>
                  <a:pt x="3180" y="1166"/>
                </a:cubicBezTo>
                <a:cubicBezTo>
                  <a:pt x="3180" y="1166"/>
                  <a:pt x="3179" y="1165"/>
                  <a:pt x="3179" y="1165"/>
                </a:cubicBezTo>
                <a:cubicBezTo>
                  <a:pt x="3179" y="1166"/>
                  <a:pt x="3179" y="1166"/>
                  <a:pt x="3179" y="1166"/>
                </a:cubicBezTo>
                <a:cubicBezTo>
                  <a:pt x="3179" y="1166"/>
                  <a:pt x="3178" y="1165"/>
                  <a:pt x="3178" y="1165"/>
                </a:cubicBezTo>
                <a:cubicBezTo>
                  <a:pt x="3178" y="1165"/>
                  <a:pt x="3178" y="1164"/>
                  <a:pt x="3177" y="1164"/>
                </a:cubicBezTo>
                <a:cubicBezTo>
                  <a:pt x="3177" y="1164"/>
                  <a:pt x="3177" y="1164"/>
                  <a:pt x="3177" y="1164"/>
                </a:cubicBezTo>
                <a:close/>
                <a:moveTo>
                  <a:pt x="3177" y="1161"/>
                </a:moveTo>
                <a:cubicBezTo>
                  <a:pt x="3177" y="1161"/>
                  <a:pt x="3177" y="1162"/>
                  <a:pt x="3178" y="1162"/>
                </a:cubicBezTo>
                <a:cubicBezTo>
                  <a:pt x="3178" y="1161"/>
                  <a:pt x="3177" y="1161"/>
                  <a:pt x="3177" y="1161"/>
                </a:cubicBezTo>
                <a:close/>
                <a:moveTo>
                  <a:pt x="3156" y="1186"/>
                </a:moveTo>
                <a:cubicBezTo>
                  <a:pt x="3156" y="1186"/>
                  <a:pt x="3156" y="1186"/>
                  <a:pt x="3156" y="1186"/>
                </a:cubicBezTo>
                <a:cubicBezTo>
                  <a:pt x="3157" y="1187"/>
                  <a:pt x="3157" y="1187"/>
                  <a:pt x="3157" y="1187"/>
                </a:cubicBezTo>
                <a:cubicBezTo>
                  <a:pt x="3157" y="1188"/>
                  <a:pt x="3158" y="1189"/>
                  <a:pt x="3158" y="1189"/>
                </a:cubicBezTo>
                <a:cubicBezTo>
                  <a:pt x="3159" y="1189"/>
                  <a:pt x="3159" y="1189"/>
                  <a:pt x="3160" y="1189"/>
                </a:cubicBezTo>
                <a:cubicBezTo>
                  <a:pt x="3161" y="1190"/>
                  <a:pt x="3161" y="1190"/>
                  <a:pt x="3161" y="1190"/>
                </a:cubicBezTo>
                <a:cubicBezTo>
                  <a:pt x="3161" y="1191"/>
                  <a:pt x="3161" y="1191"/>
                  <a:pt x="3161" y="1191"/>
                </a:cubicBezTo>
                <a:cubicBezTo>
                  <a:pt x="3161" y="1192"/>
                  <a:pt x="3161" y="1192"/>
                  <a:pt x="3162" y="1192"/>
                </a:cubicBezTo>
                <a:cubicBezTo>
                  <a:pt x="3162" y="1193"/>
                  <a:pt x="3162" y="1193"/>
                  <a:pt x="3163" y="1193"/>
                </a:cubicBezTo>
                <a:cubicBezTo>
                  <a:pt x="3164" y="1193"/>
                  <a:pt x="3164" y="1193"/>
                  <a:pt x="3165" y="1192"/>
                </a:cubicBezTo>
                <a:cubicBezTo>
                  <a:pt x="3165" y="1192"/>
                  <a:pt x="3166" y="1191"/>
                  <a:pt x="3166" y="1191"/>
                </a:cubicBezTo>
                <a:cubicBezTo>
                  <a:pt x="3166" y="1190"/>
                  <a:pt x="3166" y="1190"/>
                  <a:pt x="3166" y="1189"/>
                </a:cubicBezTo>
                <a:cubicBezTo>
                  <a:pt x="3165" y="1189"/>
                  <a:pt x="3166" y="1188"/>
                  <a:pt x="3165" y="1188"/>
                </a:cubicBezTo>
                <a:cubicBezTo>
                  <a:pt x="3165" y="1188"/>
                  <a:pt x="3165" y="1188"/>
                  <a:pt x="3165" y="1188"/>
                </a:cubicBezTo>
                <a:cubicBezTo>
                  <a:pt x="3165" y="1187"/>
                  <a:pt x="3164" y="1187"/>
                  <a:pt x="3164" y="1187"/>
                </a:cubicBezTo>
                <a:cubicBezTo>
                  <a:pt x="3165" y="1187"/>
                  <a:pt x="3164" y="1187"/>
                  <a:pt x="3164" y="1186"/>
                </a:cubicBezTo>
                <a:cubicBezTo>
                  <a:pt x="3164" y="1186"/>
                  <a:pt x="3164" y="1186"/>
                  <a:pt x="3164" y="1186"/>
                </a:cubicBezTo>
                <a:cubicBezTo>
                  <a:pt x="3164" y="1185"/>
                  <a:pt x="3164" y="1185"/>
                  <a:pt x="3164" y="1185"/>
                </a:cubicBezTo>
                <a:cubicBezTo>
                  <a:pt x="3164" y="1184"/>
                  <a:pt x="3164" y="1183"/>
                  <a:pt x="3165" y="1182"/>
                </a:cubicBezTo>
                <a:cubicBezTo>
                  <a:pt x="3165" y="1182"/>
                  <a:pt x="3166" y="1181"/>
                  <a:pt x="3166" y="1180"/>
                </a:cubicBezTo>
                <a:cubicBezTo>
                  <a:pt x="3166" y="1180"/>
                  <a:pt x="3166" y="1180"/>
                  <a:pt x="3166" y="1179"/>
                </a:cubicBezTo>
                <a:cubicBezTo>
                  <a:pt x="3166" y="1179"/>
                  <a:pt x="3166" y="1179"/>
                  <a:pt x="3166" y="1178"/>
                </a:cubicBezTo>
                <a:cubicBezTo>
                  <a:pt x="3166" y="1178"/>
                  <a:pt x="3166" y="1178"/>
                  <a:pt x="3167" y="1177"/>
                </a:cubicBezTo>
                <a:cubicBezTo>
                  <a:pt x="3167" y="1177"/>
                  <a:pt x="3167" y="1177"/>
                  <a:pt x="3167" y="1176"/>
                </a:cubicBezTo>
                <a:cubicBezTo>
                  <a:pt x="3168" y="1176"/>
                  <a:pt x="3168" y="1176"/>
                  <a:pt x="3168" y="1176"/>
                </a:cubicBezTo>
                <a:cubicBezTo>
                  <a:pt x="3168" y="1175"/>
                  <a:pt x="3168" y="1175"/>
                  <a:pt x="3168" y="1174"/>
                </a:cubicBezTo>
                <a:cubicBezTo>
                  <a:pt x="3169" y="1174"/>
                  <a:pt x="3169" y="1173"/>
                  <a:pt x="3169" y="1172"/>
                </a:cubicBezTo>
                <a:cubicBezTo>
                  <a:pt x="3169" y="1172"/>
                  <a:pt x="3168" y="1172"/>
                  <a:pt x="3168" y="1171"/>
                </a:cubicBezTo>
                <a:cubicBezTo>
                  <a:pt x="3168" y="1171"/>
                  <a:pt x="3168" y="1171"/>
                  <a:pt x="3167" y="1171"/>
                </a:cubicBezTo>
                <a:cubicBezTo>
                  <a:pt x="3167" y="1171"/>
                  <a:pt x="3166" y="1171"/>
                  <a:pt x="3166" y="1171"/>
                </a:cubicBezTo>
                <a:cubicBezTo>
                  <a:pt x="3166" y="1171"/>
                  <a:pt x="3165" y="1170"/>
                  <a:pt x="3165" y="1171"/>
                </a:cubicBezTo>
                <a:cubicBezTo>
                  <a:pt x="3164" y="1171"/>
                  <a:pt x="3164" y="1171"/>
                  <a:pt x="3163" y="1171"/>
                </a:cubicBezTo>
                <a:cubicBezTo>
                  <a:pt x="3163" y="1172"/>
                  <a:pt x="3161" y="1172"/>
                  <a:pt x="3162" y="1172"/>
                </a:cubicBezTo>
                <a:cubicBezTo>
                  <a:pt x="3162" y="1172"/>
                  <a:pt x="3162" y="1173"/>
                  <a:pt x="3162" y="1173"/>
                </a:cubicBezTo>
                <a:cubicBezTo>
                  <a:pt x="3162" y="1173"/>
                  <a:pt x="3162" y="1174"/>
                  <a:pt x="3162" y="1174"/>
                </a:cubicBezTo>
                <a:cubicBezTo>
                  <a:pt x="3162" y="1175"/>
                  <a:pt x="3161" y="1176"/>
                  <a:pt x="3161" y="1176"/>
                </a:cubicBezTo>
                <a:cubicBezTo>
                  <a:pt x="3161" y="1177"/>
                  <a:pt x="3161" y="1177"/>
                  <a:pt x="3161" y="1178"/>
                </a:cubicBezTo>
                <a:cubicBezTo>
                  <a:pt x="3161" y="1178"/>
                  <a:pt x="3161" y="1178"/>
                  <a:pt x="3161" y="1179"/>
                </a:cubicBezTo>
                <a:cubicBezTo>
                  <a:pt x="3161" y="1180"/>
                  <a:pt x="3161" y="1180"/>
                  <a:pt x="3161" y="1181"/>
                </a:cubicBezTo>
                <a:cubicBezTo>
                  <a:pt x="3161" y="1182"/>
                  <a:pt x="3160" y="1182"/>
                  <a:pt x="3159" y="1182"/>
                </a:cubicBezTo>
                <a:cubicBezTo>
                  <a:pt x="3159" y="1182"/>
                  <a:pt x="3159" y="1183"/>
                  <a:pt x="3158" y="1183"/>
                </a:cubicBezTo>
                <a:cubicBezTo>
                  <a:pt x="3157" y="1182"/>
                  <a:pt x="3157" y="1182"/>
                  <a:pt x="3156" y="1183"/>
                </a:cubicBezTo>
                <a:cubicBezTo>
                  <a:pt x="3156" y="1183"/>
                  <a:pt x="3155" y="1184"/>
                  <a:pt x="3156" y="1184"/>
                </a:cubicBezTo>
                <a:cubicBezTo>
                  <a:pt x="3156" y="1185"/>
                  <a:pt x="3155" y="1185"/>
                  <a:pt x="3156" y="1186"/>
                </a:cubicBezTo>
                <a:close/>
                <a:moveTo>
                  <a:pt x="3177" y="1174"/>
                </a:moveTo>
                <a:cubicBezTo>
                  <a:pt x="3177" y="1174"/>
                  <a:pt x="3178" y="1174"/>
                  <a:pt x="3177" y="1175"/>
                </a:cubicBezTo>
                <a:cubicBezTo>
                  <a:pt x="3177" y="1175"/>
                  <a:pt x="3177" y="1175"/>
                  <a:pt x="3177" y="1175"/>
                </a:cubicBezTo>
                <a:cubicBezTo>
                  <a:pt x="3177" y="1175"/>
                  <a:pt x="3178" y="1175"/>
                  <a:pt x="3178" y="1175"/>
                </a:cubicBezTo>
                <a:cubicBezTo>
                  <a:pt x="3178" y="1175"/>
                  <a:pt x="3178" y="1175"/>
                  <a:pt x="3178" y="1175"/>
                </a:cubicBezTo>
                <a:cubicBezTo>
                  <a:pt x="3178" y="1174"/>
                  <a:pt x="3178" y="1174"/>
                  <a:pt x="3177" y="1174"/>
                </a:cubicBezTo>
                <a:close/>
                <a:moveTo>
                  <a:pt x="3173" y="1178"/>
                </a:moveTo>
                <a:cubicBezTo>
                  <a:pt x="3173" y="1178"/>
                  <a:pt x="3173" y="1177"/>
                  <a:pt x="3174" y="1176"/>
                </a:cubicBezTo>
                <a:cubicBezTo>
                  <a:pt x="3174" y="1176"/>
                  <a:pt x="3174" y="1176"/>
                  <a:pt x="3174" y="1175"/>
                </a:cubicBezTo>
                <a:cubicBezTo>
                  <a:pt x="3174" y="1175"/>
                  <a:pt x="3174" y="1175"/>
                  <a:pt x="3174" y="1174"/>
                </a:cubicBezTo>
                <a:cubicBezTo>
                  <a:pt x="3174" y="1173"/>
                  <a:pt x="3174" y="1173"/>
                  <a:pt x="3174" y="1172"/>
                </a:cubicBezTo>
                <a:cubicBezTo>
                  <a:pt x="3174" y="1172"/>
                  <a:pt x="3174" y="1171"/>
                  <a:pt x="3174" y="1171"/>
                </a:cubicBezTo>
                <a:cubicBezTo>
                  <a:pt x="3174" y="1171"/>
                  <a:pt x="3174" y="1170"/>
                  <a:pt x="3174" y="1170"/>
                </a:cubicBezTo>
                <a:cubicBezTo>
                  <a:pt x="3174" y="1170"/>
                  <a:pt x="3174" y="1169"/>
                  <a:pt x="3174" y="1169"/>
                </a:cubicBezTo>
                <a:cubicBezTo>
                  <a:pt x="3174" y="1169"/>
                  <a:pt x="3174" y="1169"/>
                  <a:pt x="3174" y="1168"/>
                </a:cubicBezTo>
                <a:cubicBezTo>
                  <a:pt x="3174" y="1168"/>
                  <a:pt x="3174" y="1167"/>
                  <a:pt x="3174" y="1167"/>
                </a:cubicBezTo>
                <a:cubicBezTo>
                  <a:pt x="3174" y="1167"/>
                  <a:pt x="3174" y="1168"/>
                  <a:pt x="3174" y="1168"/>
                </a:cubicBezTo>
                <a:cubicBezTo>
                  <a:pt x="3173" y="1168"/>
                  <a:pt x="3173" y="1168"/>
                  <a:pt x="3173" y="1169"/>
                </a:cubicBezTo>
                <a:cubicBezTo>
                  <a:pt x="3174" y="1170"/>
                  <a:pt x="3173" y="1170"/>
                  <a:pt x="3173" y="1170"/>
                </a:cubicBezTo>
                <a:cubicBezTo>
                  <a:pt x="3173" y="1170"/>
                  <a:pt x="3173" y="1171"/>
                  <a:pt x="3173" y="1171"/>
                </a:cubicBezTo>
                <a:cubicBezTo>
                  <a:pt x="3173" y="1171"/>
                  <a:pt x="3173" y="1172"/>
                  <a:pt x="3173" y="1172"/>
                </a:cubicBezTo>
                <a:cubicBezTo>
                  <a:pt x="3172" y="1172"/>
                  <a:pt x="3172" y="1173"/>
                  <a:pt x="3172" y="1173"/>
                </a:cubicBezTo>
                <a:cubicBezTo>
                  <a:pt x="3172" y="1173"/>
                  <a:pt x="3172" y="1174"/>
                  <a:pt x="3172" y="1174"/>
                </a:cubicBezTo>
                <a:cubicBezTo>
                  <a:pt x="3171" y="1175"/>
                  <a:pt x="3170" y="1176"/>
                  <a:pt x="3170" y="1177"/>
                </a:cubicBezTo>
                <a:cubicBezTo>
                  <a:pt x="3170" y="1178"/>
                  <a:pt x="3170" y="1178"/>
                  <a:pt x="3170" y="1178"/>
                </a:cubicBezTo>
                <a:cubicBezTo>
                  <a:pt x="3169" y="1179"/>
                  <a:pt x="3169" y="1179"/>
                  <a:pt x="3169" y="1179"/>
                </a:cubicBezTo>
                <a:cubicBezTo>
                  <a:pt x="3169" y="1180"/>
                  <a:pt x="3169" y="1180"/>
                  <a:pt x="3168" y="1180"/>
                </a:cubicBezTo>
                <a:cubicBezTo>
                  <a:pt x="3168" y="1181"/>
                  <a:pt x="3168" y="1181"/>
                  <a:pt x="3168" y="1181"/>
                </a:cubicBezTo>
                <a:cubicBezTo>
                  <a:pt x="3167" y="1182"/>
                  <a:pt x="3167" y="1182"/>
                  <a:pt x="3167" y="1182"/>
                </a:cubicBezTo>
                <a:cubicBezTo>
                  <a:pt x="3167" y="1183"/>
                  <a:pt x="3167" y="1183"/>
                  <a:pt x="3167" y="1184"/>
                </a:cubicBezTo>
                <a:cubicBezTo>
                  <a:pt x="3167" y="1185"/>
                  <a:pt x="3166" y="1185"/>
                  <a:pt x="3166" y="1186"/>
                </a:cubicBezTo>
                <a:cubicBezTo>
                  <a:pt x="3166" y="1187"/>
                  <a:pt x="3166" y="1187"/>
                  <a:pt x="3166" y="1188"/>
                </a:cubicBezTo>
                <a:cubicBezTo>
                  <a:pt x="3166" y="1188"/>
                  <a:pt x="3166" y="1189"/>
                  <a:pt x="3166" y="1189"/>
                </a:cubicBezTo>
                <a:cubicBezTo>
                  <a:pt x="3167" y="1189"/>
                  <a:pt x="3167" y="1189"/>
                  <a:pt x="3167" y="1188"/>
                </a:cubicBezTo>
                <a:cubicBezTo>
                  <a:pt x="3167" y="1188"/>
                  <a:pt x="3167" y="1188"/>
                  <a:pt x="3168" y="1187"/>
                </a:cubicBezTo>
                <a:cubicBezTo>
                  <a:pt x="3168" y="1187"/>
                  <a:pt x="3168" y="1186"/>
                  <a:pt x="3168" y="1185"/>
                </a:cubicBezTo>
                <a:cubicBezTo>
                  <a:pt x="3168" y="1184"/>
                  <a:pt x="3169" y="1184"/>
                  <a:pt x="3170" y="1183"/>
                </a:cubicBezTo>
                <a:cubicBezTo>
                  <a:pt x="3170" y="1183"/>
                  <a:pt x="3170" y="1183"/>
                  <a:pt x="3170" y="1182"/>
                </a:cubicBezTo>
                <a:cubicBezTo>
                  <a:pt x="3169" y="1182"/>
                  <a:pt x="3170" y="1182"/>
                  <a:pt x="3170" y="1181"/>
                </a:cubicBezTo>
                <a:cubicBezTo>
                  <a:pt x="3170" y="1181"/>
                  <a:pt x="3170" y="1181"/>
                  <a:pt x="3170" y="1181"/>
                </a:cubicBezTo>
                <a:cubicBezTo>
                  <a:pt x="3171" y="1181"/>
                  <a:pt x="3171" y="1180"/>
                  <a:pt x="3171" y="1180"/>
                </a:cubicBezTo>
                <a:cubicBezTo>
                  <a:pt x="3172" y="1179"/>
                  <a:pt x="3172" y="1179"/>
                  <a:pt x="3173" y="1178"/>
                </a:cubicBezTo>
                <a:close/>
                <a:moveTo>
                  <a:pt x="3170" y="1191"/>
                </a:moveTo>
                <a:cubicBezTo>
                  <a:pt x="3170" y="1191"/>
                  <a:pt x="3170" y="1190"/>
                  <a:pt x="3169" y="1190"/>
                </a:cubicBezTo>
                <a:cubicBezTo>
                  <a:pt x="3169" y="1190"/>
                  <a:pt x="3169" y="1191"/>
                  <a:pt x="3169" y="1191"/>
                </a:cubicBezTo>
                <a:cubicBezTo>
                  <a:pt x="3168" y="1192"/>
                  <a:pt x="3167" y="1192"/>
                  <a:pt x="3168" y="1192"/>
                </a:cubicBezTo>
                <a:cubicBezTo>
                  <a:pt x="3168" y="1192"/>
                  <a:pt x="3169" y="1192"/>
                  <a:pt x="3169" y="1192"/>
                </a:cubicBezTo>
                <a:cubicBezTo>
                  <a:pt x="3169" y="1193"/>
                  <a:pt x="3170" y="1192"/>
                  <a:pt x="3170" y="1192"/>
                </a:cubicBezTo>
                <a:cubicBezTo>
                  <a:pt x="3170" y="1192"/>
                  <a:pt x="3171" y="1192"/>
                  <a:pt x="3170" y="1192"/>
                </a:cubicBezTo>
                <a:cubicBezTo>
                  <a:pt x="3170" y="1192"/>
                  <a:pt x="3170" y="1192"/>
                  <a:pt x="3170" y="1191"/>
                </a:cubicBezTo>
                <a:cubicBezTo>
                  <a:pt x="3171" y="1191"/>
                  <a:pt x="3171" y="1191"/>
                  <a:pt x="3170" y="1191"/>
                </a:cubicBezTo>
                <a:close/>
                <a:moveTo>
                  <a:pt x="3175" y="1181"/>
                </a:moveTo>
                <a:cubicBezTo>
                  <a:pt x="3174" y="1181"/>
                  <a:pt x="3175" y="1182"/>
                  <a:pt x="3174" y="1182"/>
                </a:cubicBezTo>
                <a:cubicBezTo>
                  <a:pt x="3174" y="1182"/>
                  <a:pt x="3174" y="1183"/>
                  <a:pt x="3173" y="1183"/>
                </a:cubicBezTo>
                <a:cubicBezTo>
                  <a:pt x="3173" y="1183"/>
                  <a:pt x="3173" y="1183"/>
                  <a:pt x="3173" y="1183"/>
                </a:cubicBezTo>
                <a:cubicBezTo>
                  <a:pt x="3172" y="1183"/>
                  <a:pt x="3172" y="1184"/>
                  <a:pt x="3172" y="1184"/>
                </a:cubicBezTo>
                <a:cubicBezTo>
                  <a:pt x="3171" y="1184"/>
                  <a:pt x="3171" y="1184"/>
                  <a:pt x="3171" y="1185"/>
                </a:cubicBezTo>
                <a:cubicBezTo>
                  <a:pt x="3171" y="1185"/>
                  <a:pt x="3172" y="1185"/>
                  <a:pt x="3172" y="1185"/>
                </a:cubicBezTo>
                <a:cubicBezTo>
                  <a:pt x="3172" y="1186"/>
                  <a:pt x="3172" y="1186"/>
                  <a:pt x="3173" y="1187"/>
                </a:cubicBezTo>
                <a:cubicBezTo>
                  <a:pt x="3173" y="1187"/>
                  <a:pt x="3174" y="1187"/>
                  <a:pt x="3175" y="1187"/>
                </a:cubicBezTo>
                <a:cubicBezTo>
                  <a:pt x="3175" y="1187"/>
                  <a:pt x="3176" y="1187"/>
                  <a:pt x="3176" y="1187"/>
                </a:cubicBezTo>
                <a:cubicBezTo>
                  <a:pt x="3176" y="1187"/>
                  <a:pt x="3177" y="1187"/>
                  <a:pt x="3177" y="1187"/>
                </a:cubicBezTo>
                <a:cubicBezTo>
                  <a:pt x="3178" y="1187"/>
                  <a:pt x="3178" y="1187"/>
                  <a:pt x="3178" y="1186"/>
                </a:cubicBezTo>
                <a:cubicBezTo>
                  <a:pt x="3179" y="1186"/>
                  <a:pt x="3179" y="1185"/>
                  <a:pt x="3179" y="1185"/>
                </a:cubicBezTo>
                <a:cubicBezTo>
                  <a:pt x="3179" y="1185"/>
                  <a:pt x="3179" y="1185"/>
                  <a:pt x="3179" y="1185"/>
                </a:cubicBezTo>
                <a:cubicBezTo>
                  <a:pt x="3179" y="1185"/>
                  <a:pt x="3180" y="1185"/>
                  <a:pt x="3180" y="1185"/>
                </a:cubicBezTo>
                <a:cubicBezTo>
                  <a:pt x="3180" y="1185"/>
                  <a:pt x="3180" y="1185"/>
                  <a:pt x="3180" y="1185"/>
                </a:cubicBezTo>
                <a:cubicBezTo>
                  <a:pt x="3181" y="1185"/>
                  <a:pt x="3181" y="1184"/>
                  <a:pt x="3180" y="1184"/>
                </a:cubicBezTo>
                <a:cubicBezTo>
                  <a:pt x="3180" y="1184"/>
                  <a:pt x="3181" y="1183"/>
                  <a:pt x="3180" y="1183"/>
                </a:cubicBezTo>
                <a:cubicBezTo>
                  <a:pt x="3180" y="1183"/>
                  <a:pt x="3180" y="1183"/>
                  <a:pt x="3180" y="1182"/>
                </a:cubicBezTo>
                <a:cubicBezTo>
                  <a:pt x="3180" y="1182"/>
                  <a:pt x="3180" y="1182"/>
                  <a:pt x="3180" y="1182"/>
                </a:cubicBezTo>
                <a:cubicBezTo>
                  <a:pt x="3180" y="1182"/>
                  <a:pt x="3180" y="1181"/>
                  <a:pt x="3179" y="1181"/>
                </a:cubicBezTo>
                <a:cubicBezTo>
                  <a:pt x="3179" y="1181"/>
                  <a:pt x="3179" y="1181"/>
                  <a:pt x="3179" y="1181"/>
                </a:cubicBezTo>
                <a:cubicBezTo>
                  <a:pt x="3179" y="1181"/>
                  <a:pt x="3179" y="1181"/>
                  <a:pt x="3178" y="1181"/>
                </a:cubicBezTo>
                <a:cubicBezTo>
                  <a:pt x="3178" y="1180"/>
                  <a:pt x="3178" y="1181"/>
                  <a:pt x="3178" y="1181"/>
                </a:cubicBezTo>
                <a:cubicBezTo>
                  <a:pt x="3178" y="1181"/>
                  <a:pt x="3178" y="1180"/>
                  <a:pt x="3177" y="1180"/>
                </a:cubicBezTo>
                <a:cubicBezTo>
                  <a:pt x="3177" y="1180"/>
                  <a:pt x="3177" y="1180"/>
                  <a:pt x="3176" y="1180"/>
                </a:cubicBezTo>
                <a:cubicBezTo>
                  <a:pt x="3176" y="1180"/>
                  <a:pt x="3176" y="1180"/>
                  <a:pt x="3176" y="1181"/>
                </a:cubicBezTo>
                <a:cubicBezTo>
                  <a:pt x="3175" y="1181"/>
                  <a:pt x="3175" y="1181"/>
                  <a:pt x="3175" y="1181"/>
                </a:cubicBezTo>
                <a:close/>
                <a:moveTo>
                  <a:pt x="3158" y="1177"/>
                </a:moveTo>
                <a:cubicBezTo>
                  <a:pt x="3158" y="1177"/>
                  <a:pt x="3158" y="1177"/>
                  <a:pt x="3158" y="1177"/>
                </a:cubicBezTo>
                <a:cubicBezTo>
                  <a:pt x="3158" y="1177"/>
                  <a:pt x="3158" y="1177"/>
                  <a:pt x="3158" y="1177"/>
                </a:cubicBezTo>
                <a:cubicBezTo>
                  <a:pt x="3159" y="1177"/>
                  <a:pt x="3159" y="1176"/>
                  <a:pt x="3159" y="1176"/>
                </a:cubicBezTo>
                <a:cubicBezTo>
                  <a:pt x="3159" y="1176"/>
                  <a:pt x="3159" y="1175"/>
                  <a:pt x="3159" y="1175"/>
                </a:cubicBezTo>
                <a:cubicBezTo>
                  <a:pt x="3159" y="1174"/>
                  <a:pt x="3159" y="1174"/>
                  <a:pt x="3159" y="1174"/>
                </a:cubicBezTo>
                <a:cubicBezTo>
                  <a:pt x="3158" y="1174"/>
                  <a:pt x="3158" y="1174"/>
                  <a:pt x="3157" y="1175"/>
                </a:cubicBezTo>
                <a:cubicBezTo>
                  <a:pt x="3157" y="1175"/>
                  <a:pt x="3157" y="1176"/>
                  <a:pt x="3157" y="1176"/>
                </a:cubicBezTo>
                <a:cubicBezTo>
                  <a:pt x="3157" y="1176"/>
                  <a:pt x="3157" y="1177"/>
                  <a:pt x="3157" y="1177"/>
                </a:cubicBezTo>
                <a:cubicBezTo>
                  <a:pt x="3157" y="1178"/>
                  <a:pt x="3158" y="1177"/>
                  <a:pt x="3158" y="1177"/>
                </a:cubicBezTo>
                <a:close/>
                <a:moveTo>
                  <a:pt x="3152" y="1142"/>
                </a:moveTo>
                <a:cubicBezTo>
                  <a:pt x="3152" y="1142"/>
                  <a:pt x="3152" y="1141"/>
                  <a:pt x="3152" y="1142"/>
                </a:cubicBezTo>
                <a:cubicBezTo>
                  <a:pt x="3152" y="1142"/>
                  <a:pt x="3152" y="1142"/>
                  <a:pt x="3152" y="1142"/>
                </a:cubicBezTo>
                <a:cubicBezTo>
                  <a:pt x="3152" y="1142"/>
                  <a:pt x="3151" y="1141"/>
                  <a:pt x="3151" y="1141"/>
                </a:cubicBezTo>
                <a:cubicBezTo>
                  <a:pt x="3151" y="1142"/>
                  <a:pt x="3151" y="1141"/>
                  <a:pt x="3150" y="1141"/>
                </a:cubicBezTo>
                <a:cubicBezTo>
                  <a:pt x="3150" y="1141"/>
                  <a:pt x="3150" y="1141"/>
                  <a:pt x="3150" y="1141"/>
                </a:cubicBezTo>
                <a:cubicBezTo>
                  <a:pt x="3150" y="1141"/>
                  <a:pt x="3150" y="1141"/>
                  <a:pt x="3150" y="1142"/>
                </a:cubicBezTo>
                <a:cubicBezTo>
                  <a:pt x="3149" y="1142"/>
                  <a:pt x="3149" y="1142"/>
                  <a:pt x="3149" y="1142"/>
                </a:cubicBezTo>
                <a:cubicBezTo>
                  <a:pt x="3149" y="1143"/>
                  <a:pt x="3149" y="1143"/>
                  <a:pt x="3149" y="1143"/>
                </a:cubicBezTo>
                <a:cubicBezTo>
                  <a:pt x="3149" y="1144"/>
                  <a:pt x="3150" y="1144"/>
                  <a:pt x="3150" y="1144"/>
                </a:cubicBezTo>
                <a:cubicBezTo>
                  <a:pt x="3150" y="1144"/>
                  <a:pt x="3150" y="1144"/>
                  <a:pt x="3151" y="1145"/>
                </a:cubicBezTo>
                <a:cubicBezTo>
                  <a:pt x="3151" y="1145"/>
                  <a:pt x="3151" y="1145"/>
                  <a:pt x="3151" y="1145"/>
                </a:cubicBezTo>
                <a:cubicBezTo>
                  <a:pt x="3152" y="1145"/>
                  <a:pt x="3152" y="1145"/>
                  <a:pt x="3152" y="1145"/>
                </a:cubicBezTo>
                <a:cubicBezTo>
                  <a:pt x="3152" y="1144"/>
                  <a:pt x="3153" y="1144"/>
                  <a:pt x="3153" y="1143"/>
                </a:cubicBezTo>
                <a:cubicBezTo>
                  <a:pt x="3153" y="1143"/>
                  <a:pt x="3153" y="1143"/>
                  <a:pt x="3153" y="1143"/>
                </a:cubicBezTo>
                <a:cubicBezTo>
                  <a:pt x="3153" y="1143"/>
                  <a:pt x="3153" y="1143"/>
                  <a:pt x="3152" y="1143"/>
                </a:cubicBezTo>
                <a:cubicBezTo>
                  <a:pt x="3152" y="1143"/>
                  <a:pt x="3153" y="1142"/>
                  <a:pt x="3152" y="1142"/>
                </a:cubicBezTo>
                <a:close/>
                <a:moveTo>
                  <a:pt x="3154" y="1222"/>
                </a:moveTo>
                <a:cubicBezTo>
                  <a:pt x="3155" y="1222"/>
                  <a:pt x="3155" y="1221"/>
                  <a:pt x="3155" y="1221"/>
                </a:cubicBezTo>
                <a:cubicBezTo>
                  <a:pt x="3155" y="1221"/>
                  <a:pt x="3154" y="1221"/>
                  <a:pt x="3154" y="1221"/>
                </a:cubicBezTo>
                <a:cubicBezTo>
                  <a:pt x="3153" y="1221"/>
                  <a:pt x="3153" y="1221"/>
                  <a:pt x="3153" y="1220"/>
                </a:cubicBezTo>
                <a:cubicBezTo>
                  <a:pt x="3153" y="1220"/>
                  <a:pt x="3153" y="1220"/>
                  <a:pt x="3152" y="1220"/>
                </a:cubicBezTo>
                <a:cubicBezTo>
                  <a:pt x="3152" y="1220"/>
                  <a:pt x="3152" y="1220"/>
                  <a:pt x="3152" y="1220"/>
                </a:cubicBezTo>
                <a:cubicBezTo>
                  <a:pt x="3152" y="1220"/>
                  <a:pt x="3152" y="1220"/>
                  <a:pt x="3151" y="1220"/>
                </a:cubicBezTo>
                <a:cubicBezTo>
                  <a:pt x="3151" y="1220"/>
                  <a:pt x="3151" y="1220"/>
                  <a:pt x="3151" y="1220"/>
                </a:cubicBezTo>
                <a:cubicBezTo>
                  <a:pt x="3151" y="1220"/>
                  <a:pt x="3151" y="1221"/>
                  <a:pt x="3151" y="1221"/>
                </a:cubicBezTo>
                <a:cubicBezTo>
                  <a:pt x="3150" y="1221"/>
                  <a:pt x="3150" y="1221"/>
                  <a:pt x="3150" y="1221"/>
                </a:cubicBezTo>
                <a:cubicBezTo>
                  <a:pt x="3150" y="1221"/>
                  <a:pt x="3150" y="1221"/>
                  <a:pt x="3149" y="1221"/>
                </a:cubicBezTo>
                <a:cubicBezTo>
                  <a:pt x="3149" y="1220"/>
                  <a:pt x="3149" y="1221"/>
                  <a:pt x="3149" y="1221"/>
                </a:cubicBezTo>
                <a:cubicBezTo>
                  <a:pt x="3149" y="1222"/>
                  <a:pt x="3149" y="1222"/>
                  <a:pt x="3150" y="1222"/>
                </a:cubicBezTo>
                <a:cubicBezTo>
                  <a:pt x="3150" y="1222"/>
                  <a:pt x="3150" y="1222"/>
                  <a:pt x="3150" y="1223"/>
                </a:cubicBezTo>
                <a:cubicBezTo>
                  <a:pt x="3150" y="1223"/>
                  <a:pt x="3150" y="1223"/>
                  <a:pt x="3150" y="1223"/>
                </a:cubicBezTo>
                <a:cubicBezTo>
                  <a:pt x="3150" y="1223"/>
                  <a:pt x="3151" y="1223"/>
                  <a:pt x="3151" y="1223"/>
                </a:cubicBezTo>
                <a:cubicBezTo>
                  <a:pt x="3151" y="1224"/>
                  <a:pt x="3152" y="1224"/>
                  <a:pt x="3152" y="1224"/>
                </a:cubicBezTo>
                <a:cubicBezTo>
                  <a:pt x="3152" y="1223"/>
                  <a:pt x="3153" y="1223"/>
                  <a:pt x="3153" y="1223"/>
                </a:cubicBezTo>
                <a:cubicBezTo>
                  <a:pt x="3153" y="1223"/>
                  <a:pt x="3153" y="1223"/>
                  <a:pt x="3154" y="1223"/>
                </a:cubicBezTo>
                <a:cubicBezTo>
                  <a:pt x="3154" y="1223"/>
                  <a:pt x="3154" y="1223"/>
                  <a:pt x="3154" y="1223"/>
                </a:cubicBezTo>
                <a:cubicBezTo>
                  <a:pt x="3154" y="1223"/>
                  <a:pt x="3154" y="1223"/>
                  <a:pt x="3154" y="1223"/>
                </a:cubicBezTo>
                <a:cubicBezTo>
                  <a:pt x="3154" y="1223"/>
                  <a:pt x="3154" y="1223"/>
                  <a:pt x="3154" y="1222"/>
                </a:cubicBezTo>
                <a:cubicBezTo>
                  <a:pt x="3154" y="1222"/>
                  <a:pt x="3154" y="1222"/>
                  <a:pt x="3154" y="1222"/>
                </a:cubicBezTo>
                <a:close/>
                <a:moveTo>
                  <a:pt x="3161" y="1213"/>
                </a:moveTo>
                <a:cubicBezTo>
                  <a:pt x="3161" y="1212"/>
                  <a:pt x="3161" y="1212"/>
                  <a:pt x="3161" y="1212"/>
                </a:cubicBezTo>
                <a:cubicBezTo>
                  <a:pt x="3161" y="1212"/>
                  <a:pt x="3160" y="1213"/>
                  <a:pt x="3160" y="1213"/>
                </a:cubicBezTo>
                <a:cubicBezTo>
                  <a:pt x="3160" y="1213"/>
                  <a:pt x="3161" y="1214"/>
                  <a:pt x="3161" y="1214"/>
                </a:cubicBezTo>
                <a:cubicBezTo>
                  <a:pt x="3161" y="1213"/>
                  <a:pt x="3161" y="1213"/>
                  <a:pt x="3162" y="1213"/>
                </a:cubicBezTo>
                <a:cubicBezTo>
                  <a:pt x="3162" y="1213"/>
                  <a:pt x="3162" y="1213"/>
                  <a:pt x="3162" y="1212"/>
                </a:cubicBezTo>
                <a:cubicBezTo>
                  <a:pt x="3162" y="1212"/>
                  <a:pt x="3162" y="1212"/>
                  <a:pt x="3162" y="1212"/>
                </a:cubicBezTo>
                <a:cubicBezTo>
                  <a:pt x="3161" y="1212"/>
                  <a:pt x="3161" y="1213"/>
                  <a:pt x="3161" y="1213"/>
                </a:cubicBezTo>
                <a:close/>
                <a:moveTo>
                  <a:pt x="3205" y="901"/>
                </a:moveTo>
                <a:cubicBezTo>
                  <a:pt x="3204" y="901"/>
                  <a:pt x="3204" y="901"/>
                  <a:pt x="3204" y="900"/>
                </a:cubicBezTo>
                <a:cubicBezTo>
                  <a:pt x="3203" y="900"/>
                  <a:pt x="3203" y="900"/>
                  <a:pt x="3203" y="900"/>
                </a:cubicBezTo>
                <a:cubicBezTo>
                  <a:pt x="3202" y="900"/>
                  <a:pt x="3202" y="900"/>
                  <a:pt x="3201" y="901"/>
                </a:cubicBezTo>
                <a:cubicBezTo>
                  <a:pt x="3201" y="902"/>
                  <a:pt x="3200" y="902"/>
                  <a:pt x="3199" y="902"/>
                </a:cubicBezTo>
                <a:cubicBezTo>
                  <a:pt x="3199" y="902"/>
                  <a:pt x="3198" y="903"/>
                  <a:pt x="3199" y="903"/>
                </a:cubicBezTo>
                <a:cubicBezTo>
                  <a:pt x="3199" y="903"/>
                  <a:pt x="3199" y="903"/>
                  <a:pt x="3200" y="904"/>
                </a:cubicBezTo>
                <a:cubicBezTo>
                  <a:pt x="3200" y="904"/>
                  <a:pt x="3200" y="904"/>
                  <a:pt x="3200" y="904"/>
                </a:cubicBezTo>
                <a:cubicBezTo>
                  <a:pt x="3201" y="905"/>
                  <a:pt x="3201" y="905"/>
                  <a:pt x="3201" y="904"/>
                </a:cubicBezTo>
                <a:cubicBezTo>
                  <a:pt x="3202" y="904"/>
                  <a:pt x="3202" y="904"/>
                  <a:pt x="3202" y="904"/>
                </a:cubicBezTo>
                <a:cubicBezTo>
                  <a:pt x="3202" y="903"/>
                  <a:pt x="3203" y="903"/>
                  <a:pt x="3203" y="903"/>
                </a:cubicBezTo>
                <a:cubicBezTo>
                  <a:pt x="3204" y="903"/>
                  <a:pt x="3204" y="903"/>
                  <a:pt x="3204" y="903"/>
                </a:cubicBezTo>
                <a:cubicBezTo>
                  <a:pt x="3204" y="902"/>
                  <a:pt x="3205" y="902"/>
                  <a:pt x="3205" y="902"/>
                </a:cubicBezTo>
                <a:cubicBezTo>
                  <a:pt x="3206" y="902"/>
                  <a:pt x="3208" y="901"/>
                  <a:pt x="3207" y="901"/>
                </a:cubicBezTo>
                <a:cubicBezTo>
                  <a:pt x="3207" y="900"/>
                  <a:pt x="3205" y="901"/>
                  <a:pt x="3205" y="901"/>
                </a:cubicBezTo>
                <a:close/>
                <a:moveTo>
                  <a:pt x="3176" y="1145"/>
                </a:moveTo>
                <a:cubicBezTo>
                  <a:pt x="3176" y="1145"/>
                  <a:pt x="3176" y="1145"/>
                  <a:pt x="3175" y="1145"/>
                </a:cubicBezTo>
                <a:cubicBezTo>
                  <a:pt x="3175" y="1145"/>
                  <a:pt x="3175" y="1145"/>
                  <a:pt x="3175" y="1145"/>
                </a:cubicBezTo>
                <a:cubicBezTo>
                  <a:pt x="3175" y="1145"/>
                  <a:pt x="3175" y="1145"/>
                  <a:pt x="3175" y="1145"/>
                </a:cubicBezTo>
                <a:cubicBezTo>
                  <a:pt x="3175" y="1145"/>
                  <a:pt x="3176" y="1146"/>
                  <a:pt x="3176" y="1145"/>
                </a:cubicBezTo>
                <a:close/>
                <a:moveTo>
                  <a:pt x="3210" y="1335"/>
                </a:moveTo>
                <a:cubicBezTo>
                  <a:pt x="3210" y="1335"/>
                  <a:pt x="3210" y="1334"/>
                  <a:pt x="3210" y="1334"/>
                </a:cubicBezTo>
                <a:cubicBezTo>
                  <a:pt x="3210" y="1334"/>
                  <a:pt x="3209" y="1333"/>
                  <a:pt x="3209" y="1333"/>
                </a:cubicBezTo>
                <a:cubicBezTo>
                  <a:pt x="3208" y="1332"/>
                  <a:pt x="3208" y="1332"/>
                  <a:pt x="3207" y="1332"/>
                </a:cubicBezTo>
                <a:cubicBezTo>
                  <a:pt x="3206" y="1332"/>
                  <a:pt x="3205" y="1332"/>
                  <a:pt x="3204" y="1332"/>
                </a:cubicBezTo>
                <a:cubicBezTo>
                  <a:pt x="3203" y="1332"/>
                  <a:pt x="3202" y="1332"/>
                  <a:pt x="3201" y="1332"/>
                </a:cubicBezTo>
                <a:cubicBezTo>
                  <a:pt x="3200" y="1332"/>
                  <a:pt x="3199" y="1333"/>
                  <a:pt x="3198" y="1333"/>
                </a:cubicBezTo>
                <a:cubicBezTo>
                  <a:pt x="3197" y="1333"/>
                  <a:pt x="3196" y="1333"/>
                  <a:pt x="3196" y="1334"/>
                </a:cubicBezTo>
                <a:cubicBezTo>
                  <a:pt x="3196" y="1335"/>
                  <a:pt x="3197" y="1336"/>
                  <a:pt x="3198" y="1337"/>
                </a:cubicBezTo>
                <a:cubicBezTo>
                  <a:pt x="3198" y="1337"/>
                  <a:pt x="3198" y="1338"/>
                  <a:pt x="3199" y="1338"/>
                </a:cubicBezTo>
                <a:cubicBezTo>
                  <a:pt x="3200" y="1338"/>
                  <a:pt x="3200" y="1339"/>
                  <a:pt x="3200" y="1339"/>
                </a:cubicBezTo>
                <a:cubicBezTo>
                  <a:pt x="3201" y="1339"/>
                  <a:pt x="3201" y="1339"/>
                  <a:pt x="3202" y="1339"/>
                </a:cubicBezTo>
                <a:cubicBezTo>
                  <a:pt x="3202" y="1340"/>
                  <a:pt x="3202" y="1340"/>
                  <a:pt x="3203" y="1340"/>
                </a:cubicBezTo>
                <a:cubicBezTo>
                  <a:pt x="3203" y="1341"/>
                  <a:pt x="3204" y="1341"/>
                  <a:pt x="3204" y="1341"/>
                </a:cubicBezTo>
                <a:cubicBezTo>
                  <a:pt x="3206" y="1341"/>
                  <a:pt x="3208" y="1340"/>
                  <a:pt x="3209" y="1339"/>
                </a:cubicBezTo>
                <a:cubicBezTo>
                  <a:pt x="3210" y="1339"/>
                  <a:pt x="3211" y="1338"/>
                  <a:pt x="3211" y="1337"/>
                </a:cubicBezTo>
                <a:cubicBezTo>
                  <a:pt x="3211" y="1336"/>
                  <a:pt x="3211" y="1336"/>
                  <a:pt x="3210" y="1335"/>
                </a:cubicBezTo>
                <a:close/>
                <a:moveTo>
                  <a:pt x="3171" y="1155"/>
                </a:moveTo>
                <a:cubicBezTo>
                  <a:pt x="3171" y="1155"/>
                  <a:pt x="3172" y="1156"/>
                  <a:pt x="3172" y="1155"/>
                </a:cubicBezTo>
                <a:cubicBezTo>
                  <a:pt x="3172" y="1155"/>
                  <a:pt x="3171" y="1155"/>
                  <a:pt x="3171" y="1155"/>
                </a:cubicBezTo>
                <a:cubicBezTo>
                  <a:pt x="3171" y="1155"/>
                  <a:pt x="3171" y="1154"/>
                  <a:pt x="3171" y="1154"/>
                </a:cubicBezTo>
                <a:cubicBezTo>
                  <a:pt x="3171" y="1153"/>
                  <a:pt x="3171" y="1152"/>
                  <a:pt x="3170" y="1152"/>
                </a:cubicBezTo>
                <a:cubicBezTo>
                  <a:pt x="3170" y="1151"/>
                  <a:pt x="3170" y="1151"/>
                  <a:pt x="3169" y="1151"/>
                </a:cubicBezTo>
                <a:cubicBezTo>
                  <a:pt x="3169" y="1152"/>
                  <a:pt x="3169" y="1152"/>
                  <a:pt x="3169" y="1152"/>
                </a:cubicBezTo>
                <a:cubicBezTo>
                  <a:pt x="3170" y="1153"/>
                  <a:pt x="3170" y="1154"/>
                  <a:pt x="3171" y="1155"/>
                </a:cubicBezTo>
                <a:close/>
                <a:moveTo>
                  <a:pt x="3176" y="1158"/>
                </a:moveTo>
                <a:cubicBezTo>
                  <a:pt x="3177" y="1158"/>
                  <a:pt x="3176" y="1158"/>
                  <a:pt x="3176" y="1158"/>
                </a:cubicBezTo>
                <a:cubicBezTo>
                  <a:pt x="3175" y="1159"/>
                  <a:pt x="3176" y="1159"/>
                  <a:pt x="3176" y="1158"/>
                </a:cubicBezTo>
                <a:close/>
                <a:moveTo>
                  <a:pt x="3158" y="1155"/>
                </a:moveTo>
                <a:cubicBezTo>
                  <a:pt x="3158" y="1156"/>
                  <a:pt x="3158" y="1156"/>
                  <a:pt x="3159" y="1156"/>
                </a:cubicBezTo>
                <a:cubicBezTo>
                  <a:pt x="3159" y="1156"/>
                  <a:pt x="3159" y="1155"/>
                  <a:pt x="3159" y="1155"/>
                </a:cubicBezTo>
                <a:cubicBezTo>
                  <a:pt x="3159" y="1154"/>
                  <a:pt x="3159" y="1154"/>
                  <a:pt x="3158" y="1153"/>
                </a:cubicBezTo>
                <a:cubicBezTo>
                  <a:pt x="3158" y="1153"/>
                  <a:pt x="3157" y="1153"/>
                  <a:pt x="3156" y="1154"/>
                </a:cubicBezTo>
                <a:cubicBezTo>
                  <a:pt x="3156" y="1154"/>
                  <a:pt x="3157" y="1155"/>
                  <a:pt x="3157" y="1155"/>
                </a:cubicBezTo>
                <a:cubicBezTo>
                  <a:pt x="3157" y="1155"/>
                  <a:pt x="3157" y="1155"/>
                  <a:pt x="3158" y="1155"/>
                </a:cubicBezTo>
                <a:close/>
                <a:moveTo>
                  <a:pt x="3155" y="1162"/>
                </a:moveTo>
                <a:cubicBezTo>
                  <a:pt x="3155" y="1162"/>
                  <a:pt x="3154" y="1162"/>
                  <a:pt x="3154" y="1162"/>
                </a:cubicBezTo>
                <a:cubicBezTo>
                  <a:pt x="3154" y="1161"/>
                  <a:pt x="3154" y="1161"/>
                  <a:pt x="3153" y="1161"/>
                </a:cubicBezTo>
                <a:cubicBezTo>
                  <a:pt x="3153" y="1161"/>
                  <a:pt x="3152" y="1161"/>
                  <a:pt x="3152" y="1161"/>
                </a:cubicBezTo>
                <a:cubicBezTo>
                  <a:pt x="3152" y="1161"/>
                  <a:pt x="3151" y="1160"/>
                  <a:pt x="3151" y="1160"/>
                </a:cubicBezTo>
                <a:cubicBezTo>
                  <a:pt x="3150" y="1160"/>
                  <a:pt x="3150" y="1160"/>
                  <a:pt x="3150" y="1161"/>
                </a:cubicBezTo>
                <a:cubicBezTo>
                  <a:pt x="3150" y="1161"/>
                  <a:pt x="3150" y="1161"/>
                  <a:pt x="3150" y="1161"/>
                </a:cubicBezTo>
                <a:cubicBezTo>
                  <a:pt x="3149" y="1161"/>
                  <a:pt x="3150" y="1162"/>
                  <a:pt x="3150" y="1162"/>
                </a:cubicBezTo>
                <a:cubicBezTo>
                  <a:pt x="3150" y="1162"/>
                  <a:pt x="3150" y="1162"/>
                  <a:pt x="3151" y="1162"/>
                </a:cubicBezTo>
                <a:cubicBezTo>
                  <a:pt x="3151" y="1162"/>
                  <a:pt x="3151" y="1162"/>
                  <a:pt x="3151" y="1162"/>
                </a:cubicBezTo>
                <a:cubicBezTo>
                  <a:pt x="3152" y="1162"/>
                  <a:pt x="3152" y="1163"/>
                  <a:pt x="3152" y="1163"/>
                </a:cubicBezTo>
                <a:cubicBezTo>
                  <a:pt x="3152" y="1164"/>
                  <a:pt x="3152" y="1164"/>
                  <a:pt x="3152" y="1164"/>
                </a:cubicBezTo>
                <a:cubicBezTo>
                  <a:pt x="3152" y="1165"/>
                  <a:pt x="3152" y="1165"/>
                  <a:pt x="3152" y="1165"/>
                </a:cubicBezTo>
                <a:cubicBezTo>
                  <a:pt x="3152" y="1165"/>
                  <a:pt x="3152" y="1165"/>
                  <a:pt x="3152" y="1166"/>
                </a:cubicBezTo>
                <a:cubicBezTo>
                  <a:pt x="3152" y="1166"/>
                  <a:pt x="3152" y="1167"/>
                  <a:pt x="3152" y="1167"/>
                </a:cubicBezTo>
                <a:cubicBezTo>
                  <a:pt x="3152" y="1167"/>
                  <a:pt x="3152" y="1167"/>
                  <a:pt x="3152" y="1168"/>
                </a:cubicBezTo>
                <a:cubicBezTo>
                  <a:pt x="3152" y="1168"/>
                  <a:pt x="3152" y="1168"/>
                  <a:pt x="3152" y="1169"/>
                </a:cubicBezTo>
                <a:cubicBezTo>
                  <a:pt x="3152" y="1170"/>
                  <a:pt x="3152" y="1170"/>
                  <a:pt x="3151" y="1171"/>
                </a:cubicBezTo>
                <a:cubicBezTo>
                  <a:pt x="3151" y="1172"/>
                  <a:pt x="3150" y="1173"/>
                  <a:pt x="3151" y="1174"/>
                </a:cubicBezTo>
                <a:cubicBezTo>
                  <a:pt x="3151" y="1174"/>
                  <a:pt x="3151" y="1176"/>
                  <a:pt x="3151" y="1176"/>
                </a:cubicBezTo>
                <a:cubicBezTo>
                  <a:pt x="3150" y="1176"/>
                  <a:pt x="3150" y="1177"/>
                  <a:pt x="3150" y="1177"/>
                </a:cubicBezTo>
                <a:cubicBezTo>
                  <a:pt x="3150" y="1178"/>
                  <a:pt x="3151" y="1177"/>
                  <a:pt x="3151" y="1177"/>
                </a:cubicBezTo>
                <a:cubicBezTo>
                  <a:pt x="3151" y="1177"/>
                  <a:pt x="3152" y="1177"/>
                  <a:pt x="3152" y="1176"/>
                </a:cubicBezTo>
                <a:cubicBezTo>
                  <a:pt x="3152" y="1176"/>
                  <a:pt x="3152" y="1176"/>
                  <a:pt x="3153" y="1175"/>
                </a:cubicBezTo>
                <a:cubicBezTo>
                  <a:pt x="3153" y="1175"/>
                  <a:pt x="3153" y="1175"/>
                  <a:pt x="3154" y="1175"/>
                </a:cubicBezTo>
                <a:cubicBezTo>
                  <a:pt x="3154" y="1175"/>
                  <a:pt x="3155" y="1175"/>
                  <a:pt x="3155" y="1175"/>
                </a:cubicBezTo>
                <a:cubicBezTo>
                  <a:pt x="3156" y="1175"/>
                  <a:pt x="3157" y="1174"/>
                  <a:pt x="3157" y="1174"/>
                </a:cubicBezTo>
                <a:cubicBezTo>
                  <a:pt x="3158" y="1174"/>
                  <a:pt x="3158" y="1173"/>
                  <a:pt x="3158" y="1173"/>
                </a:cubicBezTo>
                <a:cubicBezTo>
                  <a:pt x="3159" y="1173"/>
                  <a:pt x="3159" y="1173"/>
                  <a:pt x="3159" y="1173"/>
                </a:cubicBezTo>
                <a:cubicBezTo>
                  <a:pt x="3160" y="1173"/>
                  <a:pt x="3160" y="1173"/>
                  <a:pt x="3160" y="1172"/>
                </a:cubicBezTo>
                <a:cubicBezTo>
                  <a:pt x="3160" y="1172"/>
                  <a:pt x="3160" y="1172"/>
                  <a:pt x="3160" y="1172"/>
                </a:cubicBezTo>
                <a:cubicBezTo>
                  <a:pt x="3160" y="1172"/>
                  <a:pt x="3160" y="1171"/>
                  <a:pt x="3160" y="1171"/>
                </a:cubicBezTo>
                <a:cubicBezTo>
                  <a:pt x="3160" y="1171"/>
                  <a:pt x="3160" y="1171"/>
                  <a:pt x="3160" y="1171"/>
                </a:cubicBezTo>
                <a:cubicBezTo>
                  <a:pt x="3161" y="1171"/>
                  <a:pt x="3161" y="1170"/>
                  <a:pt x="3161" y="1170"/>
                </a:cubicBezTo>
                <a:cubicBezTo>
                  <a:pt x="3162" y="1170"/>
                  <a:pt x="3162" y="1170"/>
                  <a:pt x="3162" y="1170"/>
                </a:cubicBezTo>
                <a:cubicBezTo>
                  <a:pt x="3163" y="1170"/>
                  <a:pt x="3163" y="1169"/>
                  <a:pt x="3163" y="1169"/>
                </a:cubicBezTo>
                <a:cubicBezTo>
                  <a:pt x="3163" y="1169"/>
                  <a:pt x="3163" y="1169"/>
                  <a:pt x="3163" y="1169"/>
                </a:cubicBezTo>
                <a:cubicBezTo>
                  <a:pt x="3163" y="1168"/>
                  <a:pt x="3164" y="1169"/>
                  <a:pt x="3164" y="1169"/>
                </a:cubicBezTo>
                <a:cubicBezTo>
                  <a:pt x="3164" y="1168"/>
                  <a:pt x="3164" y="1168"/>
                  <a:pt x="3164" y="1168"/>
                </a:cubicBezTo>
                <a:cubicBezTo>
                  <a:pt x="3164" y="1168"/>
                  <a:pt x="3165" y="1167"/>
                  <a:pt x="3165" y="1167"/>
                </a:cubicBezTo>
                <a:cubicBezTo>
                  <a:pt x="3164" y="1167"/>
                  <a:pt x="3164" y="1167"/>
                  <a:pt x="3164" y="1167"/>
                </a:cubicBezTo>
                <a:cubicBezTo>
                  <a:pt x="3164" y="1168"/>
                  <a:pt x="3164" y="1168"/>
                  <a:pt x="3164" y="1168"/>
                </a:cubicBezTo>
                <a:cubicBezTo>
                  <a:pt x="3163" y="1168"/>
                  <a:pt x="3164" y="1167"/>
                  <a:pt x="3164" y="1167"/>
                </a:cubicBezTo>
                <a:cubicBezTo>
                  <a:pt x="3164" y="1166"/>
                  <a:pt x="3164" y="1166"/>
                  <a:pt x="3164" y="1166"/>
                </a:cubicBezTo>
                <a:cubicBezTo>
                  <a:pt x="3164" y="1166"/>
                  <a:pt x="3164" y="1165"/>
                  <a:pt x="3164" y="1165"/>
                </a:cubicBezTo>
                <a:cubicBezTo>
                  <a:pt x="3164" y="1165"/>
                  <a:pt x="3164" y="1165"/>
                  <a:pt x="3164" y="1165"/>
                </a:cubicBezTo>
                <a:cubicBezTo>
                  <a:pt x="3164" y="1165"/>
                  <a:pt x="3164" y="1164"/>
                  <a:pt x="3164" y="1164"/>
                </a:cubicBezTo>
                <a:cubicBezTo>
                  <a:pt x="3165" y="1164"/>
                  <a:pt x="3165" y="1164"/>
                  <a:pt x="3164" y="1164"/>
                </a:cubicBezTo>
                <a:cubicBezTo>
                  <a:pt x="3164" y="1164"/>
                  <a:pt x="3164" y="1164"/>
                  <a:pt x="3164" y="1164"/>
                </a:cubicBezTo>
                <a:cubicBezTo>
                  <a:pt x="3164" y="1164"/>
                  <a:pt x="3164" y="1164"/>
                  <a:pt x="3164" y="1164"/>
                </a:cubicBezTo>
                <a:cubicBezTo>
                  <a:pt x="3164" y="1164"/>
                  <a:pt x="3164" y="1164"/>
                  <a:pt x="3163" y="1164"/>
                </a:cubicBezTo>
                <a:cubicBezTo>
                  <a:pt x="3163" y="1164"/>
                  <a:pt x="3163" y="1165"/>
                  <a:pt x="3163" y="1165"/>
                </a:cubicBezTo>
                <a:cubicBezTo>
                  <a:pt x="3162" y="1165"/>
                  <a:pt x="3162" y="1165"/>
                  <a:pt x="3162" y="1165"/>
                </a:cubicBezTo>
                <a:cubicBezTo>
                  <a:pt x="3162" y="1165"/>
                  <a:pt x="3161" y="1166"/>
                  <a:pt x="3161" y="1165"/>
                </a:cubicBezTo>
                <a:cubicBezTo>
                  <a:pt x="3161" y="1165"/>
                  <a:pt x="3161" y="1165"/>
                  <a:pt x="3162" y="1165"/>
                </a:cubicBezTo>
                <a:cubicBezTo>
                  <a:pt x="3162" y="1165"/>
                  <a:pt x="3161" y="1164"/>
                  <a:pt x="3161" y="1164"/>
                </a:cubicBezTo>
                <a:cubicBezTo>
                  <a:pt x="3161" y="1164"/>
                  <a:pt x="3161" y="1164"/>
                  <a:pt x="3161" y="1164"/>
                </a:cubicBezTo>
                <a:cubicBezTo>
                  <a:pt x="3161" y="1164"/>
                  <a:pt x="3160" y="1164"/>
                  <a:pt x="3160" y="1164"/>
                </a:cubicBezTo>
                <a:cubicBezTo>
                  <a:pt x="3160" y="1163"/>
                  <a:pt x="3159" y="1163"/>
                  <a:pt x="3159" y="1164"/>
                </a:cubicBezTo>
                <a:cubicBezTo>
                  <a:pt x="3159" y="1164"/>
                  <a:pt x="3159" y="1164"/>
                  <a:pt x="3159" y="1164"/>
                </a:cubicBezTo>
                <a:cubicBezTo>
                  <a:pt x="3158" y="1164"/>
                  <a:pt x="3158" y="1164"/>
                  <a:pt x="3158" y="1165"/>
                </a:cubicBezTo>
                <a:cubicBezTo>
                  <a:pt x="3158" y="1165"/>
                  <a:pt x="3158" y="1165"/>
                  <a:pt x="3158" y="1164"/>
                </a:cubicBezTo>
                <a:cubicBezTo>
                  <a:pt x="3158" y="1164"/>
                  <a:pt x="3157" y="1164"/>
                  <a:pt x="3157" y="1164"/>
                </a:cubicBezTo>
                <a:cubicBezTo>
                  <a:pt x="3157" y="1164"/>
                  <a:pt x="3156" y="1165"/>
                  <a:pt x="3156" y="1164"/>
                </a:cubicBezTo>
                <a:cubicBezTo>
                  <a:pt x="3156" y="1164"/>
                  <a:pt x="3157" y="1164"/>
                  <a:pt x="3157" y="1164"/>
                </a:cubicBezTo>
                <a:cubicBezTo>
                  <a:pt x="3157" y="1163"/>
                  <a:pt x="3156" y="1163"/>
                  <a:pt x="3156" y="1163"/>
                </a:cubicBezTo>
                <a:cubicBezTo>
                  <a:pt x="3156" y="1162"/>
                  <a:pt x="3155" y="1162"/>
                  <a:pt x="3155" y="1162"/>
                </a:cubicBezTo>
                <a:close/>
                <a:moveTo>
                  <a:pt x="3166" y="1152"/>
                </a:moveTo>
                <a:cubicBezTo>
                  <a:pt x="3166" y="1152"/>
                  <a:pt x="3166" y="1152"/>
                  <a:pt x="3165" y="1152"/>
                </a:cubicBezTo>
                <a:cubicBezTo>
                  <a:pt x="3165" y="1152"/>
                  <a:pt x="3165" y="1154"/>
                  <a:pt x="3165" y="1154"/>
                </a:cubicBezTo>
                <a:cubicBezTo>
                  <a:pt x="3166" y="1154"/>
                  <a:pt x="3166" y="1154"/>
                  <a:pt x="3166" y="1155"/>
                </a:cubicBezTo>
                <a:cubicBezTo>
                  <a:pt x="3166" y="1155"/>
                  <a:pt x="3166" y="1155"/>
                  <a:pt x="3165" y="1155"/>
                </a:cubicBezTo>
                <a:cubicBezTo>
                  <a:pt x="3165" y="1155"/>
                  <a:pt x="3165" y="1155"/>
                  <a:pt x="3165" y="1155"/>
                </a:cubicBezTo>
                <a:cubicBezTo>
                  <a:pt x="3165" y="1155"/>
                  <a:pt x="3165" y="1155"/>
                  <a:pt x="3165" y="1156"/>
                </a:cubicBezTo>
                <a:cubicBezTo>
                  <a:pt x="3165" y="1156"/>
                  <a:pt x="3165" y="1157"/>
                  <a:pt x="3165" y="1157"/>
                </a:cubicBezTo>
                <a:cubicBezTo>
                  <a:pt x="3165" y="1156"/>
                  <a:pt x="3166" y="1156"/>
                  <a:pt x="3166" y="1156"/>
                </a:cubicBezTo>
                <a:cubicBezTo>
                  <a:pt x="3166" y="1156"/>
                  <a:pt x="3165" y="1157"/>
                  <a:pt x="3165" y="1157"/>
                </a:cubicBezTo>
                <a:cubicBezTo>
                  <a:pt x="3165" y="1158"/>
                  <a:pt x="3165" y="1158"/>
                  <a:pt x="3165" y="1158"/>
                </a:cubicBezTo>
                <a:cubicBezTo>
                  <a:pt x="3165" y="1158"/>
                  <a:pt x="3165" y="1159"/>
                  <a:pt x="3165" y="1159"/>
                </a:cubicBezTo>
                <a:cubicBezTo>
                  <a:pt x="3165" y="1159"/>
                  <a:pt x="3164" y="1160"/>
                  <a:pt x="3164" y="1160"/>
                </a:cubicBezTo>
                <a:cubicBezTo>
                  <a:pt x="3165" y="1160"/>
                  <a:pt x="3166" y="1159"/>
                  <a:pt x="3166" y="1158"/>
                </a:cubicBezTo>
                <a:cubicBezTo>
                  <a:pt x="3166" y="1158"/>
                  <a:pt x="3166" y="1158"/>
                  <a:pt x="3167" y="1158"/>
                </a:cubicBezTo>
                <a:cubicBezTo>
                  <a:pt x="3167" y="1158"/>
                  <a:pt x="3167" y="1157"/>
                  <a:pt x="3167" y="1157"/>
                </a:cubicBezTo>
                <a:cubicBezTo>
                  <a:pt x="3168" y="1157"/>
                  <a:pt x="3168" y="1156"/>
                  <a:pt x="3168" y="1157"/>
                </a:cubicBezTo>
                <a:cubicBezTo>
                  <a:pt x="3169" y="1157"/>
                  <a:pt x="3169" y="1157"/>
                  <a:pt x="3169" y="1157"/>
                </a:cubicBezTo>
                <a:cubicBezTo>
                  <a:pt x="3169" y="1157"/>
                  <a:pt x="3169" y="1158"/>
                  <a:pt x="3170" y="1158"/>
                </a:cubicBezTo>
                <a:cubicBezTo>
                  <a:pt x="3170" y="1158"/>
                  <a:pt x="3170" y="1158"/>
                  <a:pt x="3170" y="1159"/>
                </a:cubicBezTo>
                <a:cubicBezTo>
                  <a:pt x="3170" y="1159"/>
                  <a:pt x="3171" y="1159"/>
                  <a:pt x="3171" y="1159"/>
                </a:cubicBezTo>
                <a:cubicBezTo>
                  <a:pt x="3171" y="1160"/>
                  <a:pt x="3171" y="1160"/>
                  <a:pt x="3171" y="1160"/>
                </a:cubicBezTo>
                <a:cubicBezTo>
                  <a:pt x="3172" y="1160"/>
                  <a:pt x="3172" y="1160"/>
                  <a:pt x="3173" y="1161"/>
                </a:cubicBezTo>
                <a:cubicBezTo>
                  <a:pt x="3173" y="1161"/>
                  <a:pt x="3174" y="1161"/>
                  <a:pt x="3174" y="1162"/>
                </a:cubicBezTo>
                <a:cubicBezTo>
                  <a:pt x="3174" y="1162"/>
                  <a:pt x="3174" y="1162"/>
                  <a:pt x="3175" y="1162"/>
                </a:cubicBezTo>
                <a:cubicBezTo>
                  <a:pt x="3175" y="1162"/>
                  <a:pt x="3174" y="1162"/>
                  <a:pt x="3174" y="1162"/>
                </a:cubicBezTo>
                <a:cubicBezTo>
                  <a:pt x="3174" y="1161"/>
                  <a:pt x="3175" y="1161"/>
                  <a:pt x="3174" y="1161"/>
                </a:cubicBezTo>
                <a:cubicBezTo>
                  <a:pt x="3174" y="1160"/>
                  <a:pt x="3174" y="1160"/>
                  <a:pt x="3174" y="1159"/>
                </a:cubicBezTo>
                <a:cubicBezTo>
                  <a:pt x="3174" y="1159"/>
                  <a:pt x="3174" y="1159"/>
                  <a:pt x="3174" y="1158"/>
                </a:cubicBezTo>
                <a:cubicBezTo>
                  <a:pt x="3174" y="1158"/>
                  <a:pt x="3173" y="1157"/>
                  <a:pt x="3173" y="1157"/>
                </a:cubicBezTo>
                <a:cubicBezTo>
                  <a:pt x="3173" y="1157"/>
                  <a:pt x="3172" y="1156"/>
                  <a:pt x="3172" y="1156"/>
                </a:cubicBezTo>
                <a:cubicBezTo>
                  <a:pt x="3172" y="1156"/>
                  <a:pt x="3172" y="1156"/>
                  <a:pt x="3172" y="1156"/>
                </a:cubicBezTo>
                <a:cubicBezTo>
                  <a:pt x="3172" y="1156"/>
                  <a:pt x="3172" y="1156"/>
                  <a:pt x="3172" y="1157"/>
                </a:cubicBezTo>
                <a:cubicBezTo>
                  <a:pt x="3171" y="1157"/>
                  <a:pt x="3170" y="1155"/>
                  <a:pt x="3170" y="1155"/>
                </a:cubicBezTo>
                <a:cubicBezTo>
                  <a:pt x="3170" y="1155"/>
                  <a:pt x="3170" y="1155"/>
                  <a:pt x="3169" y="1155"/>
                </a:cubicBezTo>
                <a:cubicBezTo>
                  <a:pt x="3169" y="1155"/>
                  <a:pt x="3169" y="1154"/>
                  <a:pt x="3169" y="1154"/>
                </a:cubicBezTo>
                <a:cubicBezTo>
                  <a:pt x="3169" y="1154"/>
                  <a:pt x="3169" y="1154"/>
                  <a:pt x="3168" y="1154"/>
                </a:cubicBezTo>
                <a:cubicBezTo>
                  <a:pt x="3168" y="1154"/>
                  <a:pt x="3168" y="1153"/>
                  <a:pt x="3168" y="1153"/>
                </a:cubicBezTo>
                <a:cubicBezTo>
                  <a:pt x="3167" y="1153"/>
                  <a:pt x="3167" y="1153"/>
                  <a:pt x="3167" y="1153"/>
                </a:cubicBezTo>
                <a:cubicBezTo>
                  <a:pt x="3167" y="1153"/>
                  <a:pt x="3166" y="1154"/>
                  <a:pt x="3166" y="1154"/>
                </a:cubicBezTo>
                <a:cubicBezTo>
                  <a:pt x="3166" y="1154"/>
                  <a:pt x="3167" y="1153"/>
                  <a:pt x="3167" y="1153"/>
                </a:cubicBezTo>
                <a:cubicBezTo>
                  <a:pt x="3167" y="1153"/>
                  <a:pt x="3166" y="1153"/>
                  <a:pt x="3166" y="1152"/>
                </a:cubicBezTo>
                <a:close/>
                <a:moveTo>
                  <a:pt x="3134" y="1225"/>
                </a:moveTo>
                <a:cubicBezTo>
                  <a:pt x="3134" y="1225"/>
                  <a:pt x="3134" y="1225"/>
                  <a:pt x="3134" y="1226"/>
                </a:cubicBezTo>
                <a:cubicBezTo>
                  <a:pt x="3134" y="1226"/>
                  <a:pt x="3135" y="1226"/>
                  <a:pt x="3135" y="1225"/>
                </a:cubicBezTo>
                <a:cubicBezTo>
                  <a:pt x="3135" y="1225"/>
                  <a:pt x="3135" y="1225"/>
                  <a:pt x="3135" y="1224"/>
                </a:cubicBezTo>
                <a:cubicBezTo>
                  <a:pt x="3135" y="1224"/>
                  <a:pt x="3135" y="1224"/>
                  <a:pt x="3135" y="1224"/>
                </a:cubicBezTo>
                <a:cubicBezTo>
                  <a:pt x="3135" y="1223"/>
                  <a:pt x="3135" y="1225"/>
                  <a:pt x="3134" y="1225"/>
                </a:cubicBezTo>
                <a:close/>
                <a:moveTo>
                  <a:pt x="3138" y="1233"/>
                </a:moveTo>
                <a:cubicBezTo>
                  <a:pt x="3138" y="1234"/>
                  <a:pt x="3138" y="1234"/>
                  <a:pt x="3138" y="1234"/>
                </a:cubicBezTo>
                <a:cubicBezTo>
                  <a:pt x="3137" y="1234"/>
                  <a:pt x="3137" y="1234"/>
                  <a:pt x="3137" y="1233"/>
                </a:cubicBezTo>
                <a:cubicBezTo>
                  <a:pt x="3137" y="1233"/>
                  <a:pt x="3137" y="1234"/>
                  <a:pt x="3137" y="1234"/>
                </a:cubicBezTo>
                <a:cubicBezTo>
                  <a:pt x="3137" y="1235"/>
                  <a:pt x="3138" y="1234"/>
                  <a:pt x="3138" y="1234"/>
                </a:cubicBezTo>
                <a:cubicBezTo>
                  <a:pt x="3138" y="1234"/>
                  <a:pt x="3138" y="1234"/>
                  <a:pt x="3139" y="1234"/>
                </a:cubicBezTo>
                <a:cubicBezTo>
                  <a:pt x="3139" y="1234"/>
                  <a:pt x="3139" y="1234"/>
                  <a:pt x="3138" y="1233"/>
                </a:cubicBezTo>
                <a:cubicBezTo>
                  <a:pt x="3138" y="1233"/>
                  <a:pt x="3138" y="1233"/>
                  <a:pt x="3138" y="1233"/>
                </a:cubicBezTo>
                <a:close/>
                <a:moveTo>
                  <a:pt x="3171" y="1167"/>
                </a:moveTo>
                <a:cubicBezTo>
                  <a:pt x="3170" y="1167"/>
                  <a:pt x="3170" y="1168"/>
                  <a:pt x="3170" y="1168"/>
                </a:cubicBezTo>
                <a:cubicBezTo>
                  <a:pt x="3170" y="1168"/>
                  <a:pt x="3171" y="1168"/>
                  <a:pt x="3171" y="1169"/>
                </a:cubicBezTo>
                <a:cubicBezTo>
                  <a:pt x="3171" y="1169"/>
                  <a:pt x="3171" y="1169"/>
                  <a:pt x="3171" y="1169"/>
                </a:cubicBezTo>
                <a:cubicBezTo>
                  <a:pt x="3172" y="1169"/>
                  <a:pt x="3172" y="1169"/>
                  <a:pt x="3172" y="1169"/>
                </a:cubicBezTo>
                <a:cubicBezTo>
                  <a:pt x="3172" y="1168"/>
                  <a:pt x="3172" y="1168"/>
                  <a:pt x="3172" y="1168"/>
                </a:cubicBezTo>
                <a:cubicBezTo>
                  <a:pt x="3171" y="1168"/>
                  <a:pt x="3171" y="1168"/>
                  <a:pt x="3171" y="1168"/>
                </a:cubicBezTo>
                <a:cubicBezTo>
                  <a:pt x="3171" y="1168"/>
                  <a:pt x="3171" y="1168"/>
                  <a:pt x="3171" y="1167"/>
                </a:cubicBezTo>
                <a:cubicBezTo>
                  <a:pt x="3171" y="1167"/>
                  <a:pt x="3171" y="1167"/>
                  <a:pt x="3171" y="1167"/>
                </a:cubicBezTo>
                <a:close/>
                <a:moveTo>
                  <a:pt x="3139" y="1232"/>
                </a:moveTo>
                <a:cubicBezTo>
                  <a:pt x="3139" y="1231"/>
                  <a:pt x="3139" y="1231"/>
                  <a:pt x="3138" y="1231"/>
                </a:cubicBezTo>
                <a:cubicBezTo>
                  <a:pt x="3138" y="1232"/>
                  <a:pt x="3138" y="1232"/>
                  <a:pt x="3138" y="1232"/>
                </a:cubicBezTo>
                <a:cubicBezTo>
                  <a:pt x="3138" y="1232"/>
                  <a:pt x="3138" y="1232"/>
                  <a:pt x="3137" y="1232"/>
                </a:cubicBezTo>
                <a:cubicBezTo>
                  <a:pt x="3137" y="1233"/>
                  <a:pt x="3138" y="1232"/>
                  <a:pt x="3138" y="1232"/>
                </a:cubicBezTo>
                <a:cubicBezTo>
                  <a:pt x="3139" y="1232"/>
                  <a:pt x="3139" y="1232"/>
                  <a:pt x="3139" y="1232"/>
                </a:cubicBezTo>
                <a:close/>
                <a:moveTo>
                  <a:pt x="3148" y="1137"/>
                </a:moveTo>
                <a:cubicBezTo>
                  <a:pt x="3148" y="1137"/>
                  <a:pt x="3149" y="1137"/>
                  <a:pt x="3149" y="1137"/>
                </a:cubicBezTo>
                <a:cubicBezTo>
                  <a:pt x="3149" y="1137"/>
                  <a:pt x="3148" y="1137"/>
                  <a:pt x="3148" y="1137"/>
                </a:cubicBezTo>
                <a:close/>
                <a:moveTo>
                  <a:pt x="3144" y="1228"/>
                </a:moveTo>
                <a:cubicBezTo>
                  <a:pt x="3144" y="1229"/>
                  <a:pt x="3143" y="1228"/>
                  <a:pt x="3143" y="1228"/>
                </a:cubicBezTo>
                <a:cubicBezTo>
                  <a:pt x="3142" y="1228"/>
                  <a:pt x="3142" y="1229"/>
                  <a:pt x="3142" y="1228"/>
                </a:cubicBezTo>
                <a:cubicBezTo>
                  <a:pt x="3142" y="1228"/>
                  <a:pt x="3141" y="1227"/>
                  <a:pt x="3141" y="1227"/>
                </a:cubicBezTo>
                <a:cubicBezTo>
                  <a:pt x="3140" y="1227"/>
                  <a:pt x="3140" y="1228"/>
                  <a:pt x="3140" y="1228"/>
                </a:cubicBezTo>
                <a:cubicBezTo>
                  <a:pt x="3139" y="1228"/>
                  <a:pt x="3139" y="1228"/>
                  <a:pt x="3138" y="1229"/>
                </a:cubicBezTo>
                <a:cubicBezTo>
                  <a:pt x="3138" y="1229"/>
                  <a:pt x="3138" y="1229"/>
                  <a:pt x="3139" y="1230"/>
                </a:cubicBezTo>
                <a:cubicBezTo>
                  <a:pt x="3139" y="1230"/>
                  <a:pt x="3139" y="1230"/>
                  <a:pt x="3139" y="1230"/>
                </a:cubicBezTo>
                <a:cubicBezTo>
                  <a:pt x="3140" y="1229"/>
                  <a:pt x="3140" y="1229"/>
                  <a:pt x="3140" y="1229"/>
                </a:cubicBezTo>
                <a:cubicBezTo>
                  <a:pt x="3140" y="1229"/>
                  <a:pt x="3140" y="1230"/>
                  <a:pt x="3141" y="1230"/>
                </a:cubicBezTo>
                <a:cubicBezTo>
                  <a:pt x="3141" y="1230"/>
                  <a:pt x="3141" y="1230"/>
                  <a:pt x="3141" y="1229"/>
                </a:cubicBezTo>
                <a:cubicBezTo>
                  <a:pt x="3142" y="1229"/>
                  <a:pt x="3142" y="1229"/>
                  <a:pt x="3142" y="1229"/>
                </a:cubicBezTo>
                <a:cubicBezTo>
                  <a:pt x="3143" y="1229"/>
                  <a:pt x="3142" y="1230"/>
                  <a:pt x="3143" y="1230"/>
                </a:cubicBezTo>
                <a:cubicBezTo>
                  <a:pt x="3143" y="1230"/>
                  <a:pt x="3143" y="1230"/>
                  <a:pt x="3143" y="1230"/>
                </a:cubicBezTo>
                <a:cubicBezTo>
                  <a:pt x="3143" y="1230"/>
                  <a:pt x="3144" y="1230"/>
                  <a:pt x="3144" y="1229"/>
                </a:cubicBezTo>
                <a:cubicBezTo>
                  <a:pt x="3144" y="1229"/>
                  <a:pt x="3145" y="1229"/>
                  <a:pt x="3145" y="1229"/>
                </a:cubicBezTo>
                <a:cubicBezTo>
                  <a:pt x="3145" y="1229"/>
                  <a:pt x="3144" y="1229"/>
                  <a:pt x="3145" y="1228"/>
                </a:cubicBezTo>
                <a:cubicBezTo>
                  <a:pt x="3145" y="1228"/>
                  <a:pt x="3145" y="1228"/>
                  <a:pt x="3145" y="1228"/>
                </a:cubicBezTo>
                <a:cubicBezTo>
                  <a:pt x="3145" y="1228"/>
                  <a:pt x="3144" y="1228"/>
                  <a:pt x="3144" y="1228"/>
                </a:cubicBezTo>
                <a:close/>
                <a:moveTo>
                  <a:pt x="3146" y="1153"/>
                </a:moveTo>
                <a:cubicBezTo>
                  <a:pt x="3146" y="1153"/>
                  <a:pt x="3146" y="1153"/>
                  <a:pt x="3146" y="1152"/>
                </a:cubicBezTo>
                <a:cubicBezTo>
                  <a:pt x="3146" y="1152"/>
                  <a:pt x="3146" y="1152"/>
                  <a:pt x="3146" y="1151"/>
                </a:cubicBezTo>
                <a:cubicBezTo>
                  <a:pt x="3146" y="1151"/>
                  <a:pt x="3145" y="1151"/>
                  <a:pt x="3145" y="1150"/>
                </a:cubicBezTo>
                <a:cubicBezTo>
                  <a:pt x="3145" y="1150"/>
                  <a:pt x="3145" y="1150"/>
                  <a:pt x="3145" y="1149"/>
                </a:cubicBezTo>
                <a:cubicBezTo>
                  <a:pt x="3145" y="1149"/>
                  <a:pt x="3145" y="1149"/>
                  <a:pt x="3145" y="1149"/>
                </a:cubicBezTo>
                <a:cubicBezTo>
                  <a:pt x="3145" y="1149"/>
                  <a:pt x="3146" y="1148"/>
                  <a:pt x="3146" y="1148"/>
                </a:cubicBezTo>
                <a:cubicBezTo>
                  <a:pt x="3146" y="1148"/>
                  <a:pt x="3145" y="1148"/>
                  <a:pt x="3145" y="1148"/>
                </a:cubicBezTo>
                <a:cubicBezTo>
                  <a:pt x="3145" y="1147"/>
                  <a:pt x="3146" y="1147"/>
                  <a:pt x="3146" y="1147"/>
                </a:cubicBezTo>
                <a:cubicBezTo>
                  <a:pt x="3146" y="1147"/>
                  <a:pt x="3146" y="1147"/>
                  <a:pt x="3146" y="1146"/>
                </a:cubicBezTo>
                <a:cubicBezTo>
                  <a:pt x="3146" y="1146"/>
                  <a:pt x="3146" y="1145"/>
                  <a:pt x="3146" y="1145"/>
                </a:cubicBezTo>
                <a:cubicBezTo>
                  <a:pt x="3146" y="1145"/>
                  <a:pt x="3146" y="1146"/>
                  <a:pt x="3145" y="1146"/>
                </a:cubicBezTo>
                <a:cubicBezTo>
                  <a:pt x="3145" y="1146"/>
                  <a:pt x="3145" y="1146"/>
                  <a:pt x="3145" y="1145"/>
                </a:cubicBezTo>
                <a:cubicBezTo>
                  <a:pt x="3145" y="1145"/>
                  <a:pt x="3145" y="1145"/>
                  <a:pt x="3144" y="1144"/>
                </a:cubicBezTo>
                <a:cubicBezTo>
                  <a:pt x="3144" y="1144"/>
                  <a:pt x="3144" y="1144"/>
                  <a:pt x="3143" y="1144"/>
                </a:cubicBezTo>
                <a:cubicBezTo>
                  <a:pt x="3143" y="1143"/>
                  <a:pt x="3143" y="1143"/>
                  <a:pt x="3143" y="1143"/>
                </a:cubicBezTo>
                <a:cubicBezTo>
                  <a:pt x="3142" y="1142"/>
                  <a:pt x="3141" y="1143"/>
                  <a:pt x="3140" y="1143"/>
                </a:cubicBezTo>
                <a:cubicBezTo>
                  <a:pt x="3140" y="1142"/>
                  <a:pt x="3140" y="1141"/>
                  <a:pt x="3139" y="1142"/>
                </a:cubicBezTo>
                <a:cubicBezTo>
                  <a:pt x="3138" y="1142"/>
                  <a:pt x="3138" y="1142"/>
                  <a:pt x="3137" y="1142"/>
                </a:cubicBezTo>
                <a:cubicBezTo>
                  <a:pt x="3136" y="1142"/>
                  <a:pt x="3136" y="1142"/>
                  <a:pt x="3135" y="1142"/>
                </a:cubicBezTo>
                <a:cubicBezTo>
                  <a:pt x="3134" y="1142"/>
                  <a:pt x="3134" y="1142"/>
                  <a:pt x="3133" y="1142"/>
                </a:cubicBezTo>
                <a:cubicBezTo>
                  <a:pt x="3133" y="1142"/>
                  <a:pt x="3133" y="1142"/>
                  <a:pt x="3132" y="1142"/>
                </a:cubicBezTo>
                <a:cubicBezTo>
                  <a:pt x="3132" y="1142"/>
                  <a:pt x="3132" y="1143"/>
                  <a:pt x="3133" y="1143"/>
                </a:cubicBezTo>
                <a:cubicBezTo>
                  <a:pt x="3133" y="1143"/>
                  <a:pt x="3133" y="1142"/>
                  <a:pt x="3134" y="1143"/>
                </a:cubicBezTo>
                <a:cubicBezTo>
                  <a:pt x="3134" y="1143"/>
                  <a:pt x="3134" y="1144"/>
                  <a:pt x="3135" y="1145"/>
                </a:cubicBezTo>
                <a:cubicBezTo>
                  <a:pt x="3135" y="1145"/>
                  <a:pt x="3135" y="1145"/>
                  <a:pt x="3135" y="1145"/>
                </a:cubicBezTo>
                <a:cubicBezTo>
                  <a:pt x="3136" y="1145"/>
                  <a:pt x="3136" y="1146"/>
                  <a:pt x="3136" y="1146"/>
                </a:cubicBezTo>
                <a:cubicBezTo>
                  <a:pt x="3137" y="1146"/>
                  <a:pt x="3137" y="1147"/>
                  <a:pt x="3137" y="1148"/>
                </a:cubicBezTo>
                <a:cubicBezTo>
                  <a:pt x="3137" y="1148"/>
                  <a:pt x="3138" y="1149"/>
                  <a:pt x="3138" y="1149"/>
                </a:cubicBezTo>
                <a:cubicBezTo>
                  <a:pt x="3138" y="1149"/>
                  <a:pt x="3137" y="1149"/>
                  <a:pt x="3137" y="1149"/>
                </a:cubicBezTo>
                <a:cubicBezTo>
                  <a:pt x="3137" y="1150"/>
                  <a:pt x="3138" y="1150"/>
                  <a:pt x="3138" y="1150"/>
                </a:cubicBezTo>
                <a:cubicBezTo>
                  <a:pt x="3138" y="1150"/>
                  <a:pt x="3138" y="1151"/>
                  <a:pt x="3138" y="1151"/>
                </a:cubicBezTo>
                <a:cubicBezTo>
                  <a:pt x="3139" y="1151"/>
                  <a:pt x="3139" y="1151"/>
                  <a:pt x="3139" y="1152"/>
                </a:cubicBezTo>
                <a:cubicBezTo>
                  <a:pt x="3139" y="1152"/>
                  <a:pt x="3139" y="1153"/>
                  <a:pt x="3139" y="1153"/>
                </a:cubicBezTo>
                <a:cubicBezTo>
                  <a:pt x="3139" y="1153"/>
                  <a:pt x="3139" y="1154"/>
                  <a:pt x="3140" y="1154"/>
                </a:cubicBezTo>
                <a:cubicBezTo>
                  <a:pt x="3140" y="1154"/>
                  <a:pt x="3140" y="1154"/>
                  <a:pt x="3140" y="1155"/>
                </a:cubicBezTo>
                <a:cubicBezTo>
                  <a:pt x="3141" y="1155"/>
                  <a:pt x="3141" y="1155"/>
                  <a:pt x="3141" y="1155"/>
                </a:cubicBezTo>
                <a:cubicBezTo>
                  <a:pt x="3141" y="1156"/>
                  <a:pt x="3141" y="1156"/>
                  <a:pt x="3142" y="1156"/>
                </a:cubicBezTo>
                <a:cubicBezTo>
                  <a:pt x="3142" y="1156"/>
                  <a:pt x="3142" y="1156"/>
                  <a:pt x="3142" y="1156"/>
                </a:cubicBezTo>
                <a:cubicBezTo>
                  <a:pt x="3142" y="1156"/>
                  <a:pt x="3143" y="1157"/>
                  <a:pt x="3143" y="1157"/>
                </a:cubicBezTo>
                <a:cubicBezTo>
                  <a:pt x="3143" y="1156"/>
                  <a:pt x="3143" y="1156"/>
                  <a:pt x="3144" y="1156"/>
                </a:cubicBezTo>
                <a:cubicBezTo>
                  <a:pt x="3144" y="1156"/>
                  <a:pt x="3144" y="1156"/>
                  <a:pt x="3144" y="1156"/>
                </a:cubicBezTo>
                <a:cubicBezTo>
                  <a:pt x="3144" y="1156"/>
                  <a:pt x="3144" y="1155"/>
                  <a:pt x="3144" y="1155"/>
                </a:cubicBezTo>
                <a:cubicBezTo>
                  <a:pt x="3145" y="1155"/>
                  <a:pt x="3145" y="1155"/>
                  <a:pt x="3145" y="1155"/>
                </a:cubicBezTo>
                <a:cubicBezTo>
                  <a:pt x="3145" y="1154"/>
                  <a:pt x="3145" y="1154"/>
                  <a:pt x="3145" y="1153"/>
                </a:cubicBezTo>
                <a:cubicBezTo>
                  <a:pt x="3145" y="1153"/>
                  <a:pt x="3145" y="1153"/>
                  <a:pt x="3146" y="1153"/>
                </a:cubicBezTo>
                <a:close/>
                <a:moveTo>
                  <a:pt x="3140" y="1173"/>
                </a:moveTo>
                <a:cubicBezTo>
                  <a:pt x="3139" y="1173"/>
                  <a:pt x="3140" y="1173"/>
                  <a:pt x="3140" y="1173"/>
                </a:cubicBezTo>
                <a:cubicBezTo>
                  <a:pt x="3141" y="1173"/>
                  <a:pt x="3141" y="1173"/>
                  <a:pt x="3141" y="1173"/>
                </a:cubicBezTo>
                <a:cubicBezTo>
                  <a:pt x="3141" y="1173"/>
                  <a:pt x="3141" y="1171"/>
                  <a:pt x="3141" y="1172"/>
                </a:cubicBezTo>
                <a:cubicBezTo>
                  <a:pt x="3141" y="1172"/>
                  <a:pt x="3141" y="1172"/>
                  <a:pt x="3140" y="1172"/>
                </a:cubicBezTo>
                <a:cubicBezTo>
                  <a:pt x="3140" y="1172"/>
                  <a:pt x="3140" y="1172"/>
                  <a:pt x="3140" y="1172"/>
                </a:cubicBezTo>
                <a:cubicBezTo>
                  <a:pt x="3140" y="1172"/>
                  <a:pt x="3140" y="1173"/>
                  <a:pt x="3140" y="1173"/>
                </a:cubicBezTo>
                <a:close/>
                <a:moveTo>
                  <a:pt x="3126" y="1177"/>
                </a:moveTo>
                <a:cubicBezTo>
                  <a:pt x="3127" y="1177"/>
                  <a:pt x="3127" y="1177"/>
                  <a:pt x="3127" y="1177"/>
                </a:cubicBezTo>
                <a:cubicBezTo>
                  <a:pt x="3127" y="1176"/>
                  <a:pt x="3127" y="1177"/>
                  <a:pt x="3127" y="1177"/>
                </a:cubicBezTo>
                <a:cubicBezTo>
                  <a:pt x="3128" y="1177"/>
                  <a:pt x="3128" y="1176"/>
                  <a:pt x="3128" y="1176"/>
                </a:cubicBezTo>
                <a:cubicBezTo>
                  <a:pt x="3128" y="1176"/>
                  <a:pt x="3128" y="1176"/>
                  <a:pt x="3128" y="1176"/>
                </a:cubicBezTo>
                <a:cubicBezTo>
                  <a:pt x="3128" y="1176"/>
                  <a:pt x="3129" y="1176"/>
                  <a:pt x="3129" y="1176"/>
                </a:cubicBezTo>
                <a:cubicBezTo>
                  <a:pt x="3129" y="1175"/>
                  <a:pt x="3128" y="1175"/>
                  <a:pt x="3128" y="1175"/>
                </a:cubicBezTo>
                <a:cubicBezTo>
                  <a:pt x="3128" y="1175"/>
                  <a:pt x="3127" y="1175"/>
                  <a:pt x="3127" y="1175"/>
                </a:cubicBezTo>
                <a:cubicBezTo>
                  <a:pt x="3127" y="1174"/>
                  <a:pt x="3127" y="1175"/>
                  <a:pt x="3127" y="1175"/>
                </a:cubicBezTo>
                <a:cubicBezTo>
                  <a:pt x="3127" y="1175"/>
                  <a:pt x="3126" y="1176"/>
                  <a:pt x="3126" y="1176"/>
                </a:cubicBezTo>
                <a:cubicBezTo>
                  <a:pt x="3126" y="1176"/>
                  <a:pt x="3126" y="1176"/>
                  <a:pt x="3126" y="1176"/>
                </a:cubicBezTo>
                <a:cubicBezTo>
                  <a:pt x="3126" y="1176"/>
                  <a:pt x="3126" y="1176"/>
                  <a:pt x="3126" y="1177"/>
                </a:cubicBezTo>
                <a:cubicBezTo>
                  <a:pt x="3126" y="1177"/>
                  <a:pt x="3126" y="1177"/>
                  <a:pt x="3126" y="1177"/>
                </a:cubicBezTo>
                <a:close/>
                <a:moveTo>
                  <a:pt x="3128" y="1159"/>
                </a:moveTo>
                <a:cubicBezTo>
                  <a:pt x="3128" y="1159"/>
                  <a:pt x="3128" y="1160"/>
                  <a:pt x="3128" y="1159"/>
                </a:cubicBezTo>
                <a:cubicBezTo>
                  <a:pt x="3128" y="1159"/>
                  <a:pt x="3127" y="1159"/>
                  <a:pt x="3127" y="1159"/>
                </a:cubicBezTo>
                <a:cubicBezTo>
                  <a:pt x="3127" y="1159"/>
                  <a:pt x="3127" y="1159"/>
                  <a:pt x="3127" y="1160"/>
                </a:cubicBezTo>
                <a:cubicBezTo>
                  <a:pt x="3127" y="1160"/>
                  <a:pt x="3127" y="1159"/>
                  <a:pt x="3127" y="1159"/>
                </a:cubicBezTo>
                <a:cubicBezTo>
                  <a:pt x="3127" y="1160"/>
                  <a:pt x="3127" y="1160"/>
                  <a:pt x="3127" y="1160"/>
                </a:cubicBezTo>
                <a:cubicBezTo>
                  <a:pt x="3127" y="1161"/>
                  <a:pt x="3128" y="1161"/>
                  <a:pt x="3128" y="1161"/>
                </a:cubicBezTo>
                <a:cubicBezTo>
                  <a:pt x="3128" y="1161"/>
                  <a:pt x="3128" y="1161"/>
                  <a:pt x="3128" y="1161"/>
                </a:cubicBezTo>
                <a:cubicBezTo>
                  <a:pt x="3128" y="1162"/>
                  <a:pt x="3128" y="1161"/>
                  <a:pt x="3129" y="1162"/>
                </a:cubicBezTo>
                <a:cubicBezTo>
                  <a:pt x="3129" y="1162"/>
                  <a:pt x="3128" y="1162"/>
                  <a:pt x="3128" y="1162"/>
                </a:cubicBezTo>
                <a:cubicBezTo>
                  <a:pt x="3128" y="1162"/>
                  <a:pt x="3128" y="1162"/>
                  <a:pt x="3128" y="1163"/>
                </a:cubicBezTo>
                <a:cubicBezTo>
                  <a:pt x="3128" y="1163"/>
                  <a:pt x="3128" y="1163"/>
                  <a:pt x="3128" y="1163"/>
                </a:cubicBezTo>
                <a:cubicBezTo>
                  <a:pt x="3128" y="1163"/>
                  <a:pt x="3128" y="1164"/>
                  <a:pt x="3128" y="1163"/>
                </a:cubicBezTo>
                <a:cubicBezTo>
                  <a:pt x="3128" y="1163"/>
                  <a:pt x="3128" y="1163"/>
                  <a:pt x="3129" y="1163"/>
                </a:cubicBezTo>
                <a:cubicBezTo>
                  <a:pt x="3129" y="1163"/>
                  <a:pt x="3129" y="1163"/>
                  <a:pt x="3129" y="1162"/>
                </a:cubicBezTo>
                <a:cubicBezTo>
                  <a:pt x="3130" y="1162"/>
                  <a:pt x="3129" y="1162"/>
                  <a:pt x="3129" y="1162"/>
                </a:cubicBezTo>
                <a:cubicBezTo>
                  <a:pt x="3130" y="1161"/>
                  <a:pt x="3129" y="1161"/>
                  <a:pt x="3129" y="1161"/>
                </a:cubicBezTo>
                <a:cubicBezTo>
                  <a:pt x="3129" y="1161"/>
                  <a:pt x="3130" y="1161"/>
                  <a:pt x="3130" y="1161"/>
                </a:cubicBezTo>
                <a:cubicBezTo>
                  <a:pt x="3130" y="1161"/>
                  <a:pt x="3129" y="1161"/>
                  <a:pt x="3129" y="1160"/>
                </a:cubicBezTo>
                <a:cubicBezTo>
                  <a:pt x="3129" y="1160"/>
                  <a:pt x="3129" y="1160"/>
                  <a:pt x="3129" y="1160"/>
                </a:cubicBezTo>
                <a:cubicBezTo>
                  <a:pt x="3129" y="1160"/>
                  <a:pt x="3129" y="1160"/>
                  <a:pt x="3128" y="1160"/>
                </a:cubicBezTo>
                <a:cubicBezTo>
                  <a:pt x="3128" y="1160"/>
                  <a:pt x="3128" y="1160"/>
                  <a:pt x="3129" y="1160"/>
                </a:cubicBezTo>
                <a:cubicBezTo>
                  <a:pt x="3129" y="1160"/>
                  <a:pt x="3128" y="1159"/>
                  <a:pt x="3128" y="1159"/>
                </a:cubicBezTo>
                <a:close/>
                <a:moveTo>
                  <a:pt x="3178" y="1393"/>
                </a:moveTo>
                <a:cubicBezTo>
                  <a:pt x="3178" y="1394"/>
                  <a:pt x="3179" y="1393"/>
                  <a:pt x="3180" y="1393"/>
                </a:cubicBezTo>
                <a:cubicBezTo>
                  <a:pt x="3181" y="1393"/>
                  <a:pt x="3181" y="1394"/>
                  <a:pt x="3182" y="1393"/>
                </a:cubicBezTo>
                <a:cubicBezTo>
                  <a:pt x="3183" y="1393"/>
                  <a:pt x="3183" y="1393"/>
                  <a:pt x="3183" y="1393"/>
                </a:cubicBezTo>
                <a:cubicBezTo>
                  <a:pt x="3184" y="1392"/>
                  <a:pt x="3184" y="1393"/>
                  <a:pt x="3184" y="1393"/>
                </a:cubicBezTo>
                <a:cubicBezTo>
                  <a:pt x="3185" y="1393"/>
                  <a:pt x="3186" y="1393"/>
                  <a:pt x="3186" y="1392"/>
                </a:cubicBezTo>
                <a:cubicBezTo>
                  <a:pt x="3187" y="1392"/>
                  <a:pt x="3187" y="1391"/>
                  <a:pt x="3187" y="1391"/>
                </a:cubicBezTo>
                <a:cubicBezTo>
                  <a:pt x="3187" y="1391"/>
                  <a:pt x="3186" y="1391"/>
                  <a:pt x="3186" y="1390"/>
                </a:cubicBezTo>
                <a:cubicBezTo>
                  <a:pt x="3185" y="1390"/>
                  <a:pt x="3185" y="1390"/>
                  <a:pt x="3185" y="1390"/>
                </a:cubicBezTo>
                <a:cubicBezTo>
                  <a:pt x="3184" y="1390"/>
                  <a:pt x="3183" y="1390"/>
                  <a:pt x="3182" y="1390"/>
                </a:cubicBezTo>
                <a:cubicBezTo>
                  <a:pt x="3182" y="1390"/>
                  <a:pt x="3181" y="1389"/>
                  <a:pt x="3181" y="1389"/>
                </a:cubicBezTo>
                <a:cubicBezTo>
                  <a:pt x="3180" y="1390"/>
                  <a:pt x="3180" y="1390"/>
                  <a:pt x="3179" y="1390"/>
                </a:cubicBezTo>
                <a:cubicBezTo>
                  <a:pt x="3179" y="1391"/>
                  <a:pt x="3179" y="1392"/>
                  <a:pt x="3178" y="1392"/>
                </a:cubicBezTo>
                <a:cubicBezTo>
                  <a:pt x="3178" y="1393"/>
                  <a:pt x="3178" y="1392"/>
                  <a:pt x="3178" y="1393"/>
                </a:cubicBezTo>
                <a:close/>
                <a:moveTo>
                  <a:pt x="3141" y="1157"/>
                </a:moveTo>
                <a:cubicBezTo>
                  <a:pt x="3142" y="1157"/>
                  <a:pt x="3141" y="1157"/>
                  <a:pt x="3141" y="1156"/>
                </a:cubicBezTo>
                <a:cubicBezTo>
                  <a:pt x="3141" y="1156"/>
                  <a:pt x="3141" y="1156"/>
                  <a:pt x="3141" y="1156"/>
                </a:cubicBezTo>
                <a:cubicBezTo>
                  <a:pt x="3140" y="1156"/>
                  <a:pt x="3140" y="1156"/>
                  <a:pt x="3141" y="1157"/>
                </a:cubicBezTo>
                <a:cubicBezTo>
                  <a:pt x="3141" y="1157"/>
                  <a:pt x="3141" y="1157"/>
                  <a:pt x="3141" y="1157"/>
                </a:cubicBezTo>
                <a:close/>
                <a:moveTo>
                  <a:pt x="3142" y="1230"/>
                </a:moveTo>
                <a:cubicBezTo>
                  <a:pt x="3141" y="1230"/>
                  <a:pt x="3141" y="1231"/>
                  <a:pt x="3142" y="1231"/>
                </a:cubicBezTo>
                <a:cubicBezTo>
                  <a:pt x="3142" y="1231"/>
                  <a:pt x="3143" y="1230"/>
                  <a:pt x="3142" y="1230"/>
                </a:cubicBezTo>
                <a:close/>
                <a:moveTo>
                  <a:pt x="3151" y="1159"/>
                </a:moveTo>
                <a:cubicBezTo>
                  <a:pt x="3151" y="1158"/>
                  <a:pt x="3151" y="1158"/>
                  <a:pt x="3151" y="1158"/>
                </a:cubicBezTo>
                <a:cubicBezTo>
                  <a:pt x="3151" y="1158"/>
                  <a:pt x="3150" y="1158"/>
                  <a:pt x="3150" y="1159"/>
                </a:cubicBezTo>
                <a:cubicBezTo>
                  <a:pt x="3150" y="1159"/>
                  <a:pt x="3151" y="1159"/>
                  <a:pt x="3151" y="1159"/>
                </a:cubicBezTo>
                <a:cubicBezTo>
                  <a:pt x="3151" y="1159"/>
                  <a:pt x="3151" y="1159"/>
                  <a:pt x="3151" y="1159"/>
                </a:cubicBezTo>
                <a:close/>
                <a:moveTo>
                  <a:pt x="3191" y="1180"/>
                </a:moveTo>
                <a:cubicBezTo>
                  <a:pt x="3191" y="1181"/>
                  <a:pt x="3191" y="1181"/>
                  <a:pt x="3192" y="1181"/>
                </a:cubicBezTo>
                <a:cubicBezTo>
                  <a:pt x="3192" y="1181"/>
                  <a:pt x="3192" y="1181"/>
                  <a:pt x="3192" y="1182"/>
                </a:cubicBezTo>
                <a:cubicBezTo>
                  <a:pt x="3192" y="1182"/>
                  <a:pt x="3192" y="1182"/>
                  <a:pt x="3192" y="1182"/>
                </a:cubicBezTo>
                <a:cubicBezTo>
                  <a:pt x="3193" y="1183"/>
                  <a:pt x="3192" y="1183"/>
                  <a:pt x="3192" y="1183"/>
                </a:cubicBezTo>
                <a:cubicBezTo>
                  <a:pt x="3192" y="1184"/>
                  <a:pt x="3192" y="1184"/>
                  <a:pt x="3192" y="1184"/>
                </a:cubicBezTo>
                <a:cubicBezTo>
                  <a:pt x="3193" y="1184"/>
                  <a:pt x="3193" y="1184"/>
                  <a:pt x="3193" y="1183"/>
                </a:cubicBezTo>
                <a:cubicBezTo>
                  <a:pt x="3193" y="1183"/>
                  <a:pt x="3193" y="1183"/>
                  <a:pt x="3193" y="1182"/>
                </a:cubicBezTo>
                <a:cubicBezTo>
                  <a:pt x="3193" y="1182"/>
                  <a:pt x="3193" y="1182"/>
                  <a:pt x="3193" y="1181"/>
                </a:cubicBezTo>
                <a:cubicBezTo>
                  <a:pt x="3193" y="1181"/>
                  <a:pt x="3193" y="1180"/>
                  <a:pt x="3193" y="1180"/>
                </a:cubicBezTo>
                <a:cubicBezTo>
                  <a:pt x="3193" y="1180"/>
                  <a:pt x="3193" y="1179"/>
                  <a:pt x="3193" y="1179"/>
                </a:cubicBezTo>
                <a:cubicBezTo>
                  <a:pt x="3192" y="1179"/>
                  <a:pt x="3192" y="1179"/>
                  <a:pt x="3192" y="1179"/>
                </a:cubicBezTo>
                <a:cubicBezTo>
                  <a:pt x="3192" y="1179"/>
                  <a:pt x="3193" y="1178"/>
                  <a:pt x="3193" y="1178"/>
                </a:cubicBezTo>
                <a:cubicBezTo>
                  <a:pt x="3193" y="1178"/>
                  <a:pt x="3193" y="1177"/>
                  <a:pt x="3193" y="1176"/>
                </a:cubicBezTo>
                <a:cubicBezTo>
                  <a:pt x="3192" y="1176"/>
                  <a:pt x="3192" y="1177"/>
                  <a:pt x="3192" y="1177"/>
                </a:cubicBezTo>
                <a:cubicBezTo>
                  <a:pt x="3192" y="1177"/>
                  <a:pt x="3192" y="1178"/>
                  <a:pt x="3192" y="1177"/>
                </a:cubicBezTo>
                <a:cubicBezTo>
                  <a:pt x="3191" y="1178"/>
                  <a:pt x="3192" y="1178"/>
                  <a:pt x="3191" y="1178"/>
                </a:cubicBezTo>
                <a:cubicBezTo>
                  <a:pt x="3191" y="1178"/>
                  <a:pt x="3191" y="1179"/>
                  <a:pt x="3191" y="1179"/>
                </a:cubicBezTo>
                <a:cubicBezTo>
                  <a:pt x="3191" y="1179"/>
                  <a:pt x="3191" y="1179"/>
                  <a:pt x="3191" y="1179"/>
                </a:cubicBezTo>
                <a:cubicBezTo>
                  <a:pt x="3191" y="1179"/>
                  <a:pt x="3191" y="1180"/>
                  <a:pt x="3191" y="1180"/>
                </a:cubicBezTo>
                <a:cubicBezTo>
                  <a:pt x="3191" y="1180"/>
                  <a:pt x="3191" y="1180"/>
                  <a:pt x="3191" y="1180"/>
                </a:cubicBezTo>
                <a:close/>
                <a:moveTo>
                  <a:pt x="3152" y="1152"/>
                </a:moveTo>
                <a:cubicBezTo>
                  <a:pt x="3152" y="1152"/>
                  <a:pt x="3151" y="1152"/>
                  <a:pt x="3151" y="1152"/>
                </a:cubicBezTo>
                <a:cubicBezTo>
                  <a:pt x="3151" y="1153"/>
                  <a:pt x="3151" y="1153"/>
                  <a:pt x="3151" y="1153"/>
                </a:cubicBezTo>
                <a:cubicBezTo>
                  <a:pt x="3151" y="1154"/>
                  <a:pt x="3151" y="1154"/>
                  <a:pt x="3151" y="1154"/>
                </a:cubicBezTo>
                <a:cubicBezTo>
                  <a:pt x="3151" y="1155"/>
                  <a:pt x="3150" y="1155"/>
                  <a:pt x="3150" y="1155"/>
                </a:cubicBezTo>
                <a:cubicBezTo>
                  <a:pt x="3150" y="1156"/>
                  <a:pt x="3151" y="1156"/>
                  <a:pt x="3151" y="1156"/>
                </a:cubicBezTo>
                <a:cubicBezTo>
                  <a:pt x="3151" y="1156"/>
                  <a:pt x="3152" y="1157"/>
                  <a:pt x="3151" y="1157"/>
                </a:cubicBezTo>
                <a:cubicBezTo>
                  <a:pt x="3151" y="1157"/>
                  <a:pt x="3151" y="1157"/>
                  <a:pt x="3151" y="1157"/>
                </a:cubicBezTo>
                <a:cubicBezTo>
                  <a:pt x="3151" y="1157"/>
                  <a:pt x="3151" y="1157"/>
                  <a:pt x="3151" y="1157"/>
                </a:cubicBezTo>
                <a:cubicBezTo>
                  <a:pt x="3151" y="1157"/>
                  <a:pt x="3151" y="1157"/>
                  <a:pt x="3151" y="1158"/>
                </a:cubicBezTo>
                <a:cubicBezTo>
                  <a:pt x="3152" y="1158"/>
                  <a:pt x="3152" y="1157"/>
                  <a:pt x="3152" y="1157"/>
                </a:cubicBezTo>
                <a:cubicBezTo>
                  <a:pt x="3152" y="1157"/>
                  <a:pt x="3152" y="1156"/>
                  <a:pt x="3152" y="1156"/>
                </a:cubicBezTo>
                <a:cubicBezTo>
                  <a:pt x="3152" y="1156"/>
                  <a:pt x="3152" y="1155"/>
                  <a:pt x="3152" y="1155"/>
                </a:cubicBezTo>
                <a:cubicBezTo>
                  <a:pt x="3153" y="1154"/>
                  <a:pt x="3153" y="1153"/>
                  <a:pt x="3153" y="1152"/>
                </a:cubicBezTo>
                <a:cubicBezTo>
                  <a:pt x="3153" y="1152"/>
                  <a:pt x="3153" y="1151"/>
                  <a:pt x="3153" y="1151"/>
                </a:cubicBezTo>
                <a:cubicBezTo>
                  <a:pt x="3152" y="1151"/>
                  <a:pt x="3152" y="1152"/>
                  <a:pt x="3152" y="1152"/>
                </a:cubicBezTo>
                <a:close/>
                <a:moveTo>
                  <a:pt x="3166" y="1150"/>
                </a:moveTo>
                <a:cubicBezTo>
                  <a:pt x="3166" y="1150"/>
                  <a:pt x="3166" y="1149"/>
                  <a:pt x="3165" y="1149"/>
                </a:cubicBezTo>
                <a:cubicBezTo>
                  <a:pt x="3165" y="1149"/>
                  <a:pt x="3165" y="1149"/>
                  <a:pt x="3165" y="1149"/>
                </a:cubicBezTo>
                <a:cubicBezTo>
                  <a:pt x="3164" y="1148"/>
                  <a:pt x="3164" y="1148"/>
                  <a:pt x="3164" y="1148"/>
                </a:cubicBezTo>
                <a:cubicBezTo>
                  <a:pt x="3164" y="1147"/>
                  <a:pt x="3164" y="1147"/>
                  <a:pt x="3163" y="1147"/>
                </a:cubicBezTo>
                <a:cubicBezTo>
                  <a:pt x="3163" y="1146"/>
                  <a:pt x="3163" y="1146"/>
                  <a:pt x="3162" y="1146"/>
                </a:cubicBezTo>
                <a:cubicBezTo>
                  <a:pt x="3162" y="1146"/>
                  <a:pt x="3162" y="1146"/>
                  <a:pt x="3162" y="1146"/>
                </a:cubicBezTo>
                <a:cubicBezTo>
                  <a:pt x="3162" y="1146"/>
                  <a:pt x="3162" y="1146"/>
                  <a:pt x="3162" y="1147"/>
                </a:cubicBezTo>
                <a:cubicBezTo>
                  <a:pt x="3162" y="1147"/>
                  <a:pt x="3162" y="1147"/>
                  <a:pt x="3162" y="1147"/>
                </a:cubicBezTo>
                <a:cubicBezTo>
                  <a:pt x="3162" y="1147"/>
                  <a:pt x="3162" y="1147"/>
                  <a:pt x="3162" y="1147"/>
                </a:cubicBezTo>
                <a:cubicBezTo>
                  <a:pt x="3162" y="1148"/>
                  <a:pt x="3163" y="1147"/>
                  <a:pt x="3163" y="1148"/>
                </a:cubicBezTo>
                <a:cubicBezTo>
                  <a:pt x="3163" y="1148"/>
                  <a:pt x="3163" y="1148"/>
                  <a:pt x="3164" y="1149"/>
                </a:cubicBezTo>
                <a:cubicBezTo>
                  <a:pt x="3164" y="1149"/>
                  <a:pt x="3164" y="1149"/>
                  <a:pt x="3164" y="1149"/>
                </a:cubicBezTo>
                <a:cubicBezTo>
                  <a:pt x="3165" y="1149"/>
                  <a:pt x="3165" y="1149"/>
                  <a:pt x="3165" y="1149"/>
                </a:cubicBezTo>
                <a:cubicBezTo>
                  <a:pt x="3165" y="1149"/>
                  <a:pt x="3165" y="1150"/>
                  <a:pt x="3165" y="1150"/>
                </a:cubicBezTo>
                <a:cubicBezTo>
                  <a:pt x="3166" y="1150"/>
                  <a:pt x="3166" y="1150"/>
                  <a:pt x="3166" y="1151"/>
                </a:cubicBezTo>
                <a:cubicBezTo>
                  <a:pt x="3167" y="1150"/>
                  <a:pt x="3166" y="1150"/>
                  <a:pt x="3166" y="1150"/>
                </a:cubicBezTo>
                <a:close/>
                <a:moveTo>
                  <a:pt x="3171" y="1143"/>
                </a:moveTo>
                <a:cubicBezTo>
                  <a:pt x="3171" y="1143"/>
                  <a:pt x="3172" y="1143"/>
                  <a:pt x="3172" y="1143"/>
                </a:cubicBezTo>
                <a:cubicBezTo>
                  <a:pt x="3172" y="1143"/>
                  <a:pt x="3171" y="1143"/>
                  <a:pt x="3171" y="1143"/>
                </a:cubicBezTo>
                <a:close/>
                <a:moveTo>
                  <a:pt x="3173" y="1178"/>
                </a:moveTo>
                <a:cubicBezTo>
                  <a:pt x="3173" y="1178"/>
                  <a:pt x="3173" y="1179"/>
                  <a:pt x="3173" y="1179"/>
                </a:cubicBezTo>
                <a:cubicBezTo>
                  <a:pt x="3173" y="1179"/>
                  <a:pt x="3172" y="1179"/>
                  <a:pt x="3173" y="1179"/>
                </a:cubicBezTo>
                <a:cubicBezTo>
                  <a:pt x="3173" y="1179"/>
                  <a:pt x="3173" y="1179"/>
                  <a:pt x="3173" y="1179"/>
                </a:cubicBezTo>
                <a:cubicBezTo>
                  <a:pt x="3173" y="1178"/>
                  <a:pt x="3174" y="1178"/>
                  <a:pt x="3173" y="1178"/>
                </a:cubicBezTo>
                <a:cubicBezTo>
                  <a:pt x="3173" y="1178"/>
                  <a:pt x="3173" y="1178"/>
                  <a:pt x="3173" y="1178"/>
                </a:cubicBezTo>
                <a:close/>
                <a:moveTo>
                  <a:pt x="3178" y="1151"/>
                </a:moveTo>
                <a:cubicBezTo>
                  <a:pt x="3178" y="1152"/>
                  <a:pt x="3178" y="1151"/>
                  <a:pt x="3178" y="1151"/>
                </a:cubicBezTo>
                <a:cubicBezTo>
                  <a:pt x="3178" y="1151"/>
                  <a:pt x="3178" y="1151"/>
                  <a:pt x="3178" y="1151"/>
                </a:cubicBezTo>
                <a:cubicBezTo>
                  <a:pt x="3178" y="1151"/>
                  <a:pt x="3177" y="1151"/>
                  <a:pt x="3178" y="1151"/>
                </a:cubicBezTo>
                <a:close/>
                <a:moveTo>
                  <a:pt x="3173" y="1144"/>
                </a:moveTo>
                <a:cubicBezTo>
                  <a:pt x="3173" y="1144"/>
                  <a:pt x="3173" y="1144"/>
                  <a:pt x="3173" y="1144"/>
                </a:cubicBezTo>
                <a:cubicBezTo>
                  <a:pt x="3173" y="1145"/>
                  <a:pt x="3173" y="1145"/>
                  <a:pt x="3174" y="1145"/>
                </a:cubicBezTo>
                <a:cubicBezTo>
                  <a:pt x="3174" y="1145"/>
                  <a:pt x="3174" y="1145"/>
                  <a:pt x="3174" y="1144"/>
                </a:cubicBezTo>
                <a:cubicBezTo>
                  <a:pt x="3174" y="1144"/>
                  <a:pt x="3174" y="1144"/>
                  <a:pt x="3173" y="1144"/>
                </a:cubicBezTo>
                <a:close/>
                <a:moveTo>
                  <a:pt x="3183" y="1163"/>
                </a:moveTo>
                <a:cubicBezTo>
                  <a:pt x="3184" y="1163"/>
                  <a:pt x="3184" y="1162"/>
                  <a:pt x="3183" y="1162"/>
                </a:cubicBezTo>
                <a:cubicBezTo>
                  <a:pt x="3183" y="1162"/>
                  <a:pt x="3183" y="1163"/>
                  <a:pt x="3183" y="1163"/>
                </a:cubicBezTo>
                <a:close/>
                <a:moveTo>
                  <a:pt x="3193" y="1173"/>
                </a:moveTo>
                <a:cubicBezTo>
                  <a:pt x="3192" y="1173"/>
                  <a:pt x="3193" y="1173"/>
                  <a:pt x="3193" y="1174"/>
                </a:cubicBezTo>
                <a:cubicBezTo>
                  <a:pt x="3193" y="1174"/>
                  <a:pt x="3195" y="1174"/>
                  <a:pt x="3194" y="1173"/>
                </a:cubicBezTo>
                <a:cubicBezTo>
                  <a:pt x="3194" y="1173"/>
                  <a:pt x="3193" y="1174"/>
                  <a:pt x="3193" y="1173"/>
                </a:cubicBezTo>
                <a:cubicBezTo>
                  <a:pt x="3193" y="1173"/>
                  <a:pt x="3193" y="1173"/>
                  <a:pt x="3193" y="1172"/>
                </a:cubicBezTo>
                <a:cubicBezTo>
                  <a:pt x="3193" y="1172"/>
                  <a:pt x="3193" y="1172"/>
                  <a:pt x="3193" y="1173"/>
                </a:cubicBezTo>
                <a:close/>
                <a:moveTo>
                  <a:pt x="3177" y="1152"/>
                </a:moveTo>
                <a:cubicBezTo>
                  <a:pt x="3177" y="1152"/>
                  <a:pt x="3177" y="1152"/>
                  <a:pt x="3178" y="1152"/>
                </a:cubicBezTo>
                <a:cubicBezTo>
                  <a:pt x="3178" y="1152"/>
                  <a:pt x="3178" y="1152"/>
                  <a:pt x="3178" y="1152"/>
                </a:cubicBezTo>
                <a:cubicBezTo>
                  <a:pt x="3178" y="1152"/>
                  <a:pt x="3178" y="1152"/>
                  <a:pt x="3178" y="1152"/>
                </a:cubicBezTo>
                <a:cubicBezTo>
                  <a:pt x="3178" y="1152"/>
                  <a:pt x="3178" y="1151"/>
                  <a:pt x="3177" y="1152"/>
                </a:cubicBezTo>
                <a:close/>
                <a:moveTo>
                  <a:pt x="3179" y="1153"/>
                </a:moveTo>
                <a:cubicBezTo>
                  <a:pt x="3179" y="1153"/>
                  <a:pt x="3179" y="1153"/>
                  <a:pt x="3179" y="1153"/>
                </a:cubicBezTo>
                <a:cubicBezTo>
                  <a:pt x="3179" y="1153"/>
                  <a:pt x="3178" y="1153"/>
                  <a:pt x="3178" y="1153"/>
                </a:cubicBezTo>
                <a:cubicBezTo>
                  <a:pt x="3178" y="1152"/>
                  <a:pt x="3178" y="1153"/>
                  <a:pt x="3178" y="1153"/>
                </a:cubicBezTo>
                <a:cubicBezTo>
                  <a:pt x="3177" y="1153"/>
                  <a:pt x="3177" y="1153"/>
                  <a:pt x="3177" y="1152"/>
                </a:cubicBezTo>
                <a:cubicBezTo>
                  <a:pt x="3177" y="1152"/>
                  <a:pt x="3177" y="1152"/>
                  <a:pt x="3177" y="1152"/>
                </a:cubicBezTo>
                <a:cubicBezTo>
                  <a:pt x="3177" y="1153"/>
                  <a:pt x="3177" y="1154"/>
                  <a:pt x="3177" y="1154"/>
                </a:cubicBezTo>
                <a:cubicBezTo>
                  <a:pt x="3178" y="1155"/>
                  <a:pt x="3177" y="1155"/>
                  <a:pt x="3178" y="1156"/>
                </a:cubicBezTo>
                <a:cubicBezTo>
                  <a:pt x="3178" y="1156"/>
                  <a:pt x="3178" y="1156"/>
                  <a:pt x="3178" y="1157"/>
                </a:cubicBezTo>
                <a:cubicBezTo>
                  <a:pt x="3178" y="1157"/>
                  <a:pt x="3179" y="1157"/>
                  <a:pt x="3179" y="1157"/>
                </a:cubicBezTo>
                <a:cubicBezTo>
                  <a:pt x="3179" y="1158"/>
                  <a:pt x="3179" y="1158"/>
                  <a:pt x="3180" y="1158"/>
                </a:cubicBezTo>
                <a:cubicBezTo>
                  <a:pt x="3180" y="1158"/>
                  <a:pt x="3180" y="1158"/>
                  <a:pt x="3181" y="1158"/>
                </a:cubicBezTo>
                <a:cubicBezTo>
                  <a:pt x="3181" y="1158"/>
                  <a:pt x="3181" y="1159"/>
                  <a:pt x="3182" y="1160"/>
                </a:cubicBezTo>
                <a:cubicBezTo>
                  <a:pt x="3182" y="1160"/>
                  <a:pt x="3183" y="1160"/>
                  <a:pt x="3183" y="1161"/>
                </a:cubicBezTo>
                <a:cubicBezTo>
                  <a:pt x="3183" y="1161"/>
                  <a:pt x="3184" y="1162"/>
                  <a:pt x="3184" y="1162"/>
                </a:cubicBezTo>
                <a:cubicBezTo>
                  <a:pt x="3184" y="1162"/>
                  <a:pt x="3184" y="1162"/>
                  <a:pt x="3185" y="1161"/>
                </a:cubicBezTo>
                <a:cubicBezTo>
                  <a:pt x="3185" y="1161"/>
                  <a:pt x="3186" y="1161"/>
                  <a:pt x="3186" y="1162"/>
                </a:cubicBezTo>
                <a:cubicBezTo>
                  <a:pt x="3186" y="1162"/>
                  <a:pt x="3185" y="1162"/>
                  <a:pt x="3185" y="1163"/>
                </a:cubicBezTo>
                <a:cubicBezTo>
                  <a:pt x="3185" y="1163"/>
                  <a:pt x="3185" y="1163"/>
                  <a:pt x="3185" y="1163"/>
                </a:cubicBezTo>
                <a:cubicBezTo>
                  <a:pt x="3185" y="1163"/>
                  <a:pt x="3185" y="1163"/>
                  <a:pt x="3185" y="1164"/>
                </a:cubicBezTo>
                <a:cubicBezTo>
                  <a:pt x="3185" y="1164"/>
                  <a:pt x="3185" y="1164"/>
                  <a:pt x="3184" y="1164"/>
                </a:cubicBezTo>
                <a:cubicBezTo>
                  <a:pt x="3184" y="1164"/>
                  <a:pt x="3184" y="1164"/>
                  <a:pt x="3184" y="1164"/>
                </a:cubicBezTo>
                <a:cubicBezTo>
                  <a:pt x="3184" y="1164"/>
                  <a:pt x="3184" y="1164"/>
                  <a:pt x="3184" y="1164"/>
                </a:cubicBezTo>
                <a:cubicBezTo>
                  <a:pt x="3183" y="1164"/>
                  <a:pt x="3183" y="1164"/>
                  <a:pt x="3183" y="1165"/>
                </a:cubicBezTo>
                <a:cubicBezTo>
                  <a:pt x="3183" y="1165"/>
                  <a:pt x="3184" y="1165"/>
                  <a:pt x="3184" y="1165"/>
                </a:cubicBezTo>
                <a:cubicBezTo>
                  <a:pt x="3184" y="1165"/>
                  <a:pt x="3184" y="1165"/>
                  <a:pt x="3184" y="1165"/>
                </a:cubicBezTo>
                <a:cubicBezTo>
                  <a:pt x="3184" y="1165"/>
                  <a:pt x="3185" y="1165"/>
                  <a:pt x="3185" y="1166"/>
                </a:cubicBezTo>
                <a:cubicBezTo>
                  <a:pt x="3185" y="1166"/>
                  <a:pt x="3185" y="1166"/>
                  <a:pt x="3185" y="1166"/>
                </a:cubicBezTo>
                <a:cubicBezTo>
                  <a:pt x="3185" y="1167"/>
                  <a:pt x="3185" y="1167"/>
                  <a:pt x="3185" y="1167"/>
                </a:cubicBezTo>
                <a:cubicBezTo>
                  <a:pt x="3185" y="1167"/>
                  <a:pt x="3186" y="1167"/>
                  <a:pt x="3186" y="1167"/>
                </a:cubicBezTo>
                <a:cubicBezTo>
                  <a:pt x="3187" y="1167"/>
                  <a:pt x="3187" y="1168"/>
                  <a:pt x="3187" y="1168"/>
                </a:cubicBezTo>
                <a:cubicBezTo>
                  <a:pt x="3187" y="1169"/>
                  <a:pt x="3187" y="1170"/>
                  <a:pt x="3188" y="1169"/>
                </a:cubicBezTo>
                <a:cubicBezTo>
                  <a:pt x="3188" y="1169"/>
                  <a:pt x="3189" y="1169"/>
                  <a:pt x="3189" y="1169"/>
                </a:cubicBezTo>
                <a:cubicBezTo>
                  <a:pt x="3189" y="1169"/>
                  <a:pt x="3189" y="1169"/>
                  <a:pt x="3190" y="1169"/>
                </a:cubicBezTo>
                <a:cubicBezTo>
                  <a:pt x="3190" y="1170"/>
                  <a:pt x="3190" y="1169"/>
                  <a:pt x="3190" y="1169"/>
                </a:cubicBezTo>
                <a:cubicBezTo>
                  <a:pt x="3191" y="1169"/>
                  <a:pt x="3190" y="1169"/>
                  <a:pt x="3191" y="1169"/>
                </a:cubicBezTo>
                <a:cubicBezTo>
                  <a:pt x="3191" y="1169"/>
                  <a:pt x="3191" y="1169"/>
                  <a:pt x="3191" y="1169"/>
                </a:cubicBezTo>
                <a:cubicBezTo>
                  <a:pt x="3191" y="1169"/>
                  <a:pt x="3191" y="1169"/>
                  <a:pt x="3192" y="1169"/>
                </a:cubicBezTo>
                <a:cubicBezTo>
                  <a:pt x="3192" y="1169"/>
                  <a:pt x="3192" y="1169"/>
                  <a:pt x="3192" y="1169"/>
                </a:cubicBezTo>
                <a:cubicBezTo>
                  <a:pt x="3192" y="1169"/>
                  <a:pt x="3193" y="1169"/>
                  <a:pt x="3193" y="1169"/>
                </a:cubicBezTo>
                <a:cubicBezTo>
                  <a:pt x="3193" y="1169"/>
                  <a:pt x="3193" y="1169"/>
                  <a:pt x="3193" y="1170"/>
                </a:cubicBezTo>
                <a:cubicBezTo>
                  <a:pt x="3193" y="1170"/>
                  <a:pt x="3193" y="1170"/>
                  <a:pt x="3193" y="1170"/>
                </a:cubicBezTo>
                <a:cubicBezTo>
                  <a:pt x="3193" y="1170"/>
                  <a:pt x="3194" y="1170"/>
                  <a:pt x="3194" y="1170"/>
                </a:cubicBezTo>
                <a:cubicBezTo>
                  <a:pt x="3194" y="1170"/>
                  <a:pt x="3194" y="1171"/>
                  <a:pt x="3195" y="1171"/>
                </a:cubicBezTo>
                <a:cubicBezTo>
                  <a:pt x="3195" y="1170"/>
                  <a:pt x="3194" y="1170"/>
                  <a:pt x="3194" y="1170"/>
                </a:cubicBezTo>
                <a:cubicBezTo>
                  <a:pt x="3193" y="1169"/>
                  <a:pt x="3193" y="1169"/>
                  <a:pt x="3193" y="1168"/>
                </a:cubicBezTo>
                <a:cubicBezTo>
                  <a:pt x="3192" y="1168"/>
                  <a:pt x="3192" y="1168"/>
                  <a:pt x="3192" y="1168"/>
                </a:cubicBezTo>
                <a:cubicBezTo>
                  <a:pt x="3192" y="1168"/>
                  <a:pt x="3191" y="1168"/>
                  <a:pt x="3191" y="1168"/>
                </a:cubicBezTo>
                <a:cubicBezTo>
                  <a:pt x="3191" y="1167"/>
                  <a:pt x="3193" y="1167"/>
                  <a:pt x="3192" y="1166"/>
                </a:cubicBezTo>
                <a:cubicBezTo>
                  <a:pt x="3192" y="1166"/>
                  <a:pt x="3192" y="1166"/>
                  <a:pt x="3192" y="1166"/>
                </a:cubicBezTo>
                <a:cubicBezTo>
                  <a:pt x="3191" y="1166"/>
                  <a:pt x="3191" y="1165"/>
                  <a:pt x="3191" y="1165"/>
                </a:cubicBezTo>
                <a:cubicBezTo>
                  <a:pt x="3191" y="1165"/>
                  <a:pt x="3190" y="1164"/>
                  <a:pt x="3190" y="1164"/>
                </a:cubicBezTo>
                <a:cubicBezTo>
                  <a:pt x="3190" y="1163"/>
                  <a:pt x="3190" y="1163"/>
                  <a:pt x="3190" y="1162"/>
                </a:cubicBezTo>
                <a:cubicBezTo>
                  <a:pt x="3190" y="1162"/>
                  <a:pt x="3190" y="1162"/>
                  <a:pt x="3190" y="1161"/>
                </a:cubicBezTo>
                <a:cubicBezTo>
                  <a:pt x="3190" y="1160"/>
                  <a:pt x="3189" y="1160"/>
                  <a:pt x="3190" y="1159"/>
                </a:cubicBezTo>
                <a:cubicBezTo>
                  <a:pt x="3190" y="1159"/>
                  <a:pt x="3191" y="1159"/>
                  <a:pt x="3191" y="1158"/>
                </a:cubicBezTo>
                <a:cubicBezTo>
                  <a:pt x="3191" y="1158"/>
                  <a:pt x="3191" y="1158"/>
                  <a:pt x="3190" y="1158"/>
                </a:cubicBezTo>
                <a:cubicBezTo>
                  <a:pt x="3190" y="1158"/>
                  <a:pt x="3190" y="1158"/>
                  <a:pt x="3190" y="1157"/>
                </a:cubicBezTo>
                <a:cubicBezTo>
                  <a:pt x="3190" y="1157"/>
                  <a:pt x="3190" y="1157"/>
                  <a:pt x="3190" y="1157"/>
                </a:cubicBezTo>
                <a:cubicBezTo>
                  <a:pt x="3191" y="1157"/>
                  <a:pt x="3190" y="1156"/>
                  <a:pt x="3190" y="1156"/>
                </a:cubicBezTo>
                <a:cubicBezTo>
                  <a:pt x="3190" y="1156"/>
                  <a:pt x="3189" y="1156"/>
                  <a:pt x="3189" y="1155"/>
                </a:cubicBezTo>
                <a:cubicBezTo>
                  <a:pt x="3189" y="1155"/>
                  <a:pt x="3189" y="1156"/>
                  <a:pt x="3189" y="1155"/>
                </a:cubicBezTo>
                <a:cubicBezTo>
                  <a:pt x="3189" y="1155"/>
                  <a:pt x="3188" y="1155"/>
                  <a:pt x="3188" y="1155"/>
                </a:cubicBezTo>
                <a:cubicBezTo>
                  <a:pt x="3188" y="1155"/>
                  <a:pt x="3188" y="1155"/>
                  <a:pt x="3188" y="1155"/>
                </a:cubicBezTo>
                <a:cubicBezTo>
                  <a:pt x="3188" y="1154"/>
                  <a:pt x="3189" y="1154"/>
                  <a:pt x="3188" y="1154"/>
                </a:cubicBezTo>
                <a:cubicBezTo>
                  <a:pt x="3188" y="1154"/>
                  <a:pt x="3188" y="1153"/>
                  <a:pt x="3188" y="1153"/>
                </a:cubicBezTo>
                <a:cubicBezTo>
                  <a:pt x="3187" y="1153"/>
                  <a:pt x="3187" y="1152"/>
                  <a:pt x="3186" y="1152"/>
                </a:cubicBezTo>
                <a:cubicBezTo>
                  <a:pt x="3186" y="1152"/>
                  <a:pt x="3185" y="1153"/>
                  <a:pt x="3185" y="1153"/>
                </a:cubicBezTo>
                <a:cubicBezTo>
                  <a:pt x="3185" y="1152"/>
                  <a:pt x="3185" y="1152"/>
                  <a:pt x="3185" y="1152"/>
                </a:cubicBezTo>
                <a:cubicBezTo>
                  <a:pt x="3184" y="1152"/>
                  <a:pt x="3184" y="1152"/>
                  <a:pt x="3183" y="1152"/>
                </a:cubicBezTo>
                <a:cubicBezTo>
                  <a:pt x="3183" y="1153"/>
                  <a:pt x="3183" y="1153"/>
                  <a:pt x="3183" y="1153"/>
                </a:cubicBezTo>
                <a:cubicBezTo>
                  <a:pt x="3183" y="1153"/>
                  <a:pt x="3182" y="1153"/>
                  <a:pt x="3182" y="1153"/>
                </a:cubicBezTo>
                <a:cubicBezTo>
                  <a:pt x="3181" y="1153"/>
                  <a:pt x="3180" y="1152"/>
                  <a:pt x="3179" y="1153"/>
                </a:cubicBezTo>
                <a:close/>
                <a:moveTo>
                  <a:pt x="3151" y="1135"/>
                </a:moveTo>
                <a:cubicBezTo>
                  <a:pt x="3152" y="1135"/>
                  <a:pt x="3153" y="1136"/>
                  <a:pt x="3153" y="1136"/>
                </a:cubicBezTo>
                <a:cubicBezTo>
                  <a:pt x="3154" y="1136"/>
                  <a:pt x="3153" y="1135"/>
                  <a:pt x="3152" y="1135"/>
                </a:cubicBezTo>
                <a:cubicBezTo>
                  <a:pt x="3152" y="1135"/>
                  <a:pt x="3152" y="1135"/>
                  <a:pt x="3152" y="1135"/>
                </a:cubicBezTo>
                <a:cubicBezTo>
                  <a:pt x="3151" y="1134"/>
                  <a:pt x="3151" y="1134"/>
                  <a:pt x="3151" y="1134"/>
                </a:cubicBezTo>
                <a:cubicBezTo>
                  <a:pt x="3150" y="1134"/>
                  <a:pt x="3150" y="1134"/>
                  <a:pt x="3150" y="1134"/>
                </a:cubicBezTo>
                <a:cubicBezTo>
                  <a:pt x="3151" y="1134"/>
                  <a:pt x="3151" y="1135"/>
                  <a:pt x="3151" y="1135"/>
                </a:cubicBezTo>
                <a:close/>
                <a:moveTo>
                  <a:pt x="3154" y="1127"/>
                </a:moveTo>
                <a:cubicBezTo>
                  <a:pt x="3154" y="1127"/>
                  <a:pt x="3154" y="1126"/>
                  <a:pt x="3154" y="1127"/>
                </a:cubicBezTo>
                <a:cubicBezTo>
                  <a:pt x="3154" y="1127"/>
                  <a:pt x="3154" y="1127"/>
                  <a:pt x="3153" y="1127"/>
                </a:cubicBezTo>
                <a:cubicBezTo>
                  <a:pt x="3153" y="1126"/>
                  <a:pt x="3153" y="1126"/>
                  <a:pt x="3152" y="1126"/>
                </a:cubicBezTo>
                <a:cubicBezTo>
                  <a:pt x="3152" y="1126"/>
                  <a:pt x="3152" y="1127"/>
                  <a:pt x="3152" y="1127"/>
                </a:cubicBezTo>
                <a:cubicBezTo>
                  <a:pt x="3153" y="1127"/>
                  <a:pt x="3153" y="1127"/>
                  <a:pt x="3154" y="1127"/>
                </a:cubicBezTo>
                <a:cubicBezTo>
                  <a:pt x="3154" y="1128"/>
                  <a:pt x="3154" y="1127"/>
                  <a:pt x="3154" y="1127"/>
                </a:cubicBezTo>
                <a:close/>
                <a:moveTo>
                  <a:pt x="3150" y="1128"/>
                </a:moveTo>
                <a:cubicBezTo>
                  <a:pt x="3150" y="1128"/>
                  <a:pt x="3150" y="1129"/>
                  <a:pt x="3150" y="1129"/>
                </a:cubicBezTo>
                <a:cubicBezTo>
                  <a:pt x="3151" y="1129"/>
                  <a:pt x="3151" y="1129"/>
                  <a:pt x="3151" y="1128"/>
                </a:cubicBezTo>
                <a:cubicBezTo>
                  <a:pt x="3152" y="1128"/>
                  <a:pt x="3152" y="1127"/>
                  <a:pt x="3151" y="1127"/>
                </a:cubicBezTo>
                <a:cubicBezTo>
                  <a:pt x="3151" y="1126"/>
                  <a:pt x="3151" y="1126"/>
                  <a:pt x="3151" y="1126"/>
                </a:cubicBezTo>
                <a:cubicBezTo>
                  <a:pt x="3151" y="1126"/>
                  <a:pt x="3151" y="1125"/>
                  <a:pt x="3151" y="1125"/>
                </a:cubicBezTo>
                <a:cubicBezTo>
                  <a:pt x="3151" y="1125"/>
                  <a:pt x="3151" y="1125"/>
                  <a:pt x="3151" y="1125"/>
                </a:cubicBezTo>
                <a:cubicBezTo>
                  <a:pt x="3152" y="1125"/>
                  <a:pt x="3152" y="1125"/>
                  <a:pt x="3152" y="1124"/>
                </a:cubicBezTo>
                <a:cubicBezTo>
                  <a:pt x="3151" y="1124"/>
                  <a:pt x="3150" y="1124"/>
                  <a:pt x="3150" y="1124"/>
                </a:cubicBezTo>
                <a:cubicBezTo>
                  <a:pt x="3149" y="1124"/>
                  <a:pt x="3149" y="1125"/>
                  <a:pt x="3149" y="1125"/>
                </a:cubicBezTo>
                <a:cubicBezTo>
                  <a:pt x="3149" y="1125"/>
                  <a:pt x="3149" y="1126"/>
                  <a:pt x="3149" y="1125"/>
                </a:cubicBezTo>
                <a:cubicBezTo>
                  <a:pt x="3149" y="1125"/>
                  <a:pt x="3149" y="1126"/>
                  <a:pt x="3150" y="1126"/>
                </a:cubicBezTo>
                <a:cubicBezTo>
                  <a:pt x="3150" y="1126"/>
                  <a:pt x="3150" y="1126"/>
                  <a:pt x="3150" y="1127"/>
                </a:cubicBezTo>
                <a:cubicBezTo>
                  <a:pt x="3150" y="1127"/>
                  <a:pt x="3150" y="1127"/>
                  <a:pt x="3150" y="1127"/>
                </a:cubicBezTo>
                <a:cubicBezTo>
                  <a:pt x="3150" y="1127"/>
                  <a:pt x="3150" y="1127"/>
                  <a:pt x="3151" y="1128"/>
                </a:cubicBezTo>
                <a:cubicBezTo>
                  <a:pt x="3151" y="1128"/>
                  <a:pt x="3150" y="1128"/>
                  <a:pt x="3150" y="1128"/>
                </a:cubicBezTo>
                <a:close/>
                <a:moveTo>
                  <a:pt x="3155" y="1128"/>
                </a:moveTo>
                <a:cubicBezTo>
                  <a:pt x="3155" y="1128"/>
                  <a:pt x="3156" y="1128"/>
                  <a:pt x="3156" y="1128"/>
                </a:cubicBezTo>
                <a:cubicBezTo>
                  <a:pt x="3156" y="1127"/>
                  <a:pt x="3155" y="1128"/>
                  <a:pt x="3155" y="1128"/>
                </a:cubicBezTo>
                <a:close/>
                <a:moveTo>
                  <a:pt x="3126" y="1111"/>
                </a:moveTo>
                <a:cubicBezTo>
                  <a:pt x="3126" y="1111"/>
                  <a:pt x="3126" y="1111"/>
                  <a:pt x="3126" y="1112"/>
                </a:cubicBezTo>
                <a:cubicBezTo>
                  <a:pt x="3127" y="1112"/>
                  <a:pt x="3126" y="1113"/>
                  <a:pt x="3126" y="1113"/>
                </a:cubicBezTo>
                <a:cubicBezTo>
                  <a:pt x="3126" y="1113"/>
                  <a:pt x="3126" y="1114"/>
                  <a:pt x="3127" y="1114"/>
                </a:cubicBezTo>
                <a:cubicBezTo>
                  <a:pt x="3127" y="1114"/>
                  <a:pt x="3127" y="1114"/>
                  <a:pt x="3127" y="1113"/>
                </a:cubicBezTo>
                <a:cubicBezTo>
                  <a:pt x="3127" y="1113"/>
                  <a:pt x="3127" y="1113"/>
                  <a:pt x="3127" y="1114"/>
                </a:cubicBezTo>
                <a:cubicBezTo>
                  <a:pt x="3128" y="1114"/>
                  <a:pt x="3128" y="1115"/>
                  <a:pt x="3128" y="1116"/>
                </a:cubicBezTo>
                <a:cubicBezTo>
                  <a:pt x="3128" y="1116"/>
                  <a:pt x="3128" y="1116"/>
                  <a:pt x="3128" y="1116"/>
                </a:cubicBezTo>
                <a:cubicBezTo>
                  <a:pt x="3128" y="1117"/>
                  <a:pt x="3128" y="1117"/>
                  <a:pt x="3128" y="1117"/>
                </a:cubicBezTo>
                <a:cubicBezTo>
                  <a:pt x="3128" y="1118"/>
                  <a:pt x="3129" y="1118"/>
                  <a:pt x="3128" y="1119"/>
                </a:cubicBezTo>
                <a:cubicBezTo>
                  <a:pt x="3127" y="1119"/>
                  <a:pt x="3129" y="1120"/>
                  <a:pt x="3129" y="1121"/>
                </a:cubicBezTo>
                <a:cubicBezTo>
                  <a:pt x="3130" y="1123"/>
                  <a:pt x="3129" y="1126"/>
                  <a:pt x="3130" y="1127"/>
                </a:cubicBezTo>
                <a:cubicBezTo>
                  <a:pt x="3130" y="1127"/>
                  <a:pt x="3131" y="1128"/>
                  <a:pt x="3131" y="1127"/>
                </a:cubicBezTo>
                <a:cubicBezTo>
                  <a:pt x="3131" y="1127"/>
                  <a:pt x="3131" y="1127"/>
                  <a:pt x="3131" y="1127"/>
                </a:cubicBezTo>
                <a:cubicBezTo>
                  <a:pt x="3131" y="1126"/>
                  <a:pt x="3131" y="1126"/>
                  <a:pt x="3131" y="1126"/>
                </a:cubicBezTo>
                <a:cubicBezTo>
                  <a:pt x="3132" y="1126"/>
                  <a:pt x="3132" y="1127"/>
                  <a:pt x="3132" y="1127"/>
                </a:cubicBezTo>
                <a:cubicBezTo>
                  <a:pt x="3132" y="1127"/>
                  <a:pt x="3131" y="1128"/>
                  <a:pt x="3132" y="1128"/>
                </a:cubicBezTo>
                <a:cubicBezTo>
                  <a:pt x="3133" y="1129"/>
                  <a:pt x="3133" y="1129"/>
                  <a:pt x="3133" y="1130"/>
                </a:cubicBezTo>
                <a:cubicBezTo>
                  <a:pt x="3133" y="1130"/>
                  <a:pt x="3133" y="1130"/>
                  <a:pt x="3133" y="1131"/>
                </a:cubicBezTo>
                <a:cubicBezTo>
                  <a:pt x="3133" y="1131"/>
                  <a:pt x="3133" y="1131"/>
                  <a:pt x="3134" y="1131"/>
                </a:cubicBezTo>
                <a:cubicBezTo>
                  <a:pt x="3134" y="1131"/>
                  <a:pt x="3134" y="1131"/>
                  <a:pt x="3134" y="1131"/>
                </a:cubicBezTo>
                <a:cubicBezTo>
                  <a:pt x="3134" y="1131"/>
                  <a:pt x="3134" y="1131"/>
                  <a:pt x="3134" y="1131"/>
                </a:cubicBezTo>
                <a:cubicBezTo>
                  <a:pt x="3135" y="1131"/>
                  <a:pt x="3135" y="1131"/>
                  <a:pt x="3135" y="1131"/>
                </a:cubicBezTo>
                <a:cubicBezTo>
                  <a:pt x="3136" y="1131"/>
                  <a:pt x="3136" y="1130"/>
                  <a:pt x="3136" y="1130"/>
                </a:cubicBezTo>
                <a:cubicBezTo>
                  <a:pt x="3135" y="1129"/>
                  <a:pt x="3135" y="1129"/>
                  <a:pt x="3135" y="1128"/>
                </a:cubicBezTo>
                <a:cubicBezTo>
                  <a:pt x="3135" y="1128"/>
                  <a:pt x="3135" y="1127"/>
                  <a:pt x="3135" y="1127"/>
                </a:cubicBezTo>
                <a:cubicBezTo>
                  <a:pt x="3135" y="1126"/>
                  <a:pt x="3136" y="1127"/>
                  <a:pt x="3136" y="1127"/>
                </a:cubicBezTo>
                <a:cubicBezTo>
                  <a:pt x="3137" y="1127"/>
                  <a:pt x="3137" y="1127"/>
                  <a:pt x="3138" y="1127"/>
                </a:cubicBezTo>
                <a:cubicBezTo>
                  <a:pt x="3139" y="1127"/>
                  <a:pt x="3139" y="1128"/>
                  <a:pt x="3139" y="1129"/>
                </a:cubicBezTo>
                <a:cubicBezTo>
                  <a:pt x="3140" y="1129"/>
                  <a:pt x="3139" y="1130"/>
                  <a:pt x="3139" y="1131"/>
                </a:cubicBezTo>
                <a:cubicBezTo>
                  <a:pt x="3138" y="1131"/>
                  <a:pt x="3138" y="1131"/>
                  <a:pt x="3138" y="1131"/>
                </a:cubicBezTo>
                <a:cubicBezTo>
                  <a:pt x="3138" y="1132"/>
                  <a:pt x="3137" y="1132"/>
                  <a:pt x="3137" y="1132"/>
                </a:cubicBezTo>
                <a:cubicBezTo>
                  <a:pt x="3136" y="1133"/>
                  <a:pt x="3135" y="1133"/>
                  <a:pt x="3135" y="1134"/>
                </a:cubicBezTo>
                <a:cubicBezTo>
                  <a:pt x="3135" y="1135"/>
                  <a:pt x="3136" y="1135"/>
                  <a:pt x="3136" y="1136"/>
                </a:cubicBezTo>
                <a:cubicBezTo>
                  <a:pt x="3136" y="1136"/>
                  <a:pt x="3136" y="1137"/>
                  <a:pt x="3136" y="1138"/>
                </a:cubicBezTo>
                <a:cubicBezTo>
                  <a:pt x="3136" y="1138"/>
                  <a:pt x="3136" y="1139"/>
                  <a:pt x="3136" y="1139"/>
                </a:cubicBezTo>
                <a:cubicBezTo>
                  <a:pt x="3136" y="1138"/>
                  <a:pt x="3136" y="1138"/>
                  <a:pt x="3136" y="1138"/>
                </a:cubicBezTo>
                <a:cubicBezTo>
                  <a:pt x="3136" y="1138"/>
                  <a:pt x="3137" y="1138"/>
                  <a:pt x="3137" y="1138"/>
                </a:cubicBezTo>
                <a:cubicBezTo>
                  <a:pt x="3137" y="1137"/>
                  <a:pt x="3136" y="1137"/>
                  <a:pt x="3137" y="1137"/>
                </a:cubicBezTo>
                <a:cubicBezTo>
                  <a:pt x="3137" y="1137"/>
                  <a:pt x="3137" y="1137"/>
                  <a:pt x="3138" y="1137"/>
                </a:cubicBezTo>
                <a:cubicBezTo>
                  <a:pt x="3138" y="1137"/>
                  <a:pt x="3139" y="1137"/>
                  <a:pt x="3139" y="1138"/>
                </a:cubicBezTo>
                <a:cubicBezTo>
                  <a:pt x="3139" y="1138"/>
                  <a:pt x="3139" y="1138"/>
                  <a:pt x="3139" y="1139"/>
                </a:cubicBezTo>
                <a:cubicBezTo>
                  <a:pt x="3139" y="1139"/>
                  <a:pt x="3138" y="1139"/>
                  <a:pt x="3139" y="1140"/>
                </a:cubicBezTo>
                <a:cubicBezTo>
                  <a:pt x="3139" y="1140"/>
                  <a:pt x="3139" y="1138"/>
                  <a:pt x="3140" y="1139"/>
                </a:cubicBezTo>
                <a:cubicBezTo>
                  <a:pt x="3140" y="1139"/>
                  <a:pt x="3141" y="1139"/>
                  <a:pt x="3141" y="1139"/>
                </a:cubicBezTo>
                <a:cubicBezTo>
                  <a:pt x="3141" y="1140"/>
                  <a:pt x="3140" y="1140"/>
                  <a:pt x="3141" y="1140"/>
                </a:cubicBezTo>
                <a:cubicBezTo>
                  <a:pt x="3141" y="1141"/>
                  <a:pt x="3142" y="1140"/>
                  <a:pt x="3142" y="1140"/>
                </a:cubicBezTo>
                <a:cubicBezTo>
                  <a:pt x="3143" y="1140"/>
                  <a:pt x="3143" y="1141"/>
                  <a:pt x="3143" y="1141"/>
                </a:cubicBezTo>
                <a:cubicBezTo>
                  <a:pt x="3143" y="1141"/>
                  <a:pt x="3144" y="1140"/>
                  <a:pt x="3144" y="1140"/>
                </a:cubicBezTo>
                <a:cubicBezTo>
                  <a:pt x="3144" y="1140"/>
                  <a:pt x="3144" y="1140"/>
                  <a:pt x="3145" y="1140"/>
                </a:cubicBezTo>
                <a:cubicBezTo>
                  <a:pt x="3145" y="1140"/>
                  <a:pt x="3145" y="1140"/>
                  <a:pt x="3145" y="1139"/>
                </a:cubicBezTo>
                <a:cubicBezTo>
                  <a:pt x="3145" y="1139"/>
                  <a:pt x="3145" y="1138"/>
                  <a:pt x="3145" y="1138"/>
                </a:cubicBezTo>
                <a:cubicBezTo>
                  <a:pt x="3146" y="1138"/>
                  <a:pt x="3146" y="1138"/>
                  <a:pt x="3147" y="1137"/>
                </a:cubicBezTo>
                <a:cubicBezTo>
                  <a:pt x="3147" y="1137"/>
                  <a:pt x="3148" y="1137"/>
                  <a:pt x="3148" y="1137"/>
                </a:cubicBezTo>
                <a:cubicBezTo>
                  <a:pt x="3148" y="1136"/>
                  <a:pt x="3148" y="1136"/>
                  <a:pt x="3149" y="1137"/>
                </a:cubicBezTo>
                <a:cubicBezTo>
                  <a:pt x="3149" y="1137"/>
                  <a:pt x="3149" y="1137"/>
                  <a:pt x="3149" y="1137"/>
                </a:cubicBezTo>
                <a:cubicBezTo>
                  <a:pt x="3150" y="1138"/>
                  <a:pt x="3150" y="1138"/>
                  <a:pt x="3150" y="1138"/>
                </a:cubicBezTo>
                <a:cubicBezTo>
                  <a:pt x="3151" y="1138"/>
                  <a:pt x="3151" y="1138"/>
                  <a:pt x="3151" y="1138"/>
                </a:cubicBezTo>
                <a:cubicBezTo>
                  <a:pt x="3152" y="1139"/>
                  <a:pt x="3152" y="1139"/>
                  <a:pt x="3152" y="1139"/>
                </a:cubicBezTo>
                <a:cubicBezTo>
                  <a:pt x="3153" y="1139"/>
                  <a:pt x="3153" y="1140"/>
                  <a:pt x="3153" y="1140"/>
                </a:cubicBezTo>
                <a:cubicBezTo>
                  <a:pt x="3154" y="1141"/>
                  <a:pt x="3155" y="1141"/>
                  <a:pt x="3156" y="1142"/>
                </a:cubicBezTo>
                <a:cubicBezTo>
                  <a:pt x="3156" y="1143"/>
                  <a:pt x="3157" y="1143"/>
                  <a:pt x="3157" y="1145"/>
                </a:cubicBezTo>
                <a:cubicBezTo>
                  <a:pt x="3157" y="1145"/>
                  <a:pt x="3158" y="1146"/>
                  <a:pt x="3158" y="1146"/>
                </a:cubicBezTo>
                <a:cubicBezTo>
                  <a:pt x="3158" y="1146"/>
                  <a:pt x="3158" y="1145"/>
                  <a:pt x="3158" y="1145"/>
                </a:cubicBezTo>
                <a:cubicBezTo>
                  <a:pt x="3159" y="1145"/>
                  <a:pt x="3159" y="1145"/>
                  <a:pt x="3159" y="1145"/>
                </a:cubicBezTo>
                <a:cubicBezTo>
                  <a:pt x="3159" y="1144"/>
                  <a:pt x="3159" y="1144"/>
                  <a:pt x="3159" y="1143"/>
                </a:cubicBezTo>
                <a:cubicBezTo>
                  <a:pt x="3158" y="1143"/>
                  <a:pt x="3158" y="1142"/>
                  <a:pt x="3158" y="1142"/>
                </a:cubicBezTo>
                <a:cubicBezTo>
                  <a:pt x="3158" y="1142"/>
                  <a:pt x="3158" y="1141"/>
                  <a:pt x="3158" y="1141"/>
                </a:cubicBezTo>
                <a:cubicBezTo>
                  <a:pt x="3158" y="1141"/>
                  <a:pt x="3158" y="1142"/>
                  <a:pt x="3158" y="1141"/>
                </a:cubicBezTo>
                <a:cubicBezTo>
                  <a:pt x="3158" y="1141"/>
                  <a:pt x="3158" y="1141"/>
                  <a:pt x="3157" y="1141"/>
                </a:cubicBezTo>
                <a:cubicBezTo>
                  <a:pt x="3157" y="1140"/>
                  <a:pt x="3157" y="1140"/>
                  <a:pt x="3157" y="1139"/>
                </a:cubicBezTo>
                <a:cubicBezTo>
                  <a:pt x="3157" y="1139"/>
                  <a:pt x="3157" y="1139"/>
                  <a:pt x="3157" y="1139"/>
                </a:cubicBezTo>
                <a:cubicBezTo>
                  <a:pt x="3157" y="1139"/>
                  <a:pt x="3157" y="1138"/>
                  <a:pt x="3157" y="1138"/>
                </a:cubicBezTo>
                <a:cubicBezTo>
                  <a:pt x="3157" y="1138"/>
                  <a:pt x="3157" y="1137"/>
                  <a:pt x="3156" y="1137"/>
                </a:cubicBezTo>
                <a:cubicBezTo>
                  <a:pt x="3156" y="1137"/>
                  <a:pt x="3156" y="1137"/>
                  <a:pt x="3156" y="1137"/>
                </a:cubicBezTo>
                <a:cubicBezTo>
                  <a:pt x="3156" y="1137"/>
                  <a:pt x="3157" y="1137"/>
                  <a:pt x="3157" y="1137"/>
                </a:cubicBezTo>
                <a:cubicBezTo>
                  <a:pt x="3157" y="1137"/>
                  <a:pt x="3157" y="1137"/>
                  <a:pt x="3157" y="1137"/>
                </a:cubicBezTo>
                <a:cubicBezTo>
                  <a:pt x="3157" y="1137"/>
                  <a:pt x="3157" y="1137"/>
                  <a:pt x="3157" y="1137"/>
                </a:cubicBezTo>
                <a:cubicBezTo>
                  <a:pt x="3158" y="1137"/>
                  <a:pt x="3158" y="1137"/>
                  <a:pt x="3158" y="1138"/>
                </a:cubicBezTo>
                <a:cubicBezTo>
                  <a:pt x="3158" y="1138"/>
                  <a:pt x="3158" y="1138"/>
                  <a:pt x="3159" y="1138"/>
                </a:cubicBezTo>
                <a:cubicBezTo>
                  <a:pt x="3159" y="1138"/>
                  <a:pt x="3159" y="1138"/>
                  <a:pt x="3160" y="1138"/>
                </a:cubicBezTo>
                <a:cubicBezTo>
                  <a:pt x="3160" y="1139"/>
                  <a:pt x="3161" y="1139"/>
                  <a:pt x="3160" y="1140"/>
                </a:cubicBezTo>
                <a:cubicBezTo>
                  <a:pt x="3160" y="1140"/>
                  <a:pt x="3161" y="1140"/>
                  <a:pt x="3161" y="1141"/>
                </a:cubicBezTo>
                <a:cubicBezTo>
                  <a:pt x="3161" y="1141"/>
                  <a:pt x="3162" y="1141"/>
                  <a:pt x="3162" y="1141"/>
                </a:cubicBezTo>
                <a:cubicBezTo>
                  <a:pt x="3162" y="1142"/>
                  <a:pt x="3163" y="1142"/>
                  <a:pt x="3163" y="1142"/>
                </a:cubicBezTo>
                <a:cubicBezTo>
                  <a:pt x="3164" y="1142"/>
                  <a:pt x="3165" y="1142"/>
                  <a:pt x="3165" y="1143"/>
                </a:cubicBezTo>
                <a:cubicBezTo>
                  <a:pt x="3165" y="1143"/>
                  <a:pt x="3165" y="1144"/>
                  <a:pt x="3165" y="1144"/>
                </a:cubicBezTo>
                <a:cubicBezTo>
                  <a:pt x="3165" y="1144"/>
                  <a:pt x="3166" y="1144"/>
                  <a:pt x="3166" y="1145"/>
                </a:cubicBezTo>
                <a:cubicBezTo>
                  <a:pt x="3166" y="1145"/>
                  <a:pt x="3166" y="1145"/>
                  <a:pt x="3166" y="1146"/>
                </a:cubicBezTo>
                <a:cubicBezTo>
                  <a:pt x="3166" y="1146"/>
                  <a:pt x="3165" y="1146"/>
                  <a:pt x="3166" y="1147"/>
                </a:cubicBezTo>
                <a:cubicBezTo>
                  <a:pt x="3166" y="1148"/>
                  <a:pt x="3166" y="1147"/>
                  <a:pt x="3167" y="1147"/>
                </a:cubicBezTo>
                <a:cubicBezTo>
                  <a:pt x="3167" y="1147"/>
                  <a:pt x="3168" y="1148"/>
                  <a:pt x="3168" y="1148"/>
                </a:cubicBezTo>
                <a:cubicBezTo>
                  <a:pt x="3168" y="1148"/>
                  <a:pt x="3169" y="1148"/>
                  <a:pt x="3169" y="1148"/>
                </a:cubicBezTo>
                <a:cubicBezTo>
                  <a:pt x="3169" y="1149"/>
                  <a:pt x="3169" y="1149"/>
                  <a:pt x="3170" y="1149"/>
                </a:cubicBezTo>
                <a:cubicBezTo>
                  <a:pt x="3170" y="1149"/>
                  <a:pt x="3170" y="1149"/>
                  <a:pt x="3170" y="1149"/>
                </a:cubicBezTo>
                <a:cubicBezTo>
                  <a:pt x="3171" y="1149"/>
                  <a:pt x="3171" y="1149"/>
                  <a:pt x="3171" y="1149"/>
                </a:cubicBezTo>
                <a:cubicBezTo>
                  <a:pt x="3171" y="1149"/>
                  <a:pt x="3172" y="1149"/>
                  <a:pt x="3172" y="1148"/>
                </a:cubicBezTo>
                <a:cubicBezTo>
                  <a:pt x="3172" y="1148"/>
                  <a:pt x="3173" y="1148"/>
                  <a:pt x="3173" y="1148"/>
                </a:cubicBezTo>
                <a:cubicBezTo>
                  <a:pt x="3173" y="1149"/>
                  <a:pt x="3173" y="1149"/>
                  <a:pt x="3173" y="1149"/>
                </a:cubicBezTo>
                <a:cubicBezTo>
                  <a:pt x="3173" y="1149"/>
                  <a:pt x="3173" y="1149"/>
                  <a:pt x="3172" y="1149"/>
                </a:cubicBezTo>
                <a:cubicBezTo>
                  <a:pt x="3171" y="1149"/>
                  <a:pt x="3172" y="1150"/>
                  <a:pt x="3172" y="1151"/>
                </a:cubicBezTo>
                <a:cubicBezTo>
                  <a:pt x="3172" y="1151"/>
                  <a:pt x="3172" y="1151"/>
                  <a:pt x="3173" y="1152"/>
                </a:cubicBezTo>
                <a:cubicBezTo>
                  <a:pt x="3173" y="1152"/>
                  <a:pt x="3174" y="1153"/>
                  <a:pt x="3174" y="1153"/>
                </a:cubicBezTo>
                <a:cubicBezTo>
                  <a:pt x="3175" y="1152"/>
                  <a:pt x="3175" y="1151"/>
                  <a:pt x="3175" y="1151"/>
                </a:cubicBezTo>
                <a:cubicBezTo>
                  <a:pt x="3175" y="1150"/>
                  <a:pt x="3175" y="1150"/>
                  <a:pt x="3175" y="1150"/>
                </a:cubicBezTo>
                <a:cubicBezTo>
                  <a:pt x="3175" y="1149"/>
                  <a:pt x="3175" y="1149"/>
                  <a:pt x="3175" y="1148"/>
                </a:cubicBezTo>
                <a:cubicBezTo>
                  <a:pt x="3175" y="1147"/>
                  <a:pt x="3175" y="1148"/>
                  <a:pt x="3176" y="1147"/>
                </a:cubicBezTo>
                <a:cubicBezTo>
                  <a:pt x="3176" y="1147"/>
                  <a:pt x="3175" y="1146"/>
                  <a:pt x="3175" y="1147"/>
                </a:cubicBezTo>
                <a:cubicBezTo>
                  <a:pt x="3175" y="1147"/>
                  <a:pt x="3175" y="1147"/>
                  <a:pt x="3175" y="1147"/>
                </a:cubicBezTo>
                <a:cubicBezTo>
                  <a:pt x="3174" y="1147"/>
                  <a:pt x="3174" y="1147"/>
                  <a:pt x="3174" y="1147"/>
                </a:cubicBezTo>
                <a:cubicBezTo>
                  <a:pt x="3174" y="1147"/>
                  <a:pt x="3174" y="1147"/>
                  <a:pt x="3174" y="1147"/>
                </a:cubicBezTo>
                <a:cubicBezTo>
                  <a:pt x="3174" y="1147"/>
                  <a:pt x="3174" y="1147"/>
                  <a:pt x="3174" y="1146"/>
                </a:cubicBezTo>
                <a:cubicBezTo>
                  <a:pt x="3173" y="1146"/>
                  <a:pt x="3173" y="1146"/>
                  <a:pt x="3173" y="1146"/>
                </a:cubicBezTo>
                <a:cubicBezTo>
                  <a:pt x="3172" y="1146"/>
                  <a:pt x="3172" y="1147"/>
                  <a:pt x="3171" y="1147"/>
                </a:cubicBezTo>
                <a:cubicBezTo>
                  <a:pt x="3171" y="1147"/>
                  <a:pt x="3171" y="1146"/>
                  <a:pt x="3171" y="1146"/>
                </a:cubicBezTo>
                <a:cubicBezTo>
                  <a:pt x="3171" y="1146"/>
                  <a:pt x="3171" y="1146"/>
                  <a:pt x="3171" y="1145"/>
                </a:cubicBezTo>
                <a:cubicBezTo>
                  <a:pt x="3171" y="1145"/>
                  <a:pt x="3172" y="1144"/>
                  <a:pt x="3172" y="1145"/>
                </a:cubicBezTo>
                <a:cubicBezTo>
                  <a:pt x="3172" y="1145"/>
                  <a:pt x="3173" y="1145"/>
                  <a:pt x="3172" y="1144"/>
                </a:cubicBezTo>
                <a:cubicBezTo>
                  <a:pt x="3172" y="1144"/>
                  <a:pt x="3173" y="1144"/>
                  <a:pt x="3173" y="1144"/>
                </a:cubicBezTo>
                <a:cubicBezTo>
                  <a:pt x="3173" y="1143"/>
                  <a:pt x="3172" y="1144"/>
                  <a:pt x="3172" y="1143"/>
                </a:cubicBezTo>
                <a:cubicBezTo>
                  <a:pt x="3172" y="1143"/>
                  <a:pt x="3172" y="1144"/>
                  <a:pt x="3172" y="1144"/>
                </a:cubicBezTo>
                <a:cubicBezTo>
                  <a:pt x="3172" y="1145"/>
                  <a:pt x="3170" y="1143"/>
                  <a:pt x="3170" y="1142"/>
                </a:cubicBezTo>
                <a:cubicBezTo>
                  <a:pt x="3170" y="1142"/>
                  <a:pt x="3168" y="1141"/>
                  <a:pt x="3168" y="1141"/>
                </a:cubicBezTo>
                <a:cubicBezTo>
                  <a:pt x="3168" y="1140"/>
                  <a:pt x="3169" y="1139"/>
                  <a:pt x="3169" y="1139"/>
                </a:cubicBezTo>
                <a:cubicBezTo>
                  <a:pt x="3170" y="1139"/>
                  <a:pt x="3170" y="1139"/>
                  <a:pt x="3170" y="1139"/>
                </a:cubicBezTo>
                <a:cubicBezTo>
                  <a:pt x="3171" y="1139"/>
                  <a:pt x="3171" y="1140"/>
                  <a:pt x="3171" y="1140"/>
                </a:cubicBezTo>
                <a:cubicBezTo>
                  <a:pt x="3171" y="1140"/>
                  <a:pt x="3172" y="1139"/>
                  <a:pt x="3172" y="1139"/>
                </a:cubicBezTo>
                <a:cubicBezTo>
                  <a:pt x="3172" y="1139"/>
                  <a:pt x="3173" y="1139"/>
                  <a:pt x="3173" y="1139"/>
                </a:cubicBezTo>
                <a:cubicBezTo>
                  <a:pt x="3173" y="1139"/>
                  <a:pt x="3173" y="1139"/>
                  <a:pt x="3173" y="1138"/>
                </a:cubicBezTo>
                <a:cubicBezTo>
                  <a:pt x="3172" y="1138"/>
                  <a:pt x="3172" y="1138"/>
                  <a:pt x="3172" y="1138"/>
                </a:cubicBezTo>
                <a:cubicBezTo>
                  <a:pt x="3171" y="1138"/>
                  <a:pt x="3171" y="1138"/>
                  <a:pt x="3171" y="1137"/>
                </a:cubicBezTo>
                <a:cubicBezTo>
                  <a:pt x="3171" y="1137"/>
                  <a:pt x="3171" y="1137"/>
                  <a:pt x="3170" y="1137"/>
                </a:cubicBezTo>
                <a:cubicBezTo>
                  <a:pt x="3170" y="1137"/>
                  <a:pt x="3170" y="1137"/>
                  <a:pt x="3170" y="1137"/>
                </a:cubicBezTo>
                <a:cubicBezTo>
                  <a:pt x="3170" y="1137"/>
                  <a:pt x="3169" y="1137"/>
                  <a:pt x="3169" y="1137"/>
                </a:cubicBezTo>
                <a:cubicBezTo>
                  <a:pt x="3169" y="1137"/>
                  <a:pt x="3169" y="1137"/>
                  <a:pt x="3169" y="1137"/>
                </a:cubicBezTo>
                <a:cubicBezTo>
                  <a:pt x="3169" y="1137"/>
                  <a:pt x="3169" y="1137"/>
                  <a:pt x="3170" y="1137"/>
                </a:cubicBezTo>
                <a:cubicBezTo>
                  <a:pt x="3170" y="1137"/>
                  <a:pt x="3170" y="1137"/>
                  <a:pt x="3170" y="1136"/>
                </a:cubicBezTo>
                <a:cubicBezTo>
                  <a:pt x="3170" y="1136"/>
                  <a:pt x="3169" y="1136"/>
                  <a:pt x="3169" y="1136"/>
                </a:cubicBezTo>
                <a:cubicBezTo>
                  <a:pt x="3169" y="1136"/>
                  <a:pt x="3169" y="1136"/>
                  <a:pt x="3169" y="1136"/>
                </a:cubicBezTo>
                <a:cubicBezTo>
                  <a:pt x="3169" y="1136"/>
                  <a:pt x="3169" y="1136"/>
                  <a:pt x="3169" y="1137"/>
                </a:cubicBezTo>
                <a:cubicBezTo>
                  <a:pt x="3169" y="1137"/>
                  <a:pt x="3169" y="1137"/>
                  <a:pt x="3168" y="1137"/>
                </a:cubicBezTo>
                <a:cubicBezTo>
                  <a:pt x="3168" y="1137"/>
                  <a:pt x="3168" y="1136"/>
                  <a:pt x="3168" y="1136"/>
                </a:cubicBezTo>
                <a:cubicBezTo>
                  <a:pt x="3167" y="1136"/>
                  <a:pt x="3167" y="1137"/>
                  <a:pt x="3167" y="1136"/>
                </a:cubicBezTo>
                <a:cubicBezTo>
                  <a:pt x="3167" y="1136"/>
                  <a:pt x="3167" y="1136"/>
                  <a:pt x="3167" y="1136"/>
                </a:cubicBezTo>
                <a:cubicBezTo>
                  <a:pt x="3166" y="1136"/>
                  <a:pt x="3166" y="1136"/>
                  <a:pt x="3166" y="1135"/>
                </a:cubicBezTo>
                <a:cubicBezTo>
                  <a:pt x="3166" y="1135"/>
                  <a:pt x="3166" y="1135"/>
                  <a:pt x="3166" y="1135"/>
                </a:cubicBezTo>
                <a:cubicBezTo>
                  <a:pt x="3166" y="1135"/>
                  <a:pt x="3166" y="1135"/>
                  <a:pt x="3165" y="1135"/>
                </a:cubicBezTo>
                <a:cubicBezTo>
                  <a:pt x="3165" y="1135"/>
                  <a:pt x="3165" y="1136"/>
                  <a:pt x="3165" y="1136"/>
                </a:cubicBezTo>
                <a:cubicBezTo>
                  <a:pt x="3165" y="1136"/>
                  <a:pt x="3165" y="1136"/>
                  <a:pt x="3165" y="1137"/>
                </a:cubicBezTo>
                <a:cubicBezTo>
                  <a:pt x="3166" y="1137"/>
                  <a:pt x="3166" y="1137"/>
                  <a:pt x="3166" y="1137"/>
                </a:cubicBezTo>
                <a:cubicBezTo>
                  <a:pt x="3166" y="1137"/>
                  <a:pt x="3165" y="1137"/>
                  <a:pt x="3166" y="1137"/>
                </a:cubicBezTo>
                <a:cubicBezTo>
                  <a:pt x="3166" y="1138"/>
                  <a:pt x="3166" y="1138"/>
                  <a:pt x="3166" y="1138"/>
                </a:cubicBezTo>
                <a:cubicBezTo>
                  <a:pt x="3165" y="1139"/>
                  <a:pt x="3165" y="1139"/>
                  <a:pt x="3165" y="1139"/>
                </a:cubicBezTo>
                <a:cubicBezTo>
                  <a:pt x="3165" y="1139"/>
                  <a:pt x="3165" y="1139"/>
                  <a:pt x="3164" y="1139"/>
                </a:cubicBezTo>
                <a:cubicBezTo>
                  <a:pt x="3164" y="1139"/>
                  <a:pt x="3164" y="1140"/>
                  <a:pt x="3164" y="1140"/>
                </a:cubicBezTo>
                <a:cubicBezTo>
                  <a:pt x="3163" y="1139"/>
                  <a:pt x="3164" y="1139"/>
                  <a:pt x="3163" y="1139"/>
                </a:cubicBezTo>
                <a:cubicBezTo>
                  <a:pt x="3163" y="1139"/>
                  <a:pt x="3163" y="1139"/>
                  <a:pt x="3163" y="1138"/>
                </a:cubicBezTo>
                <a:cubicBezTo>
                  <a:pt x="3163" y="1138"/>
                  <a:pt x="3163" y="1137"/>
                  <a:pt x="3163" y="1137"/>
                </a:cubicBezTo>
                <a:cubicBezTo>
                  <a:pt x="3163" y="1136"/>
                  <a:pt x="3163" y="1136"/>
                  <a:pt x="3163" y="1136"/>
                </a:cubicBezTo>
                <a:cubicBezTo>
                  <a:pt x="3163" y="1135"/>
                  <a:pt x="3163" y="1135"/>
                  <a:pt x="3163" y="1135"/>
                </a:cubicBezTo>
                <a:cubicBezTo>
                  <a:pt x="3163" y="1135"/>
                  <a:pt x="3162" y="1135"/>
                  <a:pt x="3162" y="1134"/>
                </a:cubicBezTo>
                <a:cubicBezTo>
                  <a:pt x="3162" y="1134"/>
                  <a:pt x="3162" y="1134"/>
                  <a:pt x="3162" y="1134"/>
                </a:cubicBezTo>
                <a:cubicBezTo>
                  <a:pt x="3161" y="1133"/>
                  <a:pt x="3161" y="1133"/>
                  <a:pt x="3160" y="1133"/>
                </a:cubicBezTo>
                <a:cubicBezTo>
                  <a:pt x="3160" y="1133"/>
                  <a:pt x="3160" y="1133"/>
                  <a:pt x="3160" y="1133"/>
                </a:cubicBezTo>
                <a:cubicBezTo>
                  <a:pt x="3160" y="1132"/>
                  <a:pt x="3159" y="1132"/>
                  <a:pt x="3159" y="1132"/>
                </a:cubicBezTo>
                <a:cubicBezTo>
                  <a:pt x="3158" y="1132"/>
                  <a:pt x="3159" y="1133"/>
                  <a:pt x="3158" y="1133"/>
                </a:cubicBezTo>
                <a:cubicBezTo>
                  <a:pt x="3158" y="1133"/>
                  <a:pt x="3158" y="1132"/>
                  <a:pt x="3158" y="1132"/>
                </a:cubicBezTo>
                <a:cubicBezTo>
                  <a:pt x="3157" y="1132"/>
                  <a:pt x="3157" y="1132"/>
                  <a:pt x="3157" y="1132"/>
                </a:cubicBezTo>
                <a:cubicBezTo>
                  <a:pt x="3156" y="1132"/>
                  <a:pt x="3156" y="1133"/>
                  <a:pt x="3155" y="1133"/>
                </a:cubicBezTo>
                <a:cubicBezTo>
                  <a:pt x="3155" y="1134"/>
                  <a:pt x="3155" y="1134"/>
                  <a:pt x="3155" y="1134"/>
                </a:cubicBezTo>
                <a:cubicBezTo>
                  <a:pt x="3155" y="1134"/>
                  <a:pt x="3155" y="1135"/>
                  <a:pt x="3155" y="1135"/>
                </a:cubicBezTo>
                <a:cubicBezTo>
                  <a:pt x="3155" y="1135"/>
                  <a:pt x="3154" y="1135"/>
                  <a:pt x="3154" y="1135"/>
                </a:cubicBezTo>
                <a:cubicBezTo>
                  <a:pt x="3154" y="1134"/>
                  <a:pt x="3154" y="1134"/>
                  <a:pt x="3154" y="1134"/>
                </a:cubicBezTo>
                <a:cubicBezTo>
                  <a:pt x="3154" y="1134"/>
                  <a:pt x="3154" y="1133"/>
                  <a:pt x="3154" y="1133"/>
                </a:cubicBezTo>
                <a:cubicBezTo>
                  <a:pt x="3154" y="1133"/>
                  <a:pt x="3154" y="1134"/>
                  <a:pt x="3154" y="1134"/>
                </a:cubicBezTo>
                <a:cubicBezTo>
                  <a:pt x="3154" y="1134"/>
                  <a:pt x="3153" y="1134"/>
                  <a:pt x="3153" y="1134"/>
                </a:cubicBezTo>
                <a:cubicBezTo>
                  <a:pt x="3153" y="1134"/>
                  <a:pt x="3153" y="1135"/>
                  <a:pt x="3153" y="1135"/>
                </a:cubicBezTo>
                <a:cubicBezTo>
                  <a:pt x="3154" y="1135"/>
                  <a:pt x="3155" y="1136"/>
                  <a:pt x="3155" y="1136"/>
                </a:cubicBezTo>
                <a:cubicBezTo>
                  <a:pt x="3155" y="1137"/>
                  <a:pt x="3154" y="1136"/>
                  <a:pt x="3153" y="1136"/>
                </a:cubicBezTo>
                <a:cubicBezTo>
                  <a:pt x="3153" y="1136"/>
                  <a:pt x="3154" y="1137"/>
                  <a:pt x="3154" y="1137"/>
                </a:cubicBezTo>
                <a:cubicBezTo>
                  <a:pt x="3154" y="1137"/>
                  <a:pt x="3154" y="1137"/>
                  <a:pt x="3154" y="1137"/>
                </a:cubicBezTo>
                <a:cubicBezTo>
                  <a:pt x="3153" y="1137"/>
                  <a:pt x="3153" y="1137"/>
                  <a:pt x="3152" y="1137"/>
                </a:cubicBezTo>
                <a:cubicBezTo>
                  <a:pt x="3152" y="1137"/>
                  <a:pt x="3151" y="1136"/>
                  <a:pt x="3150" y="1136"/>
                </a:cubicBezTo>
                <a:cubicBezTo>
                  <a:pt x="3150" y="1136"/>
                  <a:pt x="3150" y="1135"/>
                  <a:pt x="3149" y="1135"/>
                </a:cubicBezTo>
                <a:cubicBezTo>
                  <a:pt x="3149" y="1135"/>
                  <a:pt x="3149" y="1135"/>
                  <a:pt x="3148" y="1134"/>
                </a:cubicBezTo>
                <a:cubicBezTo>
                  <a:pt x="3148" y="1134"/>
                  <a:pt x="3148" y="1134"/>
                  <a:pt x="3148" y="1134"/>
                </a:cubicBezTo>
                <a:cubicBezTo>
                  <a:pt x="3148" y="1134"/>
                  <a:pt x="3149" y="1133"/>
                  <a:pt x="3148" y="1133"/>
                </a:cubicBezTo>
                <a:cubicBezTo>
                  <a:pt x="3148" y="1133"/>
                  <a:pt x="3148" y="1133"/>
                  <a:pt x="3148" y="1133"/>
                </a:cubicBezTo>
                <a:cubicBezTo>
                  <a:pt x="3148" y="1132"/>
                  <a:pt x="3148" y="1132"/>
                  <a:pt x="3148" y="1132"/>
                </a:cubicBezTo>
                <a:cubicBezTo>
                  <a:pt x="3147" y="1131"/>
                  <a:pt x="3147" y="1130"/>
                  <a:pt x="3147" y="1130"/>
                </a:cubicBezTo>
                <a:cubicBezTo>
                  <a:pt x="3147" y="1129"/>
                  <a:pt x="3147" y="1129"/>
                  <a:pt x="3147" y="1128"/>
                </a:cubicBezTo>
                <a:cubicBezTo>
                  <a:pt x="3148" y="1128"/>
                  <a:pt x="3148" y="1128"/>
                  <a:pt x="3148" y="1128"/>
                </a:cubicBezTo>
                <a:cubicBezTo>
                  <a:pt x="3148" y="1128"/>
                  <a:pt x="3147" y="1127"/>
                  <a:pt x="3147" y="1127"/>
                </a:cubicBezTo>
                <a:cubicBezTo>
                  <a:pt x="3146" y="1127"/>
                  <a:pt x="3147" y="1126"/>
                  <a:pt x="3146" y="1125"/>
                </a:cubicBezTo>
                <a:cubicBezTo>
                  <a:pt x="3146" y="1125"/>
                  <a:pt x="3146" y="1124"/>
                  <a:pt x="3146" y="1123"/>
                </a:cubicBezTo>
                <a:cubicBezTo>
                  <a:pt x="3146" y="1123"/>
                  <a:pt x="3145" y="1123"/>
                  <a:pt x="3145" y="1122"/>
                </a:cubicBezTo>
                <a:cubicBezTo>
                  <a:pt x="3145" y="1122"/>
                  <a:pt x="3145" y="1122"/>
                  <a:pt x="3145" y="1122"/>
                </a:cubicBezTo>
                <a:cubicBezTo>
                  <a:pt x="3144" y="1121"/>
                  <a:pt x="3144" y="1120"/>
                  <a:pt x="3145" y="1120"/>
                </a:cubicBezTo>
                <a:cubicBezTo>
                  <a:pt x="3145" y="1120"/>
                  <a:pt x="3145" y="1119"/>
                  <a:pt x="3146" y="1119"/>
                </a:cubicBezTo>
                <a:cubicBezTo>
                  <a:pt x="3146" y="1118"/>
                  <a:pt x="3146" y="1118"/>
                  <a:pt x="3146" y="1118"/>
                </a:cubicBezTo>
                <a:cubicBezTo>
                  <a:pt x="3146" y="1117"/>
                  <a:pt x="3147" y="1117"/>
                  <a:pt x="3147" y="1117"/>
                </a:cubicBezTo>
                <a:cubicBezTo>
                  <a:pt x="3147" y="1116"/>
                  <a:pt x="3147" y="1116"/>
                  <a:pt x="3147" y="1116"/>
                </a:cubicBezTo>
                <a:cubicBezTo>
                  <a:pt x="3147" y="1116"/>
                  <a:pt x="3147" y="1115"/>
                  <a:pt x="3146" y="1115"/>
                </a:cubicBezTo>
                <a:cubicBezTo>
                  <a:pt x="3145" y="1115"/>
                  <a:pt x="3146" y="1114"/>
                  <a:pt x="3147" y="1114"/>
                </a:cubicBezTo>
                <a:cubicBezTo>
                  <a:pt x="3147" y="1113"/>
                  <a:pt x="3147" y="1113"/>
                  <a:pt x="3148" y="1113"/>
                </a:cubicBezTo>
                <a:cubicBezTo>
                  <a:pt x="3148" y="1112"/>
                  <a:pt x="3148" y="1112"/>
                  <a:pt x="3149" y="1112"/>
                </a:cubicBezTo>
                <a:cubicBezTo>
                  <a:pt x="3150" y="1112"/>
                  <a:pt x="3151" y="1111"/>
                  <a:pt x="3152" y="1111"/>
                </a:cubicBezTo>
                <a:cubicBezTo>
                  <a:pt x="3152" y="1111"/>
                  <a:pt x="3152" y="1110"/>
                  <a:pt x="3152" y="1110"/>
                </a:cubicBezTo>
                <a:cubicBezTo>
                  <a:pt x="3152" y="1110"/>
                  <a:pt x="3153" y="1110"/>
                  <a:pt x="3153" y="1110"/>
                </a:cubicBezTo>
                <a:cubicBezTo>
                  <a:pt x="3153" y="1110"/>
                  <a:pt x="3152" y="1110"/>
                  <a:pt x="3152" y="1110"/>
                </a:cubicBezTo>
                <a:cubicBezTo>
                  <a:pt x="3152" y="1111"/>
                  <a:pt x="3152" y="1111"/>
                  <a:pt x="3152" y="1111"/>
                </a:cubicBezTo>
                <a:cubicBezTo>
                  <a:pt x="3152" y="1112"/>
                  <a:pt x="3151" y="1112"/>
                  <a:pt x="3151" y="1113"/>
                </a:cubicBezTo>
                <a:cubicBezTo>
                  <a:pt x="3151" y="1113"/>
                  <a:pt x="3152" y="1112"/>
                  <a:pt x="3152" y="1112"/>
                </a:cubicBezTo>
                <a:cubicBezTo>
                  <a:pt x="3152" y="1112"/>
                  <a:pt x="3152" y="1112"/>
                  <a:pt x="3152" y="1111"/>
                </a:cubicBezTo>
                <a:cubicBezTo>
                  <a:pt x="3153" y="1111"/>
                  <a:pt x="3153" y="1110"/>
                  <a:pt x="3154" y="1110"/>
                </a:cubicBezTo>
                <a:cubicBezTo>
                  <a:pt x="3154" y="1110"/>
                  <a:pt x="3154" y="1110"/>
                  <a:pt x="3154" y="1109"/>
                </a:cubicBezTo>
                <a:cubicBezTo>
                  <a:pt x="3154" y="1109"/>
                  <a:pt x="3153" y="1109"/>
                  <a:pt x="3153" y="1110"/>
                </a:cubicBezTo>
                <a:cubicBezTo>
                  <a:pt x="3153" y="1110"/>
                  <a:pt x="3153" y="1109"/>
                  <a:pt x="3153" y="1109"/>
                </a:cubicBezTo>
                <a:cubicBezTo>
                  <a:pt x="3153" y="1109"/>
                  <a:pt x="3154" y="1109"/>
                  <a:pt x="3154" y="1108"/>
                </a:cubicBezTo>
                <a:cubicBezTo>
                  <a:pt x="3154" y="1108"/>
                  <a:pt x="3153" y="1108"/>
                  <a:pt x="3153" y="1108"/>
                </a:cubicBezTo>
                <a:cubicBezTo>
                  <a:pt x="3153" y="1108"/>
                  <a:pt x="3153" y="1108"/>
                  <a:pt x="3153" y="1108"/>
                </a:cubicBezTo>
                <a:cubicBezTo>
                  <a:pt x="3154" y="1107"/>
                  <a:pt x="3155" y="1106"/>
                  <a:pt x="3155" y="1105"/>
                </a:cubicBezTo>
                <a:cubicBezTo>
                  <a:pt x="3156" y="1104"/>
                  <a:pt x="3156" y="1103"/>
                  <a:pt x="3157" y="1101"/>
                </a:cubicBezTo>
                <a:cubicBezTo>
                  <a:pt x="3157" y="1101"/>
                  <a:pt x="3157" y="1100"/>
                  <a:pt x="3157" y="1100"/>
                </a:cubicBezTo>
                <a:cubicBezTo>
                  <a:pt x="3157" y="1099"/>
                  <a:pt x="3156" y="1100"/>
                  <a:pt x="3156" y="1099"/>
                </a:cubicBezTo>
                <a:cubicBezTo>
                  <a:pt x="3156" y="1099"/>
                  <a:pt x="3156" y="1098"/>
                  <a:pt x="3156" y="1098"/>
                </a:cubicBezTo>
                <a:cubicBezTo>
                  <a:pt x="3156" y="1097"/>
                  <a:pt x="3155" y="1097"/>
                  <a:pt x="3154" y="1096"/>
                </a:cubicBezTo>
                <a:cubicBezTo>
                  <a:pt x="3154" y="1096"/>
                  <a:pt x="3154" y="1096"/>
                  <a:pt x="3154" y="1095"/>
                </a:cubicBezTo>
                <a:cubicBezTo>
                  <a:pt x="3154" y="1095"/>
                  <a:pt x="3153" y="1095"/>
                  <a:pt x="3153" y="1094"/>
                </a:cubicBezTo>
                <a:cubicBezTo>
                  <a:pt x="3153" y="1094"/>
                  <a:pt x="3153" y="1093"/>
                  <a:pt x="3153" y="1092"/>
                </a:cubicBezTo>
                <a:cubicBezTo>
                  <a:pt x="3153" y="1091"/>
                  <a:pt x="3154" y="1091"/>
                  <a:pt x="3154" y="1090"/>
                </a:cubicBezTo>
                <a:cubicBezTo>
                  <a:pt x="3154" y="1090"/>
                  <a:pt x="3153" y="1089"/>
                  <a:pt x="3154" y="1089"/>
                </a:cubicBezTo>
                <a:cubicBezTo>
                  <a:pt x="3154" y="1088"/>
                  <a:pt x="3154" y="1088"/>
                  <a:pt x="3155" y="1088"/>
                </a:cubicBezTo>
                <a:cubicBezTo>
                  <a:pt x="3155" y="1088"/>
                  <a:pt x="3155" y="1086"/>
                  <a:pt x="3155" y="1086"/>
                </a:cubicBezTo>
                <a:cubicBezTo>
                  <a:pt x="3155" y="1085"/>
                  <a:pt x="3154" y="1085"/>
                  <a:pt x="3154" y="1085"/>
                </a:cubicBezTo>
                <a:cubicBezTo>
                  <a:pt x="3154" y="1084"/>
                  <a:pt x="3154" y="1084"/>
                  <a:pt x="3154" y="1084"/>
                </a:cubicBezTo>
                <a:cubicBezTo>
                  <a:pt x="3154" y="1083"/>
                  <a:pt x="3153" y="1083"/>
                  <a:pt x="3153" y="1084"/>
                </a:cubicBezTo>
                <a:cubicBezTo>
                  <a:pt x="3153" y="1084"/>
                  <a:pt x="3153" y="1085"/>
                  <a:pt x="3152" y="1085"/>
                </a:cubicBezTo>
                <a:cubicBezTo>
                  <a:pt x="3152" y="1086"/>
                  <a:pt x="3151" y="1087"/>
                  <a:pt x="3151" y="1087"/>
                </a:cubicBezTo>
                <a:cubicBezTo>
                  <a:pt x="3150" y="1087"/>
                  <a:pt x="3149" y="1086"/>
                  <a:pt x="3148" y="1086"/>
                </a:cubicBezTo>
                <a:cubicBezTo>
                  <a:pt x="3148" y="1086"/>
                  <a:pt x="3147" y="1086"/>
                  <a:pt x="3147" y="1086"/>
                </a:cubicBezTo>
                <a:cubicBezTo>
                  <a:pt x="3147" y="1086"/>
                  <a:pt x="3146" y="1085"/>
                  <a:pt x="3146" y="1085"/>
                </a:cubicBezTo>
                <a:cubicBezTo>
                  <a:pt x="3145" y="1085"/>
                  <a:pt x="3145" y="1084"/>
                  <a:pt x="3144" y="1084"/>
                </a:cubicBezTo>
                <a:cubicBezTo>
                  <a:pt x="3144" y="1084"/>
                  <a:pt x="3143" y="1084"/>
                  <a:pt x="3143" y="1083"/>
                </a:cubicBezTo>
                <a:cubicBezTo>
                  <a:pt x="3143" y="1083"/>
                  <a:pt x="3143" y="1083"/>
                  <a:pt x="3142" y="1083"/>
                </a:cubicBezTo>
                <a:cubicBezTo>
                  <a:pt x="3142" y="1082"/>
                  <a:pt x="3141" y="1082"/>
                  <a:pt x="3141" y="1083"/>
                </a:cubicBezTo>
                <a:cubicBezTo>
                  <a:pt x="3140" y="1083"/>
                  <a:pt x="3140" y="1083"/>
                  <a:pt x="3139" y="1083"/>
                </a:cubicBezTo>
                <a:cubicBezTo>
                  <a:pt x="3139" y="1082"/>
                  <a:pt x="3140" y="1082"/>
                  <a:pt x="3139" y="1082"/>
                </a:cubicBezTo>
                <a:cubicBezTo>
                  <a:pt x="3138" y="1081"/>
                  <a:pt x="3138" y="1083"/>
                  <a:pt x="3138" y="1083"/>
                </a:cubicBezTo>
                <a:cubicBezTo>
                  <a:pt x="3137" y="1084"/>
                  <a:pt x="3137" y="1083"/>
                  <a:pt x="3136" y="1083"/>
                </a:cubicBezTo>
                <a:cubicBezTo>
                  <a:pt x="3136" y="1083"/>
                  <a:pt x="3135" y="1083"/>
                  <a:pt x="3135" y="1083"/>
                </a:cubicBezTo>
                <a:cubicBezTo>
                  <a:pt x="3135" y="1084"/>
                  <a:pt x="3135" y="1084"/>
                  <a:pt x="3135" y="1084"/>
                </a:cubicBezTo>
                <a:cubicBezTo>
                  <a:pt x="3136" y="1085"/>
                  <a:pt x="3135" y="1087"/>
                  <a:pt x="3135" y="1087"/>
                </a:cubicBezTo>
                <a:cubicBezTo>
                  <a:pt x="3135" y="1088"/>
                  <a:pt x="3134" y="1088"/>
                  <a:pt x="3134" y="1089"/>
                </a:cubicBezTo>
                <a:cubicBezTo>
                  <a:pt x="3134" y="1089"/>
                  <a:pt x="3134" y="1090"/>
                  <a:pt x="3134" y="1090"/>
                </a:cubicBezTo>
                <a:cubicBezTo>
                  <a:pt x="3134" y="1091"/>
                  <a:pt x="3134" y="1091"/>
                  <a:pt x="3134" y="1091"/>
                </a:cubicBezTo>
                <a:cubicBezTo>
                  <a:pt x="3134" y="1092"/>
                  <a:pt x="3134" y="1093"/>
                  <a:pt x="3133" y="1093"/>
                </a:cubicBezTo>
                <a:cubicBezTo>
                  <a:pt x="3133" y="1094"/>
                  <a:pt x="3133" y="1095"/>
                  <a:pt x="3133" y="1095"/>
                </a:cubicBezTo>
                <a:cubicBezTo>
                  <a:pt x="3134" y="1095"/>
                  <a:pt x="3134" y="1096"/>
                  <a:pt x="3134" y="1096"/>
                </a:cubicBezTo>
                <a:cubicBezTo>
                  <a:pt x="3134" y="1096"/>
                  <a:pt x="3134" y="1097"/>
                  <a:pt x="3134" y="1097"/>
                </a:cubicBezTo>
                <a:cubicBezTo>
                  <a:pt x="3134" y="1097"/>
                  <a:pt x="3134" y="1098"/>
                  <a:pt x="3134" y="1098"/>
                </a:cubicBezTo>
                <a:cubicBezTo>
                  <a:pt x="3134" y="1098"/>
                  <a:pt x="3134" y="1099"/>
                  <a:pt x="3134" y="1099"/>
                </a:cubicBezTo>
                <a:cubicBezTo>
                  <a:pt x="3134" y="1099"/>
                  <a:pt x="3134" y="1100"/>
                  <a:pt x="3134" y="1100"/>
                </a:cubicBezTo>
                <a:cubicBezTo>
                  <a:pt x="3134" y="1101"/>
                  <a:pt x="3134" y="1102"/>
                  <a:pt x="3133" y="1103"/>
                </a:cubicBezTo>
                <a:cubicBezTo>
                  <a:pt x="3133" y="1103"/>
                  <a:pt x="3133" y="1103"/>
                  <a:pt x="3133" y="1103"/>
                </a:cubicBezTo>
                <a:cubicBezTo>
                  <a:pt x="3133" y="1103"/>
                  <a:pt x="3133" y="1104"/>
                  <a:pt x="3133" y="1104"/>
                </a:cubicBezTo>
                <a:cubicBezTo>
                  <a:pt x="3133" y="1105"/>
                  <a:pt x="3132" y="1105"/>
                  <a:pt x="3132" y="1106"/>
                </a:cubicBezTo>
                <a:cubicBezTo>
                  <a:pt x="3132" y="1106"/>
                  <a:pt x="3132" y="1107"/>
                  <a:pt x="3132" y="1107"/>
                </a:cubicBezTo>
                <a:cubicBezTo>
                  <a:pt x="3132" y="1108"/>
                  <a:pt x="3132" y="1108"/>
                  <a:pt x="3133" y="1109"/>
                </a:cubicBezTo>
                <a:cubicBezTo>
                  <a:pt x="3133" y="1109"/>
                  <a:pt x="3133" y="1110"/>
                  <a:pt x="3133" y="1110"/>
                </a:cubicBezTo>
                <a:cubicBezTo>
                  <a:pt x="3133" y="1111"/>
                  <a:pt x="3133" y="1111"/>
                  <a:pt x="3133" y="1112"/>
                </a:cubicBezTo>
                <a:cubicBezTo>
                  <a:pt x="3133" y="1112"/>
                  <a:pt x="3131" y="1113"/>
                  <a:pt x="3131" y="1113"/>
                </a:cubicBezTo>
                <a:cubicBezTo>
                  <a:pt x="3131" y="1112"/>
                  <a:pt x="3130" y="1112"/>
                  <a:pt x="3130" y="1112"/>
                </a:cubicBezTo>
                <a:cubicBezTo>
                  <a:pt x="3130" y="1112"/>
                  <a:pt x="3130" y="1112"/>
                  <a:pt x="3130" y="1112"/>
                </a:cubicBezTo>
                <a:cubicBezTo>
                  <a:pt x="3130" y="1111"/>
                  <a:pt x="3130" y="1111"/>
                  <a:pt x="3130" y="1111"/>
                </a:cubicBezTo>
                <a:cubicBezTo>
                  <a:pt x="3130" y="1111"/>
                  <a:pt x="3129" y="1111"/>
                  <a:pt x="3129" y="1111"/>
                </a:cubicBezTo>
                <a:cubicBezTo>
                  <a:pt x="3129" y="1111"/>
                  <a:pt x="3129" y="1110"/>
                  <a:pt x="3129" y="1110"/>
                </a:cubicBezTo>
                <a:cubicBezTo>
                  <a:pt x="3128" y="1110"/>
                  <a:pt x="3128" y="1110"/>
                  <a:pt x="3128" y="1110"/>
                </a:cubicBezTo>
                <a:cubicBezTo>
                  <a:pt x="3128" y="1110"/>
                  <a:pt x="3128" y="1108"/>
                  <a:pt x="3128" y="1108"/>
                </a:cubicBezTo>
                <a:cubicBezTo>
                  <a:pt x="3127" y="1109"/>
                  <a:pt x="3126" y="1110"/>
                  <a:pt x="3126" y="1111"/>
                </a:cubicBezTo>
                <a:close/>
                <a:moveTo>
                  <a:pt x="3141" y="1130"/>
                </a:moveTo>
                <a:cubicBezTo>
                  <a:pt x="3141" y="1130"/>
                  <a:pt x="3141" y="1130"/>
                  <a:pt x="3142" y="1130"/>
                </a:cubicBezTo>
                <a:cubicBezTo>
                  <a:pt x="3142" y="1130"/>
                  <a:pt x="3142" y="1131"/>
                  <a:pt x="3142" y="1131"/>
                </a:cubicBezTo>
                <a:cubicBezTo>
                  <a:pt x="3142" y="1131"/>
                  <a:pt x="3142" y="1131"/>
                  <a:pt x="3142" y="1132"/>
                </a:cubicBezTo>
                <a:cubicBezTo>
                  <a:pt x="3143" y="1132"/>
                  <a:pt x="3142" y="1130"/>
                  <a:pt x="3143" y="1130"/>
                </a:cubicBezTo>
                <a:cubicBezTo>
                  <a:pt x="3143" y="1131"/>
                  <a:pt x="3144" y="1131"/>
                  <a:pt x="3144" y="1131"/>
                </a:cubicBezTo>
                <a:cubicBezTo>
                  <a:pt x="3144" y="1132"/>
                  <a:pt x="3143" y="1132"/>
                  <a:pt x="3143" y="1132"/>
                </a:cubicBezTo>
                <a:cubicBezTo>
                  <a:pt x="3143" y="1132"/>
                  <a:pt x="3143" y="1133"/>
                  <a:pt x="3143" y="1133"/>
                </a:cubicBezTo>
                <a:cubicBezTo>
                  <a:pt x="3144" y="1133"/>
                  <a:pt x="3144" y="1132"/>
                  <a:pt x="3144" y="1132"/>
                </a:cubicBezTo>
                <a:cubicBezTo>
                  <a:pt x="3145" y="1132"/>
                  <a:pt x="3145" y="1132"/>
                  <a:pt x="3145" y="1131"/>
                </a:cubicBezTo>
                <a:cubicBezTo>
                  <a:pt x="3145" y="1131"/>
                  <a:pt x="3145" y="1132"/>
                  <a:pt x="3145" y="1132"/>
                </a:cubicBezTo>
                <a:cubicBezTo>
                  <a:pt x="3145" y="1132"/>
                  <a:pt x="3145" y="1132"/>
                  <a:pt x="3144" y="1133"/>
                </a:cubicBezTo>
                <a:cubicBezTo>
                  <a:pt x="3144" y="1133"/>
                  <a:pt x="3144" y="1133"/>
                  <a:pt x="3144" y="1133"/>
                </a:cubicBezTo>
                <a:cubicBezTo>
                  <a:pt x="3144" y="1133"/>
                  <a:pt x="3143" y="1133"/>
                  <a:pt x="3143" y="1134"/>
                </a:cubicBezTo>
                <a:cubicBezTo>
                  <a:pt x="3143" y="1134"/>
                  <a:pt x="3142" y="1134"/>
                  <a:pt x="3142" y="1134"/>
                </a:cubicBezTo>
                <a:cubicBezTo>
                  <a:pt x="3142" y="1134"/>
                  <a:pt x="3142" y="1134"/>
                  <a:pt x="3142" y="1134"/>
                </a:cubicBezTo>
                <a:cubicBezTo>
                  <a:pt x="3142" y="1133"/>
                  <a:pt x="3142" y="1133"/>
                  <a:pt x="3142" y="1133"/>
                </a:cubicBezTo>
                <a:cubicBezTo>
                  <a:pt x="3142" y="1133"/>
                  <a:pt x="3141" y="1133"/>
                  <a:pt x="3141" y="1132"/>
                </a:cubicBezTo>
                <a:cubicBezTo>
                  <a:pt x="3141" y="1132"/>
                  <a:pt x="3141" y="1132"/>
                  <a:pt x="3141" y="1132"/>
                </a:cubicBezTo>
                <a:cubicBezTo>
                  <a:pt x="3141" y="1132"/>
                  <a:pt x="3141" y="1131"/>
                  <a:pt x="3141" y="1130"/>
                </a:cubicBezTo>
                <a:close/>
                <a:moveTo>
                  <a:pt x="3140" y="1135"/>
                </a:moveTo>
                <a:cubicBezTo>
                  <a:pt x="3141" y="1135"/>
                  <a:pt x="3141" y="1135"/>
                  <a:pt x="3141" y="1136"/>
                </a:cubicBezTo>
                <a:cubicBezTo>
                  <a:pt x="3141" y="1136"/>
                  <a:pt x="3141" y="1136"/>
                  <a:pt x="3141" y="1136"/>
                </a:cubicBezTo>
                <a:cubicBezTo>
                  <a:pt x="3141" y="1136"/>
                  <a:pt x="3141" y="1136"/>
                  <a:pt x="3141" y="1136"/>
                </a:cubicBezTo>
                <a:cubicBezTo>
                  <a:pt x="3141" y="1137"/>
                  <a:pt x="3140" y="1137"/>
                  <a:pt x="3140" y="1137"/>
                </a:cubicBezTo>
                <a:cubicBezTo>
                  <a:pt x="3140" y="1137"/>
                  <a:pt x="3140" y="1137"/>
                  <a:pt x="3140" y="1137"/>
                </a:cubicBezTo>
                <a:cubicBezTo>
                  <a:pt x="3140" y="1138"/>
                  <a:pt x="3139" y="1137"/>
                  <a:pt x="3139" y="1137"/>
                </a:cubicBezTo>
                <a:cubicBezTo>
                  <a:pt x="3139" y="1136"/>
                  <a:pt x="3140" y="1136"/>
                  <a:pt x="3139" y="1136"/>
                </a:cubicBezTo>
                <a:cubicBezTo>
                  <a:pt x="3139" y="1135"/>
                  <a:pt x="3140" y="1135"/>
                  <a:pt x="3140" y="1135"/>
                </a:cubicBezTo>
                <a:close/>
                <a:moveTo>
                  <a:pt x="3140" y="1136"/>
                </a:moveTo>
                <a:cubicBezTo>
                  <a:pt x="3140" y="1136"/>
                  <a:pt x="3140" y="1135"/>
                  <a:pt x="3140" y="1136"/>
                </a:cubicBezTo>
                <a:cubicBezTo>
                  <a:pt x="3140" y="1136"/>
                  <a:pt x="3140" y="1136"/>
                  <a:pt x="3140" y="1136"/>
                </a:cubicBezTo>
                <a:close/>
                <a:moveTo>
                  <a:pt x="3153" y="1125"/>
                </a:moveTo>
                <a:cubicBezTo>
                  <a:pt x="3153" y="1125"/>
                  <a:pt x="3153" y="1126"/>
                  <a:pt x="3153" y="1126"/>
                </a:cubicBezTo>
                <a:cubicBezTo>
                  <a:pt x="3153" y="1126"/>
                  <a:pt x="3153" y="1125"/>
                  <a:pt x="3153" y="1125"/>
                </a:cubicBezTo>
                <a:close/>
                <a:moveTo>
                  <a:pt x="2961" y="1318"/>
                </a:moveTo>
                <a:cubicBezTo>
                  <a:pt x="2960" y="1319"/>
                  <a:pt x="2959" y="1319"/>
                  <a:pt x="2959" y="1320"/>
                </a:cubicBezTo>
                <a:cubicBezTo>
                  <a:pt x="2958" y="1321"/>
                  <a:pt x="2959" y="1320"/>
                  <a:pt x="2960" y="1321"/>
                </a:cubicBezTo>
                <a:cubicBezTo>
                  <a:pt x="2961" y="1321"/>
                  <a:pt x="2961" y="1321"/>
                  <a:pt x="2962" y="1321"/>
                </a:cubicBezTo>
                <a:cubicBezTo>
                  <a:pt x="2962" y="1321"/>
                  <a:pt x="2963" y="1321"/>
                  <a:pt x="2963" y="1321"/>
                </a:cubicBezTo>
                <a:cubicBezTo>
                  <a:pt x="2963" y="1321"/>
                  <a:pt x="2963" y="1321"/>
                  <a:pt x="2964" y="1321"/>
                </a:cubicBezTo>
                <a:cubicBezTo>
                  <a:pt x="2965" y="1321"/>
                  <a:pt x="2965" y="1321"/>
                  <a:pt x="2966" y="1321"/>
                </a:cubicBezTo>
                <a:cubicBezTo>
                  <a:pt x="2966" y="1322"/>
                  <a:pt x="2966" y="1323"/>
                  <a:pt x="2966" y="1323"/>
                </a:cubicBezTo>
                <a:cubicBezTo>
                  <a:pt x="2967" y="1324"/>
                  <a:pt x="2967" y="1325"/>
                  <a:pt x="2967" y="1325"/>
                </a:cubicBezTo>
                <a:cubicBezTo>
                  <a:pt x="2968" y="1326"/>
                  <a:pt x="2968" y="1326"/>
                  <a:pt x="2968" y="1327"/>
                </a:cubicBezTo>
                <a:cubicBezTo>
                  <a:pt x="2968" y="1328"/>
                  <a:pt x="2968" y="1329"/>
                  <a:pt x="2969" y="1329"/>
                </a:cubicBezTo>
                <a:cubicBezTo>
                  <a:pt x="2970" y="1330"/>
                  <a:pt x="2971" y="1330"/>
                  <a:pt x="2971" y="1330"/>
                </a:cubicBezTo>
                <a:cubicBezTo>
                  <a:pt x="2972" y="1331"/>
                  <a:pt x="2972" y="1331"/>
                  <a:pt x="2973" y="1331"/>
                </a:cubicBezTo>
                <a:cubicBezTo>
                  <a:pt x="2974" y="1332"/>
                  <a:pt x="2974" y="1332"/>
                  <a:pt x="2975" y="1332"/>
                </a:cubicBezTo>
                <a:cubicBezTo>
                  <a:pt x="2976" y="1332"/>
                  <a:pt x="2976" y="1332"/>
                  <a:pt x="2977" y="1332"/>
                </a:cubicBezTo>
                <a:cubicBezTo>
                  <a:pt x="2977" y="1332"/>
                  <a:pt x="2977" y="1331"/>
                  <a:pt x="2978" y="1331"/>
                </a:cubicBezTo>
                <a:cubicBezTo>
                  <a:pt x="2978" y="1331"/>
                  <a:pt x="2979" y="1331"/>
                  <a:pt x="2979" y="1331"/>
                </a:cubicBezTo>
                <a:cubicBezTo>
                  <a:pt x="2979" y="1330"/>
                  <a:pt x="2978" y="1330"/>
                  <a:pt x="2978" y="1330"/>
                </a:cubicBezTo>
                <a:cubicBezTo>
                  <a:pt x="2978" y="1330"/>
                  <a:pt x="2977" y="1330"/>
                  <a:pt x="2977" y="1330"/>
                </a:cubicBezTo>
                <a:cubicBezTo>
                  <a:pt x="2977" y="1330"/>
                  <a:pt x="2977" y="1331"/>
                  <a:pt x="2976" y="1331"/>
                </a:cubicBezTo>
                <a:cubicBezTo>
                  <a:pt x="2976" y="1331"/>
                  <a:pt x="2976" y="1330"/>
                  <a:pt x="2976" y="1330"/>
                </a:cubicBezTo>
                <a:cubicBezTo>
                  <a:pt x="2976" y="1330"/>
                  <a:pt x="2975" y="1329"/>
                  <a:pt x="2976" y="1329"/>
                </a:cubicBezTo>
                <a:cubicBezTo>
                  <a:pt x="2976" y="1328"/>
                  <a:pt x="2976" y="1328"/>
                  <a:pt x="2976" y="1328"/>
                </a:cubicBezTo>
                <a:cubicBezTo>
                  <a:pt x="2977" y="1328"/>
                  <a:pt x="2977" y="1327"/>
                  <a:pt x="2977" y="1327"/>
                </a:cubicBezTo>
                <a:cubicBezTo>
                  <a:pt x="2977" y="1327"/>
                  <a:pt x="2978" y="1327"/>
                  <a:pt x="2978" y="1327"/>
                </a:cubicBezTo>
                <a:cubicBezTo>
                  <a:pt x="2979" y="1326"/>
                  <a:pt x="2977" y="1326"/>
                  <a:pt x="2976" y="1326"/>
                </a:cubicBezTo>
                <a:cubicBezTo>
                  <a:pt x="2976" y="1326"/>
                  <a:pt x="2975" y="1326"/>
                  <a:pt x="2974" y="1326"/>
                </a:cubicBezTo>
                <a:cubicBezTo>
                  <a:pt x="2973" y="1326"/>
                  <a:pt x="2972" y="1325"/>
                  <a:pt x="2972" y="1324"/>
                </a:cubicBezTo>
                <a:cubicBezTo>
                  <a:pt x="2972" y="1324"/>
                  <a:pt x="2971" y="1323"/>
                  <a:pt x="2971" y="1322"/>
                </a:cubicBezTo>
                <a:cubicBezTo>
                  <a:pt x="2971" y="1321"/>
                  <a:pt x="2971" y="1320"/>
                  <a:pt x="2970" y="1320"/>
                </a:cubicBezTo>
                <a:cubicBezTo>
                  <a:pt x="2970" y="1319"/>
                  <a:pt x="2970" y="1318"/>
                  <a:pt x="2970" y="1317"/>
                </a:cubicBezTo>
                <a:cubicBezTo>
                  <a:pt x="2970" y="1317"/>
                  <a:pt x="2970" y="1316"/>
                  <a:pt x="2969" y="1316"/>
                </a:cubicBezTo>
                <a:cubicBezTo>
                  <a:pt x="2969" y="1315"/>
                  <a:pt x="2969" y="1315"/>
                  <a:pt x="2969" y="1315"/>
                </a:cubicBezTo>
                <a:cubicBezTo>
                  <a:pt x="2968" y="1314"/>
                  <a:pt x="2968" y="1314"/>
                  <a:pt x="2967" y="1314"/>
                </a:cubicBezTo>
                <a:cubicBezTo>
                  <a:pt x="2966" y="1314"/>
                  <a:pt x="2966" y="1314"/>
                  <a:pt x="2966" y="1314"/>
                </a:cubicBezTo>
                <a:cubicBezTo>
                  <a:pt x="2966" y="1315"/>
                  <a:pt x="2965" y="1314"/>
                  <a:pt x="2965" y="1315"/>
                </a:cubicBezTo>
                <a:cubicBezTo>
                  <a:pt x="2964" y="1315"/>
                  <a:pt x="2967" y="1315"/>
                  <a:pt x="2966" y="1316"/>
                </a:cubicBezTo>
                <a:cubicBezTo>
                  <a:pt x="2965" y="1317"/>
                  <a:pt x="2964" y="1315"/>
                  <a:pt x="2964" y="1315"/>
                </a:cubicBezTo>
                <a:cubicBezTo>
                  <a:pt x="2963" y="1314"/>
                  <a:pt x="2963" y="1315"/>
                  <a:pt x="2962" y="1315"/>
                </a:cubicBezTo>
                <a:cubicBezTo>
                  <a:pt x="2962" y="1315"/>
                  <a:pt x="2961" y="1315"/>
                  <a:pt x="2961" y="1316"/>
                </a:cubicBezTo>
                <a:cubicBezTo>
                  <a:pt x="2961" y="1316"/>
                  <a:pt x="2961" y="1316"/>
                  <a:pt x="2961" y="1317"/>
                </a:cubicBezTo>
                <a:cubicBezTo>
                  <a:pt x="2961" y="1317"/>
                  <a:pt x="2962" y="1317"/>
                  <a:pt x="2962" y="1317"/>
                </a:cubicBezTo>
                <a:cubicBezTo>
                  <a:pt x="2962" y="1318"/>
                  <a:pt x="2961" y="1318"/>
                  <a:pt x="2961" y="1318"/>
                </a:cubicBezTo>
                <a:close/>
                <a:moveTo>
                  <a:pt x="3181" y="842"/>
                </a:moveTo>
                <a:cubicBezTo>
                  <a:pt x="3181" y="842"/>
                  <a:pt x="3181" y="842"/>
                  <a:pt x="3181" y="842"/>
                </a:cubicBezTo>
                <a:cubicBezTo>
                  <a:pt x="3182" y="842"/>
                  <a:pt x="3180" y="841"/>
                  <a:pt x="3181" y="842"/>
                </a:cubicBezTo>
                <a:close/>
                <a:moveTo>
                  <a:pt x="3172" y="1136"/>
                </a:moveTo>
                <a:cubicBezTo>
                  <a:pt x="3171" y="1137"/>
                  <a:pt x="3171" y="1137"/>
                  <a:pt x="3172" y="1137"/>
                </a:cubicBezTo>
                <a:cubicBezTo>
                  <a:pt x="3172" y="1137"/>
                  <a:pt x="3172" y="1136"/>
                  <a:pt x="3172" y="1136"/>
                </a:cubicBezTo>
                <a:close/>
                <a:moveTo>
                  <a:pt x="3127" y="1239"/>
                </a:moveTo>
                <a:cubicBezTo>
                  <a:pt x="3127" y="1239"/>
                  <a:pt x="3128" y="1239"/>
                  <a:pt x="3128" y="1239"/>
                </a:cubicBezTo>
                <a:cubicBezTo>
                  <a:pt x="3128" y="1239"/>
                  <a:pt x="3128" y="1238"/>
                  <a:pt x="3128" y="1238"/>
                </a:cubicBezTo>
                <a:cubicBezTo>
                  <a:pt x="3129" y="1238"/>
                  <a:pt x="3129" y="1238"/>
                  <a:pt x="3129" y="1238"/>
                </a:cubicBezTo>
                <a:cubicBezTo>
                  <a:pt x="3129" y="1239"/>
                  <a:pt x="3130" y="1238"/>
                  <a:pt x="3130" y="1238"/>
                </a:cubicBezTo>
                <a:cubicBezTo>
                  <a:pt x="3130" y="1237"/>
                  <a:pt x="3130" y="1238"/>
                  <a:pt x="3130" y="1238"/>
                </a:cubicBezTo>
                <a:cubicBezTo>
                  <a:pt x="3130" y="1238"/>
                  <a:pt x="3130" y="1238"/>
                  <a:pt x="3130" y="1239"/>
                </a:cubicBezTo>
                <a:cubicBezTo>
                  <a:pt x="3131" y="1239"/>
                  <a:pt x="3131" y="1238"/>
                  <a:pt x="3131" y="1238"/>
                </a:cubicBezTo>
                <a:cubicBezTo>
                  <a:pt x="3131" y="1238"/>
                  <a:pt x="3131" y="1238"/>
                  <a:pt x="3132" y="1238"/>
                </a:cubicBezTo>
                <a:cubicBezTo>
                  <a:pt x="3132" y="1238"/>
                  <a:pt x="3132" y="1237"/>
                  <a:pt x="3132" y="1237"/>
                </a:cubicBezTo>
                <a:cubicBezTo>
                  <a:pt x="3131" y="1237"/>
                  <a:pt x="3131" y="1237"/>
                  <a:pt x="3131" y="1237"/>
                </a:cubicBezTo>
                <a:cubicBezTo>
                  <a:pt x="3131" y="1237"/>
                  <a:pt x="3131" y="1237"/>
                  <a:pt x="3131" y="1236"/>
                </a:cubicBezTo>
                <a:cubicBezTo>
                  <a:pt x="3131" y="1236"/>
                  <a:pt x="3131" y="1236"/>
                  <a:pt x="3130" y="1236"/>
                </a:cubicBezTo>
                <a:cubicBezTo>
                  <a:pt x="3130" y="1236"/>
                  <a:pt x="3130" y="1236"/>
                  <a:pt x="3129" y="1237"/>
                </a:cubicBezTo>
                <a:cubicBezTo>
                  <a:pt x="3129" y="1237"/>
                  <a:pt x="3129" y="1237"/>
                  <a:pt x="3128" y="1237"/>
                </a:cubicBezTo>
                <a:cubicBezTo>
                  <a:pt x="3128" y="1237"/>
                  <a:pt x="3128" y="1238"/>
                  <a:pt x="3127" y="1238"/>
                </a:cubicBezTo>
                <a:cubicBezTo>
                  <a:pt x="3127" y="1238"/>
                  <a:pt x="3127" y="1238"/>
                  <a:pt x="3127" y="1238"/>
                </a:cubicBezTo>
                <a:cubicBezTo>
                  <a:pt x="3126" y="1238"/>
                  <a:pt x="3126" y="1238"/>
                  <a:pt x="3126" y="1238"/>
                </a:cubicBezTo>
                <a:cubicBezTo>
                  <a:pt x="3126" y="1239"/>
                  <a:pt x="3126" y="1239"/>
                  <a:pt x="3127" y="1239"/>
                </a:cubicBezTo>
                <a:close/>
                <a:moveTo>
                  <a:pt x="3175" y="1139"/>
                </a:moveTo>
                <a:cubicBezTo>
                  <a:pt x="3174" y="1139"/>
                  <a:pt x="3174" y="1140"/>
                  <a:pt x="3174" y="1140"/>
                </a:cubicBezTo>
                <a:cubicBezTo>
                  <a:pt x="3174" y="1140"/>
                  <a:pt x="3174" y="1140"/>
                  <a:pt x="3175" y="1141"/>
                </a:cubicBezTo>
                <a:cubicBezTo>
                  <a:pt x="3175" y="1141"/>
                  <a:pt x="3175" y="1141"/>
                  <a:pt x="3176" y="1141"/>
                </a:cubicBezTo>
                <a:cubicBezTo>
                  <a:pt x="3176" y="1142"/>
                  <a:pt x="3176" y="1141"/>
                  <a:pt x="3176" y="1141"/>
                </a:cubicBezTo>
                <a:cubicBezTo>
                  <a:pt x="3177" y="1140"/>
                  <a:pt x="3177" y="1141"/>
                  <a:pt x="3177" y="1141"/>
                </a:cubicBezTo>
                <a:cubicBezTo>
                  <a:pt x="3177" y="1141"/>
                  <a:pt x="3177" y="1140"/>
                  <a:pt x="3178" y="1140"/>
                </a:cubicBezTo>
                <a:cubicBezTo>
                  <a:pt x="3178" y="1140"/>
                  <a:pt x="3178" y="1140"/>
                  <a:pt x="3178" y="1140"/>
                </a:cubicBezTo>
                <a:cubicBezTo>
                  <a:pt x="3178" y="1139"/>
                  <a:pt x="3178" y="1139"/>
                  <a:pt x="3178" y="1139"/>
                </a:cubicBezTo>
                <a:cubicBezTo>
                  <a:pt x="3178" y="1139"/>
                  <a:pt x="3178" y="1139"/>
                  <a:pt x="3178" y="1138"/>
                </a:cubicBezTo>
                <a:cubicBezTo>
                  <a:pt x="3178" y="1138"/>
                  <a:pt x="3178" y="1138"/>
                  <a:pt x="3178" y="1138"/>
                </a:cubicBezTo>
                <a:cubicBezTo>
                  <a:pt x="3178" y="1138"/>
                  <a:pt x="3178" y="1137"/>
                  <a:pt x="3178" y="1137"/>
                </a:cubicBezTo>
                <a:cubicBezTo>
                  <a:pt x="3178" y="1137"/>
                  <a:pt x="3178" y="1137"/>
                  <a:pt x="3177" y="1137"/>
                </a:cubicBezTo>
                <a:cubicBezTo>
                  <a:pt x="3177" y="1137"/>
                  <a:pt x="3177" y="1136"/>
                  <a:pt x="3177" y="1136"/>
                </a:cubicBezTo>
                <a:cubicBezTo>
                  <a:pt x="3177" y="1136"/>
                  <a:pt x="3177" y="1137"/>
                  <a:pt x="3177" y="1137"/>
                </a:cubicBezTo>
                <a:cubicBezTo>
                  <a:pt x="3177" y="1137"/>
                  <a:pt x="3177" y="1136"/>
                  <a:pt x="3176" y="1136"/>
                </a:cubicBezTo>
                <a:cubicBezTo>
                  <a:pt x="3176" y="1135"/>
                  <a:pt x="3176" y="1135"/>
                  <a:pt x="3175" y="1135"/>
                </a:cubicBezTo>
                <a:cubicBezTo>
                  <a:pt x="3175" y="1135"/>
                  <a:pt x="3175" y="1135"/>
                  <a:pt x="3175" y="1136"/>
                </a:cubicBezTo>
                <a:cubicBezTo>
                  <a:pt x="3175" y="1136"/>
                  <a:pt x="3175" y="1136"/>
                  <a:pt x="3175" y="1137"/>
                </a:cubicBezTo>
                <a:cubicBezTo>
                  <a:pt x="3175" y="1137"/>
                  <a:pt x="3175" y="1137"/>
                  <a:pt x="3175" y="1137"/>
                </a:cubicBezTo>
                <a:cubicBezTo>
                  <a:pt x="3175" y="1138"/>
                  <a:pt x="3175" y="1139"/>
                  <a:pt x="3175" y="1139"/>
                </a:cubicBezTo>
                <a:close/>
                <a:moveTo>
                  <a:pt x="3053" y="1393"/>
                </a:moveTo>
                <a:cubicBezTo>
                  <a:pt x="3055" y="1393"/>
                  <a:pt x="3057" y="1394"/>
                  <a:pt x="3059" y="1395"/>
                </a:cubicBezTo>
                <a:cubicBezTo>
                  <a:pt x="3059" y="1395"/>
                  <a:pt x="3060" y="1396"/>
                  <a:pt x="3061" y="1396"/>
                </a:cubicBezTo>
                <a:cubicBezTo>
                  <a:pt x="3062" y="1396"/>
                  <a:pt x="3063" y="1396"/>
                  <a:pt x="3063" y="1396"/>
                </a:cubicBezTo>
                <a:cubicBezTo>
                  <a:pt x="3064" y="1396"/>
                  <a:pt x="3065" y="1397"/>
                  <a:pt x="3066" y="1397"/>
                </a:cubicBezTo>
                <a:cubicBezTo>
                  <a:pt x="3066" y="1397"/>
                  <a:pt x="3067" y="1398"/>
                  <a:pt x="3067" y="1397"/>
                </a:cubicBezTo>
                <a:cubicBezTo>
                  <a:pt x="3067" y="1396"/>
                  <a:pt x="3066" y="1396"/>
                  <a:pt x="3065" y="1395"/>
                </a:cubicBezTo>
                <a:cubicBezTo>
                  <a:pt x="3065" y="1395"/>
                  <a:pt x="3065" y="1395"/>
                  <a:pt x="3064" y="1395"/>
                </a:cubicBezTo>
                <a:cubicBezTo>
                  <a:pt x="3064" y="1394"/>
                  <a:pt x="3064" y="1394"/>
                  <a:pt x="3064" y="1394"/>
                </a:cubicBezTo>
                <a:cubicBezTo>
                  <a:pt x="3064" y="1393"/>
                  <a:pt x="3064" y="1392"/>
                  <a:pt x="3064" y="1391"/>
                </a:cubicBezTo>
                <a:cubicBezTo>
                  <a:pt x="3064" y="1391"/>
                  <a:pt x="3064" y="1390"/>
                  <a:pt x="3064" y="1389"/>
                </a:cubicBezTo>
                <a:cubicBezTo>
                  <a:pt x="3064" y="1389"/>
                  <a:pt x="3065" y="1388"/>
                  <a:pt x="3065" y="1388"/>
                </a:cubicBezTo>
                <a:cubicBezTo>
                  <a:pt x="3065" y="1387"/>
                  <a:pt x="3065" y="1387"/>
                  <a:pt x="3065" y="1386"/>
                </a:cubicBezTo>
                <a:cubicBezTo>
                  <a:pt x="3064" y="1386"/>
                  <a:pt x="3064" y="1386"/>
                  <a:pt x="3064" y="1385"/>
                </a:cubicBezTo>
                <a:cubicBezTo>
                  <a:pt x="3063" y="1385"/>
                  <a:pt x="3063" y="1385"/>
                  <a:pt x="3062" y="1385"/>
                </a:cubicBezTo>
                <a:cubicBezTo>
                  <a:pt x="3062" y="1385"/>
                  <a:pt x="3062" y="1384"/>
                  <a:pt x="3062" y="1384"/>
                </a:cubicBezTo>
                <a:cubicBezTo>
                  <a:pt x="3061" y="1384"/>
                  <a:pt x="3060" y="1384"/>
                  <a:pt x="3059" y="1384"/>
                </a:cubicBezTo>
                <a:cubicBezTo>
                  <a:pt x="3058" y="1384"/>
                  <a:pt x="3058" y="1384"/>
                  <a:pt x="3057" y="1384"/>
                </a:cubicBezTo>
                <a:cubicBezTo>
                  <a:pt x="3056" y="1385"/>
                  <a:pt x="3056" y="1385"/>
                  <a:pt x="3056" y="1385"/>
                </a:cubicBezTo>
                <a:cubicBezTo>
                  <a:pt x="3055" y="1385"/>
                  <a:pt x="3055" y="1385"/>
                  <a:pt x="3054" y="1385"/>
                </a:cubicBezTo>
                <a:cubicBezTo>
                  <a:pt x="3054" y="1385"/>
                  <a:pt x="3054" y="1385"/>
                  <a:pt x="3053" y="1385"/>
                </a:cubicBezTo>
                <a:cubicBezTo>
                  <a:pt x="3053" y="1385"/>
                  <a:pt x="3052" y="1385"/>
                  <a:pt x="3052" y="1385"/>
                </a:cubicBezTo>
                <a:cubicBezTo>
                  <a:pt x="3051" y="1385"/>
                  <a:pt x="3051" y="1385"/>
                  <a:pt x="3050" y="1385"/>
                </a:cubicBezTo>
                <a:cubicBezTo>
                  <a:pt x="3049" y="1385"/>
                  <a:pt x="3048" y="1385"/>
                  <a:pt x="3048" y="1384"/>
                </a:cubicBezTo>
                <a:cubicBezTo>
                  <a:pt x="3047" y="1384"/>
                  <a:pt x="3047" y="1384"/>
                  <a:pt x="3047" y="1383"/>
                </a:cubicBezTo>
                <a:cubicBezTo>
                  <a:pt x="3046" y="1383"/>
                  <a:pt x="3046" y="1383"/>
                  <a:pt x="3046" y="1383"/>
                </a:cubicBezTo>
                <a:cubicBezTo>
                  <a:pt x="3046" y="1382"/>
                  <a:pt x="3046" y="1381"/>
                  <a:pt x="3045" y="1380"/>
                </a:cubicBezTo>
                <a:cubicBezTo>
                  <a:pt x="3045" y="1380"/>
                  <a:pt x="3044" y="1380"/>
                  <a:pt x="3044" y="1379"/>
                </a:cubicBezTo>
                <a:cubicBezTo>
                  <a:pt x="3043" y="1377"/>
                  <a:pt x="3044" y="1374"/>
                  <a:pt x="3042" y="1375"/>
                </a:cubicBezTo>
                <a:cubicBezTo>
                  <a:pt x="3041" y="1376"/>
                  <a:pt x="3040" y="1376"/>
                  <a:pt x="3039" y="1376"/>
                </a:cubicBezTo>
                <a:cubicBezTo>
                  <a:pt x="3038" y="1376"/>
                  <a:pt x="3038" y="1375"/>
                  <a:pt x="3037" y="1375"/>
                </a:cubicBezTo>
                <a:cubicBezTo>
                  <a:pt x="3037" y="1375"/>
                  <a:pt x="3036" y="1375"/>
                  <a:pt x="3036" y="1375"/>
                </a:cubicBezTo>
                <a:cubicBezTo>
                  <a:pt x="3035" y="1375"/>
                  <a:pt x="3035" y="1374"/>
                  <a:pt x="3034" y="1374"/>
                </a:cubicBezTo>
                <a:cubicBezTo>
                  <a:pt x="3033" y="1374"/>
                  <a:pt x="3033" y="1374"/>
                  <a:pt x="3032" y="1374"/>
                </a:cubicBezTo>
                <a:cubicBezTo>
                  <a:pt x="3031" y="1374"/>
                  <a:pt x="3030" y="1374"/>
                  <a:pt x="3029" y="1374"/>
                </a:cubicBezTo>
                <a:cubicBezTo>
                  <a:pt x="3028" y="1373"/>
                  <a:pt x="3028" y="1373"/>
                  <a:pt x="3027" y="1373"/>
                </a:cubicBezTo>
                <a:cubicBezTo>
                  <a:pt x="3026" y="1372"/>
                  <a:pt x="3026" y="1371"/>
                  <a:pt x="3025" y="1371"/>
                </a:cubicBezTo>
                <a:cubicBezTo>
                  <a:pt x="3024" y="1370"/>
                  <a:pt x="3024" y="1370"/>
                  <a:pt x="3023" y="1371"/>
                </a:cubicBezTo>
                <a:cubicBezTo>
                  <a:pt x="3023" y="1371"/>
                  <a:pt x="3023" y="1371"/>
                  <a:pt x="3022" y="1371"/>
                </a:cubicBezTo>
                <a:cubicBezTo>
                  <a:pt x="3022" y="1372"/>
                  <a:pt x="3021" y="1372"/>
                  <a:pt x="3021" y="1373"/>
                </a:cubicBezTo>
                <a:cubicBezTo>
                  <a:pt x="3021" y="1374"/>
                  <a:pt x="3021" y="1374"/>
                  <a:pt x="3020" y="1375"/>
                </a:cubicBezTo>
                <a:cubicBezTo>
                  <a:pt x="3020" y="1376"/>
                  <a:pt x="3020" y="1376"/>
                  <a:pt x="3020" y="1376"/>
                </a:cubicBezTo>
                <a:cubicBezTo>
                  <a:pt x="3019" y="1376"/>
                  <a:pt x="3018" y="1376"/>
                  <a:pt x="3018" y="1376"/>
                </a:cubicBezTo>
                <a:cubicBezTo>
                  <a:pt x="3017" y="1376"/>
                  <a:pt x="3017" y="1376"/>
                  <a:pt x="3016" y="1376"/>
                </a:cubicBezTo>
                <a:cubicBezTo>
                  <a:pt x="3016" y="1376"/>
                  <a:pt x="3015" y="1376"/>
                  <a:pt x="3014" y="1376"/>
                </a:cubicBezTo>
                <a:cubicBezTo>
                  <a:pt x="3013" y="1376"/>
                  <a:pt x="3012" y="1376"/>
                  <a:pt x="3011" y="1375"/>
                </a:cubicBezTo>
                <a:cubicBezTo>
                  <a:pt x="3010" y="1375"/>
                  <a:pt x="3009" y="1375"/>
                  <a:pt x="3008" y="1375"/>
                </a:cubicBezTo>
                <a:cubicBezTo>
                  <a:pt x="3007" y="1375"/>
                  <a:pt x="3005" y="1375"/>
                  <a:pt x="3003" y="1375"/>
                </a:cubicBezTo>
                <a:cubicBezTo>
                  <a:pt x="3002" y="1375"/>
                  <a:pt x="3001" y="1374"/>
                  <a:pt x="3001" y="1374"/>
                </a:cubicBezTo>
                <a:cubicBezTo>
                  <a:pt x="3000" y="1374"/>
                  <a:pt x="3000" y="1374"/>
                  <a:pt x="2999" y="1374"/>
                </a:cubicBezTo>
                <a:cubicBezTo>
                  <a:pt x="2999" y="1374"/>
                  <a:pt x="2999" y="1373"/>
                  <a:pt x="2998" y="1373"/>
                </a:cubicBezTo>
                <a:cubicBezTo>
                  <a:pt x="2998" y="1372"/>
                  <a:pt x="2998" y="1372"/>
                  <a:pt x="2997" y="1371"/>
                </a:cubicBezTo>
                <a:cubicBezTo>
                  <a:pt x="2997" y="1370"/>
                  <a:pt x="2996" y="1370"/>
                  <a:pt x="2996" y="1369"/>
                </a:cubicBezTo>
                <a:cubicBezTo>
                  <a:pt x="2995" y="1368"/>
                  <a:pt x="2993" y="1368"/>
                  <a:pt x="2991" y="1368"/>
                </a:cubicBezTo>
                <a:cubicBezTo>
                  <a:pt x="2990" y="1368"/>
                  <a:pt x="2989" y="1368"/>
                  <a:pt x="2988" y="1368"/>
                </a:cubicBezTo>
                <a:cubicBezTo>
                  <a:pt x="2988" y="1368"/>
                  <a:pt x="2987" y="1368"/>
                  <a:pt x="2986" y="1367"/>
                </a:cubicBezTo>
                <a:cubicBezTo>
                  <a:pt x="2986" y="1367"/>
                  <a:pt x="2985" y="1367"/>
                  <a:pt x="2984" y="1366"/>
                </a:cubicBezTo>
                <a:cubicBezTo>
                  <a:pt x="2984" y="1366"/>
                  <a:pt x="2984" y="1366"/>
                  <a:pt x="2984" y="1366"/>
                </a:cubicBezTo>
                <a:cubicBezTo>
                  <a:pt x="2983" y="1366"/>
                  <a:pt x="2983" y="1365"/>
                  <a:pt x="2983" y="1365"/>
                </a:cubicBezTo>
                <a:cubicBezTo>
                  <a:pt x="2982" y="1365"/>
                  <a:pt x="2981" y="1364"/>
                  <a:pt x="2980" y="1364"/>
                </a:cubicBezTo>
                <a:cubicBezTo>
                  <a:pt x="2980" y="1365"/>
                  <a:pt x="2980" y="1366"/>
                  <a:pt x="2979" y="1366"/>
                </a:cubicBezTo>
                <a:cubicBezTo>
                  <a:pt x="2979" y="1366"/>
                  <a:pt x="2978" y="1366"/>
                  <a:pt x="2978" y="1366"/>
                </a:cubicBezTo>
                <a:cubicBezTo>
                  <a:pt x="2977" y="1366"/>
                  <a:pt x="2977" y="1366"/>
                  <a:pt x="2976" y="1366"/>
                </a:cubicBezTo>
                <a:cubicBezTo>
                  <a:pt x="2976" y="1366"/>
                  <a:pt x="2976" y="1366"/>
                  <a:pt x="2975" y="1366"/>
                </a:cubicBezTo>
                <a:cubicBezTo>
                  <a:pt x="2975" y="1366"/>
                  <a:pt x="2974" y="1366"/>
                  <a:pt x="2973" y="1365"/>
                </a:cubicBezTo>
                <a:cubicBezTo>
                  <a:pt x="2973" y="1365"/>
                  <a:pt x="2972" y="1365"/>
                  <a:pt x="2971" y="1365"/>
                </a:cubicBezTo>
                <a:cubicBezTo>
                  <a:pt x="2970" y="1365"/>
                  <a:pt x="2970" y="1363"/>
                  <a:pt x="2968" y="1364"/>
                </a:cubicBezTo>
                <a:cubicBezTo>
                  <a:pt x="2968" y="1365"/>
                  <a:pt x="2968" y="1365"/>
                  <a:pt x="2967" y="1366"/>
                </a:cubicBezTo>
                <a:cubicBezTo>
                  <a:pt x="2967" y="1367"/>
                  <a:pt x="2966" y="1369"/>
                  <a:pt x="2965" y="1371"/>
                </a:cubicBezTo>
                <a:cubicBezTo>
                  <a:pt x="2965" y="1371"/>
                  <a:pt x="2965" y="1371"/>
                  <a:pt x="2964" y="1371"/>
                </a:cubicBezTo>
                <a:cubicBezTo>
                  <a:pt x="2964" y="1372"/>
                  <a:pt x="2964" y="1372"/>
                  <a:pt x="2964" y="1372"/>
                </a:cubicBezTo>
                <a:cubicBezTo>
                  <a:pt x="2964" y="1373"/>
                  <a:pt x="2964" y="1373"/>
                  <a:pt x="2963" y="1373"/>
                </a:cubicBezTo>
                <a:cubicBezTo>
                  <a:pt x="2963" y="1374"/>
                  <a:pt x="2963" y="1374"/>
                  <a:pt x="2963" y="1374"/>
                </a:cubicBezTo>
                <a:cubicBezTo>
                  <a:pt x="2963" y="1375"/>
                  <a:pt x="2965" y="1375"/>
                  <a:pt x="2965" y="1375"/>
                </a:cubicBezTo>
                <a:cubicBezTo>
                  <a:pt x="2966" y="1375"/>
                  <a:pt x="2967" y="1375"/>
                  <a:pt x="2967" y="1375"/>
                </a:cubicBezTo>
                <a:cubicBezTo>
                  <a:pt x="2968" y="1375"/>
                  <a:pt x="2969" y="1375"/>
                  <a:pt x="2970" y="1375"/>
                </a:cubicBezTo>
                <a:cubicBezTo>
                  <a:pt x="2970" y="1376"/>
                  <a:pt x="2971" y="1376"/>
                  <a:pt x="2972" y="1376"/>
                </a:cubicBezTo>
                <a:cubicBezTo>
                  <a:pt x="2972" y="1376"/>
                  <a:pt x="2973" y="1377"/>
                  <a:pt x="2973" y="1377"/>
                </a:cubicBezTo>
                <a:cubicBezTo>
                  <a:pt x="2973" y="1377"/>
                  <a:pt x="2974" y="1377"/>
                  <a:pt x="2974" y="1377"/>
                </a:cubicBezTo>
                <a:cubicBezTo>
                  <a:pt x="2975" y="1378"/>
                  <a:pt x="2975" y="1379"/>
                  <a:pt x="2974" y="1380"/>
                </a:cubicBezTo>
                <a:cubicBezTo>
                  <a:pt x="2974" y="1380"/>
                  <a:pt x="2974" y="1380"/>
                  <a:pt x="2974" y="1380"/>
                </a:cubicBezTo>
                <a:cubicBezTo>
                  <a:pt x="2974" y="1381"/>
                  <a:pt x="2974" y="1381"/>
                  <a:pt x="2974" y="1381"/>
                </a:cubicBezTo>
                <a:cubicBezTo>
                  <a:pt x="2974" y="1381"/>
                  <a:pt x="2974" y="1381"/>
                  <a:pt x="2974" y="1381"/>
                </a:cubicBezTo>
                <a:cubicBezTo>
                  <a:pt x="2975" y="1382"/>
                  <a:pt x="2975" y="1381"/>
                  <a:pt x="2975" y="1381"/>
                </a:cubicBezTo>
                <a:cubicBezTo>
                  <a:pt x="2976" y="1381"/>
                  <a:pt x="2977" y="1382"/>
                  <a:pt x="2978" y="1382"/>
                </a:cubicBezTo>
                <a:cubicBezTo>
                  <a:pt x="2978" y="1382"/>
                  <a:pt x="2979" y="1382"/>
                  <a:pt x="2980" y="1382"/>
                </a:cubicBezTo>
                <a:cubicBezTo>
                  <a:pt x="2981" y="1382"/>
                  <a:pt x="2982" y="1382"/>
                  <a:pt x="2983" y="1382"/>
                </a:cubicBezTo>
                <a:cubicBezTo>
                  <a:pt x="2983" y="1382"/>
                  <a:pt x="2984" y="1382"/>
                  <a:pt x="2984" y="1383"/>
                </a:cubicBezTo>
                <a:cubicBezTo>
                  <a:pt x="2985" y="1383"/>
                  <a:pt x="2985" y="1383"/>
                  <a:pt x="2986" y="1383"/>
                </a:cubicBezTo>
                <a:cubicBezTo>
                  <a:pt x="2987" y="1383"/>
                  <a:pt x="2987" y="1383"/>
                  <a:pt x="2988" y="1384"/>
                </a:cubicBezTo>
                <a:cubicBezTo>
                  <a:pt x="2989" y="1385"/>
                  <a:pt x="2990" y="1385"/>
                  <a:pt x="2991" y="1385"/>
                </a:cubicBezTo>
                <a:cubicBezTo>
                  <a:pt x="2992" y="1386"/>
                  <a:pt x="2992" y="1386"/>
                  <a:pt x="2993" y="1386"/>
                </a:cubicBezTo>
                <a:cubicBezTo>
                  <a:pt x="2993" y="1386"/>
                  <a:pt x="2993" y="1386"/>
                  <a:pt x="2994" y="1386"/>
                </a:cubicBezTo>
                <a:cubicBezTo>
                  <a:pt x="2994" y="1386"/>
                  <a:pt x="2995" y="1386"/>
                  <a:pt x="2995" y="1386"/>
                </a:cubicBezTo>
                <a:cubicBezTo>
                  <a:pt x="2996" y="1386"/>
                  <a:pt x="2996" y="1386"/>
                  <a:pt x="2996" y="1386"/>
                </a:cubicBezTo>
                <a:cubicBezTo>
                  <a:pt x="2997" y="1386"/>
                  <a:pt x="2997" y="1386"/>
                  <a:pt x="2997" y="1386"/>
                </a:cubicBezTo>
                <a:cubicBezTo>
                  <a:pt x="2998" y="1385"/>
                  <a:pt x="2998" y="1385"/>
                  <a:pt x="2998" y="1385"/>
                </a:cubicBezTo>
                <a:cubicBezTo>
                  <a:pt x="2999" y="1385"/>
                  <a:pt x="2999" y="1385"/>
                  <a:pt x="3000" y="1385"/>
                </a:cubicBezTo>
                <a:cubicBezTo>
                  <a:pt x="3000" y="1385"/>
                  <a:pt x="3001" y="1385"/>
                  <a:pt x="3002" y="1385"/>
                </a:cubicBezTo>
                <a:cubicBezTo>
                  <a:pt x="3002" y="1385"/>
                  <a:pt x="3002" y="1386"/>
                  <a:pt x="3002" y="1386"/>
                </a:cubicBezTo>
                <a:cubicBezTo>
                  <a:pt x="3003" y="1386"/>
                  <a:pt x="3003" y="1385"/>
                  <a:pt x="3003" y="1385"/>
                </a:cubicBezTo>
                <a:cubicBezTo>
                  <a:pt x="3003" y="1385"/>
                  <a:pt x="3004" y="1385"/>
                  <a:pt x="3004" y="1385"/>
                </a:cubicBezTo>
                <a:cubicBezTo>
                  <a:pt x="3004" y="1385"/>
                  <a:pt x="3005" y="1385"/>
                  <a:pt x="3005" y="1385"/>
                </a:cubicBezTo>
                <a:cubicBezTo>
                  <a:pt x="3006" y="1385"/>
                  <a:pt x="3006" y="1385"/>
                  <a:pt x="3007" y="1385"/>
                </a:cubicBezTo>
                <a:cubicBezTo>
                  <a:pt x="3008" y="1385"/>
                  <a:pt x="3009" y="1386"/>
                  <a:pt x="3010" y="1386"/>
                </a:cubicBezTo>
                <a:cubicBezTo>
                  <a:pt x="3010" y="1386"/>
                  <a:pt x="3011" y="1386"/>
                  <a:pt x="3012" y="1387"/>
                </a:cubicBezTo>
                <a:cubicBezTo>
                  <a:pt x="3013" y="1387"/>
                  <a:pt x="3013" y="1387"/>
                  <a:pt x="3013" y="1387"/>
                </a:cubicBezTo>
                <a:cubicBezTo>
                  <a:pt x="3014" y="1387"/>
                  <a:pt x="3014" y="1387"/>
                  <a:pt x="3015" y="1387"/>
                </a:cubicBezTo>
                <a:cubicBezTo>
                  <a:pt x="3015" y="1387"/>
                  <a:pt x="3016" y="1388"/>
                  <a:pt x="3016" y="1388"/>
                </a:cubicBezTo>
                <a:cubicBezTo>
                  <a:pt x="3017" y="1388"/>
                  <a:pt x="3017" y="1388"/>
                  <a:pt x="3018" y="1389"/>
                </a:cubicBezTo>
                <a:cubicBezTo>
                  <a:pt x="3019" y="1389"/>
                  <a:pt x="3019" y="1389"/>
                  <a:pt x="3020" y="1389"/>
                </a:cubicBezTo>
                <a:cubicBezTo>
                  <a:pt x="3020" y="1390"/>
                  <a:pt x="3021" y="1390"/>
                  <a:pt x="3021" y="1390"/>
                </a:cubicBezTo>
                <a:cubicBezTo>
                  <a:pt x="3022" y="1390"/>
                  <a:pt x="3022" y="1390"/>
                  <a:pt x="3023" y="1390"/>
                </a:cubicBezTo>
                <a:cubicBezTo>
                  <a:pt x="3023" y="1391"/>
                  <a:pt x="3024" y="1391"/>
                  <a:pt x="3025" y="1391"/>
                </a:cubicBezTo>
                <a:cubicBezTo>
                  <a:pt x="3026" y="1391"/>
                  <a:pt x="3026" y="1391"/>
                  <a:pt x="3027" y="1391"/>
                </a:cubicBezTo>
                <a:cubicBezTo>
                  <a:pt x="3029" y="1391"/>
                  <a:pt x="3031" y="1391"/>
                  <a:pt x="3032" y="1392"/>
                </a:cubicBezTo>
                <a:cubicBezTo>
                  <a:pt x="3033" y="1392"/>
                  <a:pt x="3033" y="1393"/>
                  <a:pt x="3034" y="1392"/>
                </a:cubicBezTo>
                <a:cubicBezTo>
                  <a:pt x="3034" y="1392"/>
                  <a:pt x="3034" y="1392"/>
                  <a:pt x="3035" y="1392"/>
                </a:cubicBezTo>
                <a:cubicBezTo>
                  <a:pt x="3035" y="1391"/>
                  <a:pt x="3036" y="1392"/>
                  <a:pt x="3036" y="1392"/>
                </a:cubicBezTo>
                <a:cubicBezTo>
                  <a:pt x="3037" y="1392"/>
                  <a:pt x="3037" y="1392"/>
                  <a:pt x="3038" y="1392"/>
                </a:cubicBezTo>
                <a:cubicBezTo>
                  <a:pt x="3039" y="1393"/>
                  <a:pt x="3040" y="1392"/>
                  <a:pt x="3041" y="1392"/>
                </a:cubicBezTo>
                <a:cubicBezTo>
                  <a:pt x="3043" y="1392"/>
                  <a:pt x="3044" y="1394"/>
                  <a:pt x="3046" y="1393"/>
                </a:cubicBezTo>
                <a:cubicBezTo>
                  <a:pt x="3046" y="1393"/>
                  <a:pt x="3047" y="1392"/>
                  <a:pt x="3047" y="1392"/>
                </a:cubicBezTo>
                <a:cubicBezTo>
                  <a:pt x="3047" y="1392"/>
                  <a:pt x="3048" y="1392"/>
                  <a:pt x="3048" y="1392"/>
                </a:cubicBezTo>
                <a:cubicBezTo>
                  <a:pt x="3050" y="1392"/>
                  <a:pt x="3052" y="1392"/>
                  <a:pt x="3053" y="1393"/>
                </a:cubicBezTo>
                <a:close/>
                <a:moveTo>
                  <a:pt x="3000" y="1084"/>
                </a:moveTo>
                <a:cubicBezTo>
                  <a:pt x="3001" y="1084"/>
                  <a:pt x="3001" y="1084"/>
                  <a:pt x="3002" y="1085"/>
                </a:cubicBezTo>
                <a:cubicBezTo>
                  <a:pt x="3002" y="1086"/>
                  <a:pt x="3003" y="1085"/>
                  <a:pt x="3004" y="1086"/>
                </a:cubicBezTo>
                <a:cubicBezTo>
                  <a:pt x="3004" y="1086"/>
                  <a:pt x="3005" y="1086"/>
                  <a:pt x="3005" y="1086"/>
                </a:cubicBezTo>
                <a:cubicBezTo>
                  <a:pt x="3006" y="1086"/>
                  <a:pt x="3006" y="1086"/>
                  <a:pt x="3007" y="1087"/>
                </a:cubicBezTo>
                <a:cubicBezTo>
                  <a:pt x="3007" y="1087"/>
                  <a:pt x="3008" y="1087"/>
                  <a:pt x="3008" y="1087"/>
                </a:cubicBezTo>
                <a:cubicBezTo>
                  <a:pt x="3009" y="1087"/>
                  <a:pt x="3009" y="1087"/>
                  <a:pt x="3010" y="1087"/>
                </a:cubicBezTo>
                <a:cubicBezTo>
                  <a:pt x="3011" y="1087"/>
                  <a:pt x="3011" y="1087"/>
                  <a:pt x="3011" y="1086"/>
                </a:cubicBezTo>
                <a:cubicBezTo>
                  <a:pt x="3011" y="1085"/>
                  <a:pt x="3012" y="1085"/>
                  <a:pt x="3012" y="1085"/>
                </a:cubicBezTo>
                <a:cubicBezTo>
                  <a:pt x="3013" y="1084"/>
                  <a:pt x="3013" y="1085"/>
                  <a:pt x="3014" y="1085"/>
                </a:cubicBezTo>
                <a:cubicBezTo>
                  <a:pt x="3014" y="1084"/>
                  <a:pt x="3015" y="1084"/>
                  <a:pt x="3015" y="1084"/>
                </a:cubicBezTo>
                <a:cubicBezTo>
                  <a:pt x="3015" y="1083"/>
                  <a:pt x="3015" y="1083"/>
                  <a:pt x="3016" y="1083"/>
                </a:cubicBezTo>
                <a:cubicBezTo>
                  <a:pt x="3016" y="1082"/>
                  <a:pt x="3017" y="1082"/>
                  <a:pt x="3018" y="1082"/>
                </a:cubicBezTo>
                <a:cubicBezTo>
                  <a:pt x="3019" y="1081"/>
                  <a:pt x="3019" y="1081"/>
                  <a:pt x="3020" y="1081"/>
                </a:cubicBezTo>
                <a:cubicBezTo>
                  <a:pt x="3020" y="1080"/>
                  <a:pt x="3021" y="1079"/>
                  <a:pt x="3021" y="1078"/>
                </a:cubicBezTo>
                <a:cubicBezTo>
                  <a:pt x="3021" y="1078"/>
                  <a:pt x="3021" y="1077"/>
                  <a:pt x="3021" y="1076"/>
                </a:cubicBezTo>
                <a:cubicBezTo>
                  <a:pt x="3021" y="1075"/>
                  <a:pt x="3021" y="1074"/>
                  <a:pt x="3022" y="1074"/>
                </a:cubicBezTo>
                <a:cubicBezTo>
                  <a:pt x="3022" y="1073"/>
                  <a:pt x="3022" y="1073"/>
                  <a:pt x="3023" y="1073"/>
                </a:cubicBezTo>
                <a:cubicBezTo>
                  <a:pt x="3023" y="1073"/>
                  <a:pt x="3023" y="1072"/>
                  <a:pt x="3023" y="1072"/>
                </a:cubicBezTo>
                <a:cubicBezTo>
                  <a:pt x="3024" y="1071"/>
                  <a:pt x="3027" y="1071"/>
                  <a:pt x="3026" y="1069"/>
                </a:cubicBezTo>
                <a:cubicBezTo>
                  <a:pt x="3026" y="1069"/>
                  <a:pt x="3026" y="1068"/>
                  <a:pt x="3026" y="1068"/>
                </a:cubicBezTo>
                <a:cubicBezTo>
                  <a:pt x="3026" y="1067"/>
                  <a:pt x="3026" y="1067"/>
                  <a:pt x="3025" y="1067"/>
                </a:cubicBezTo>
                <a:cubicBezTo>
                  <a:pt x="3025" y="1066"/>
                  <a:pt x="3024" y="1066"/>
                  <a:pt x="3024" y="1065"/>
                </a:cubicBezTo>
                <a:cubicBezTo>
                  <a:pt x="3023" y="1065"/>
                  <a:pt x="3023" y="1065"/>
                  <a:pt x="3023" y="1065"/>
                </a:cubicBezTo>
                <a:cubicBezTo>
                  <a:pt x="3023" y="1064"/>
                  <a:pt x="3023" y="1064"/>
                  <a:pt x="3022" y="1064"/>
                </a:cubicBezTo>
                <a:cubicBezTo>
                  <a:pt x="3021" y="1064"/>
                  <a:pt x="3022" y="1066"/>
                  <a:pt x="3021" y="1066"/>
                </a:cubicBezTo>
                <a:cubicBezTo>
                  <a:pt x="3021" y="1067"/>
                  <a:pt x="3020" y="1066"/>
                  <a:pt x="3020" y="1066"/>
                </a:cubicBezTo>
                <a:cubicBezTo>
                  <a:pt x="3020" y="1066"/>
                  <a:pt x="3019" y="1066"/>
                  <a:pt x="3019" y="1066"/>
                </a:cubicBezTo>
                <a:cubicBezTo>
                  <a:pt x="3018" y="1066"/>
                  <a:pt x="3018" y="1065"/>
                  <a:pt x="3017" y="1065"/>
                </a:cubicBezTo>
                <a:cubicBezTo>
                  <a:pt x="3016" y="1065"/>
                  <a:pt x="3016" y="1066"/>
                  <a:pt x="3015" y="1066"/>
                </a:cubicBezTo>
                <a:cubicBezTo>
                  <a:pt x="3014" y="1067"/>
                  <a:pt x="3014" y="1066"/>
                  <a:pt x="3013" y="1066"/>
                </a:cubicBezTo>
                <a:cubicBezTo>
                  <a:pt x="3012" y="1066"/>
                  <a:pt x="3011" y="1066"/>
                  <a:pt x="3010" y="1066"/>
                </a:cubicBezTo>
                <a:cubicBezTo>
                  <a:pt x="3010" y="1066"/>
                  <a:pt x="3009" y="1067"/>
                  <a:pt x="3009" y="1067"/>
                </a:cubicBezTo>
                <a:cubicBezTo>
                  <a:pt x="3008" y="1067"/>
                  <a:pt x="3008" y="1067"/>
                  <a:pt x="3007" y="1067"/>
                </a:cubicBezTo>
                <a:cubicBezTo>
                  <a:pt x="3007" y="1067"/>
                  <a:pt x="3007" y="1067"/>
                  <a:pt x="3006" y="1067"/>
                </a:cubicBezTo>
                <a:cubicBezTo>
                  <a:pt x="3006" y="1067"/>
                  <a:pt x="3006" y="1068"/>
                  <a:pt x="3006" y="1069"/>
                </a:cubicBezTo>
                <a:cubicBezTo>
                  <a:pt x="3006" y="1070"/>
                  <a:pt x="3005" y="1070"/>
                  <a:pt x="3004" y="1070"/>
                </a:cubicBezTo>
                <a:cubicBezTo>
                  <a:pt x="3004" y="1071"/>
                  <a:pt x="3003" y="1072"/>
                  <a:pt x="3002" y="1072"/>
                </a:cubicBezTo>
                <a:cubicBezTo>
                  <a:pt x="3001" y="1073"/>
                  <a:pt x="2999" y="1073"/>
                  <a:pt x="2999" y="1075"/>
                </a:cubicBezTo>
                <a:cubicBezTo>
                  <a:pt x="2999" y="1077"/>
                  <a:pt x="2999" y="1079"/>
                  <a:pt x="2999" y="1081"/>
                </a:cubicBezTo>
                <a:cubicBezTo>
                  <a:pt x="3000" y="1082"/>
                  <a:pt x="2999" y="1082"/>
                  <a:pt x="2999" y="1083"/>
                </a:cubicBezTo>
                <a:cubicBezTo>
                  <a:pt x="2999" y="1084"/>
                  <a:pt x="2999" y="1084"/>
                  <a:pt x="3000" y="1084"/>
                </a:cubicBezTo>
                <a:close/>
                <a:moveTo>
                  <a:pt x="3001" y="1287"/>
                </a:moveTo>
                <a:cubicBezTo>
                  <a:pt x="3001" y="1288"/>
                  <a:pt x="3002" y="1289"/>
                  <a:pt x="3002" y="1289"/>
                </a:cubicBezTo>
                <a:cubicBezTo>
                  <a:pt x="3002" y="1290"/>
                  <a:pt x="3001" y="1291"/>
                  <a:pt x="3002" y="1292"/>
                </a:cubicBezTo>
                <a:cubicBezTo>
                  <a:pt x="3002" y="1293"/>
                  <a:pt x="3001" y="1293"/>
                  <a:pt x="3002" y="1294"/>
                </a:cubicBezTo>
                <a:cubicBezTo>
                  <a:pt x="3003" y="1294"/>
                  <a:pt x="3003" y="1294"/>
                  <a:pt x="3003" y="1294"/>
                </a:cubicBezTo>
                <a:cubicBezTo>
                  <a:pt x="3004" y="1294"/>
                  <a:pt x="3004" y="1295"/>
                  <a:pt x="3004" y="1295"/>
                </a:cubicBezTo>
                <a:cubicBezTo>
                  <a:pt x="3004" y="1295"/>
                  <a:pt x="3005" y="1295"/>
                  <a:pt x="3005" y="1296"/>
                </a:cubicBezTo>
                <a:cubicBezTo>
                  <a:pt x="3005" y="1297"/>
                  <a:pt x="3005" y="1297"/>
                  <a:pt x="3005" y="1298"/>
                </a:cubicBezTo>
                <a:cubicBezTo>
                  <a:pt x="3005" y="1298"/>
                  <a:pt x="3005" y="1299"/>
                  <a:pt x="3005" y="1299"/>
                </a:cubicBezTo>
                <a:cubicBezTo>
                  <a:pt x="3005" y="1299"/>
                  <a:pt x="3004" y="1300"/>
                  <a:pt x="3004" y="1300"/>
                </a:cubicBezTo>
                <a:cubicBezTo>
                  <a:pt x="3004" y="1300"/>
                  <a:pt x="3004" y="1299"/>
                  <a:pt x="3004" y="1299"/>
                </a:cubicBezTo>
                <a:cubicBezTo>
                  <a:pt x="3004" y="1299"/>
                  <a:pt x="3003" y="1299"/>
                  <a:pt x="3003" y="1300"/>
                </a:cubicBezTo>
                <a:cubicBezTo>
                  <a:pt x="3003" y="1300"/>
                  <a:pt x="3004" y="1300"/>
                  <a:pt x="3004" y="1301"/>
                </a:cubicBezTo>
                <a:cubicBezTo>
                  <a:pt x="3004" y="1301"/>
                  <a:pt x="3004" y="1302"/>
                  <a:pt x="3004" y="1302"/>
                </a:cubicBezTo>
                <a:cubicBezTo>
                  <a:pt x="3004" y="1303"/>
                  <a:pt x="3005" y="1303"/>
                  <a:pt x="3005" y="1304"/>
                </a:cubicBezTo>
                <a:cubicBezTo>
                  <a:pt x="3005" y="1305"/>
                  <a:pt x="3005" y="1306"/>
                  <a:pt x="3006" y="1307"/>
                </a:cubicBezTo>
                <a:cubicBezTo>
                  <a:pt x="3006" y="1307"/>
                  <a:pt x="3007" y="1307"/>
                  <a:pt x="3007" y="1307"/>
                </a:cubicBezTo>
                <a:cubicBezTo>
                  <a:pt x="3008" y="1307"/>
                  <a:pt x="3008" y="1307"/>
                  <a:pt x="3008" y="1307"/>
                </a:cubicBezTo>
                <a:cubicBezTo>
                  <a:pt x="3008" y="1308"/>
                  <a:pt x="3009" y="1308"/>
                  <a:pt x="3009" y="1308"/>
                </a:cubicBezTo>
                <a:cubicBezTo>
                  <a:pt x="3009" y="1309"/>
                  <a:pt x="3008" y="1308"/>
                  <a:pt x="3008" y="1309"/>
                </a:cubicBezTo>
                <a:cubicBezTo>
                  <a:pt x="3008" y="1309"/>
                  <a:pt x="3008" y="1310"/>
                  <a:pt x="3008" y="1310"/>
                </a:cubicBezTo>
                <a:cubicBezTo>
                  <a:pt x="3008" y="1310"/>
                  <a:pt x="3007" y="1311"/>
                  <a:pt x="3007" y="1311"/>
                </a:cubicBezTo>
                <a:cubicBezTo>
                  <a:pt x="3007" y="1312"/>
                  <a:pt x="3009" y="1311"/>
                  <a:pt x="3009" y="1311"/>
                </a:cubicBezTo>
                <a:cubicBezTo>
                  <a:pt x="3010" y="1311"/>
                  <a:pt x="3011" y="1311"/>
                  <a:pt x="3011" y="1310"/>
                </a:cubicBezTo>
                <a:cubicBezTo>
                  <a:pt x="3012" y="1310"/>
                  <a:pt x="3012" y="1309"/>
                  <a:pt x="3011" y="1308"/>
                </a:cubicBezTo>
                <a:cubicBezTo>
                  <a:pt x="3011" y="1308"/>
                  <a:pt x="3011" y="1308"/>
                  <a:pt x="3010" y="1308"/>
                </a:cubicBezTo>
                <a:cubicBezTo>
                  <a:pt x="3010" y="1308"/>
                  <a:pt x="3011" y="1308"/>
                  <a:pt x="3011" y="1308"/>
                </a:cubicBezTo>
                <a:cubicBezTo>
                  <a:pt x="3011" y="1308"/>
                  <a:pt x="3012" y="1307"/>
                  <a:pt x="3012" y="1307"/>
                </a:cubicBezTo>
                <a:cubicBezTo>
                  <a:pt x="3013" y="1308"/>
                  <a:pt x="3013" y="1309"/>
                  <a:pt x="3013" y="1309"/>
                </a:cubicBezTo>
                <a:cubicBezTo>
                  <a:pt x="3013" y="1310"/>
                  <a:pt x="3013" y="1310"/>
                  <a:pt x="3014" y="1310"/>
                </a:cubicBezTo>
                <a:cubicBezTo>
                  <a:pt x="3015" y="1311"/>
                  <a:pt x="3015" y="1313"/>
                  <a:pt x="3015" y="1314"/>
                </a:cubicBezTo>
                <a:cubicBezTo>
                  <a:pt x="3015" y="1314"/>
                  <a:pt x="3015" y="1315"/>
                  <a:pt x="3015" y="1315"/>
                </a:cubicBezTo>
                <a:cubicBezTo>
                  <a:pt x="3015" y="1315"/>
                  <a:pt x="3015" y="1315"/>
                  <a:pt x="3014" y="1316"/>
                </a:cubicBezTo>
                <a:cubicBezTo>
                  <a:pt x="3014" y="1316"/>
                  <a:pt x="3014" y="1316"/>
                  <a:pt x="3014" y="1316"/>
                </a:cubicBezTo>
                <a:cubicBezTo>
                  <a:pt x="3014" y="1317"/>
                  <a:pt x="3015" y="1317"/>
                  <a:pt x="3014" y="1317"/>
                </a:cubicBezTo>
                <a:cubicBezTo>
                  <a:pt x="3013" y="1317"/>
                  <a:pt x="3013" y="1317"/>
                  <a:pt x="3013" y="1318"/>
                </a:cubicBezTo>
                <a:cubicBezTo>
                  <a:pt x="3013" y="1318"/>
                  <a:pt x="3014" y="1318"/>
                  <a:pt x="3014" y="1318"/>
                </a:cubicBezTo>
                <a:cubicBezTo>
                  <a:pt x="3014" y="1318"/>
                  <a:pt x="3015" y="1319"/>
                  <a:pt x="3015" y="1319"/>
                </a:cubicBezTo>
                <a:cubicBezTo>
                  <a:pt x="3016" y="1320"/>
                  <a:pt x="3016" y="1320"/>
                  <a:pt x="3016" y="1321"/>
                </a:cubicBezTo>
                <a:cubicBezTo>
                  <a:pt x="3016" y="1322"/>
                  <a:pt x="3016" y="1322"/>
                  <a:pt x="3017" y="1323"/>
                </a:cubicBezTo>
                <a:cubicBezTo>
                  <a:pt x="3017" y="1324"/>
                  <a:pt x="3017" y="1325"/>
                  <a:pt x="3016" y="1325"/>
                </a:cubicBezTo>
                <a:cubicBezTo>
                  <a:pt x="3016" y="1326"/>
                  <a:pt x="3016" y="1326"/>
                  <a:pt x="3016" y="1326"/>
                </a:cubicBezTo>
                <a:cubicBezTo>
                  <a:pt x="3016" y="1327"/>
                  <a:pt x="3016" y="1328"/>
                  <a:pt x="3016" y="1328"/>
                </a:cubicBezTo>
                <a:cubicBezTo>
                  <a:pt x="3016" y="1329"/>
                  <a:pt x="3017" y="1329"/>
                  <a:pt x="3017" y="1329"/>
                </a:cubicBezTo>
                <a:cubicBezTo>
                  <a:pt x="3017" y="1330"/>
                  <a:pt x="3017" y="1330"/>
                  <a:pt x="3017" y="1331"/>
                </a:cubicBezTo>
                <a:cubicBezTo>
                  <a:pt x="3017" y="1332"/>
                  <a:pt x="3018" y="1332"/>
                  <a:pt x="3019" y="1332"/>
                </a:cubicBezTo>
                <a:cubicBezTo>
                  <a:pt x="3020" y="1332"/>
                  <a:pt x="3020" y="1332"/>
                  <a:pt x="3020" y="1332"/>
                </a:cubicBezTo>
                <a:cubicBezTo>
                  <a:pt x="3021" y="1332"/>
                  <a:pt x="3021" y="1332"/>
                  <a:pt x="3022" y="1332"/>
                </a:cubicBezTo>
                <a:cubicBezTo>
                  <a:pt x="3022" y="1332"/>
                  <a:pt x="3023" y="1331"/>
                  <a:pt x="3024" y="1332"/>
                </a:cubicBezTo>
                <a:cubicBezTo>
                  <a:pt x="3025" y="1332"/>
                  <a:pt x="3025" y="1333"/>
                  <a:pt x="3026" y="1332"/>
                </a:cubicBezTo>
                <a:cubicBezTo>
                  <a:pt x="3027" y="1332"/>
                  <a:pt x="3027" y="1332"/>
                  <a:pt x="3027" y="1331"/>
                </a:cubicBezTo>
                <a:cubicBezTo>
                  <a:pt x="3028" y="1331"/>
                  <a:pt x="3028" y="1331"/>
                  <a:pt x="3028" y="1331"/>
                </a:cubicBezTo>
                <a:cubicBezTo>
                  <a:pt x="3029" y="1331"/>
                  <a:pt x="3030" y="1330"/>
                  <a:pt x="3031" y="1330"/>
                </a:cubicBezTo>
                <a:cubicBezTo>
                  <a:pt x="3031" y="1331"/>
                  <a:pt x="3031" y="1331"/>
                  <a:pt x="3031" y="1331"/>
                </a:cubicBezTo>
                <a:cubicBezTo>
                  <a:pt x="3032" y="1331"/>
                  <a:pt x="3032" y="1331"/>
                  <a:pt x="3033" y="1331"/>
                </a:cubicBezTo>
                <a:cubicBezTo>
                  <a:pt x="3034" y="1331"/>
                  <a:pt x="3034" y="1330"/>
                  <a:pt x="3034" y="1330"/>
                </a:cubicBezTo>
                <a:cubicBezTo>
                  <a:pt x="3034" y="1329"/>
                  <a:pt x="3034" y="1329"/>
                  <a:pt x="3034" y="1329"/>
                </a:cubicBezTo>
                <a:cubicBezTo>
                  <a:pt x="3035" y="1330"/>
                  <a:pt x="3035" y="1330"/>
                  <a:pt x="3035" y="1330"/>
                </a:cubicBezTo>
                <a:cubicBezTo>
                  <a:pt x="3035" y="1331"/>
                  <a:pt x="3035" y="1332"/>
                  <a:pt x="3035" y="1332"/>
                </a:cubicBezTo>
                <a:cubicBezTo>
                  <a:pt x="3035" y="1333"/>
                  <a:pt x="3036" y="1334"/>
                  <a:pt x="3035" y="1335"/>
                </a:cubicBezTo>
                <a:cubicBezTo>
                  <a:pt x="3035" y="1336"/>
                  <a:pt x="3035" y="1337"/>
                  <a:pt x="3035" y="1338"/>
                </a:cubicBezTo>
                <a:cubicBezTo>
                  <a:pt x="3036" y="1338"/>
                  <a:pt x="3037" y="1336"/>
                  <a:pt x="3037" y="1336"/>
                </a:cubicBezTo>
                <a:cubicBezTo>
                  <a:pt x="3038" y="1336"/>
                  <a:pt x="3039" y="1336"/>
                  <a:pt x="3039" y="1335"/>
                </a:cubicBezTo>
                <a:cubicBezTo>
                  <a:pt x="3040" y="1334"/>
                  <a:pt x="3042" y="1334"/>
                  <a:pt x="3044" y="1335"/>
                </a:cubicBezTo>
                <a:cubicBezTo>
                  <a:pt x="3045" y="1335"/>
                  <a:pt x="3045" y="1335"/>
                  <a:pt x="3046" y="1334"/>
                </a:cubicBezTo>
                <a:cubicBezTo>
                  <a:pt x="3047" y="1334"/>
                  <a:pt x="3047" y="1334"/>
                  <a:pt x="3047" y="1333"/>
                </a:cubicBezTo>
                <a:cubicBezTo>
                  <a:pt x="3047" y="1333"/>
                  <a:pt x="3048" y="1333"/>
                  <a:pt x="3048" y="1333"/>
                </a:cubicBezTo>
                <a:cubicBezTo>
                  <a:pt x="3049" y="1332"/>
                  <a:pt x="3048" y="1332"/>
                  <a:pt x="3049" y="1332"/>
                </a:cubicBezTo>
                <a:cubicBezTo>
                  <a:pt x="3049" y="1331"/>
                  <a:pt x="3049" y="1331"/>
                  <a:pt x="3049" y="1331"/>
                </a:cubicBezTo>
                <a:cubicBezTo>
                  <a:pt x="3050" y="1331"/>
                  <a:pt x="3049" y="1332"/>
                  <a:pt x="3050" y="1332"/>
                </a:cubicBezTo>
                <a:cubicBezTo>
                  <a:pt x="3050" y="1332"/>
                  <a:pt x="3051" y="1332"/>
                  <a:pt x="3051" y="1333"/>
                </a:cubicBezTo>
                <a:cubicBezTo>
                  <a:pt x="3052" y="1333"/>
                  <a:pt x="3052" y="1334"/>
                  <a:pt x="3053" y="1334"/>
                </a:cubicBezTo>
                <a:cubicBezTo>
                  <a:pt x="3053" y="1334"/>
                  <a:pt x="3053" y="1334"/>
                  <a:pt x="3054" y="1334"/>
                </a:cubicBezTo>
                <a:cubicBezTo>
                  <a:pt x="3054" y="1334"/>
                  <a:pt x="3054" y="1333"/>
                  <a:pt x="3055" y="1333"/>
                </a:cubicBezTo>
                <a:cubicBezTo>
                  <a:pt x="3056" y="1333"/>
                  <a:pt x="3055" y="1335"/>
                  <a:pt x="3055" y="1336"/>
                </a:cubicBezTo>
                <a:cubicBezTo>
                  <a:pt x="3056" y="1336"/>
                  <a:pt x="3056" y="1337"/>
                  <a:pt x="3057" y="1337"/>
                </a:cubicBezTo>
                <a:cubicBezTo>
                  <a:pt x="3057" y="1337"/>
                  <a:pt x="3057" y="1337"/>
                  <a:pt x="3058" y="1336"/>
                </a:cubicBezTo>
                <a:cubicBezTo>
                  <a:pt x="3058" y="1336"/>
                  <a:pt x="3058" y="1336"/>
                  <a:pt x="3059" y="1336"/>
                </a:cubicBezTo>
                <a:cubicBezTo>
                  <a:pt x="3059" y="1336"/>
                  <a:pt x="3059" y="1336"/>
                  <a:pt x="3060" y="1336"/>
                </a:cubicBezTo>
                <a:cubicBezTo>
                  <a:pt x="3061" y="1335"/>
                  <a:pt x="3061" y="1334"/>
                  <a:pt x="3062" y="1334"/>
                </a:cubicBezTo>
                <a:cubicBezTo>
                  <a:pt x="3062" y="1335"/>
                  <a:pt x="3062" y="1336"/>
                  <a:pt x="3063" y="1335"/>
                </a:cubicBezTo>
                <a:cubicBezTo>
                  <a:pt x="3063" y="1335"/>
                  <a:pt x="3063" y="1335"/>
                  <a:pt x="3064" y="1335"/>
                </a:cubicBezTo>
                <a:cubicBezTo>
                  <a:pt x="3064" y="1335"/>
                  <a:pt x="3064" y="1336"/>
                  <a:pt x="3064" y="1336"/>
                </a:cubicBezTo>
                <a:cubicBezTo>
                  <a:pt x="3064" y="1337"/>
                  <a:pt x="3065" y="1336"/>
                  <a:pt x="3066" y="1336"/>
                </a:cubicBezTo>
                <a:cubicBezTo>
                  <a:pt x="3067" y="1337"/>
                  <a:pt x="3066" y="1338"/>
                  <a:pt x="3066" y="1339"/>
                </a:cubicBezTo>
                <a:cubicBezTo>
                  <a:pt x="3066" y="1340"/>
                  <a:pt x="3067" y="1340"/>
                  <a:pt x="3067" y="1341"/>
                </a:cubicBezTo>
                <a:cubicBezTo>
                  <a:pt x="3067" y="1342"/>
                  <a:pt x="3067" y="1343"/>
                  <a:pt x="3067" y="1343"/>
                </a:cubicBezTo>
                <a:cubicBezTo>
                  <a:pt x="3067" y="1344"/>
                  <a:pt x="3067" y="1344"/>
                  <a:pt x="3067" y="1344"/>
                </a:cubicBezTo>
                <a:cubicBezTo>
                  <a:pt x="3067" y="1345"/>
                  <a:pt x="3067" y="1345"/>
                  <a:pt x="3068" y="1345"/>
                </a:cubicBezTo>
                <a:cubicBezTo>
                  <a:pt x="3068" y="1345"/>
                  <a:pt x="3069" y="1344"/>
                  <a:pt x="3069" y="1344"/>
                </a:cubicBezTo>
                <a:cubicBezTo>
                  <a:pt x="3069" y="1343"/>
                  <a:pt x="3070" y="1343"/>
                  <a:pt x="3071" y="1343"/>
                </a:cubicBezTo>
                <a:cubicBezTo>
                  <a:pt x="3071" y="1343"/>
                  <a:pt x="3072" y="1343"/>
                  <a:pt x="3072" y="1342"/>
                </a:cubicBezTo>
                <a:cubicBezTo>
                  <a:pt x="3072" y="1342"/>
                  <a:pt x="3073" y="1342"/>
                  <a:pt x="3073" y="1342"/>
                </a:cubicBezTo>
                <a:cubicBezTo>
                  <a:pt x="3074" y="1341"/>
                  <a:pt x="3074" y="1342"/>
                  <a:pt x="3075" y="1341"/>
                </a:cubicBezTo>
                <a:cubicBezTo>
                  <a:pt x="3075" y="1341"/>
                  <a:pt x="3076" y="1340"/>
                  <a:pt x="3077" y="1340"/>
                </a:cubicBezTo>
                <a:cubicBezTo>
                  <a:pt x="3077" y="1340"/>
                  <a:pt x="3078" y="1340"/>
                  <a:pt x="3078" y="1340"/>
                </a:cubicBezTo>
                <a:cubicBezTo>
                  <a:pt x="3078" y="1340"/>
                  <a:pt x="3079" y="1340"/>
                  <a:pt x="3079" y="1339"/>
                </a:cubicBezTo>
                <a:cubicBezTo>
                  <a:pt x="3079" y="1339"/>
                  <a:pt x="3080" y="1339"/>
                  <a:pt x="3080" y="1339"/>
                </a:cubicBezTo>
                <a:cubicBezTo>
                  <a:pt x="3081" y="1339"/>
                  <a:pt x="3081" y="1339"/>
                  <a:pt x="3081" y="1338"/>
                </a:cubicBezTo>
                <a:cubicBezTo>
                  <a:pt x="3082" y="1338"/>
                  <a:pt x="3083" y="1338"/>
                  <a:pt x="3083" y="1339"/>
                </a:cubicBezTo>
                <a:cubicBezTo>
                  <a:pt x="3083" y="1340"/>
                  <a:pt x="3083" y="1340"/>
                  <a:pt x="3083" y="1341"/>
                </a:cubicBezTo>
                <a:cubicBezTo>
                  <a:pt x="3083" y="1342"/>
                  <a:pt x="3084" y="1342"/>
                  <a:pt x="3084" y="1342"/>
                </a:cubicBezTo>
                <a:cubicBezTo>
                  <a:pt x="3084" y="1343"/>
                  <a:pt x="3084" y="1344"/>
                  <a:pt x="3084" y="1343"/>
                </a:cubicBezTo>
                <a:cubicBezTo>
                  <a:pt x="3085" y="1343"/>
                  <a:pt x="3084" y="1342"/>
                  <a:pt x="3085" y="1342"/>
                </a:cubicBezTo>
                <a:cubicBezTo>
                  <a:pt x="3085" y="1342"/>
                  <a:pt x="3086" y="1342"/>
                  <a:pt x="3086" y="1341"/>
                </a:cubicBezTo>
                <a:cubicBezTo>
                  <a:pt x="3086" y="1340"/>
                  <a:pt x="3085" y="1339"/>
                  <a:pt x="3086" y="1338"/>
                </a:cubicBezTo>
                <a:cubicBezTo>
                  <a:pt x="3087" y="1338"/>
                  <a:pt x="3087" y="1338"/>
                  <a:pt x="3087" y="1338"/>
                </a:cubicBezTo>
                <a:cubicBezTo>
                  <a:pt x="3087" y="1337"/>
                  <a:pt x="3087" y="1337"/>
                  <a:pt x="3087" y="1337"/>
                </a:cubicBezTo>
                <a:cubicBezTo>
                  <a:pt x="3087" y="1336"/>
                  <a:pt x="3088" y="1336"/>
                  <a:pt x="3088" y="1336"/>
                </a:cubicBezTo>
                <a:cubicBezTo>
                  <a:pt x="3087" y="1335"/>
                  <a:pt x="3087" y="1336"/>
                  <a:pt x="3087" y="1336"/>
                </a:cubicBezTo>
                <a:cubicBezTo>
                  <a:pt x="3087" y="1337"/>
                  <a:pt x="3087" y="1336"/>
                  <a:pt x="3086" y="1337"/>
                </a:cubicBezTo>
                <a:cubicBezTo>
                  <a:pt x="3086" y="1337"/>
                  <a:pt x="3086" y="1337"/>
                  <a:pt x="3086" y="1337"/>
                </a:cubicBezTo>
                <a:cubicBezTo>
                  <a:pt x="3085" y="1338"/>
                  <a:pt x="3086" y="1336"/>
                  <a:pt x="3086" y="1336"/>
                </a:cubicBezTo>
                <a:cubicBezTo>
                  <a:pt x="3086" y="1336"/>
                  <a:pt x="3086" y="1335"/>
                  <a:pt x="3086" y="1335"/>
                </a:cubicBezTo>
                <a:cubicBezTo>
                  <a:pt x="3086" y="1335"/>
                  <a:pt x="3086" y="1334"/>
                  <a:pt x="3086" y="1334"/>
                </a:cubicBezTo>
                <a:cubicBezTo>
                  <a:pt x="3085" y="1334"/>
                  <a:pt x="3085" y="1334"/>
                  <a:pt x="3085" y="1334"/>
                </a:cubicBezTo>
                <a:cubicBezTo>
                  <a:pt x="3085" y="1334"/>
                  <a:pt x="3085" y="1334"/>
                  <a:pt x="3085" y="1334"/>
                </a:cubicBezTo>
                <a:cubicBezTo>
                  <a:pt x="3084" y="1335"/>
                  <a:pt x="3084" y="1335"/>
                  <a:pt x="3084" y="1335"/>
                </a:cubicBezTo>
                <a:cubicBezTo>
                  <a:pt x="3084" y="1335"/>
                  <a:pt x="3084" y="1335"/>
                  <a:pt x="3084" y="1335"/>
                </a:cubicBezTo>
                <a:cubicBezTo>
                  <a:pt x="3083" y="1335"/>
                  <a:pt x="3083" y="1334"/>
                  <a:pt x="3084" y="1334"/>
                </a:cubicBezTo>
                <a:cubicBezTo>
                  <a:pt x="3084" y="1334"/>
                  <a:pt x="3084" y="1334"/>
                  <a:pt x="3084" y="1333"/>
                </a:cubicBezTo>
                <a:cubicBezTo>
                  <a:pt x="3085" y="1333"/>
                  <a:pt x="3086" y="1332"/>
                  <a:pt x="3085" y="1332"/>
                </a:cubicBezTo>
                <a:cubicBezTo>
                  <a:pt x="3085" y="1331"/>
                  <a:pt x="3085" y="1331"/>
                  <a:pt x="3085" y="1331"/>
                </a:cubicBezTo>
                <a:cubicBezTo>
                  <a:pt x="3085" y="1330"/>
                  <a:pt x="3085" y="1330"/>
                  <a:pt x="3085" y="1330"/>
                </a:cubicBezTo>
                <a:cubicBezTo>
                  <a:pt x="3087" y="1330"/>
                  <a:pt x="3087" y="1330"/>
                  <a:pt x="3087" y="1329"/>
                </a:cubicBezTo>
                <a:cubicBezTo>
                  <a:pt x="3087" y="1328"/>
                  <a:pt x="3087" y="1328"/>
                  <a:pt x="3087" y="1327"/>
                </a:cubicBezTo>
                <a:cubicBezTo>
                  <a:pt x="3087" y="1327"/>
                  <a:pt x="3086" y="1327"/>
                  <a:pt x="3086" y="1327"/>
                </a:cubicBezTo>
                <a:cubicBezTo>
                  <a:pt x="3086" y="1326"/>
                  <a:pt x="3086" y="1325"/>
                  <a:pt x="3087" y="1325"/>
                </a:cubicBezTo>
                <a:cubicBezTo>
                  <a:pt x="3087" y="1325"/>
                  <a:pt x="3088" y="1325"/>
                  <a:pt x="3088" y="1325"/>
                </a:cubicBezTo>
                <a:cubicBezTo>
                  <a:pt x="3088" y="1325"/>
                  <a:pt x="3089" y="1324"/>
                  <a:pt x="3089" y="1324"/>
                </a:cubicBezTo>
                <a:cubicBezTo>
                  <a:pt x="3089" y="1323"/>
                  <a:pt x="3089" y="1323"/>
                  <a:pt x="3089" y="1323"/>
                </a:cubicBezTo>
                <a:cubicBezTo>
                  <a:pt x="3088" y="1323"/>
                  <a:pt x="3088" y="1322"/>
                  <a:pt x="3088" y="1322"/>
                </a:cubicBezTo>
                <a:cubicBezTo>
                  <a:pt x="3087" y="1322"/>
                  <a:pt x="3087" y="1322"/>
                  <a:pt x="3087" y="1322"/>
                </a:cubicBezTo>
                <a:cubicBezTo>
                  <a:pt x="3086" y="1321"/>
                  <a:pt x="3087" y="1321"/>
                  <a:pt x="3087" y="1320"/>
                </a:cubicBezTo>
                <a:cubicBezTo>
                  <a:pt x="3088" y="1320"/>
                  <a:pt x="3087" y="1319"/>
                  <a:pt x="3087" y="1319"/>
                </a:cubicBezTo>
                <a:cubicBezTo>
                  <a:pt x="3088" y="1319"/>
                  <a:pt x="3088" y="1318"/>
                  <a:pt x="3088" y="1318"/>
                </a:cubicBezTo>
                <a:cubicBezTo>
                  <a:pt x="3087" y="1317"/>
                  <a:pt x="3087" y="1317"/>
                  <a:pt x="3086" y="1317"/>
                </a:cubicBezTo>
                <a:cubicBezTo>
                  <a:pt x="3086" y="1317"/>
                  <a:pt x="3086" y="1317"/>
                  <a:pt x="3087" y="1316"/>
                </a:cubicBezTo>
                <a:cubicBezTo>
                  <a:pt x="3087" y="1316"/>
                  <a:pt x="3088" y="1316"/>
                  <a:pt x="3088" y="1316"/>
                </a:cubicBezTo>
                <a:cubicBezTo>
                  <a:pt x="3088" y="1315"/>
                  <a:pt x="3088" y="1315"/>
                  <a:pt x="3089" y="1315"/>
                </a:cubicBezTo>
                <a:cubicBezTo>
                  <a:pt x="3089" y="1314"/>
                  <a:pt x="3090" y="1314"/>
                  <a:pt x="3091" y="1313"/>
                </a:cubicBezTo>
                <a:cubicBezTo>
                  <a:pt x="3091" y="1313"/>
                  <a:pt x="3091" y="1312"/>
                  <a:pt x="3091" y="1311"/>
                </a:cubicBezTo>
                <a:cubicBezTo>
                  <a:pt x="3092" y="1310"/>
                  <a:pt x="3092" y="1312"/>
                  <a:pt x="3093" y="1312"/>
                </a:cubicBezTo>
                <a:cubicBezTo>
                  <a:pt x="3093" y="1312"/>
                  <a:pt x="3094" y="1311"/>
                  <a:pt x="3094" y="1310"/>
                </a:cubicBezTo>
                <a:cubicBezTo>
                  <a:pt x="3095" y="1310"/>
                  <a:pt x="3095" y="1310"/>
                  <a:pt x="3095" y="1310"/>
                </a:cubicBezTo>
                <a:cubicBezTo>
                  <a:pt x="3095" y="1309"/>
                  <a:pt x="3096" y="1309"/>
                  <a:pt x="3096" y="1309"/>
                </a:cubicBezTo>
                <a:cubicBezTo>
                  <a:pt x="3096" y="1308"/>
                  <a:pt x="3096" y="1308"/>
                  <a:pt x="3097" y="1307"/>
                </a:cubicBezTo>
                <a:cubicBezTo>
                  <a:pt x="3097" y="1306"/>
                  <a:pt x="3097" y="1306"/>
                  <a:pt x="3098" y="1306"/>
                </a:cubicBezTo>
                <a:cubicBezTo>
                  <a:pt x="3099" y="1307"/>
                  <a:pt x="3100" y="1306"/>
                  <a:pt x="3100" y="1306"/>
                </a:cubicBezTo>
                <a:cubicBezTo>
                  <a:pt x="3101" y="1306"/>
                  <a:pt x="3101" y="1305"/>
                  <a:pt x="3100" y="1305"/>
                </a:cubicBezTo>
                <a:cubicBezTo>
                  <a:pt x="3100" y="1304"/>
                  <a:pt x="3101" y="1304"/>
                  <a:pt x="3101" y="1303"/>
                </a:cubicBezTo>
                <a:cubicBezTo>
                  <a:pt x="3101" y="1303"/>
                  <a:pt x="3102" y="1302"/>
                  <a:pt x="3101" y="1301"/>
                </a:cubicBezTo>
                <a:cubicBezTo>
                  <a:pt x="3101" y="1301"/>
                  <a:pt x="3101" y="1302"/>
                  <a:pt x="3101" y="1302"/>
                </a:cubicBezTo>
                <a:cubicBezTo>
                  <a:pt x="3101" y="1302"/>
                  <a:pt x="3100" y="1302"/>
                  <a:pt x="3100" y="1303"/>
                </a:cubicBezTo>
                <a:cubicBezTo>
                  <a:pt x="3099" y="1303"/>
                  <a:pt x="3099" y="1302"/>
                  <a:pt x="3099" y="1301"/>
                </a:cubicBezTo>
                <a:cubicBezTo>
                  <a:pt x="3100" y="1301"/>
                  <a:pt x="3100" y="1301"/>
                  <a:pt x="3100" y="1300"/>
                </a:cubicBezTo>
                <a:cubicBezTo>
                  <a:pt x="3100" y="1299"/>
                  <a:pt x="3099" y="1297"/>
                  <a:pt x="3100" y="1296"/>
                </a:cubicBezTo>
                <a:cubicBezTo>
                  <a:pt x="3100" y="1295"/>
                  <a:pt x="3101" y="1294"/>
                  <a:pt x="3101" y="1293"/>
                </a:cubicBezTo>
                <a:cubicBezTo>
                  <a:pt x="3101" y="1292"/>
                  <a:pt x="3101" y="1291"/>
                  <a:pt x="3101" y="1291"/>
                </a:cubicBezTo>
                <a:cubicBezTo>
                  <a:pt x="3102" y="1290"/>
                  <a:pt x="3102" y="1290"/>
                  <a:pt x="3102" y="1290"/>
                </a:cubicBezTo>
                <a:cubicBezTo>
                  <a:pt x="3102" y="1290"/>
                  <a:pt x="3103" y="1289"/>
                  <a:pt x="3103" y="1289"/>
                </a:cubicBezTo>
                <a:cubicBezTo>
                  <a:pt x="3103" y="1288"/>
                  <a:pt x="3103" y="1288"/>
                  <a:pt x="3104" y="1288"/>
                </a:cubicBezTo>
                <a:cubicBezTo>
                  <a:pt x="3105" y="1288"/>
                  <a:pt x="3105" y="1288"/>
                  <a:pt x="3106" y="1288"/>
                </a:cubicBezTo>
                <a:cubicBezTo>
                  <a:pt x="3106" y="1287"/>
                  <a:pt x="3106" y="1287"/>
                  <a:pt x="3105" y="1287"/>
                </a:cubicBezTo>
                <a:cubicBezTo>
                  <a:pt x="3105" y="1286"/>
                  <a:pt x="3105" y="1286"/>
                  <a:pt x="3105" y="1286"/>
                </a:cubicBezTo>
                <a:cubicBezTo>
                  <a:pt x="3105" y="1286"/>
                  <a:pt x="3105" y="1285"/>
                  <a:pt x="3105" y="1285"/>
                </a:cubicBezTo>
                <a:cubicBezTo>
                  <a:pt x="3105" y="1285"/>
                  <a:pt x="3105" y="1286"/>
                  <a:pt x="3105" y="1286"/>
                </a:cubicBezTo>
                <a:cubicBezTo>
                  <a:pt x="3106" y="1286"/>
                  <a:pt x="3106" y="1286"/>
                  <a:pt x="3106" y="1286"/>
                </a:cubicBezTo>
                <a:cubicBezTo>
                  <a:pt x="3107" y="1287"/>
                  <a:pt x="3107" y="1287"/>
                  <a:pt x="3108" y="1287"/>
                </a:cubicBezTo>
                <a:cubicBezTo>
                  <a:pt x="3109" y="1287"/>
                  <a:pt x="3110" y="1287"/>
                  <a:pt x="3111" y="1287"/>
                </a:cubicBezTo>
                <a:cubicBezTo>
                  <a:pt x="3112" y="1287"/>
                  <a:pt x="3114" y="1288"/>
                  <a:pt x="3116" y="1287"/>
                </a:cubicBezTo>
                <a:cubicBezTo>
                  <a:pt x="3116" y="1287"/>
                  <a:pt x="3116" y="1286"/>
                  <a:pt x="3116" y="1286"/>
                </a:cubicBezTo>
                <a:cubicBezTo>
                  <a:pt x="3116" y="1286"/>
                  <a:pt x="3116" y="1286"/>
                  <a:pt x="3117" y="1286"/>
                </a:cubicBezTo>
                <a:cubicBezTo>
                  <a:pt x="3117" y="1285"/>
                  <a:pt x="3117" y="1285"/>
                  <a:pt x="3116" y="1285"/>
                </a:cubicBezTo>
                <a:cubicBezTo>
                  <a:pt x="3116" y="1284"/>
                  <a:pt x="3116" y="1284"/>
                  <a:pt x="3115" y="1284"/>
                </a:cubicBezTo>
                <a:cubicBezTo>
                  <a:pt x="3115" y="1284"/>
                  <a:pt x="3114" y="1283"/>
                  <a:pt x="3114" y="1283"/>
                </a:cubicBezTo>
                <a:cubicBezTo>
                  <a:pt x="3113" y="1283"/>
                  <a:pt x="3113" y="1282"/>
                  <a:pt x="3112" y="1282"/>
                </a:cubicBezTo>
                <a:cubicBezTo>
                  <a:pt x="3111" y="1281"/>
                  <a:pt x="3111" y="1281"/>
                  <a:pt x="3110" y="1280"/>
                </a:cubicBezTo>
                <a:cubicBezTo>
                  <a:pt x="3110" y="1279"/>
                  <a:pt x="3109" y="1280"/>
                  <a:pt x="3108" y="1279"/>
                </a:cubicBezTo>
                <a:cubicBezTo>
                  <a:pt x="3108" y="1279"/>
                  <a:pt x="3108" y="1278"/>
                  <a:pt x="3107" y="1278"/>
                </a:cubicBezTo>
                <a:cubicBezTo>
                  <a:pt x="3107" y="1277"/>
                  <a:pt x="3107" y="1277"/>
                  <a:pt x="3106" y="1277"/>
                </a:cubicBezTo>
                <a:cubicBezTo>
                  <a:pt x="3106" y="1277"/>
                  <a:pt x="3106" y="1276"/>
                  <a:pt x="3105" y="1276"/>
                </a:cubicBezTo>
                <a:cubicBezTo>
                  <a:pt x="3105" y="1276"/>
                  <a:pt x="3104" y="1276"/>
                  <a:pt x="3104" y="1275"/>
                </a:cubicBezTo>
                <a:cubicBezTo>
                  <a:pt x="3103" y="1275"/>
                  <a:pt x="3103" y="1275"/>
                  <a:pt x="3103" y="1274"/>
                </a:cubicBezTo>
                <a:cubicBezTo>
                  <a:pt x="3103" y="1274"/>
                  <a:pt x="3103" y="1274"/>
                  <a:pt x="3104" y="1274"/>
                </a:cubicBezTo>
                <a:cubicBezTo>
                  <a:pt x="3104" y="1273"/>
                  <a:pt x="3104" y="1273"/>
                  <a:pt x="3104" y="1273"/>
                </a:cubicBezTo>
                <a:cubicBezTo>
                  <a:pt x="3105" y="1272"/>
                  <a:pt x="3105" y="1272"/>
                  <a:pt x="3105" y="1272"/>
                </a:cubicBezTo>
                <a:cubicBezTo>
                  <a:pt x="3105" y="1272"/>
                  <a:pt x="3105" y="1272"/>
                  <a:pt x="3106" y="1271"/>
                </a:cubicBezTo>
                <a:cubicBezTo>
                  <a:pt x="3106" y="1270"/>
                  <a:pt x="3105" y="1270"/>
                  <a:pt x="3105" y="1269"/>
                </a:cubicBezTo>
                <a:cubicBezTo>
                  <a:pt x="3105" y="1268"/>
                  <a:pt x="3104" y="1268"/>
                  <a:pt x="3104" y="1268"/>
                </a:cubicBezTo>
                <a:cubicBezTo>
                  <a:pt x="3104" y="1267"/>
                  <a:pt x="3103" y="1267"/>
                  <a:pt x="3102" y="1266"/>
                </a:cubicBezTo>
                <a:cubicBezTo>
                  <a:pt x="3102" y="1266"/>
                  <a:pt x="3102" y="1266"/>
                  <a:pt x="3102" y="1265"/>
                </a:cubicBezTo>
                <a:cubicBezTo>
                  <a:pt x="3102" y="1265"/>
                  <a:pt x="3101" y="1265"/>
                  <a:pt x="3101" y="1265"/>
                </a:cubicBezTo>
                <a:cubicBezTo>
                  <a:pt x="3102" y="1264"/>
                  <a:pt x="3102" y="1265"/>
                  <a:pt x="3102" y="1264"/>
                </a:cubicBezTo>
                <a:cubicBezTo>
                  <a:pt x="3102" y="1263"/>
                  <a:pt x="3102" y="1264"/>
                  <a:pt x="3101" y="1264"/>
                </a:cubicBezTo>
                <a:cubicBezTo>
                  <a:pt x="3101" y="1264"/>
                  <a:pt x="3101" y="1264"/>
                  <a:pt x="3101" y="1263"/>
                </a:cubicBezTo>
                <a:cubicBezTo>
                  <a:pt x="3100" y="1263"/>
                  <a:pt x="3101" y="1263"/>
                  <a:pt x="3101" y="1262"/>
                </a:cubicBezTo>
                <a:cubicBezTo>
                  <a:pt x="3102" y="1261"/>
                  <a:pt x="3100" y="1262"/>
                  <a:pt x="3099" y="1261"/>
                </a:cubicBezTo>
                <a:cubicBezTo>
                  <a:pt x="3099" y="1261"/>
                  <a:pt x="3099" y="1261"/>
                  <a:pt x="3099" y="1261"/>
                </a:cubicBezTo>
                <a:cubicBezTo>
                  <a:pt x="3098" y="1261"/>
                  <a:pt x="3098" y="1260"/>
                  <a:pt x="3098" y="1260"/>
                </a:cubicBezTo>
                <a:cubicBezTo>
                  <a:pt x="3098" y="1260"/>
                  <a:pt x="3098" y="1259"/>
                  <a:pt x="3099" y="1259"/>
                </a:cubicBezTo>
                <a:cubicBezTo>
                  <a:pt x="3099" y="1259"/>
                  <a:pt x="3099" y="1259"/>
                  <a:pt x="3099" y="1258"/>
                </a:cubicBezTo>
                <a:cubicBezTo>
                  <a:pt x="3099" y="1258"/>
                  <a:pt x="3099" y="1258"/>
                  <a:pt x="3099" y="1258"/>
                </a:cubicBezTo>
                <a:cubicBezTo>
                  <a:pt x="3099" y="1257"/>
                  <a:pt x="3100" y="1257"/>
                  <a:pt x="3100" y="1257"/>
                </a:cubicBezTo>
                <a:cubicBezTo>
                  <a:pt x="3100" y="1257"/>
                  <a:pt x="3099" y="1257"/>
                  <a:pt x="3099" y="1257"/>
                </a:cubicBezTo>
                <a:cubicBezTo>
                  <a:pt x="3098" y="1257"/>
                  <a:pt x="3098" y="1257"/>
                  <a:pt x="3098" y="1257"/>
                </a:cubicBezTo>
                <a:cubicBezTo>
                  <a:pt x="3097" y="1256"/>
                  <a:pt x="3097" y="1256"/>
                  <a:pt x="3096" y="1256"/>
                </a:cubicBezTo>
                <a:cubicBezTo>
                  <a:pt x="3096" y="1256"/>
                  <a:pt x="3096" y="1256"/>
                  <a:pt x="3096" y="1256"/>
                </a:cubicBezTo>
                <a:cubicBezTo>
                  <a:pt x="3097" y="1255"/>
                  <a:pt x="3097" y="1255"/>
                  <a:pt x="3098" y="1256"/>
                </a:cubicBezTo>
                <a:cubicBezTo>
                  <a:pt x="3098" y="1256"/>
                  <a:pt x="3098" y="1256"/>
                  <a:pt x="3099" y="1256"/>
                </a:cubicBezTo>
                <a:cubicBezTo>
                  <a:pt x="3099" y="1256"/>
                  <a:pt x="3100" y="1256"/>
                  <a:pt x="3100" y="1256"/>
                </a:cubicBezTo>
                <a:cubicBezTo>
                  <a:pt x="3100" y="1255"/>
                  <a:pt x="3100" y="1255"/>
                  <a:pt x="3100" y="1255"/>
                </a:cubicBezTo>
                <a:cubicBezTo>
                  <a:pt x="3100" y="1253"/>
                  <a:pt x="3102" y="1255"/>
                  <a:pt x="3102" y="1255"/>
                </a:cubicBezTo>
                <a:cubicBezTo>
                  <a:pt x="3102" y="1255"/>
                  <a:pt x="3103" y="1254"/>
                  <a:pt x="3103" y="1254"/>
                </a:cubicBezTo>
                <a:cubicBezTo>
                  <a:pt x="3103" y="1255"/>
                  <a:pt x="3104" y="1255"/>
                  <a:pt x="3104" y="1254"/>
                </a:cubicBezTo>
                <a:cubicBezTo>
                  <a:pt x="3104" y="1254"/>
                  <a:pt x="3103" y="1254"/>
                  <a:pt x="3103" y="1254"/>
                </a:cubicBezTo>
                <a:cubicBezTo>
                  <a:pt x="3103" y="1254"/>
                  <a:pt x="3102" y="1253"/>
                  <a:pt x="3102" y="1253"/>
                </a:cubicBezTo>
                <a:cubicBezTo>
                  <a:pt x="3102" y="1253"/>
                  <a:pt x="3102" y="1253"/>
                  <a:pt x="3102" y="1252"/>
                </a:cubicBezTo>
                <a:cubicBezTo>
                  <a:pt x="3102" y="1252"/>
                  <a:pt x="3101" y="1252"/>
                  <a:pt x="3101" y="1252"/>
                </a:cubicBezTo>
                <a:cubicBezTo>
                  <a:pt x="3101" y="1251"/>
                  <a:pt x="3101" y="1251"/>
                  <a:pt x="3100" y="1251"/>
                </a:cubicBezTo>
                <a:cubicBezTo>
                  <a:pt x="3100" y="1251"/>
                  <a:pt x="3100" y="1251"/>
                  <a:pt x="3100" y="1250"/>
                </a:cubicBezTo>
                <a:cubicBezTo>
                  <a:pt x="3099" y="1250"/>
                  <a:pt x="3100" y="1250"/>
                  <a:pt x="3099" y="1250"/>
                </a:cubicBezTo>
                <a:cubicBezTo>
                  <a:pt x="3099" y="1249"/>
                  <a:pt x="3100" y="1249"/>
                  <a:pt x="3100" y="1249"/>
                </a:cubicBezTo>
                <a:cubicBezTo>
                  <a:pt x="3102" y="1249"/>
                  <a:pt x="3101" y="1247"/>
                  <a:pt x="3102" y="1247"/>
                </a:cubicBezTo>
                <a:cubicBezTo>
                  <a:pt x="3102" y="1247"/>
                  <a:pt x="3102" y="1247"/>
                  <a:pt x="3103" y="1247"/>
                </a:cubicBezTo>
                <a:cubicBezTo>
                  <a:pt x="3103" y="1248"/>
                  <a:pt x="3104" y="1247"/>
                  <a:pt x="3105" y="1248"/>
                </a:cubicBezTo>
                <a:cubicBezTo>
                  <a:pt x="3106" y="1248"/>
                  <a:pt x="3107" y="1248"/>
                  <a:pt x="3108" y="1248"/>
                </a:cubicBezTo>
                <a:cubicBezTo>
                  <a:pt x="3108" y="1248"/>
                  <a:pt x="3109" y="1247"/>
                  <a:pt x="3109" y="1248"/>
                </a:cubicBezTo>
                <a:cubicBezTo>
                  <a:pt x="3110" y="1248"/>
                  <a:pt x="3110" y="1248"/>
                  <a:pt x="3110" y="1248"/>
                </a:cubicBezTo>
                <a:cubicBezTo>
                  <a:pt x="3111" y="1248"/>
                  <a:pt x="3111" y="1247"/>
                  <a:pt x="3111" y="1247"/>
                </a:cubicBezTo>
                <a:cubicBezTo>
                  <a:pt x="3112" y="1247"/>
                  <a:pt x="3112" y="1247"/>
                  <a:pt x="3112" y="1247"/>
                </a:cubicBezTo>
                <a:cubicBezTo>
                  <a:pt x="3113" y="1247"/>
                  <a:pt x="3113" y="1247"/>
                  <a:pt x="3113" y="1246"/>
                </a:cubicBezTo>
                <a:cubicBezTo>
                  <a:pt x="3114" y="1246"/>
                  <a:pt x="3114" y="1246"/>
                  <a:pt x="3114" y="1246"/>
                </a:cubicBezTo>
                <a:cubicBezTo>
                  <a:pt x="3114" y="1245"/>
                  <a:pt x="3113" y="1246"/>
                  <a:pt x="3113" y="1246"/>
                </a:cubicBezTo>
                <a:cubicBezTo>
                  <a:pt x="3113" y="1246"/>
                  <a:pt x="3112" y="1245"/>
                  <a:pt x="3112" y="1245"/>
                </a:cubicBezTo>
                <a:cubicBezTo>
                  <a:pt x="3112" y="1245"/>
                  <a:pt x="3112" y="1245"/>
                  <a:pt x="3111" y="1245"/>
                </a:cubicBezTo>
                <a:cubicBezTo>
                  <a:pt x="3111" y="1245"/>
                  <a:pt x="3111" y="1245"/>
                  <a:pt x="3111" y="1244"/>
                </a:cubicBezTo>
                <a:cubicBezTo>
                  <a:pt x="3111" y="1244"/>
                  <a:pt x="3111" y="1244"/>
                  <a:pt x="3111" y="1244"/>
                </a:cubicBezTo>
                <a:cubicBezTo>
                  <a:pt x="3111" y="1244"/>
                  <a:pt x="3112" y="1244"/>
                  <a:pt x="3112" y="1244"/>
                </a:cubicBezTo>
                <a:cubicBezTo>
                  <a:pt x="3112" y="1244"/>
                  <a:pt x="3112" y="1244"/>
                  <a:pt x="3112" y="1244"/>
                </a:cubicBezTo>
                <a:cubicBezTo>
                  <a:pt x="3111" y="1244"/>
                  <a:pt x="3111" y="1244"/>
                  <a:pt x="3110" y="1244"/>
                </a:cubicBezTo>
                <a:cubicBezTo>
                  <a:pt x="3110" y="1244"/>
                  <a:pt x="3109" y="1244"/>
                  <a:pt x="3109" y="1244"/>
                </a:cubicBezTo>
                <a:cubicBezTo>
                  <a:pt x="3108" y="1244"/>
                  <a:pt x="3108" y="1243"/>
                  <a:pt x="3108" y="1242"/>
                </a:cubicBezTo>
                <a:cubicBezTo>
                  <a:pt x="3108" y="1242"/>
                  <a:pt x="3107" y="1242"/>
                  <a:pt x="3107" y="1241"/>
                </a:cubicBezTo>
                <a:cubicBezTo>
                  <a:pt x="3107" y="1241"/>
                  <a:pt x="3108" y="1241"/>
                  <a:pt x="3108" y="1241"/>
                </a:cubicBezTo>
                <a:cubicBezTo>
                  <a:pt x="3109" y="1241"/>
                  <a:pt x="3108" y="1240"/>
                  <a:pt x="3109" y="1240"/>
                </a:cubicBezTo>
                <a:cubicBezTo>
                  <a:pt x="3109" y="1240"/>
                  <a:pt x="3110" y="1239"/>
                  <a:pt x="3110" y="1240"/>
                </a:cubicBezTo>
                <a:cubicBezTo>
                  <a:pt x="3110" y="1240"/>
                  <a:pt x="3110" y="1240"/>
                  <a:pt x="3111" y="1240"/>
                </a:cubicBezTo>
                <a:cubicBezTo>
                  <a:pt x="3111" y="1241"/>
                  <a:pt x="3112" y="1240"/>
                  <a:pt x="3113" y="1240"/>
                </a:cubicBezTo>
                <a:cubicBezTo>
                  <a:pt x="3113" y="1241"/>
                  <a:pt x="3113" y="1240"/>
                  <a:pt x="3114" y="1240"/>
                </a:cubicBezTo>
                <a:cubicBezTo>
                  <a:pt x="3114" y="1240"/>
                  <a:pt x="3114" y="1240"/>
                  <a:pt x="3115" y="1240"/>
                </a:cubicBezTo>
                <a:cubicBezTo>
                  <a:pt x="3115" y="1239"/>
                  <a:pt x="3115" y="1239"/>
                  <a:pt x="3116" y="1239"/>
                </a:cubicBezTo>
                <a:cubicBezTo>
                  <a:pt x="3116" y="1238"/>
                  <a:pt x="3116" y="1238"/>
                  <a:pt x="3117" y="1238"/>
                </a:cubicBezTo>
                <a:cubicBezTo>
                  <a:pt x="3117" y="1238"/>
                  <a:pt x="3117" y="1238"/>
                  <a:pt x="3118" y="1238"/>
                </a:cubicBezTo>
                <a:cubicBezTo>
                  <a:pt x="3118" y="1237"/>
                  <a:pt x="3119" y="1238"/>
                  <a:pt x="3120" y="1237"/>
                </a:cubicBezTo>
                <a:cubicBezTo>
                  <a:pt x="3120" y="1236"/>
                  <a:pt x="3120" y="1235"/>
                  <a:pt x="3118" y="1235"/>
                </a:cubicBezTo>
                <a:cubicBezTo>
                  <a:pt x="3118" y="1235"/>
                  <a:pt x="3117" y="1235"/>
                  <a:pt x="3116" y="1235"/>
                </a:cubicBezTo>
                <a:cubicBezTo>
                  <a:pt x="3116" y="1235"/>
                  <a:pt x="3115" y="1235"/>
                  <a:pt x="3115" y="1235"/>
                </a:cubicBezTo>
                <a:cubicBezTo>
                  <a:pt x="3115" y="1234"/>
                  <a:pt x="3115" y="1234"/>
                  <a:pt x="3115" y="1234"/>
                </a:cubicBezTo>
                <a:cubicBezTo>
                  <a:pt x="3115" y="1233"/>
                  <a:pt x="3114" y="1233"/>
                  <a:pt x="3114" y="1233"/>
                </a:cubicBezTo>
                <a:cubicBezTo>
                  <a:pt x="3113" y="1233"/>
                  <a:pt x="3113" y="1233"/>
                  <a:pt x="3113" y="1233"/>
                </a:cubicBezTo>
                <a:cubicBezTo>
                  <a:pt x="3112" y="1232"/>
                  <a:pt x="3112" y="1232"/>
                  <a:pt x="3111" y="1232"/>
                </a:cubicBezTo>
                <a:cubicBezTo>
                  <a:pt x="3111" y="1232"/>
                  <a:pt x="3110" y="1231"/>
                  <a:pt x="3110" y="1231"/>
                </a:cubicBezTo>
                <a:cubicBezTo>
                  <a:pt x="3109" y="1231"/>
                  <a:pt x="3109" y="1231"/>
                  <a:pt x="3109" y="1230"/>
                </a:cubicBezTo>
                <a:cubicBezTo>
                  <a:pt x="3108" y="1230"/>
                  <a:pt x="3108" y="1230"/>
                  <a:pt x="3108" y="1231"/>
                </a:cubicBezTo>
                <a:cubicBezTo>
                  <a:pt x="3107" y="1231"/>
                  <a:pt x="3107" y="1231"/>
                  <a:pt x="3107" y="1231"/>
                </a:cubicBezTo>
                <a:cubicBezTo>
                  <a:pt x="3106" y="1231"/>
                  <a:pt x="3105" y="1232"/>
                  <a:pt x="3104" y="1231"/>
                </a:cubicBezTo>
                <a:cubicBezTo>
                  <a:pt x="3104" y="1230"/>
                  <a:pt x="3106" y="1230"/>
                  <a:pt x="3106" y="1230"/>
                </a:cubicBezTo>
                <a:cubicBezTo>
                  <a:pt x="3107" y="1230"/>
                  <a:pt x="3107" y="1230"/>
                  <a:pt x="3107" y="1230"/>
                </a:cubicBezTo>
                <a:cubicBezTo>
                  <a:pt x="3107" y="1229"/>
                  <a:pt x="3106" y="1229"/>
                  <a:pt x="3106" y="1229"/>
                </a:cubicBezTo>
                <a:cubicBezTo>
                  <a:pt x="3106" y="1228"/>
                  <a:pt x="3106" y="1228"/>
                  <a:pt x="3105" y="1228"/>
                </a:cubicBezTo>
                <a:cubicBezTo>
                  <a:pt x="3105" y="1228"/>
                  <a:pt x="3105" y="1228"/>
                  <a:pt x="3104" y="1229"/>
                </a:cubicBezTo>
                <a:cubicBezTo>
                  <a:pt x="3104" y="1229"/>
                  <a:pt x="3104" y="1229"/>
                  <a:pt x="3103" y="1229"/>
                </a:cubicBezTo>
                <a:cubicBezTo>
                  <a:pt x="3103" y="1229"/>
                  <a:pt x="3102" y="1230"/>
                  <a:pt x="3101" y="1229"/>
                </a:cubicBezTo>
                <a:cubicBezTo>
                  <a:pt x="3101" y="1229"/>
                  <a:pt x="3101" y="1228"/>
                  <a:pt x="3101" y="1228"/>
                </a:cubicBezTo>
                <a:cubicBezTo>
                  <a:pt x="3101" y="1228"/>
                  <a:pt x="3101" y="1227"/>
                  <a:pt x="3101" y="1227"/>
                </a:cubicBezTo>
                <a:cubicBezTo>
                  <a:pt x="3101" y="1227"/>
                  <a:pt x="3101" y="1226"/>
                  <a:pt x="3101" y="1226"/>
                </a:cubicBezTo>
                <a:cubicBezTo>
                  <a:pt x="3101" y="1226"/>
                  <a:pt x="3102" y="1226"/>
                  <a:pt x="3102" y="1225"/>
                </a:cubicBezTo>
                <a:cubicBezTo>
                  <a:pt x="3103" y="1225"/>
                  <a:pt x="3102" y="1224"/>
                  <a:pt x="3102" y="1223"/>
                </a:cubicBezTo>
                <a:cubicBezTo>
                  <a:pt x="3101" y="1223"/>
                  <a:pt x="3101" y="1222"/>
                  <a:pt x="3100" y="1222"/>
                </a:cubicBezTo>
                <a:cubicBezTo>
                  <a:pt x="3100" y="1221"/>
                  <a:pt x="3100" y="1220"/>
                  <a:pt x="3099" y="1220"/>
                </a:cubicBezTo>
                <a:cubicBezTo>
                  <a:pt x="3099" y="1221"/>
                  <a:pt x="3097" y="1221"/>
                  <a:pt x="3097" y="1220"/>
                </a:cubicBezTo>
                <a:cubicBezTo>
                  <a:pt x="3097" y="1220"/>
                  <a:pt x="3097" y="1220"/>
                  <a:pt x="3097" y="1219"/>
                </a:cubicBezTo>
                <a:cubicBezTo>
                  <a:pt x="3097" y="1219"/>
                  <a:pt x="3097" y="1219"/>
                  <a:pt x="3096" y="1218"/>
                </a:cubicBezTo>
                <a:cubicBezTo>
                  <a:pt x="3096" y="1218"/>
                  <a:pt x="3096" y="1217"/>
                  <a:pt x="3096" y="1217"/>
                </a:cubicBezTo>
                <a:cubicBezTo>
                  <a:pt x="3096" y="1217"/>
                  <a:pt x="3095" y="1217"/>
                  <a:pt x="3095" y="1217"/>
                </a:cubicBezTo>
                <a:cubicBezTo>
                  <a:pt x="3094" y="1217"/>
                  <a:pt x="3095" y="1217"/>
                  <a:pt x="3095" y="1218"/>
                </a:cubicBezTo>
                <a:cubicBezTo>
                  <a:pt x="3095" y="1218"/>
                  <a:pt x="3094" y="1218"/>
                  <a:pt x="3094" y="1219"/>
                </a:cubicBezTo>
                <a:cubicBezTo>
                  <a:pt x="3094" y="1219"/>
                  <a:pt x="3094" y="1220"/>
                  <a:pt x="3094" y="1220"/>
                </a:cubicBezTo>
                <a:cubicBezTo>
                  <a:pt x="3094" y="1220"/>
                  <a:pt x="3093" y="1221"/>
                  <a:pt x="3093" y="1221"/>
                </a:cubicBezTo>
                <a:cubicBezTo>
                  <a:pt x="3093" y="1221"/>
                  <a:pt x="3092" y="1221"/>
                  <a:pt x="3092" y="1221"/>
                </a:cubicBezTo>
                <a:cubicBezTo>
                  <a:pt x="3092" y="1222"/>
                  <a:pt x="3091" y="1222"/>
                  <a:pt x="3092" y="1221"/>
                </a:cubicBezTo>
                <a:cubicBezTo>
                  <a:pt x="3092" y="1221"/>
                  <a:pt x="3092" y="1221"/>
                  <a:pt x="3092" y="1220"/>
                </a:cubicBezTo>
                <a:cubicBezTo>
                  <a:pt x="3092" y="1220"/>
                  <a:pt x="3092" y="1219"/>
                  <a:pt x="3092" y="1219"/>
                </a:cubicBezTo>
                <a:cubicBezTo>
                  <a:pt x="3092" y="1219"/>
                  <a:pt x="3092" y="1218"/>
                  <a:pt x="3092" y="1218"/>
                </a:cubicBezTo>
                <a:cubicBezTo>
                  <a:pt x="3092" y="1217"/>
                  <a:pt x="3092" y="1217"/>
                  <a:pt x="3091" y="1217"/>
                </a:cubicBezTo>
                <a:cubicBezTo>
                  <a:pt x="3091" y="1217"/>
                  <a:pt x="3091" y="1217"/>
                  <a:pt x="3091" y="1218"/>
                </a:cubicBezTo>
                <a:cubicBezTo>
                  <a:pt x="3091" y="1218"/>
                  <a:pt x="3091" y="1220"/>
                  <a:pt x="3090" y="1221"/>
                </a:cubicBezTo>
                <a:cubicBezTo>
                  <a:pt x="3089" y="1221"/>
                  <a:pt x="3089" y="1221"/>
                  <a:pt x="3089" y="1222"/>
                </a:cubicBezTo>
                <a:cubicBezTo>
                  <a:pt x="3088" y="1222"/>
                  <a:pt x="3088" y="1223"/>
                  <a:pt x="3087" y="1223"/>
                </a:cubicBezTo>
                <a:cubicBezTo>
                  <a:pt x="3087" y="1223"/>
                  <a:pt x="3086" y="1224"/>
                  <a:pt x="3086" y="1224"/>
                </a:cubicBezTo>
                <a:cubicBezTo>
                  <a:pt x="3085" y="1225"/>
                  <a:pt x="3085" y="1226"/>
                  <a:pt x="3084" y="1226"/>
                </a:cubicBezTo>
                <a:cubicBezTo>
                  <a:pt x="3084" y="1227"/>
                  <a:pt x="3084" y="1227"/>
                  <a:pt x="3084" y="1228"/>
                </a:cubicBezTo>
                <a:cubicBezTo>
                  <a:pt x="3083" y="1228"/>
                  <a:pt x="3083" y="1228"/>
                  <a:pt x="3083" y="1229"/>
                </a:cubicBezTo>
                <a:cubicBezTo>
                  <a:pt x="3082" y="1229"/>
                  <a:pt x="3082" y="1230"/>
                  <a:pt x="3081" y="1231"/>
                </a:cubicBezTo>
                <a:cubicBezTo>
                  <a:pt x="3081" y="1232"/>
                  <a:pt x="3081" y="1233"/>
                  <a:pt x="3080" y="1233"/>
                </a:cubicBezTo>
                <a:cubicBezTo>
                  <a:pt x="3079" y="1234"/>
                  <a:pt x="3079" y="1233"/>
                  <a:pt x="3079" y="1233"/>
                </a:cubicBezTo>
                <a:cubicBezTo>
                  <a:pt x="3078" y="1233"/>
                  <a:pt x="3077" y="1233"/>
                  <a:pt x="3077" y="1234"/>
                </a:cubicBezTo>
                <a:cubicBezTo>
                  <a:pt x="3076" y="1235"/>
                  <a:pt x="3076" y="1235"/>
                  <a:pt x="3075" y="1235"/>
                </a:cubicBezTo>
                <a:cubicBezTo>
                  <a:pt x="3074" y="1236"/>
                  <a:pt x="3076" y="1236"/>
                  <a:pt x="3076" y="1237"/>
                </a:cubicBezTo>
                <a:cubicBezTo>
                  <a:pt x="3076" y="1237"/>
                  <a:pt x="3076" y="1238"/>
                  <a:pt x="3076" y="1238"/>
                </a:cubicBezTo>
                <a:cubicBezTo>
                  <a:pt x="3076" y="1239"/>
                  <a:pt x="3076" y="1240"/>
                  <a:pt x="3076" y="1240"/>
                </a:cubicBezTo>
                <a:cubicBezTo>
                  <a:pt x="3075" y="1240"/>
                  <a:pt x="3075" y="1240"/>
                  <a:pt x="3075" y="1240"/>
                </a:cubicBezTo>
                <a:cubicBezTo>
                  <a:pt x="3074" y="1240"/>
                  <a:pt x="3074" y="1241"/>
                  <a:pt x="3074" y="1241"/>
                </a:cubicBezTo>
                <a:cubicBezTo>
                  <a:pt x="3073" y="1241"/>
                  <a:pt x="3073" y="1240"/>
                  <a:pt x="3073" y="1240"/>
                </a:cubicBezTo>
                <a:cubicBezTo>
                  <a:pt x="3073" y="1240"/>
                  <a:pt x="3073" y="1241"/>
                  <a:pt x="3073" y="1241"/>
                </a:cubicBezTo>
                <a:cubicBezTo>
                  <a:pt x="3073" y="1241"/>
                  <a:pt x="3072" y="1241"/>
                  <a:pt x="3072" y="1241"/>
                </a:cubicBezTo>
                <a:cubicBezTo>
                  <a:pt x="3071" y="1241"/>
                  <a:pt x="3071" y="1241"/>
                  <a:pt x="3071" y="1240"/>
                </a:cubicBezTo>
                <a:cubicBezTo>
                  <a:pt x="3072" y="1240"/>
                  <a:pt x="3072" y="1240"/>
                  <a:pt x="3072" y="1240"/>
                </a:cubicBezTo>
                <a:cubicBezTo>
                  <a:pt x="3072" y="1239"/>
                  <a:pt x="3070" y="1239"/>
                  <a:pt x="3070" y="1240"/>
                </a:cubicBezTo>
                <a:cubicBezTo>
                  <a:pt x="3069" y="1240"/>
                  <a:pt x="3069" y="1241"/>
                  <a:pt x="3068" y="1241"/>
                </a:cubicBezTo>
                <a:cubicBezTo>
                  <a:pt x="3067" y="1241"/>
                  <a:pt x="3067" y="1242"/>
                  <a:pt x="3067" y="1243"/>
                </a:cubicBezTo>
                <a:cubicBezTo>
                  <a:pt x="3066" y="1243"/>
                  <a:pt x="3065" y="1243"/>
                  <a:pt x="3065" y="1244"/>
                </a:cubicBezTo>
                <a:cubicBezTo>
                  <a:pt x="3064" y="1244"/>
                  <a:pt x="3062" y="1244"/>
                  <a:pt x="3061" y="1245"/>
                </a:cubicBezTo>
                <a:cubicBezTo>
                  <a:pt x="3060" y="1245"/>
                  <a:pt x="3059" y="1247"/>
                  <a:pt x="3058" y="1248"/>
                </a:cubicBezTo>
                <a:cubicBezTo>
                  <a:pt x="3058" y="1248"/>
                  <a:pt x="3057" y="1249"/>
                  <a:pt x="3057" y="1250"/>
                </a:cubicBezTo>
                <a:cubicBezTo>
                  <a:pt x="3056" y="1250"/>
                  <a:pt x="3056" y="1251"/>
                  <a:pt x="3055" y="1252"/>
                </a:cubicBezTo>
                <a:cubicBezTo>
                  <a:pt x="3055" y="1253"/>
                  <a:pt x="3054" y="1253"/>
                  <a:pt x="3054" y="1254"/>
                </a:cubicBezTo>
                <a:cubicBezTo>
                  <a:pt x="3053" y="1256"/>
                  <a:pt x="3051" y="1257"/>
                  <a:pt x="3050" y="1259"/>
                </a:cubicBezTo>
                <a:cubicBezTo>
                  <a:pt x="3050" y="1259"/>
                  <a:pt x="3049" y="1260"/>
                  <a:pt x="3048" y="1261"/>
                </a:cubicBezTo>
                <a:cubicBezTo>
                  <a:pt x="3047" y="1261"/>
                  <a:pt x="3046" y="1262"/>
                  <a:pt x="3046" y="1262"/>
                </a:cubicBezTo>
                <a:cubicBezTo>
                  <a:pt x="3044" y="1263"/>
                  <a:pt x="3042" y="1262"/>
                  <a:pt x="3040" y="1263"/>
                </a:cubicBezTo>
                <a:cubicBezTo>
                  <a:pt x="3039" y="1264"/>
                  <a:pt x="3037" y="1264"/>
                  <a:pt x="3036" y="1264"/>
                </a:cubicBezTo>
                <a:cubicBezTo>
                  <a:pt x="3034" y="1264"/>
                  <a:pt x="3032" y="1265"/>
                  <a:pt x="3032" y="1267"/>
                </a:cubicBezTo>
                <a:cubicBezTo>
                  <a:pt x="3032" y="1267"/>
                  <a:pt x="3031" y="1268"/>
                  <a:pt x="3031" y="1269"/>
                </a:cubicBezTo>
                <a:cubicBezTo>
                  <a:pt x="3031" y="1269"/>
                  <a:pt x="3031" y="1270"/>
                  <a:pt x="3031" y="1270"/>
                </a:cubicBezTo>
                <a:cubicBezTo>
                  <a:pt x="3031" y="1270"/>
                  <a:pt x="3030" y="1270"/>
                  <a:pt x="3030" y="1270"/>
                </a:cubicBezTo>
                <a:cubicBezTo>
                  <a:pt x="3030" y="1269"/>
                  <a:pt x="3030" y="1269"/>
                  <a:pt x="3030" y="1268"/>
                </a:cubicBezTo>
                <a:cubicBezTo>
                  <a:pt x="3030" y="1268"/>
                  <a:pt x="3030" y="1268"/>
                  <a:pt x="3030" y="1267"/>
                </a:cubicBezTo>
                <a:cubicBezTo>
                  <a:pt x="3030" y="1267"/>
                  <a:pt x="3030" y="1265"/>
                  <a:pt x="3030" y="1265"/>
                </a:cubicBezTo>
                <a:cubicBezTo>
                  <a:pt x="3029" y="1265"/>
                  <a:pt x="3029" y="1267"/>
                  <a:pt x="3029" y="1267"/>
                </a:cubicBezTo>
                <a:cubicBezTo>
                  <a:pt x="3029" y="1268"/>
                  <a:pt x="3030" y="1269"/>
                  <a:pt x="3029" y="1269"/>
                </a:cubicBezTo>
                <a:cubicBezTo>
                  <a:pt x="3028" y="1269"/>
                  <a:pt x="3028" y="1269"/>
                  <a:pt x="3028" y="1269"/>
                </a:cubicBezTo>
                <a:cubicBezTo>
                  <a:pt x="3028" y="1270"/>
                  <a:pt x="3028" y="1270"/>
                  <a:pt x="3028" y="1270"/>
                </a:cubicBezTo>
                <a:cubicBezTo>
                  <a:pt x="3029" y="1271"/>
                  <a:pt x="3029" y="1271"/>
                  <a:pt x="3029" y="1272"/>
                </a:cubicBezTo>
                <a:cubicBezTo>
                  <a:pt x="3029" y="1272"/>
                  <a:pt x="3029" y="1273"/>
                  <a:pt x="3028" y="1274"/>
                </a:cubicBezTo>
                <a:cubicBezTo>
                  <a:pt x="3028" y="1274"/>
                  <a:pt x="3027" y="1275"/>
                  <a:pt x="3027" y="1276"/>
                </a:cubicBezTo>
                <a:cubicBezTo>
                  <a:pt x="3027" y="1277"/>
                  <a:pt x="3027" y="1277"/>
                  <a:pt x="3027" y="1277"/>
                </a:cubicBezTo>
                <a:cubicBezTo>
                  <a:pt x="3027" y="1278"/>
                  <a:pt x="3027" y="1278"/>
                  <a:pt x="3027" y="1278"/>
                </a:cubicBezTo>
                <a:cubicBezTo>
                  <a:pt x="3027" y="1279"/>
                  <a:pt x="3026" y="1278"/>
                  <a:pt x="3025" y="1279"/>
                </a:cubicBezTo>
                <a:cubicBezTo>
                  <a:pt x="3025" y="1279"/>
                  <a:pt x="3026" y="1280"/>
                  <a:pt x="3026" y="1280"/>
                </a:cubicBezTo>
                <a:cubicBezTo>
                  <a:pt x="3026" y="1280"/>
                  <a:pt x="3026" y="1280"/>
                  <a:pt x="3026" y="1281"/>
                </a:cubicBezTo>
                <a:cubicBezTo>
                  <a:pt x="3027" y="1281"/>
                  <a:pt x="3029" y="1281"/>
                  <a:pt x="3028" y="1282"/>
                </a:cubicBezTo>
                <a:cubicBezTo>
                  <a:pt x="3028" y="1282"/>
                  <a:pt x="3027" y="1281"/>
                  <a:pt x="3026" y="1281"/>
                </a:cubicBezTo>
                <a:cubicBezTo>
                  <a:pt x="3026" y="1281"/>
                  <a:pt x="3025" y="1280"/>
                  <a:pt x="3024" y="1280"/>
                </a:cubicBezTo>
                <a:cubicBezTo>
                  <a:pt x="3024" y="1280"/>
                  <a:pt x="3023" y="1281"/>
                  <a:pt x="3022" y="1280"/>
                </a:cubicBezTo>
                <a:cubicBezTo>
                  <a:pt x="3022" y="1280"/>
                  <a:pt x="3023" y="1279"/>
                  <a:pt x="3023" y="1279"/>
                </a:cubicBezTo>
                <a:cubicBezTo>
                  <a:pt x="3022" y="1279"/>
                  <a:pt x="3022" y="1279"/>
                  <a:pt x="3022" y="1279"/>
                </a:cubicBezTo>
                <a:cubicBezTo>
                  <a:pt x="3021" y="1278"/>
                  <a:pt x="3021" y="1277"/>
                  <a:pt x="3019" y="1277"/>
                </a:cubicBezTo>
                <a:cubicBezTo>
                  <a:pt x="3019" y="1277"/>
                  <a:pt x="3018" y="1277"/>
                  <a:pt x="3017" y="1277"/>
                </a:cubicBezTo>
                <a:cubicBezTo>
                  <a:pt x="3016" y="1278"/>
                  <a:pt x="3014" y="1278"/>
                  <a:pt x="3012" y="1277"/>
                </a:cubicBezTo>
                <a:cubicBezTo>
                  <a:pt x="3012" y="1277"/>
                  <a:pt x="3012" y="1276"/>
                  <a:pt x="3012" y="1276"/>
                </a:cubicBezTo>
                <a:cubicBezTo>
                  <a:pt x="3011" y="1275"/>
                  <a:pt x="3011" y="1275"/>
                  <a:pt x="3011" y="1274"/>
                </a:cubicBezTo>
                <a:cubicBezTo>
                  <a:pt x="3011" y="1274"/>
                  <a:pt x="3010" y="1274"/>
                  <a:pt x="3010" y="1274"/>
                </a:cubicBezTo>
                <a:cubicBezTo>
                  <a:pt x="3010" y="1273"/>
                  <a:pt x="3010" y="1273"/>
                  <a:pt x="3009" y="1273"/>
                </a:cubicBezTo>
                <a:cubicBezTo>
                  <a:pt x="3009" y="1273"/>
                  <a:pt x="3009" y="1273"/>
                  <a:pt x="3009" y="1274"/>
                </a:cubicBezTo>
                <a:cubicBezTo>
                  <a:pt x="3009" y="1274"/>
                  <a:pt x="3009" y="1274"/>
                  <a:pt x="3009" y="1274"/>
                </a:cubicBezTo>
                <a:cubicBezTo>
                  <a:pt x="3008" y="1274"/>
                  <a:pt x="3008" y="1274"/>
                  <a:pt x="3008" y="1274"/>
                </a:cubicBezTo>
                <a:cubicBezTo>
                  <a:pt x="3007" y="1275"/>
                  <a:pt x="3006" y="1275"/>
                  <a:pt x="3006" y="1276"/>
                </a:cubicBezTo>
                <a:cubicBezTo>
                  <a:pt x="3005" y="1276"/>
                  <a:pt x="3005" y="1277"/>
                  <a:pt x="3005" y="1278"/>
                </a:cubicBezTo>
                <a:cubicBezTo>
                  <a:pt x="3004" y="1279"/>
                  <a:pt x="3004" y="1279"/>
                  <a:pt x="3004" y="1280"/>
                </a:cubicBezTo>
                <a:cubicBezTo>
                  <a:pt x="3004" y="1281"/>
                  <a:pt x="3004" y="1281"/>
                  <a:pt x="3004" y="1282"/>
                </a:cubicBezTo>
                <a:cubicBezTo>
                  <a:pt x="3004" y="1283"/>
                  <a:pt x="3003" y="1283"/>
                  <a:pt x="3002" y="1283"/>
                </a:cubicBezTo>
                <a:cubicBezTo>
                  <a:pt x="3002" y="1283"/>
                  <a:pt x="3002" y="1283"/>
                  <a:pt x="3002" y="1284"/>
                </a:cubicBezTo>
                <a:cubicBezTo>
                  <a:pt x="3002" y="1284"/>
                  <a:pt x="3002" y="1284"/>
                  <a:pt x="3002" y="1284"/>
                </a:cubicBezTo>
                <a:cubicBezTo>
                  <a:pt x="3002" y="1284"/>
                  <a:pt x="3003" y="1285"/>
                  <a:pt x="3002" y="1285"/>
                </a:cubicBezTo>
                <a:cubicBezTo>
                  <a:pt x="3002" y="1285"/>
                  <a:pt x="3002" y="1286"/>
                  <a:pt x="3002" y="1286"/>
                </a:cubicBezTo>
                <a:cubicBezTo>
                  <a:pt x="3002" y="1287"/>
                  <a:pt x="3002" y="1287"/>
                  <a:pt x="3001" y="1287"/>
                </a:cubicBezTo>
                <a:close/>
                <a:moveTo>
                  <a:pt x="3185" y="1151"/>
                </a:moveTo>
                <a:cubicBezTo>
                  <a:pt x="3185" y="1151"/>
                  <a:pt x="3185" y="1152"/>
                  <a:pt x="3185" y="1152"/>
                </a:cubicBezTo>
                <a:cubicBezTo>
                  <a:pt x="3186" y="1152"/>
                  <a:pt x="3186" y="1152"/>
                  <a:pt x="3186" y="1152"/>
                </a:cubicBezTo>
                <a:cubicBezTo>
                  <a:pt x="3186" y="1152"/>
                  <a:pt x="3186" y="1152"/>
                  <a:pt x="3186" y="1151"/>
                </a:cubicBezTo>
                <a:cubicBezTo>
                  <a:pt x="3186" y="1151"/>
                  <a:pt x="3186" y="1151"/>
                  <a:pt x="3186" y="1151"/>
                </a:cubicBezTo>
                <a:cubicBezTo>
                  <a:pt x="3186" y="1151"/>
                  <a:pt x="3185" y="1151"/>
                  <a:pt x="3185" y="1151"/>
                </a:cubicBezTo>
                <a:close/>
                <a:moveTo>
                  <a:pt x="2987" y="1334"/>
                </a:moveTo>
                <a:cubicBezTo>
                  <a:pt x="2988" y="1334"/>
                  <a:pt x="2989" y="1333"/>
                  <a:pt x="2989" y="1333"/>
                </a:cubicBezTo>
                <a:cubicBezTo>
                  <a:pt x="2990" y="1332"/>
                  <a:pt x="2990" y="1332"/>
                  <a:pt x="2991" y="1332"/>
                </a:cubicBezTo>
                <a:cubicBezTo>
                  <a:pt x="2991" y="1333"/>
                  <a:pt x="2992" y="1334"/>
                  <a:pt x="2992" y="1334"/>
                </a:cubicBezTo>
                <a:cubicBezTo>
                  <a:pt x="2993" y="1334"/>
                  <a:pt x="2993" y="1334"/>
                  <a:pt x="2993" y="1333"/>
                </a:cubicBezTo>
                <a:cubicBezTo>
                  <a:pt x="2994" y="1333"/>
                  <a:pt x="2994" y="1332"/>
                  <a:pt x="2994" y="1332"/>
                </a:cubicBezTo>
                <a:cubicBezTo>
                  <a:pt x="2994" y="1331"/>
                  <a:pt x="2995" y="1330"/>
                  <a:pt x="2994" y="1329"/>
                </a:cubicBezTo>
                <a:cubicBezTo>
                  <a:pt x="2994" y="1329"/>
                  <a:pt x="2994" y="1328"/>
                  <a:pt x="2994" y="1328"/>
                </a:cubicBezTo>
                <a:cubicBezTo>
                  <a:pt x="2993" y="1328"/>
                  <a:pt x="2993" y="1327"/>
                  <a:pt x="2993" y="1327"/>
                </a:cubicBezTo>
                <a:cubicBezTo>
                  <a:pt x="2992" y="1327"/>
                  <a:pt x="2991" y="1327"/>
                  <a:pt x="2990" y="1326"/>
                </a:cubicBezTo>
                <a:cubicBezTo>
                  <a:pt x="2990" y="1325"/>
                  <a:pt x="2989" y="1325"/>
                  <a:pt x="2988" y="1326"/>
                </a:cubicBezTo>
                <a:cubicBezTo>
                  <a:pt x="2988" y="1326"/>
                  <a:pt x="2988" y="1327"/>
                  <a:pt x="2987" y="1328"/>
                </a:cubicBezTo>
                <a:cubicBezTo>
                  <a:pt x="2987" y="1328"/>
                  <a:pt x="2987" y="1328"/>
                  <a:pt x="2986" y="1329"/>
                </a:cubicBezTo>
                <a:cubicBezTo>
                  <a:pt x="2986" y="1329"/>
                  <a:pt x="2985" y="1329"/>
                  <a:pt x="2986" y="1330"/>
                </a:cubicBezTo>
                <a:cubicBezTo>
                  <a:pt x="2986" y="1330"/>
                  <a:pt x="2986" y="1331"/>
                  <a:pt x="2987" y="1331"/>
                </a:cubicBezTo>
                <a:cubicBezTo>
                  <a:pt x="2987" y="1332"/>
                  <a:pt x="2986" y="1333"/>
                  <a:pt x="2987" y="1334"/>
                </a:cubicBezTo>
                <a:close/>
                <a:moveTo>
                  <a:pt x="3074" y="1236"/>
                </a:moveTo>
                <a:cubicBezTo>
                  <a:pt x="3074" y="1235"/>
                  <a:pt x="3073" y="1237"/>
                  <a:pt x="3074" y="1237"/>
                </a:cubicBezTo>
                <a:cubicBezTo>
                  <a:pt x="3074" y="1237"/>
                  <a:pt x="3074" y="1236"/>
                  <a:pt x="3074" y="1236"/>
                </a:cubicBezTo>
                <a:close/>
                <a:moveTo>
                  <a:pt x="3094" y="1206"/>
                </a:moveTo>
                <a:cubicBezTo>
                  <a:pt x="3094" y="1206"/>
                  <a:pt x="3094" y="1207"/>
                  <a:pt x="3094" y="1207"/>
                </a:cubicBezTo>
                <a:cubicBezTo>
                  <a:pt x="3094" y="1207"/>
                  <a:pt x="3094" y="1207"/>
                  <a:pt x="3094" y="1207"/>
                </a:cubicBezTo>
                <a:cubicBezTo>
                  <a:pt x="3094" y="1207"/>
                  <a:pt x="3095" y="1207"/>
                  <a:pt x="3095" y="1206"/>
                </a:cubicBezTo>
                <a:cubicBezTo>
                  <a:pt x="3095" y="1206"/>
                  <a:pt x="3095" y="1206"/>
                  <a:pt x="3095" y="1206"/>
                </a:cubicBezTo>
                <a:cubicBezTo>
                  <a:pt x="3095" y="1206"/>
                  <a:pt x="3095" y="1205"/>
                  <a:pt x="3095" y="1205"/>
                </a:cubicBezTo>
                <a:cubicBezTo>
                  <a:pt x="3095" y="1205"/>
                  <a:pt x="3095" y="1205"/>
                  <a:pt x="3095" y="1205"/>
                </a:cubicBezTo>
                <a:cubicBezTo>
                  <a:pt x="3095" y="1204"/>
                  <a:pt x="3095" y="1204"/>
                  <a:pt x="3095" y="1204"/>
                </a:cubicBezTo>
                <a:cubicBezTo>
                  <a:pt x="3094" y="1204"/>
                  <a:pt x="3094" y="1204"/>
                  <a:pt x="3094" y="1204"/>
                </a:cubicBezTo>
                <a:cubicBezTo>
                  <a:pt x="3094" y="1205"/>
                  <a:pt x="3094" y="1205"/>
                  <a:pt x="3094" y="1205"/>
                </a:cubicBezTo>
                <a:cubicBezTo>
                  <a:pt x="3094" y="1205"/>
                  <a:pt x="3094" y="1205"/>
                  <a:pt x="3094" y="1205"/>
                </a:cubicBezTo>
                <a:cubicBezTo>
                  <a:pt x="3093" y="1206"/>
                  <a:pt x="3094" y="1206"/>
                  <a:pt x="3094" y="1206"/>
                </a:cubicBezTo>
                <a:close/>
                <a:moveTo>
                  <a:pt x="3143" y="1133"/>
                </a:moveTo>
                <a:cubicBezTo>
                  <a:pt x="3143" y="1133"/>
                  <a:pt x="3143" y="1132"/>
                  <a:pt x="3143" y="1132"/>
                </a:cubicBezTo>
                <a:cubicBezTo>
                  <a:pt x="3142" y="1132"/>
                  <a:pt x="3142" y="1133"/>
                  <a:pt x="3143" y="1133"/>
                </a:cubicBezTo>
                <a:close/>
                <a:moveTo>
                  <a:pt x="3128" y="1108"/>
                </a:moveTo>
                <a:cubicBezTo>
                  <a:pt x="3128" y="1108"/>
                  <a:pt x="3128" y="1109"/>
                  <a:pt x="3129" y="1109"/>
                </a:cubicBezTo>
                <a:cubicBezTo>
                  <a:pt x="3129" y="1108"/>
                  <a:pt x="3128" y="1108"/>
                  <a:pt x="3128" y="1108"/>
                </a:cubicBezTo>
                <a:close/>
                <a:moveTo>
                  <a:pt x="3129" y="1110"/>
                </a:moveTo>
                <a:cubicBezTo>
                  <a:pt x="3129" y="1110"/>
                  <a:pt x="3129" y="1110"/>
                  <a:pt x="3129" y="1110"/>
                </a:cubicBezTo>
                <a:cubicBezTo>
                  <a:pt x="3129" y="1110"/>
                  <a:pt x="3129" y="1109"/>
                  <a:pt x="3129" y="1109"/>
                </a:cubicBezTo>
                <a:cubicBezTo>
                  <a:pt x="3129" y="1109"/>
                  <a:pt x="3128" y="1109"/>
                  <a:pt x="3128" y="1109"/>
                </a:cubicBezTo>
                <a:cubicBezTo>
                  <a:pt x="3128" y="1110"/>
                  <a:pt x="3129" y="1110"/>
                  <a:pt x="3129" y="1110"/>
                </a:cubicBezTo>
                <a:close/>
                <a:moveTo>
                  <a:pt x="3114" y="1182"/>
                </a:moveTo>
                <a:cubicBezTo>
                  <a:pt x="3114" y="1181"/>
                  <a:pt x="3114" y="1181"/>
                  <a:pt x="3114" y="1181"/>
                </a:cubicBezTo>
                <a:cubicBezTo>
                  <a:pt x="3114" y="1181"/>
                  <a:pt x="3114" y="1181"/>
                  <a:pt x="3114" y="1181"/>
                </a:cubicBezTo>
                <a:cubicBezTo>
                  <a:pt x="3114" y="1181"/>
                  <a:pt x="3114" y="1181"/>
                  <a:pt x="3114" y="1182"/>
                </a:cubicBezTo>
                <a:cubicBezTo>
                  <a:pt x="3113" y="1182"/>
                  <a:pt x="3113" y="1182"/>
                  <a:pt x="3113" y="1182"/>
                </a:cubicBezTo>
                <a:cubicBezTo>
                  <a:pt x="3113" y="1183"/>
                  <a:pt x="3113" y="1183"/>
                  <a:pt x="3113" y="1183"/>
                </a:cubicBezTo>
                <a:cubicBezTo>
                  <a:pt x="3113" y="1184"/>
                  <a:pt x="3112" y="1185"/>
                  <a:pt x="3111" y="1185"/>
                </a:cubicBezTo>
                <a:cubicBezTo>
                  <a:pt x="3111" y="1185"/>
                  <a:pt x="3111" y="1185"/>
                  <a:pt x="3110" y="1185"/>
                </a:cubicBezTo>
                <a:cubicBezTo>
                  <a:pt x="3110" y="1186"/>
                  <a:pt x="3110" y="1186"/>
                  <a:pt x="3110" y="1186"/>
                </a:cubicBezTo>
                <a:cubicBezTo>
                  <a:pt x="3110" y="1186"/>
                  <a:pt x="3110" y="1187"/>
                  <a:pt x="3109" y="1187"/>
                </a:cubicBezTo>
                <a:cubicBezTo>
                  <a:pt x="3109" y="1187"/>
                  <a:pt x="3109" y="1187"/>
                  <a:pt x="3109" y="1188"/>
                </a:cubicBezTo>
                <a:cubicBezTo>
                  <a:pt x="3108" y="1188"/>
                  <a:pt x="3108" y="1188"/>
                  <a:pt x="3108" y="1188"/>
                </a:cubicBezTo>
                <a:cubicBezTo>
                  <a:pt x="3108" y="1189"/>
                  <a:pt x="3108" y="1189"/>
                  <a:pt x="3107" y="1189"/>
                </a:cubicBezTo>
                <a:cubicBezTo>
                  <a:pt x="3107" y="1189"/>
                  <a:pt x="3107" y="1189"/>
                  <a:pt x="3107" y="1190"/>
                </a:cubicBezTo>
                <a:cubicBezTo>
                  <a:pt x="3107" y="1190"/>
                  <a:pt x="3106" y="1190"/>
                  <a:pt x="3106" y="1190"/>
                </a:cubicBezTo>
                <a:cubicBezTo>
                  <a:pt x="3106" y="1190"/>
                  <a:pt x="3106" y="1191"/>
                  <a:pt x="3106" y="1191"/>
                </a:cubicBezTo>
                <a:cubicBezTo>
                  <a:pt x="3105" y="1191"/>
                  <a:pt x="3105" y="1190"/>
                  <a:pt x="3105" y="1190"/>
                </a:cubicBezTo>
                <a:cubicBezTo>
                  <a:pt x="3105" y="1190"/>
                  <a:pt x="3105" y="1191"/>
                  <a:pt x="3104" y="1191"/>
                </a:cubicBezTo>
                <a:cubicBezTo>
                  <a:pt x="3104" y="1191"/>
                  <a:pt x="3104" y="1191"/>
                  <a:pt x="3103" y="1191"/>
                </a:cubicBezTo>
                <a:cubicBezTo>
                  <a:pt x="3103" y="1192"/>
                  <a:pt x="3103" y="1193"/>
                  <a:pt x="3103" y="1193"/>
                </a:cubicBezTo>
                <a:cubicBezTo>
                  <a:pt x="3102" y="1193"/>
                  <a:pt x="3102" y="1192"/>
                  <a:pt x="3102" y="1193"/>
                </a:cubicBezTo>
                <a:cubicBezTo>
                  <a:pt x="3101" y="1193"/>
                  <a:pt x="3101" y="1193"/>
                  <a:pt x="3101" y="1194"/>
                </a:cubicBezTo>
                <a:cubicBezTo>
                  <a:pt x="3101" y="1194"/>
                  <a:pt x="3101" y="1194"/>
                  <a:pt x="3100" y="1194"/>
                </a:cubicBezTo>
                <a:cubicBezTo>
                  <a:pt x="3100" y="1194"/>
                  <a:pt x="3100" y="1195"/>
                  <a:pt x="3100" y="1195"/>
                </a:cubicBezTo>
                <a:cubicBezTo>
                  <a:pt x="3100" y="1195"/>
                  <a:pt x="3099" y="1196"/>
                  <a:pt x="3099" y="1196"/>
                </a:cubicBezTo>
                <a:cubicBezTo>
                  <a:pt x="3099" y="1196"/>
                  <a:pt x="3099" y="1196"/>
                  <a:pt x="3098" y="1197"/>
                </a:cubicBezTo>
                <a:cubicBezTo>
                  <a:pt x="3098" y="1197"/>
                  <a:pt x="3097" y="1198"/>
                  <a:pt x="3097" y="1198"/>
                </a:cubicBezTo>
                <a:cubicBezTo>
                  <a:pt x="3097" y="1199"/>
                  <a:pt x="3097" y="1199"/>
                  <a:pt x="3097" y="1200"/>
                </a:cubicBezTo>
                <a:cubicBezTo>
                  <a:pt x="3097" y="1200"/>
                  <a:pt x="3097" y="1200"/>
                  <a:pt x="3096" y="1201"/>
                </a:cubicBezTo>
                <a:cubicBezTo>
                  <a:pt x="3096" y="1201"/>
                  <a:pt x="3096" y="1201"/>
                  <a:pt x="3096" y="1201"/>
                </a:cubicBezTo>
                <a:cubicBezTo>
                  <a:pt x="3097" y="1201"/>
                  <a:pt x="3097" y="1201"/>
                  <a:pt x="3097" y="1200"/>
                </a:cubicBezTo>
                <a:cubicBezTo>
                  <a:pt x="3097" y="1200"/>
                  <a:pt x="3098" y="1200"/>
                  <a:pt x="3098" y="1200"/>
                </a:cubicBezTo>
                <a:cubicBezTo>
                  <a:pt x="3098" y="1199"/>
                  <a:pt x="3099" y="1199"/>
                  <a:pt x="3099" y="1199"/>
                </a:cubicBezTo>
                <a:cubicBezTo>
                  <a:pt x="3099" y="1199"/>
                  <a:pt x="3099" y="1199"/>
                  <a:pt x="3100" y="1199"/>
                </a:cubicBezTo>
                <a:cubicBezTo>
                  <a:pt x="3100" y="1199"/>
                  <a:pt x="3100" y="1199"/>
                  <a:pt x="3100" y="1199"/>
                </a:cubicBezTo>
                <a:cubicBezTo>
                  <a:pt x="3100" y="1198"/>
                  <a:pt x="3100" y="1197"/>
                  <a:pt x="3101" y="1197"/>
                </a:cubicBezTo>
                <a:cubicBezTo>
                  <a:pt x="3101" y="1197"/>
                  <a:pt x="3101" y="1197"/>
                  <a:pt x="3102" y="1197"/>
                </a:cubicBezTo>
                <a:cubicBezTo>
                  <a:pt x="3102" y="1197"/>
                  <a:pt x="3102" y="1197"/>
                  <a:pt x="3102" y="1197"/>
                </a:cubicBezTo>
                <a:cubicBezTo>
                  <a:pt x="3103" y="1197"/>
                  <a:pt x="3104" y="1196"/>
                  <a:pt x="3104" y="1196"/>
                </a:cubicBezTo>
                <a:cubicBezTo>
                  <a:pt x="3105" y="1195"/>
                  <a:pt x="3106" y="1195"/>
                  <a:pt x="3106" y="1194"/>
                </a:cubicBezTo>
                <a:cubicBezTo>
                  <a:pt x="3106" y="1194"/>
                  <a:pt x="3106" y="1193"/>
                  <a:pt x="3107" y="1193"/>
                </a:cubicBezTo>
                <a:cubicBezTo>
                  <a:pt x="3107" y="1193"/>
                  <a:pt x="3107" y="1192"/>
                  <a:pt x="3107" y="1192"/>
                </a:cubicBezTo>
                <a:cubicBezTo>
                  <a:pt x="3107" y="1191"/>
                  <a:pt x="3108" y="1191"/>
                  <a:pt x="3109" y="1192"/>
                </a:cubicBezTo>
                <a:cubicBezTo>
                  <a:pt x="3110" y="1192"/>
                  <a:pt x="3110" y="1191"/>
                  <a:pt x="3111" y="1190"/>
                </a:cubicBezTo>
                <a:cubicBezTo>
                  <a:pt x="3111" y="1190"/>
                  <a:pt x="3111" y="1190"/>
                  <a:pt x="3111" y="1190"/>
                </a:cubicBezTo>
                <a:cubicBezTo>
                  <a:pt x="3112" y="1190"/>
                  <a:pt x="3112" y="1189"/>
                  <a:pt x="3112" y="1189"/>
                </a:cubicBezTo>
                <a:cubicBezTo>
                  <a:pt x="3112" y="1188"/>
                  <a:pt x="3113" y="1188"/>
                  <a:pt x="3114" y="1187"/>
                </a:cubicBezTo>
                <a:cubicBezTo>
                  <a:pt x="3114" y="1186"/>
                  <a:pt x="3114" y="1186"/>
                  <a:pt x="3115" y="1185"/>
                </a:cubicBezTo>
                <a:cubicBezTo>
                  <a:pt x="3115" y="1185"/>
                  <a:pt x="3115" y="1184"/>
                  <a:pt x="3114" y="1184"/>
                </a:cubicBezTo>
                <a:cubicBezTo>
                  <a:pt x="3114" y="1184"/>
                  <a:pt x="3114" y="1183"/>
                  <a:pt x="3114" y="1183"/>
                </a:cubicBezTo>
                <a:cubicBezTo>
                  <a:pt x="3115" y="1183"/>
                  <a:pt x="3115" y="1183"/>
                  <a:pt x="3115" y="1183"/>
                </a:cubicBezTo>
                <a:cubicBezTo>
                  <a:pt x="3116" y="1182"/>
                  <a:pt x="3116" y="1182"/>
                  <a:pt x="3116" y="1182"/>
                </a:cubicBezTo>
                <a:cubicBezTo>
                  <a:pt x="3117" y="1182"/>
                  <a:pt x="3117" y="1182"/>
                  <a:pt x="3117" y="1182"/>
                </a:cubicBezTo>
                <a:cubicBezTo>
                  <a:pt x="3118" y="1182"/>
                  <a:pt x="3119" y="1182"/>
                  <a:pt x="3120" y="1181"/>
                </a:cubicBezTo>
                <a:cubicBezTo>
                  <a:pt x="3120" y="1181"/>
                  <a:pt x="3120" y="1181"/>
                  <a:pt x="3120" y="1180"/>
                </a:cubicBezTo>
                <a:cubicBezTo>
                  <a:pt x="3120" y="1180"/>
                  <a:pt x="3120" y="1180"/>
                  <a:pt x="3120" y="1179"/>
                </a:cubicBezTo>
                <a:cubicBezTo>
                  <a:pt x="3121" y="1179"/>
                  <a:pt x="3121" y="1179"/>
                  <a:pt x="3121" y="1178"/>
                </a:cubicBezTo>
                <a:cubicBezTo>
                  <a:pt x="3121" y="1178"/>
                  <a:pt x="3121" y="1178"/>
                  <a:pt x="3122" y="1178"/>
                </a:cubicBezTo>
                <a:cubicBezTo>
                  <a:pt x="3122" y="1178"/>
                  <a:pt x="3122" y="1178"/>
                  <a:pt x="3123" y="1178"/>
                </a:cubicBezTo>
                <a:cubicBezTo>
                  <a:pt x="3123" y="1178"/>
                  <a:pt x="3123" y="1178"/>
                  <a:pt x="3123" y="1178"/>
                </a:cubicBezTo>
                <a:cubicBezTo>
                  <a:pt x="3124" y="1178"/>
                  <a:pt x="3124" y="1177"/>
                  <a:pt x="3124" y="1177"/>
                </a:cubicBezTo>
                <a:cubicBezTo>
                  <a:pt x="3124" y="1177"/>
                  <a:pt x="3124" y="1177"/>
                  <a:pt x="3125" y="1177"/>
                </a:cubicBezTo>
                <a:cubicBezTo>
                  <a:pt x="3125" y="1176"/>
                  <a:pt x="3126" y="1176"/>
                  <a:pt x="3125" y="1176"/>
                </a:cubicBezTo>
                <a:cubicBezTo>
                  <a:pt x="3125" y="1176"/>
                  <a:pt x="3125" y="1176"/>
                  <a:pt x="3125" y="1175"/>
                </a:cubicBezTo>
                <a:cubicBezTo>
                  <a:pt x="3125" y="1175"/>
                  <a:pt x="3124" y="1175"/>
                  <a:pt x="3125" y="1175"/>
                </a:cubicBezTo>
                <a:cubicBezTo>
                  <a:pt x="3125" y="1175"/>
                  <a:pt x="3125" y="1174"/>
                  <a:pt x="3125" y="1174"/>
                </a:cubicBezTo>
                <a:cubicBezTo>
                  <a:pt x="3124" y="1174"/>
                  <a:pt x="3124" y="1174"/>
                  <a:pt x="3124" y="1174"/>
                </a:cubicBezTo>
                <a:cubicBezTo>
                  <a:pt x="3124" y="1174"/>
                  <a:pt x="3124" y="1174"/>
                  <a:pt x="3124" y="1174"/>
                </a:cubicBezTo>
                <a:cubicBezTo>
                  <a:pt x="3124" y="1173"/>
                  <a:pt x="3124" y="1173"/>
                  <a:pt x="3124" y="1173"/>
                </a:cubicBezTo>
                <a:cubicBezTo>
                  <a:pt x="3124" y="1173"/>
                  <a:pt x="3124" y="1173"/>
                  <a:pt x="3124" y="1173"/>
                </a:cubicBezTo>
                <a:cubicBezTo>
                  <a:pt x="3124" y="1173"/>
                  <a:pt x="3125" y="1173"/>
                  <a:pt x="3124" y="1173"/>
                </a:cubicBezTo>
                <a:cubicBezTo>
                  <a:pt x="3124" y="1173"/>
                  <a:pt x="3124" y="1173"/>
                  <a:pt x="3124" y="1173"/>
                </a:cubicBezTo>
                <a:cubicBezTo>
                  <a:pt x="3124" y="1173"/>
                  <a:pt x="3124" y="1173"/>
                  <a:pt x="3124" y="1173"/>
                </a:cubicBezTo>
                <a:cubicBezTo>
                  <a:pt x="3124" y="1172"/>
                  <a:pt x="3123" y="1173"/>
                  <a:pt x="3123" y="1173"/>
                </a:cubicBezTo>
                <a:cubicBezTo>
                  <a:pt x="3123" y="1173"/>
                  <a:pt x="3123" y="1172"/>
                  <a:pt x="3123" y="1172"/>
                </a:cubicBezTo>
                <a:cubicBezTo>
                  <a:pt x="3123" y="1172"/>
                  <a:pt x="3123" y="1171"/>
                  <a:pt x="3123" y="1171"/>
                </a:cubicBezTo>
                <a:cubicBezTo>
                  <a:pt x="3123" y="1171"/>
                  <a:pt x="3123" y="1170"/>
                  <a:pt x="3123" y="1170"/>
                </a:cubicBezTo>
                <a:cubicBezTo>
                  <a:pt x="3124" y="1171"/>
                  <a:pt x="3123" y="1170"/>
                  <a:pt x="3124" y="1170"/>
                </a:cubicBezTo>
                <a:cubicBezTo>
                  <a:pt x="3124" y="1170"/>
                  <a:pt x="3124" y="1170"/>
                  <a:pt x="3124" y="1170"/>
                </a:cubicBezTo>
                <a:cubicBezTo>
                  <a:pt x="3124" y="1171"/>
                  <a:pt x="3125" y="1171"/>
                  <a:pt x="3124" y="1170"/>
                </a:cubicBezTo>
                <a:cubicBezTo>
                  <a:pt x="3124" y="1170"/>
                  <a:pt x="3124" y="1170"/>
                  <a:pt x="3124" y="1170"/>
                </a:cubicBezTo>
                <a:cubicBezTo>
                  <a:pt x="3124" y="1170"/>
                  <a:pt x="3124" y="1170"/>
                  <a:pt x="3123" y="1170"/>
                </a:cubicBezTo>
                <a:cubicBezTo>
                  <a:pt x="3123" y="1169"/>
                  <a:pt x="3123" y="1169"/>
                  <a:pt x="3123" y="1168"/>
                </a:cubicBezTo>
                <a:cubicBezTo>
                  <a:pt x="3124" y="1168"/>
                  <a:pt x="3124" y="1167"/>
                  <a:pt x="3124" y="1167"/>
                </a:cubicBezTo>
                <a:cubicBezTo>
                  <a:pt x="3124" y="1167"/>
                  <a:pt x="3124" y="1167"/>
                  <a:pt x="3123" y="1167"/>
                </a:cubicBezTo>
                <a:cubicBezTo>
                  <a:pt x="3123" y="1167"/>
                  <a:pt x="3123" y="1166"/>
                  <a:pt x="3123" y="1165"/>
                </a:cubicBezTo>
                <a:cubicBezTo>
                  <a:pt x="3122" y="1165"/>
                  <a:pt x="3123" y="1166"/>
                  <a:pt x="3123" y="1167"/>
                </a:cubicBezTo>
                <a:cubicBezTo>
                  <a:pt x="3122" y="1167"/>
                  <a:pt x="3122" y="1167"/>
                  <a:pt x="3122" y="1167"/>
                </a:cubicBezTo>
                <a:cubicBezTo>
                  <a:pt x="3122" y="1168"/>
                  <a:pt x="3122" y="1168"/>
                  <a:pt x="3122" y="1168"/>
                </a:cubicBezTo>
                <a:cubicBezTo>
                  <a:pt x="3122" y="1168"/>
                  <a:pt x="3121" y="1168"/>
                  <a:pt x="3121" y="1168"/>
                </a:cubicBezTo>
                <a:cubicBezTo>
                  <a:pt x="3121" y="1168"/>
                  <a:pt x="3122" y="1168"/>
                  <a:pt x="3122" y="1168"/>
                </a:cubicBezTo>
                <a:cubicBezTo>
                  <a:pt x="3122" y="1169"/>
                  <a:pt x="3123" y="1170"/>
                  <a:pt x="3122" y="1170"/>
                </a:cubicBezTo>
                <a:cubicBezTo>
                  <a:pt x="3122" y="1170"/>
                  <a:pt x="3122" y="1170"/>
                  <a:pt x="3122" y="1169"/>
                </a:cubicBezTo>
                <a:cubicBezTo>
                  <a:pt x="3122" y="1169"/>
                  <a:pt x="3122" y="1170"/>
                  <a:pt x="3122" y="1170"/>
                </a:cubicBezTo>
                <a:cubicBezTo>
                  <a:pt x="3122" y="1170"/>
                  <a:pt x="3122" y="1170"/>
                  <a:pt x="3122" y="1170"/>
                </a:cubicBezTo>
                <a:cubicBezTo>
                  <a:pt x="3121" y="1170"/>
                  <a:pt x="3121" y="1170"/>
                  <a:pt x="3121" y="1169"/>
                </a:cubicBezTo>
                <a:cubicBezTo>
                  <a:pt x="3121" y="1169"/>
                  <a:pt x="3121" y="1170"/>
                  <a:pt x="3121" y="1170"/>
                </a:cubicBezTo>
                <a:cubicBezTo>
                  <a:pt x="3121" y="1171"/>
                  <a:pt x="3121" y="1170"/>
                  <a:pt x="3121" y="1171"/>
                </a:cubicBezTo>
                <a:cubicBezTo>
                  <a:pt x="3121" y="1171"/>
                  <a:pt x="3121" y="1171"/>
                  <a:pt x="3121" y="1171"/>
                </a:cubicBezTo>
                <a:cubicBezTo>
                  <a:pt x="3121" y="1171"/>
                  <a:pt x="3121" y="1171"/>
                  <a:pt x="3121" y="1171"/>
                </a:cubicBezTo>
                <a:cubicBezTo>
                  <a:pt x="3121" y="1172"/>
                  <a:pt x="3121" y="1172"/>
                  <a:pt x="3121" y="1172"/>
                </a:cubicBezTo>
                <a:cubicBezTo>
                  <a:pt x="3121" y="1172"/>
                  <a:pt x="3121" y="1172"/>
                  <a:pt x="3121" y="1172"/>
                </a:cubicBezTo>
                <a:cubicBezTo>
                  <a:pt x="3122" y="1172"/>
                  <a:pt x="3122" y="1172"/>
                  <a:pt x="3122" y="1172"/>
                </a:cubicBezTo>
                <a:cubicBezTo>
                  <a:pt x="3122" y="1172"/>
                  <a:pt x="3122" y="1172"/>
                  <a:pt x="3122" y="1172"/>
                </a:cubicBezTo>
                <a:cubicBezTo>
                  <a:pt x="3122" y="1173"/>
                  <a:pt x="3122" y="1173"/>
                  <a:pt x="3122" y="1173"/>
                </a:cubicBezTo>
                <a:cubicBezTo>
                  <a:pt x="3122" y="1173"/>
                  <a:pt x="3123" y="1174"/>
                  <a:pt x="3122" y="1174"/>
                </a:cubicBezTo>
                <a:cubicBezTo>
                  <a:pt x="3122" y="1174"/>
                  <a:pt x="3122" y="1173"/>
                  <a:pt x="3121" y="1173"/>
                </a:cubicBezTo>
                <a:cubicBezTo>
                  <a:pt x="3121" y="1173"/>
                  <a:pt x="3121" y="1172"/>
                  <a:pt x="3121" y="1172"/>
                </a:cubicBezTo>
                <a:cubicBezTo>
                  <a:pt x="3120" y="1172"/>
                  <a:pt x="3121" y="1172"/>
                  <a:pt x="3120" y="1172"/>
                </a:cubicBezTo>
                <a:cubicBezTo>
                  <a:pt x="3120" y="1172"/>
                  <a:pt x="3120" y="1171"/>
                  <a:pt x="3120" y="1171"/>
                </a:cubicBezTo>
                <a:cubicBezTo>
                  <a:pt x="3120" y="1171"/>
                  <a:pt x="3120" y="1171"/>
                  <a:pt x="3120" y="1171"/>
                </a:cubicBezTo>
                <a:cubicBezTo>
                  <a:pt x="3120" y="1171"/>
                  <a:pt x="3120" y="1171"/>
                  <a:pt x="3120" y="1171"/>
                </a:cubicBezTo>
                <a:cubicBezTo>
                  <a:pt x="3120" y="1172"/>
                  <a:pt x="3120" y="1172"/>
                  <a:pt x="3120" y="1172"/>
                </a:cubicBezTo>
                <a:cubicBezTo>
                  <a:pt x="3120" y="1173"/>
                  <a:pt x="3120" y="1173"/>
                  <a:pt x="3120" y="1173"/>
                </a:cubicBezTo>
                <a:cubicBezTo>
                  <a:pt x="3120" y="1174"/>
                  <a:pt x="3121" y="1173"/>
                  <a:pt x="3121" y="1173"/>
                </a:cubicBezTo>
                <a:cubicBezTo>
                  <a:pt x="3121" y="1174"/>
                  <a:pt x="3121" y="1174"/>
                  <a:pt x="3121" y="1174"/>
                </a:cubicBezTo>
                <a:cubicBezTo>
                  <a:pt x="3121" y="1175"/>
                  <a:pt x="3121" y="1175"/>
                  <a:pt x="3121" y="1175"/>
                </a:cubicBezTo>
                <a:cubicBezTo>
                  <a:pt x="3121" y="1176"/>
                  <a:pt x="3120" y="1176"/>
                  <a:pt x="3120" y="1176"/>
                </a:cubicBezTo>
                <a:cubicBezTo>
                  <a:pt x="3120" y="1176"/>
                  <a:pt x="3120" y="1176"/>
                  <a:pt x="3120" y="1176"/>
                </a:cubicBezTo>
                <a:cubicBezTo>
                  <a:pt x="3120" y="1177"/>
                  <a:pt x="3120" y="1176"/>
                  <a:pt x="3120" y="1177"/>
                </a:cubicBezTo>
                <a:cubicBezTo>
                  <a:pt x="3119" y="1177"/>
                  <a:pt x="3119" y="1177"/>
                  <a:pt x="3119" y="1177"/>
                </a:cubicBezTo>
                <a:cubicBezTo>
                  <a:pt x="3119" y="1178"/>
                  <a:pt x="3118" y="1178"/>
                  <a:pt x="3118" y="1177"/>
                </a:cubicBezTo>
                <a:cubicBezTo>
                  <a:pt x="3118" y="1177"/>
                  <a:pt x="3119" y="1177"/>
                  <a:pt x="3118" y="1177"/>
                </a:cubicBezTo>
                <a:cubicBezTo>
                  <a:pt x="3118" y="1176"/>
                  <a:pt x="3118" y="1177"/>
                  <a:pt x="3118" y="1177"/>
                </a:cubicBezTo>
                <a:cubicBezTo>
                  <a:pt x="3118" y="1177"/>
                  <a:pt x="3118" y="1178"/>
                  <a:pt x="3118" y="1177"/>
                </a:cubicBezTo>
                <a:cubicBezTo>
                  <a:pt x="3117" y="1177"/>
                  <a:pt x="3117" y="1177"/>
                  <a:pt x="3117" y="1177"/>
                </a:cubicBezTo>
                <a:cubicBezTo>
                  <a:pt x="3117" y="1178"/>
                  <a:pt x="3117" y="1178"/>
                  <a:pt x="3117" y="1178"/>
                </a:cubicBezTo>
                <a:cubicBezTo>
                  <a:pt x="3118" y="1178"/>
                  <a:pt x="3117" y="1179"/>
                  <a:pt x="3117" y="1179"/>
                </a:cubicBezTo>
                <a:cubicBezTo>
                  <a:pt x="3117" y="1179"/>
                  <a:pt x="3117" y="1179"/>
                  <a:pt x="3117" y="1179"/>
                </a:cubicBezTo>
                <a:cubicBezTo>
                  <a:pt x="3117" y="1180"/>
                  <a:pt x="3115" y="1179"/>
                  <a:pt x="3115" y="1180"/>
                </a:cubicBezTo>
                <a:cubicBezTo>
                  <a:pt x="3115" y="1180"/>
                  <a:pt x="3115" y="1180"/>
                  <a:pt x="3115" y="1181"/>
                </a:cubicBezTo>
                <a:cubicBezTo>
                  <a:pt x="3115" y="1181"/>
                  <a:pt x="3115" y="1181"/>
                  <a:pt x="3115" y="1181"/>
                </a:cubicBezTo>
                <a:cubicBezTo>
                  <a:pt x="3115" y="1182"/>
                  <a:pt x="3115" y="1182"/>
                  <a:pt x="3114" y="1182"/>
                </a:cubicBezTo>
                <a:close/>
                <a:moveTo>
                  <a:pt x="3151" y="1006"/>
                </a:moveTo>
                <a:cubicBezTo>
                  <a:pt x="3151" y="1005"/>
                  <a:pt x="3150" y="1005"/>
                  <a:pt x="3149" y="1005"/>
                </a:cubicBezTo>
                <a:cubicBezTo>
                  <a:pt x="3148" y="1005"/>
                  <a:pt x="3148" y="1004"/>
                  <a:pt x="3147" y="1004"/>
                </a:cubicBezTo>
                <a:cubicBezTo>
                  <a:pt x="3147" y="1004"/>
                  <a:pt x="3146" y="1003"/>
                  <a:pt x="3146" y="1003"/>
                </a:cubicBezTo>
                <a:cubicBezTo>
                  <a:pt x="3146" y="1003"/>
                  <a:pt x="3146" y="1002"/>
                  <a:pt x="3145" y="1002"/>
                </a:cubicBezTo>
                <a:cubicBezTo>
                  <a:pt x="3145" y="1002"/>
                  <a:pt x="3144" y="1003"/>
                  <a:pt x="3144" y="1004"/>
                </a:cubicBezTo>
                <a:cubicBezTo>
                  <a:pt x="3143" y="1004"/>
                  <a:pt x="3142" y="1005"/>
                  <a:pt x="3141" y="1005"/>
                </a:cubicBezTo>
                <a:cubicBezTo>
                  <a:pt x="3140" y="1006"/>
                  <a:pt x="3140" y="1006"/>
                  <a:pt x="3139" y="1006"/>
                </a:cubicBezTo>
                <a:cubicBezTo>
                  <a:pt x="3138" y="1007"/>
                  <a:pt x="3139" y="1008"/>
                  <a:pt x="3138" y="1009"/>
                </a:cubicBezTo>
                <a:cubicBezTo>
                  <a:pt x="3138" y="1010"/>
                  <a:pt x="3137" y="1010"/>
                  <a:pt x="3137" y="1011"/>
                </a:cubicBezTo>
                <a:cubicBezTo>
                  <a:pt x="3136" y="1011"/>
                  <a:pt x="3135" y="1012"/>
                  <a:pt x="3135" y="1013"/>
                </a:cubicBezTo>
                <a:cubicBezTo>
                  <a:pt x="3134" y="1014"/>
                  <a:pt x="3134" y="1015"/>
                  <a:pt x="3133" y="1016"/>
                </a:cubicBezTo>
                <a:cubicBezTo>
                  <a:pt x="3132" y="1017"/>
                  <a:pt x="3132" y="1018"/>
                  <a:pt x="3132" y="1019"/>
                </a:cubicBezTo>
                <a:cubicBezTo>
                  <a:pt x="3131" y="1020"/>
                  <a:pt x="3130" y="1021"/>
                  <a:pt x="3130" y="1022"/>
                </a:cubicBezTo>
                <a:cubicBezTo>
                  <a:pt x="3130" y="1023"/>
                  <a:pt x="3130" y="1024"/>
                  <a:pt x="3129" y="1025"/>
                </a:cubicBezTo>
                <a:cubicBezTo>
                  <a:pt x="3129" y="1026"/>
                  <a:pt x="3129" y="1027"/>
                  <a:pt x="3129" y="1028"/>
                </a:cubicBezTo>
                <a:cubicBezTo>
                  <a:pt x="3129" y="1029"/>
                  <a:pt x="3129" y="1030"/>
                  <a:pt x="3130" y="1031"/>
                </a:cubicBezTo>
                <a:cubicBezTo>
                  <a:pt x="3130" y="1032"/>
                  <a:pt x="3130" y="1032"/>
                  <a:pt x="3130" y="1033"/>
                </a:cubicBezTo>
                <a:cubicBezTo>
                  <a:pt x="3131" y="1033"/>
                  <a:pt x="3131" y="1034"/>
                  <a:pt x="3131" y="1034"/>
                </a:cubicBezTo>
                <a:cubicBezTo>
                  <a:pt x="3131" y="1035"/>
                  <a:pt x="3132" y="1035"/>
                  <a:pt x="3132" y="1036"/>
                </a:cubicBezTo>
                <a:cubicBezTo>
                  <a:pt x="3132" y="1036"/>
                  <a:pt x="3133" y="1036"/>
                  <a:pt x="3133" y="1037"/>
                </a:cubicBezTo>
                <a:cubicBezTo>
                  <a:pt x="3133" y="1038"/>
                  <a:pt x="3134" y="1038"/>
                  <a:pt x="3134" y="1039"/>
                </a:cubicBezTo>
                <a:cubicBezTo>
                  <a:pt x="3135" y="1039"/>
                  <a:pt x="3134" y="1041"/>
                  <a:pt x="3135" y="1041"/>
                </a:cubicBezTo>
                <a:cubicBezTo>
                  <a:pt x="3136" y="1042"/>
                  <a:pt x="3137" y="1042"/>
                  <a:pt x="3137" y="1043"/>
                </a:cubicBezTo>
                <a:cubicBezTo>
                  <a:pt x="3137" y="1043"/>
                  <a:pt x="3137" y="1044"/>
                  <a:pt x="3138" y="1043"/>
                </a:cubicBezTo>
                <a:cubicBezTo>
                  <a:pt x="3138" y="1043"/>
                  <a:pt x="3138" y="1043"/>
                  <a:pt x="3138" y="1042"/>
                </a:cubicBezTo>
                <a:cubicBezTo>
                  <a:pt x="3138" y="1041"/>
                  <a:pt x="3138" y="1039"/>
                  <a:pt x="3139" y="1038"/>
                </a:cubicBezTo>
                <a:cubicBezTo>
                  <a:pt x="3140" y="1037"/>
                  <a:pt x="3140" y="1035"/>
                  <a:pt x="3141" y="1033"/>
                </a:cubicBezTo>
                <a:cubicBezTo>
                  <a:pt x="3141" y="1032"/>
                  <a:pt x="3142" y="1031"/>
                  <a:pt x="3143" y="1030"/>
                </a:cubicBezTo>
                <a:cubicBezTo>
                  <a:pt x="3143" y="1030"/>
                  <a:pt x="3144" y="1029"/>
                  <a:pt x="3144" y="1028"/>
                </a:cubicBezTo>
                <a:cubicBezTo>
                  <a:pt x="3144" y="1027"/>
                  <a:pt x="3145" y="1026"/>
                  <a:pt x="3145" y="1024"/>
                </a:cubicBezTo>
                <a:cubicBezTo>
                  <a:pt x="3146" y="1023"/>
                  <a:pt x="3146" y="1022"/>
                  <a:pt x="3147" y="1021"/>
                </a:cubicBezTo>
                <a:cubicBezTo>
                  <a:pt x="3147" y="1019"/>
                  <a:pt x="3148" y="1016"/>
                  <a:pt x="3149" y="1014"/>
                </a:cubicBezTo>
                <a:cubicBezTo>
                  <a:pt x="3149" y="1013"/>
                  <a:pt x="3149" y="1012"/>
                  <a:pt x="3149" y="1011"/>
                </a:cubicBezTo>
                <a:cubicBezTo>
                  <a:pt x="3149" y="1010"/>
                  <a:pt x="3149" y="1009"/>
                  <a:pt x="3149" y="1008"/>
                </a:cubicBezTo>
                <a:cubicBezTo>
                  <a:pt x="3150" y="1008"/>
                  <a:pt x="3150" y="1007"/>
                  <a:pt x="3151" y="1006"/>
                </a:cubicBezTo>
                <a:close/>
                <a:moveTo>
                  <a:pt x="3111" y="1398"/>
                </a:moveTo>
                <a:cubicBezTo>
                  <a:pt x="3112" y="1399"/>
                  <a:pt x="3112" y="1398"/>
                  <a:pt x="3113" y="1398"/>
                </a:cubicBezTo>
                <a:cubicBezTo>
                  <a:pt x="3114" y="1398"/>
                  <a:pt x="3114" y="1398"/>
                  <a:pt x="3114" y="1398"/>
                </a:cubicBezTo>
                <a:cubicBezTo>
                  <a:pt x="3115" y="1398"/>
                  <a:pt x="3115" y="1398"/>
                  <a:pt x="3115" y="1397"/>
                </a:cubicBezTo>
                <a:cubicBezTo>
                  <a:pt x="3116" y="1397"/>
                  <a:pt x="3117" y="1398"/>
                  <a:pt x="3118" y="1397"/>
                </a:cubicBezTo>
                <a:cubicBezTo>
                  <a:pt x="3118" y="1397"/>
                  <a:pt x="3118" y="1397"/>
                  <a:pt x="3118" y="1396"/>
                </a:cubicBezTo>
                <a:cubicBezTo>
                  <a:pt x="3119" y="1396"/>
                  <a:pt x="3119" y="1396"/>
                  <a:pt x="3119" y="1396"/>
                </a:cubicBezTo>
                <a:cubicBezTo>
                  <a:pt x="3119" y="1395"/>
                  <a:pt x="3119" y="1395"/>
                  <a:pt x="3118" y="1395"/>
                </a:cubicBezTo>
                <a:cubicBezTo>
                  <a:pt x="3118" y="1396"/>
                  <a:pt x="3118" y="1396"/>
                  <a:pt x="3117" y="1396"/>
                </a:cubicBezTo>
                <a:cubicBezTo>
                  <a:pt x="3116" y="1395"/>
                  <a:pt x="3118" y="1393"/>
                  <a:pt x="3117" y="1392"/>
                </a:cubicBezTo>
                <a:cubicBezTo>
                  <a:pt x="3116" y="1392"/>
                  <a:pt x="3116" y="1392"/>
                  <a:pt x="3116" y="1392"/>
                </a:cubicBezTo>
                <a:cubicBezTo>
                  <a:pt x="3115" y="1392"/>
                  <a:pt x="3115" y="1392"/>
                  <a:pt x="3115" y="1392"/>
                </a:cubicBezTo>
                <a:cubicBezTo>
                  <a:pt x="3114" y="1392"/>
                  <a:pt x="3114" y="1393"/>
                  <a:pt x="3113" y="1393"/>
                </a:cubicBezTo>
                <a:cubicBezTo>
                  <a:pt x="3113" y="1394"/>
                  <a:pt x="3113" y="1392"/>
                  <a:pt x="3113" y="1392"/>
                </a:cubicBezTo>
                <a:cubicBezTo>
                  <a:pt x="3112" y="1392"/>
                  <a:pt x="3112" y="1391"/>
                  <a:pt x="3111" y="1391"/>
                </a:cubicBezTo>
                <a:cubicBezTo>
                  <a:pt x="3110" y="1391"/>
                  <a:pt x="3110" y="1392"/>
                  <a:pt x="3109" y="1392"/>
                </a:cubicBezTo>
                <a:cubicBezTo>
                  <a:pt x="3108" y="1392"/>
                  <a:pt x="3108" y="1391"/>
                  <a:pt x="3107" y="1390"/>
                </a:cubicBezTo>
                <a:cubicBezTo>
                  <a:pt x="3107" y="1390"/>
                  <a:pt x="3106" y="1390"/>
                  <a:pt x="3106" y="1390"/>
                </a:cubicBezTo>
                <a:cubicBezTo>
                  <a:pt x="3106" y="1389"/>
                  <a:pt x="3106" y="1389"/>
                  <a:pt x="3105" y="1389"/>
                </a:cubicBezTo>
                <a:cubicBezTo>
                  <a:pt x="3105" y="1389"/>
                  <a:pt x="3104" y="1390"/>
                  <a:pt x="3104" y="1390"/>
                </a:cubicBezTo>
                <a:cubicBezTo>
                  <a:pt x="3103" y="1390"/>
                  <a:pt x="3103" y="1390"/>
                  <a:pt x="3103" y="1390"/>
                </a:cubicBezTo>
                <a:cubicBezTo>
                  <a:pt x="3103" y="1391"/>
                  <a:pt x="3103" y="1391"/>
                  <a:pt x="3103" y="1391"/>
                </a:cubicBezTo>
                <a:cubicBezTo>
                  <a:pt x="3103" y="1392"/>
                  <a:pt x="3104" y="1391"/>
                  <a:pt x="3104" y="1392"/>
                </a:cubicBezTo>
                <a:cubicBezTo>
                  <a:pt x="3104" y="1393"/>
                  <a:pt x="3104" y="1393"/>
                  <a:pt x="3104" y="1393"/>
                </a:cubicBezTo>
                <a:cubicBezTo>
                  <a:pt x="3104" y="1393"/>
                  <a:pt x="3105" y="1393"/>
                  <a:pt x="3105" y="1394"/>
                </a:cubicBezTo>
                <a:cubicBezTo>
                  <a:pt x="3106" y="1394"/>
                  <a:pt x="3107" y="1394"/>
                  <a:pt x="3107" y="1395"/>
                </a:cubicBezTo>
                <a:cubicBezTo>
                  <a:pt x="3108" y="1395"/>
                  <a:pt x="3108" y="1395"/>
                  <a:pt x="3108" y="1395"/>
                </a:cubicBezTo>
                <a:cubicBezTo>
                  <a:pt x="3109" y="1396"/>
                  <a:pt x="3107" y="1396"/>
                  <a:pt x="3106" y="1396"/>
                </a:cubicBezTo>
                <a:cubicBezTo>
                  <a:pt x="3106" y="1396"/>
                  <a:pt x="3106" y="1397"/>
                  <a:pt x="3105" y="1397"/>
                </a:cubicBezTo>
                <a:cubicBezTo>
                  <a:pt x="3105" y="1397"/>
                  <a:pt x="3104" y="1397"/>
                  <a:pt x="3103" y="1396"/>
                </a:cubicBezTo>
                <a:cubicBezTo>
                  <a:pt x="3102" y="1396"/>
                  <a:pt x="3102" y="1395"/>
                  <a:pt x="3101" y="1395"/>
                </a:cubicBezTo>
                <a:cubicBezTo>
                  <a:pt x="3101" y="1394"/>
                  <a:pt x="3100" y="1394"/>
                  <a:pt x="3099" y="1394"/>
                </a:cubicBezTo>
                <a:cubicBezTo>
                  <a:pt x="3099" y="1394"/>
                  <a:pt x="3098" y="1393"/>
                  <a:pt x="3097" y="1393"/>
                </a:cubicBezTo>
                <a:cubicBezTo>
                  <a:pt x="3096" y="1393"/>
                  <a:pt x="3095" y="1393"/>
                  <a:pt x="3095" y="1393"/>
                </a:cubicBezTo>
                <a:cubicBezTo>
                  <a:pt x="3094" y="1393"/>
                  <a:pt x="3093" y="1394"/>
                  <a:pt x="3093" y="1394"/>
                </a:cubicBezTo>
                <a:cubicBezTo>
                  <a:pt x="3091" y="1396"/>
                  <a:pt x="3091" y="1397"/>
                  <a:pt x="3091" y="1399"/>
                </a:cubicBezTo>
                <a:cubicBezTo>
                  <a:pt x="3091" y="1401"/>
                  <a:pt x="3093" y="1401"/>
                  <a:pt x="3095" y="1401"/>
                </a:cubicBezTo>
                <a:cubicBezTo>
                  <a:pt x="3096" y="1401"/>
                  <a:pt x="3096" y="1401"/>
                  <a:pt x="3097" y="1401"/>
                </a:cubicBezTo>
                <a:cubicBezTo>
                  <a:pt x="3098" y="1401"/>
                  <a:pt x="3098" y="1401"/>
                  <a:pt x="3099" y="1401"/>
                </a:cubicBezTo>
                <a:cubicBezTo>
                  <a:pt x="3099" y="1401"/>
                  <a:pt x="3100" y="1401"/>
                  <a:pt x="3100" y="1400"/>
                </a:cubicBezTo>
                <a:cubicBezTo>
                  <a:pt x="3101" y="1400"/>
                  <a:pt x="3102" y="1400"/>
                  <a:pt x="3102" y="1400"/>
                </a:cubicBezTo>
                <a:cubicBezTo>
                  <a:pt x="3104" y="1400"/>
                  <a:pt x="3104" y="1399"/>
                  <a:pt x="3105" y="1399"/>
                </a:cubicBezTo>
                <a:cubicBezTo>
                  <a:pt x="3106" y="1398"/>
                  <a:pt x="3107" y="1398"/>
                  <a:pt x="3108" y="1397"/>
                </a:cubicBezTo>
                <a:cubicBezTo>
                  <a:pt x="3108" y="1397"/>
                  <a:pt x="3109" y="1396"/>
                  <a:pt x="3110" y="1395"/>
                </a:cubicBezTo>
                <a:cubicBezTo>
                  <a:pt x="3110" y="1395"/>
                  <a:pt x="3110" y="1396"/>
                  <a:pt x="3110" y="1396"/>
                </a:cubicBezTo>
                <a:cubicBezTo>
                  <a:pt x="3111" y="1397"/>
                  <a:pt x="3110" y="1398"/>
                  <a:pt x="3111" y="1398"/>
                </a:cubicBezTo>
                <a:close/>
                <a:moveTo>
                  <a:pt x="3167" y="1414"/>
                </a:moveTo>
                <a:cubicBezTo>
                  <a:pt x="3167" y="1413"/>
                  <a:pt x="3167" y="1413"/>
                  <a:pt x="3167" y="1413"/>
                </a:cubicBezTo>
                <a:cubicBezTo>
                  <a:pt x="3166" y="1414"/>
                  <a:pt x="3166" y="1414"/>
                  <a:pt x="3166" y="1414"/>
                </a:cubicBezTo>
                <a:cubicBezTo>
                  <a:pt x="3166" y="1414"/>
                  <a:pt x="3166" y="1415"/>
                  <a:pt x="3166" y="1415"/>
                </a:cubicBezTo>
                <a:cubicBezTo>
                  <a:pt x="3166" y="1416"/>
                  <a:pt x="3167" y="1415"/>
                  <a:pt x="3167" y="1414"/>
                </a:cubicBezTo>
                <a:cubicBezTo>
                  <a:pt x="3167" y="1414"/>
                  <a:pt x="3167" y="1414"/>
                  <a:pt x="3167" y="1414"/>
                </a:cubicBezTo>
                <a:close/>
                <a:moveTo>
                  <a:pt x="3177" y="1392"/>
                </a:moveTo>
                <a:cubicBezTo>
                  <a:pt x="3177" y="1392"/>
                  <a:pt x="3177" y="1392"/>
                  <a:pt x="3177" y="1391"/>
                </a:cubicBezTo>
                <a:cubicBezTo>
                  <a:pt x="3177" y="1391"/>
                  <a:pt x="3177" y="1391"/>
                  <a:pt x="3177" y="1391"/>
                </a:cubicBezTo>
                <a:cubicBezTo>
                  <a:pt x="3177" y="1390"/>
                  <a:pt x="3175" y="1392"/>
                  <a:pt x="3175" y="1392"/>
                </a:cubicBezTo>
                <a:cubicBezTo>
                  <a:pt x="3174" y="1392"/>
                  <a:pt x="3174" y="1392"/>
                  <a:pt x="3174" y="1392"/>
                </a:cubicBezTo>
                <a:cubicBezTo>
                  <a:pt x="3174" y="1393"/>
                  <a:pt x="3173" y="1393"/>
                  <a:pt x="3173" y="1393"/>
                </a:cubicBezTo>
                <a:cubicBezTo>
                  <a:pt x="3173" y="1394"/>
                  <a:pt x="3173" y="1394"/>
                  <a:pt x="3174" y="1394"/>
                </a:cubicBezTo>
                <a:cubicBezTo>
                  <a:pt x="3174" y="1394"/>
                  <a:pt x="3175" y="1394"/>
                  <a:pt x="3175" y="1394"/>
                </a:cubicBezTo>
                <a:cubicBezTo>
                  <a:pt x="3175" y="1395"/>
                  <a:pt x="3175" y="1395"/>
                  <a:pt x="3175" y="1395"/>
                </a:cubicBezTo>
                <a:cubicBezTo>
                  <a:pt x="3176" y="1395"/>
                  <a:pt x="3176" y="1395"/>
                  <a:pt x="3176" y="1394"/>
                </a:cubicBezTo>
                <a:cubicBezTo>
                  <a:pt x="3176" y="1394"/>
                  <a:pt x="3176" y="1394"/>
                  <a:pt x="3176" y="1393"/>
                </a:cubicBezTo>
                <a:cubicBezTo>
                  <a:pt x="3176" y="1393"/>
                  <a:pt x="3177" y="1393"/>
                  <a:pt x="3177" y="1392"/>
                </a:cubicBezTo>
                <a:close/>
                <a:moveTo>
                  <a:pt x="3169" y="1395"/>
                </a:moveTo>
                <a:cubicBezTo>
                  <a:pt x="3169" y="1395"/>
                  <a:pt x="3169" y="1394"/>
                  <a:pt x="3169" y="1394"/>
                </a:cubicBezTo>
                <a:cubicBezTo>
                  <a:pt x="3169" y="1394"/>
                  <a:pt x="3169" y="1393"/>
                  <a:pt x="3170" y="1393"/>
                </a:cubicBezTo>
                <a:cubicBezTo>
                  <a:pt x="3170" y="1393"/>
                  <a:pt x="3170" y="1393"/>
                  <a:pt x="3171" y="1393"/>
                </a:cubicBezTo>
                <a:cubicBezTo>
                  <a:pt x="3171" y="1393"/>
                  <a:pt x="3171" y="1392"/>
                  <a:pt x="3172" y="1392"/>
                </a:cubicBezTo>
                <a:cubicBezTo>
                  <a:pt x="3172" y="1392"/>
                  <a:pt x="3172" y="1392"/>
                  <a:pt x="3173" y="1392"/>
                </a:cubicBezTo>
                <a:cubicBezTo>
                  <a:pt x="3173" y="1392"/>
                  <a:pt x="3174" y="1391"/>
                  <a:pt x="3174" y="1391"/>
                </a:cubicBezTo>
                <a:cubicBezTo>
                  <a:pt x="3173" y="1391"/>
                  <a:pt x="3173" y="1391"/>
                  <a:pt x="3173" y="1391"/>
                </a:cubicBezTo>
                <a:cubicBezTo>
                  <a:pt x="3172" y="1390"/>
                  <a:pt x="3171" y="1391"/>
                  <a:pt x="3170" y="1391"/>
                </a:cubicBezTo>
                <a:cubicBezTo>
                  <a:pt x="3170" y="1391"/>
                  <a:pt x="3170" y="1391"/>
                  <a:pt x="3170" y="1391"/>
                </a:cubicBezTo>
                <a:cubicBezTo>
                  <a:pt x="3170" y="1391"/>
                  <a:pt x="3170" y="1392"/>
                  <a:pt x="3169" y="1392"/>
                </a:cubicBezTo>
                <a:cubicBezTo>
                  <a:pt x="3169" y="1393"/>
                  <a:pt x="3169" y="1392"/>
                  <a:pt x="3169" y="1392"/>
                </a:cubicBezTo>
                <a:cubicBezTo>
                  <a:pt x="3168" y="1391"/>
                  <a:pt x="3168" y="1391"/>
                  <a:pt x="3168" y="1391"/>
                </a:cubicBezTo>
                <a:cubicBezTo>
                  <a:pt x="3168" y="1390"/>
                  <a:pt x="3167" y="1391"/>
                  <a:pt x="3167" y="1391"/>
                </a:cubicBezTo>
                <a:cubicBezTo>
                  <a:pt x="3168" y="1392"/>
                  <a:pt x="3168" y="1391"/>
                  <a:pt x="3168" y="1392"/>
                </a:cubicBezTo>
                <a:cubicBezTo>
                  <a:pt x="3168" y="1393"/>
                  <a:pt x="3167" y="1393"/>
                  <a:pt x="3167" y="1393"/>
                </a:cubicBezTo>
                <a:cubicBezTo>
                  <a:pt x="3167" y="1393"/>
                  <a:pt x="3167" y="1393"/>
                  <a:pt x="3166" y="1394"/>
                </a:cubicBezTo>
                <a:cubicBezTo>
                  <a:pt x="3166" y="1394"/>
                  <a:pt x="3165" y="1394"/>
                  <a:pt x="3165" y="1394"/>
                </a:cubicBezTo>
                <a:cubicBezTo>
                  <a:pt x="3165" y="1395"/>
                  <a:pt x="3166" y="1395"/>
                  <a:pt x="3166" y="1394"/>
                </a:cubicBezTo>
                <a:cubicBezTo>
                  <a:pt x="3167" y="1394"/>
                  <a:pt x="3167" y="1395"/>
                  <a:pt x="3168" y="1395"/>
                </a:cubicBezTo>
                <a:cubicBezTo>
                  <a:pt x="3168" y="1395"/>
                  <a:pt x="3169" y="1395"/>
                  <a:pt x="3169" y="1395"/>
                </a:cubicBezTo>
                <a:close/>
                <a:moveTo>
                  <a:pt x="3162" y="1422"/>
                </a:moveTo>
                <a:cubicBezTo>
                  <a:pt x="3162" y="1421"/>
                  <a:pt x="3162" y="1421"/>
                  <a:pt x="3163" y="1421"/>
                </a:cubicBezTo>
                <a:cubicBezTo>
                  <a:pt x="3163" y="1421"/>
                  <a:pt x="3163" y="1421"/>
                  <a:pt x="3164" y="1421"/>
                </a:cubicBezTo>
                <a:cubicBezTo>
                  <a:pt x="3164" y="1421"/>
                  <a:pt x="3165" y="1421"/>
                  <a:pt x="3165" y="1421"/>
                </a:cubicBezTo>
                <a:cubicBezTo>
                  <a:pt x="3165" y="1420"/>
                  <a:pt x="3165" y="1420"/>
                  <a:pt x="3166" y="1420"/>
                </a:cubicBezTo>
                <a:cubicBezTo>
                  <a:pt x="3166" y="1419"/>
                  <a:pt x="3167" y="1419"/>
                  <a:pt x="3167" y="1418"/>
                </a:cubicBezTo>
                <a:cubicBezTo>
                  <a:pt x="3167" y="1418"/>
                  <a:pt x="3167" y="1417"/>
                  <a:pt x="3167" y="1417"/>
                </a:cubicBezTo>
                <a:cubicBezTo>
                  <a:pt x="3166" y="1416"/>
                  <a:pt x="3166" y="1417"/>
                  <a:pt x="3165" y="1417"/>
                </a:cubicBezTo>
                <a:cubicBezTo>
                  <a:pt x="3165" y="1418"/>
                  <a:pt x="3164" y="1418"/>
                  <a:pt x="3164" y="1418"/>
                </a:cubicBezTo>
                <a:cubicBezTo>
                  <a:pt x="3164" y="1419"/>
                  <a:pt x="3163" y="1419"/>
                  <a:pt x="3163" y="1419"/>
                </a:cubicBezTo>
                <a:cubicBezTo>
                  <a:pt x="3163" y="1419"/>
                  <a:pt x="3162" y="1419"/>
                  <a:pt x="3162" y="1419"/>
                </a:cubicBezTo>
                <a:cubicBezTo>
                  <a:pt x="3161" y="1420"/>
                  <a:pt x="3160" y="1420"/>
                  <a:pt x="3160" y="1421"/>
                </a:cubicBezTo>
                <a:cubicBezTo>
                  <a:pt x="3160" y="1421"/>
                  <a:pt x="3160" y="1422"/>
                  <a:pt x="3160" y="1422"/>
                </a:cubicBezTo>
                <a:cubicBezTo>
                  <a:pt x="3161" y="1423"/>
                  <a:pt x="3161" y="1422"/>
                  <a:pt x="3162" y="1422"/>
                </a:cubicBezTo>
                <a:close/>
                <a:moveTo>
                  <a:pt x="3165" y="1392"/>
                </a:moveTo>
                <a:cubicBezTo>
                  <a:pt x="3165" y="1392"/>
                  <a:pt x="3165" y="1391"/>
                  <a:pt x="3165" y="1391"/>
                </a:cubicBezTo>
                <a:cubicBezTo>
                  <a:pt x="3165" y="1391"/>
                  <a:pt x="3164" y="1392"/>
                  <a:pt x="3164" y="1392"/>
                </a:cubicBezTo>
                <a:cubicBezTo>
                  <a:pt x="3164" y="1392"/>
                  <a:pt x="3164" y="1392"/>
                  <a:pt x="3163" y="1392"/>
                </a:cubicBezTo>
                <a:cubicBezTo>
                  <a:pt x="3163" y="1392"/>
                  <a:pt x="3163" y="1393"/>
                  <a:pt x="3163" y="1393"/>
                </a:cubicBezTo>
                <a:cubicBezTo>
                  <a:pt x="3163" y="1393"/>
                  <a:pt x="3164" y="1393"/>
                  <a:pt x="3164" y="1393"/>
                </a:cubicBezTo>
                <a:cubicBezTo>
                  <a:pt x="3164" y="1393"/>
                  <a:pt x="3164" y="1393"/>
                  <a:pt x="3164" y="1393"/>
                </a:cubicBezTo>
                <a:cubicBezTo>
                  <a:pt x="3164" y="1394"/>
                  <a:pt x="3165" y="1394"/>
                  <a:pt x="3165" y="1393"/>
                </a:cubicBezTo>
                <a:cubicBezTo>
                  <a:pt x="3165" y="1393"/>
                  <a:pt x="3165" y="1393"/>
                  <a:pt x="3165" y="1393"/>
                </a:cubicBezTo>
                <a:cubicBezTo>
                  <a:pt x="3165" y="1393"/>
                  <a:pt x="3165" y="1393"/>
                  <a:pt x="3166" y="1393"/>
                </a:cubicBezTo>
                <a:cubicBezTo>
                  <a:pt x="3166" y="1393"/>
                  <a:pt x="3166" y="1393"/>
                  <a:pt x="3167" y="1393"/>
                </a:cubicBezTo>
                <a:cubicBezTo>
                  <a:pt x="3167" y="1392"/>
                  <a:pt x="3167" y="1392"/>
                  <a:pt x="3166" y="1392"/>
                </a:cubicBezTo>
                <a:cubicBezTo>
                  <a:pt x="3166" y="1392"/>
                  <a:pt x="3166" y="1392"/>
                  <a:pt x="3165" y="1392"/>
                </a:cubicBezTo>
                <a:close/>
                <a:moveTo>
                  <a:pt x="3170" y="1415"/>
                </a:moveTo>
                <a:cubicBezTo>
                  <a:pt x="3170" y="1415"/>
                  <a:pt x="3171" y="1415"/>
                  <a:pt x="3171" y="1415"/>
                </a:cubicBezTo>
                <a:cubicBezTo>
                  <a:pt x="3172" y="1415"/>
                  <a:pt x="3172" y="1414"/>
                  <a:pt x="3172" y="1414"/>
                </a:cubicBezTo>
                <a:cubicBezTo>
                  <a:pt x="3173" y="1414"/>
                  <a:pt x="3173" y="1414"/>
                  <a:pt x="3173" y="1414"/>
                </a:cubicBezTo>
                <a:cubicBezTo>
                  <a:pt x="3174" y="1414"/>
                  <a:pt x="3175" y="1413"/>
                  <a:pt x="3176" y="1413"/>
                </a:cubicBezTo>
                <a:cubicBezTo>
                  <a:pt x="3176" y="1413"/>
                  <a:pt x="3177" y="1414"/>
                  <a:pt x="3178" y="1414"/>
                </a:cubicBezTo>
                <a:cubicBezTo>
                  <a:pt x="3179" y="1413"/>
                  <a:pt x="3180" y="1412"/>
                  <a:pt x="3180" y="1412"/>
                </a:cubicBezTo>
                <a:cubicBezTo>
                  <a:pt x="3181" y="1412"/>
                  <a:pt x="3181" y="1411"/>
                  <a:pt x="3182" y="1410"/>
                </a:cubicBezTo>
                <a:cubicBezTo>
                  <a:pt x="3183" y="1410"/>
                  <a:pt x="3183" y="1409"/>
                  <a:pt x="3184" y="1408"/>
                </a:cubicBezTo>
                <a:cubicBezTo>
                  <a:pt x="3184" y="1408"/>
                  <a:pt x="3185" y="1408"/>
                  <a:pt x="3185" y="1407"/>
                </a:cubicBezTo>
                <a:cubicBezTo>
                  <a:pt x="3186" y="1406"/>
                  <a:pt x="3185" y="1405"/>
                  <a:pt x="3186" y="1405"/>
                </a:cubicBezTo>
                <a:cubicBezTo>
                  <a:pt x="3187" y="1405"/>
                  <a:pt x="3188" y="1405"/>
                  <a:pt x="3189" y="1404"/>
                </a:cubicBezTo>
                <a:cubicBezTo>
                  <a:pt x="3189" y="1404"/>
                  <a:pt x="3190" y="1403"/>
                  <a:pt x="3191" y="1403"/>
                </a:cubicBezTo>
                <a:cubicBezTo>
                  <a:pt x="3191" y="1403"/>
                  <a:pt x="3191" y="1403"/>
                  <a:pt x="3192" y="1403"/>
                </a:cubicBezTo>
                <a:cubicBezTo>
                  <a:pt x="3193" y="1403"/>
                  <a:pt x="3194" y="1402"/>
                  <a:pt x="3195" y="1402"/>
                </a:cubicBezTo>
                <a:cubicBezTo>
                  <a:pt x="3196" y="1401"/>
                  <a:pt x="3197" y="1401"/>
                  <a:pt x="3198" y="1401"/>
                </a:cubicBezTo>
                <a:cubicBezTo>
                  <a:pt x="3199" y="1400"/>
                  <a:pt x="3199" y="1400"/>
                  <a:pt x="3200" y="1399"/>
                </a:cubicBezTo>
                <a:cubicBezTo>
                  <a:pt x="3201" y="1399"/>
                  <a:pt x="3201" y="1399"/>
                  <a:pt x="3202" y="1399"/>
                </a:cubicBezTo>
                <a:cubicBezTo>
                  <a:pt x="3202" y="1399"/>
                  <a:pt x="3202" y="1399"/>
                  <a:pt x="3203" y="1399"/>
                </a:cubicBezTo>
                <a:cubicBezTo>
                  <a:pt x="3204" y="1399"/>
                  <a:pt x="3204" y="1398"/>
                  <a:pt x="3205" y="1398"/>
                </a:cubicBezTo>
                <a:cubicBezTo>
                  <a:pt x="3206" y="1397"/>
                  <a:pt x="3206" y="1396"/>
                  <a:pt x="3207" y="1396"/>
                </a:cubicBezTo>
                <a:cubicBezTo>
                  <a:pt x="3208" y="1396"/>
                  <a:pt x="3209" y="1395"/>
                  <a:pt x="3210" y="1395"/>
                </a:cubicBezTo>
                <a:cubicBezTo>
                  <a:pt x="3210" y="1394"/>
                  <a:pt x="3211" y="1393"/>
                  <a:pt x="3211" y="1393"/>
                </a:cubicBezTo>
                <a:cubicBezTo>
                  <a:pt x="3210" y="1392"/>
                  <a:pt x="3209" y="1393"/>
                  <a:pt x="3209" y="1393"/>
                </a:cubicBezTo>
                <a:cubicBezTo>
                  <a:pt x="3208" y="1393"/>
                  <a:pt x="3207" y="1393"/>
                  <a:pt x="3206" y="1393"/>
                </a:cubicBezTo>
                <a:cubicBezTo>
                  <a:pt x="3205" y="1393"/>
                  <a:pt x="3205" y="1393"/>
                  <a:pt x="3204" y="1393"/>
                </a:cubicBezTo>
                <a:cubicBezTo>
                  <a:pt x="3203" y="1394"/>
                  <a:pt x="3202" y="1394"/>
                  <a:pt x="3201" y="1394"/>
                </a:cubicBezTo>
                <a:cubicBezTo>
                  <a:pt x="3200" y="1393"/>
                  <a:pt x="3200" y="1393"/>
                  <a:pt x="3199" y="1394"/>
                </a:cubicBezTo>
                <a:cubicBezTo>
                  <a:pt x="3197" y="1394"/>
                  <a:pt x="3195" y="1394"/>
                  <a:pt x="3194" y="1394"/>
                </a:cubicBezTo>
                <a:cubicBezTo>
                  <a:pt x="3193" y="1394"/>
                  <a:pt x="3193" y="1394"/>
                  <a:pt x="3192" y="1394"/>
                </a:cubicBezTo>
                <a:cubicBezTo>
                  <a:pt x="3192" y="1394"/>
                  <a:pt x="3192" y="1394"/>
                  <a:pt x="3191" y="1395"/>
                </a:cubicBezTo>
                <a:cubicBezTo>
                  <a:pt x="3190" y="1395"/>
                  <a:pt x="3190" y="1395"/>
                  <a:pt x="3189" y="1395"/>
                </a:cubicBezTo>
                <a:cubicBezTo>
                  <a:pt x="3187" y="1395"/>
                  <a:pt x="3186" y="1397"/>
                  <a:pt x="3185" y="1398"/>
                </a:cubicBezTo>
                <a:cubicBezTo>
                  <a:pt x="3185" y="1399"/>
                  <a:pt x="3183" y="1400"/>
                  <a:pt x="3183" y="1400"/>
                </a:cubicBezTo>
                <a:cubicBezTo>
                  <a:pt x="3182" y="1401"/>
                  <a:pt x="3181" y="1401"/>
                  <a:pt x="3181" y="1401"/>
                </a:cubicBezTo>
                <a:cubicBezTo>
                  <a:pt x="3180" y="1402"/>
                  <a:pt x="3179" y="1402"/>
                  <a:pt x="3178" y="1402"/>
                </a:cubicBezTo>
                <a:cubicBezTo>
                  <a:pt x="3177" y="1402"/>
                  <a:pt x="3176" y="1403"/>
                  <a:pt x="3175" y="1403"/>
                </a:cubicBezTo>
                <a:cubicBezTo>
                  <a:pt x="3174" y="1404"/>
                  <a:pt x="3173" y="1404"/>
                  <a:pt x="3173" y="1404"/>
                </a:cubicBezTo>
                <a:cubicBezTo>
                  <a:pt x="3172" y="1405"/>
                  <a:pt x="3172" y="1405"/>
                  <a:pt x="3171" y="1406"/>
                </a:cubicBezTo>
                <a:cubicBezTo>
                  <a:pt x="3170" y="1406"/>
                  <a:pt x="3170" y="1407"/>
                  <a:pt x="3170" y="1407"/>
                </a:cubicBezTo>
                <a:cubicBezTo>
                  <a:pt x="3170" y="1408"/>
                  <a:pt x="3170" y="1408"/>
                  <a:pt x="3170" y="1408"/>
                </a:cubicBezTo>
                <a:cubicBezTo>
                  <a:pt x="3170" y="1409"/>
                  <a:pt x="3170" y="1409"/>
                  <a:pt x="3170" y="1410"/>
                </a:cubicBezTo>
                <a:cubicBezTo>
                  <a:pt x="3170" y="1410"/>
                  <a:pt x="3170" y="1410"/>
                  <a:pt x="3170" y="1411"/>
                </a:cubicBezTo>
                <a:cubicBezTo>
                  <a:pt x="3171" y="1411"/>
                  <a:pt x="3171" y="1411"/>
                  <a:pt x="3171" y="1412"/>
                </a:cubicBezTo>
                <a:cubicBezTo>
                  <a:pt x="3171" y="1413"/>
                  <a:pt x="3170" y="1414"/>
                  <a:pt x="3169" y="1414"/>
                </a:cubicBezTo>
                <a:cubicBezTo>
                  <a:pt x="3169" y="1415"/>
                  <a:pt x="3168" y="1415"/>
                  <a:pt x="3168" y="1415"/>
                </a:cubicBezTo>
                <a:cubicBezTo>
                  <a:pt x="3168" y="1416"/>
                  <a:pt x="3169" y="1415"/>
                  <a:pt x="3170" y="1415"/>
                </a:cubicBezTo>
                <a:close/>
                <a:moveTo>
                  <a:pt x="3191" y="1234"/>
                </a:moveTo>
                <a:cubicBezTo>
                  <a:pt x="3191" y="1235"/>
                  <a:pt x="3191" y="1236"/>
                  <a:pt x="3192" y="1235"/>
                </a:cubicBezTo>
                <a:cubicBezTo>
                  <a:pt x="3192" y="1235"/>
                  <a:pt x="3192" y="1234"/>
                  <a:pt x="3191" y="1234"/>
                </a:cubicBezTo>
                <a:close/>
                <a:moveTo>
                  <a:pt x="3194" y="1388"/>
                </a:moveTo>
                <a:cubicBezTo>
                  <a:pt x="3195" y="1389"/>
                  <a:pt x="3195" y="1388"/>
                  <a:pt x="3195" y="1388"/>
                </a:cubicBezTo>
                <a:cubicBezTo>
                  <a:pt x="3196" y="1388"/>
                  <a:pt x="3196" y="1388"/>
                  <a:pt x="3197" y="1387"/>
                </a:cubicBezTo>
                <a:cubicBezTo>
                  <a:pt x="3197" y="1387"/>
                  <a:pt x="3198" y="1387"/>
                  <a:pt x="3199" y="1387"/>
                </a:cubicBezTo>
                <a:cubicBezTo>
                  <a:pt x="3199" y="1387"/>
                  <a:pt x="3200" y="1387"/>
                  <a:pt x="3200" y="1387"/>
                </a:cubicBezTo>
                <a:cubicBezTo>
                  <a:pt x="3200" y="1387"/>
                  <a:pt x="3200" y="1388"/>
                  <a:pt x="3201" y="1388"/>
                </a:cubicBezTo>
                <a:cubicBezTo>
                  <a:pt x="3201" y="1388"/>
                  <a:pt x="3201" y="1388"/>
                  <a:pt x="3201" y="1388"/>
                </a:cubicBezTo>
                <a:cubicBezTo>
                  <a:pt x="3202" y="1388"/>
                  <a:pt x="3203" y="1388"/>
                  <a:pt x="3203" y="1387"/>
                </a:cubicBezTo>
                <a:cubicBezTo>
                  <a:pt x="3204" y="1387"/>
                  <a:pt x="3204" y="1386"/>
                  <a:pt x="3205" y="1386"/>
                </a:cubicBezTo>
                <a:cubicBezTo>
                  <a:pt x="3206" y="1385"/>
                  <a:pt x="3206" y="1386"/>
                  <a:pt x="3206" y="1385"/>
                </a:cubicBezTo>
                <a:cubicBezTo>
                  <a:pt x="3206" y="1385"/>
                  <a:pt x="3206" y="1384"/>
                  <a:pt x="3205" y="1384"/>
                </a:cubicBezTo>
                <a:cubicBezTo>
                  <a:pt x="3205" y="1384"/>
                  <a:pt x="3205" y="1384"/>
                  <a:pt x="3204" y="1384"/>
                </a:cubicBezTo>
                <a:cubicBezTo>
                  <a:pt x="3204" y="1383"/>
                  <a:pt x="3204" y="1383"/>
                  <a:pt x="3203" y="1383"/>
                </a:cubicBezTo>
                <a:cubicBezTo>
                  <a:pt x="3202" y="1383"/>
                  <a:pt x="3202" y="1383"/>
                  <a:pt x="3201" y="1384"/>
                </a:cubicBezTo>
                <a:cubicBezTo>
                  <a:pt x="3201" y="1384"/>
                  <a:pt x="3201" y="1385"/>
                  <a:pt x="3200" y="1385"/>
                </a:cubicBezTo>
                <a:cubicBezTo>
                  <a:pt x="3200" y="1385"/>
                  <a:pt x="3200" y="1385"/>
                  <a:pt x="3199" y="1385"/>
                </a:cubicBezTo>
                <a:cubicBezTo>
                  <a:pt x="3198" y="1385"/>
                  <a:pt x="3198" y="1385"/>
                  <a:pt x="3197" y="1385"/>
                </a:cubicBezTo>
                <a:cubicBezTo>
                  <a:pt x="3197" y="1385"/>
                  <a:pt x="3197" y="1384"/>
                  <a:pt x="3196" y="1384"/>
                </a:cubicBezTo>
                <a:cubicBezTo>
                  <a:pt x="3196" y="1384"/>
                  <a:pt x="3196" y="1384"/>
                  <a:pt x="3196" y="1385"/>
                </a:cubicBezTo>
                <a:cubicBezTo>
                  <a:pt x="3196" y="1385"/>
                  <a:pt x="3196" y="1385"/>
                  <a:pt x="3195" y="1386"/>
                </a:cubicBezTo>
                <a:cubicBezTo>
                  <a:pt x="3195" y="1387"/>
                  <a:pt x="3194" y="1387"/>
                  <a:pt x="3194" y="1388"/>
                </a:cubicBezTo>
                <a:close/>
                <a:moveTo>
                  <a:pt x="3161" y="1315"/>
                </a:moveTo>
                <a:cubicBezTo>
                  <a:pt x="3161" y="1315"/>
                  <a:pt x="3162" y="1314"/>
                  <a:pt x="3162" y="1314"/>
                </a:cubicBezTo>
                <a:cubicBezTo>
                  <a:pt x="3162" y="1314"/>
                  <a:pt x="3163" y="1314"/>
                  <a:pt x="3163" y="1314"/>
                </a:cubicBezTo>
                <a:cubicBezTo>
                  <a:pt x="3163" y="1313"/>
                  <a:pt x="3163" y="1313"/>
                  <a:pt x="3163" y="1313"/>
                </a:cubicBezTo>
                <a:cubicBezTo>
                  <a:pt x="3164" y="1312"/>
                  <a:pt x="3165" y="1313"/>
                  <a:pt x="3164" y="1314"/>
                </a:cubicBezTo>
                <a:cubicBezTo>
                  <a:pt x="3164" y="1314"/>
                  <a:pt x="3164" y="1314"/>
                  <a:pt x="3164" y="1315"/>
                </a:cubicBezTo>
                <a:cubicBezTo>
                  <a:pt x="3164" y="1315"/>
                  <a:pt x="3164" y="1316"/>
                  <a:pt x="3164" y="1316"/>
                </a:cubicBezTo>
                <a:cubicBezTo>
                  <a:pt x="3165" y="1316"/>
                  <a:pt x="3165" y="1314"/>
                  <a:pt x="3165" y="1314"/>
                </a:cubicBezTo>
                <a:cubicBezTo>
                  <a:pt x="3166" y="1313"/>
                  <a:pt x="3166" y="1313"/>
                  <a:pt x="3166" y="1313"/>
                </a:cubicBezTo>
                <a:cubicBezTo>
                  <a:pt x="3167" y="1313"/>
                  <a:pt x="3167" y="1313"/>
                  <a:pt x="3167" y="1312"/>
                </a:cubicBezTo>
                <a:cubicBezTo>
                  <a:pt x="3167" y="1312"/>
                  <a:pt x="3169" y="1312"/>
                  <a:pt x="3169" y="1311"/>
                </a:cubicBezTo>
                <a:cubicBezTo>
                  <a:pt x="3168" y="1311"/>
                  <a:pt x="3168" y="1311"/>
                  <a:pt x="3168" y="1311"/>
                </a:cubicBezTo>
                <a:cubicBezTo>
                  <a:pt x="3167" y="1311"/>
                  <a:pt x="3167" y="1311"/>
                  <a:pt x="3167" y="1311"/>
                </a:cubicBezTo>
                <a:cubicBezTo>
                  <a:pt x="3166" y="1311"/>
                  <a:pt x="3166" y="1312"/>
                  <a:pt x="3165" y="1311"/>
                </a:cubicBezTo>
                <a:cubicBezTo>
                  <a:pt x="3165" y="1311"/>
                  <a:pt x="3165" y="1310"/>
                  <a:pt x="3164" y="1310"/>
                </a:cubicBezTo>
                <a:cubicBezTo>
                  <a:pt x="3163" y="1310"/>
                  <a:pt x="3163" y="1310"/>
                  <a:pt x="3162" y="1311"/>
                </a:cubicBezTo>
                <a:cubicBezTo>
                  <a:pt x="3162" y="1311"/>
                  <a:pt x="3161" y="1311"/>
                  <a:pt x="3160" y="1312"/>
                </a:cubicBezTo>
                <a:cubicBezTo>
                  <a:pt x="3160" y="1312"/>
                  <a:pt x="3160" y="1312"/>
                  <a:pt x="3160" y="1313"/>
                </a:cubicBezTo>
                <a:cubicBezTo>
                  <a:pt x="3161" y="1313"/>
                  <a:pt x="3160" y="1313"/>
                  <a:pt x="3160" y="1314"/>
                </a:cubicBezTo>
                <a:cubicBezTo>
                  <a:pt x="3160" y="1314"/>
                  <a:pt x="3161" y="1315"/>
                  <a:pt x="3161" y="1315"/>
                </a:cubicBezTo>
                <a:close/>
                <a:moveTo>
                  <a:pt x="3191" y="1235"/>
                </a:moveTo>
                <a:cubicBezTo>
                  <a:pt x="3191" y="1234"/>
                  <a:pt x="3190" y="1235"/>
                  <a:pt x="3190" y="1235"/>
                </a:cubicBezTo>
                <a:cubicBezTo>
                  <a:pt x="3190" y="1236"/>
                  <a:pt x="3191" y="1236"/>
                  <a:pt x="3191" y="1235"/>
                </a:cubicBezTo>
                <a:close/>
                <a:moveTo>
                  <a:pt x="3189" y="1317"/>
                </a:moveTo>
                <a:cubicBezTo>
                  <a:pt x="3189" y="1317"/>
                  <a:pt x="3189" y="1317"/>
                  <a:pt x="3189" y="1317"/>
                </a:cubicBezTo>
                <a:cubicBezTo>
                  <a:pt x="3188" y="1317"/>
                  <a:pt x="3188" y="1316"/>
                  <a:pt x="3188" y="1317"/>
                </a:cubicBezTo>
                <a:cubicBezTo>
                  <a:pt x="3187" y="1317"/>
                  <a:pt x="3187" y="1317"/>
                  <a:pt x="3186" y="1317"/>
                </a:cubicBezTo>
                <a:cubicBezTo>
                  <a:pt x="3186" y="1316"/>
                  <a:pt x="3186" y="1316"/>
                  <a:pt x="3185" y="1316"/>
                </a:cubicBezTo>
                <a:cubicBezTo>
                  <a:pt x="3185" y="1317"/>
                  <a:pt x="3184" y="1316"/>
                  <a:pt x="3184" y="1316"/>
                </a:cubicBezTo>
                <a:cubicBezTo>
                  <a:pt x="3183" y="1315"/>
                  <a:pt x="3181" y="1315"/>
                  <a:pt x="3180" y="1315"/>
                </a:cubicBezTo>
                <a:cubicBezTo>
                  <a:pt x="3179" y="1315"/>
                  <a:pt x="3179" y="1316"/>
                  <a:pt x="3179" y="1317"/>
                </a:cubicBezTo>
                <a:cubicBezTo>
                  <a:pt x="3179" y="1318"/>
                  <a:pt x="3179" y="1319"/>
                  <a:pt x="3179" y="1320"/>
                </a:cubicBezTo>
                <a:cubicBezTo>
                  <a:pt x="3179" y="1321"/>
                  <a:pt x="3180" y="1320"/>
                  <a:pt x="3180" y="1319"/>
                </a:cubicBezTo>
                <a:cubicBezTo>
                  <a:pt x="3181" y="1319"/>
                  <a:pt x="3181" y="1320"/>
                  <a:pt x="3182" y="1319"/>
                </a:cubicBezTo>
                <a:cubicBezTo>
                  <a:pt x="3182" y="1319"/>
                  <a:pt x="3182" y="1319"/>
                  <a:pt x="3183" y="1319"/>
                </a:cubicBezTo>
                <a:cubicBezTo>
                  <a:pt x="3183" y="1319"/>
                  <a:pt x="3184" y="1318"/>
                  <a:pt x="3184" y="1319"/>
                </a:cubicBezTo>
                <a:cubicBezTo>
                  <a:pt x="3184" y="1319"/>
                  <a:pt x="3185" y="1319"/>
                  <a:pt x="3185" y="1319"/>
                </a:cubicBezTo>
                <a:cubicBezTo>
                  <a:pt x="3185" y="1319"/>
                  <a:pt x="3186" y="1319"/>
                  <a:pt x="3186" y="1319"/>
                </a:cubicBezTo>
                <a:cubicBezTo>
                  <a:pt x="3187" y="1319"/>
                  <a:pt x="3187" y="1318"/>
                  <a:pt x="3187" y="1318"/>
                </a:cubicBezTo>
                <a:cubicBezTo>
                  <a:pt x="3188" y="1318"/>
                  <a:pt x="3188" y="1319"/>
                  <a:pt x="3188" y="1319"/>
                </a:cubicBezTo>
                <a:cubicBezTo>
                  <a:pt x="3189" y="1319"/>
                  <a:pt x="3189" y="1318"/>
                  <a:pt x="3189" y="1318"/>
                </a:cubicBezTo>
                <a:cubicBezTo>
                  <a:pt x="3190" y="1318"/>
                  <a:pt x="3190" y="1319"/>
                  <a:pt x="3190" y="1319"/>
                </a:cubicBezTo>
                <a:cubicBezTo>
                  <a:pt x="3190" y="1319"/>
                  <a:pt x="3191" y="1319"/>
                  <a:pt x="3191" y="1319"/>
                </a:cubicBezTo>
                <a:cubicBezTo>
                  <a:pt x="3192" y="1319"/>
                  <a:pt x="3192" y="1319"/>
                  <a:pt x="3193" y="1319"/>
                </a:cubicBezTo>
                <a:cubicBezTo>
                  <a:pt x="3193" y="1319"/>
                  <a:pt x="3193" y="1319"/>
                  <a:pt x="3194" y="1319"/>
                </a:cubicBezTo>
                <a:cubicBezTo>
                  <a:pt x="3194" y="1318"/>
                  <a:pt x="3195" y="1319"/>
                  <a:pt x="3195" y="1320"/>
                </a:cubicBezTo>
                <a:cubicBezTo>
                  <a:pt x="3195" y="1320"/>
                  <a:pt x="3195" y="1320"/>
                  <a:pt x="3195" y="1321"/>
                </a:cubicBezTo>
                <a:cubicBezTo>
                  <a:pt x="3195" y="1321"/>
                  <a:pt x="3195" y="1321"/>
                  <a:pt x="3196" y="1322"/>
                </a:cubicBezTo>
                <a:cubicBezTo>
                  <a:pt x="3196" y="1322"/>
                  <a:pt x="3196" y="1323"/>
                  <a:pt x="3196" y="1324"/>
                </a:cubicBezTo>
                <a:cubicBezTo>
                  <a:pt x="3196" y="1324"/>
                  <a:pt x="3197" y="1324"/>
                  <a:pt x="3197" y="1325"/>
                </a:cubicBezTo>
                <a:cubicBezTo>
                  <a:pt x="3197" y="1325"/>
                  <a:pt x="3197" y="1325"/>
                  <a:pt x="3197" y="1326"/>
                </a:cubicBezTo>
                <a:cubicBezTo>
                  <a:pt x="3198" y="1326"/>
                  <a:pt x="3198" y="1325"/>
                  <a:pt x="3198" y="1324"/>
                </a:cubicBezTo>
                <a:cubicBezTo>
                  <a:pt x="3198" y="1324"/>
                  <a:pt x="3197" y="1324"/>
                  <a:pt x="3197" y="1323"/>
                </a:cubicBezTo>
                <a:cubicBezTo>
                  <a:pt x="3197" y="1323"/>
                  <a:pt x="3197" y="1323"/>
                  <a:pt x="3197" y="1322"/>
                </a:cubicBezTo>
                <a:cubicBezTo>
                  <a:pt x="3197" y="1322"/>
                  <a:pt x="3197" y="1321"/>
                  <a:pt x="3196" y="1321"/>
                </a:cubicBezTo>
                <a:cubicBezTo>
                  <a:pt x="3196" y="1320"/>
                  <a:pt x="3196" y="1319"/>
                  <a:pt x="3197" y="1319"/>
                </a:cubicBezTo>
                <a:cubicBezTo>
                  <a:pt x="3197" y="1319"/>
                  <a:pt x="3197" y="1319"/>
                  <a:pt x="3198" y="1319"/>
                </a:cubicBezTo>
                <a:cubicBezTo>
                  <a:pt x="3198" y="1319"/>
                  <a:pt x="3199" y="1319"/>
                  <a:pt x="3199" y="1319"/>
                </a:cubicBezTo>
                <a:cubicBezTo>
                  <a:pt x="3200" y="1318"/>
                  <a:pt x="3201" y="1317"/>
                  <a:pt x="3199" y="1318"/>
                </a:cubicBezTo>
                <a:cubicBezTo>
                  <a:pt x="3199" y="1318"/>
                  <a:pt x="3199" y="1318"/>
                  <a:pt x="3198" y="1318"/>
                </a:cubicBezTo>
                <a:cubicBezTo>
                  <a:pt x="3198" y="1318"/>
                  <a:pt x="3197" y="1318"/>
                  <a:pt x="3197" y="1318"/>
                </a:cubicBezTo>
                <a:cubicBezTo>
                  <a:pt x="3196" y="1317"/>
                  <a:pt x="3196" y="1317"/>
                  <a:pt x="3196" y="1317"/>
                </a:cubicBezTo>
                <a:cubicBezTo>
                  <a:pt x="3195" y="1317"/>
                  <a:pt x="3195" y="1318"/>
                  <a:pt x="3195" y="1318"/>
                </a:cubicBezTo>
                <a:cubicBezTo>
                  <a:pt x="3194" y="1318"/>
                  <a:pt x="3193" y="1317"/>
                  <a:pt x="3192" y="1317"/>
                </a:cubicBezTo>
                <a:cubicBezTo>
                  <a:pt x="3191" y="1316"/>
                  <a:pt x="3191" y="1317"/>
                  <a:pt x="3190" y="1317"/>
                </a:cubicBezTo>
                <a:cubicBezTo>
                  <a:pt x="3190" y="1317"/>
                  <a:pt x="3189" y="1317"/>
                  <a:pt x="3189" y="1317"/>
                </a:cubicBezTo>
                <a:close/>
                <a:moveTo>
                  <a:pt x="3153" y="1397"/>
                </a:moveTo>
                <a:cubicBezTo>
                  <a:pt x="3153" y="1397"/>
                  <a:pt x="3154" y="1397"/>
                  <a:pt x="3154" y="1397"/>
                </a:cubicBezTo>
                <a:cubicBezTo>
                  <a:pt x="3154" y="1397"/>
                  <a:pt x="3155" y="1397"/>
                  <a:pt x="3155" y="1396"/>
                </a:cubicBezTo>
                <a:cubicBezTo>
                  <a:pt x="3155" y="1396"/>
                  <a:pt x="3155" y="1396"/>
                  <a:pt x="3156" y="1396"/>
                </a:cubicBezTo>
                <a:cubicBezTo>
                  <a:pt x="3157" y="1396"/>
                  <a:pt x="3157" y="1396"/>
                  <a:pt x="3158" y="1396"/>
                </a:cubicBezTo>
                <a:cubicBezTo>
                  <a:pt x="3159" y="1396"/>
                  <a:pt x="3159" y="1396"/>
                  <a:pt x="3160" y="1395"/>
                </a:cubicBezTo>
                <a:cubicBezTo>
                  <a:pt x="3160" y="1395"/>
                  <a:pt x="3161" y="1395"/>
                  <a:pt x="3161" y="1394"/>
                </a:cubicBezTo>
                <a:cubicBezTo>
                  <a:pt x="3162" y="1394"/>
                  <a:pt x="3162" y="1394"/>
                  <a:pt x="3162" y="1393"/>
                </a:cubicBezTo>
                <a:cubicBezTo>
                  <a:pt x="3162" y="1393"/>
                  <a:pt x="3162" y="1393"/>
                  <a:pt x="3162" y="1392"/>
                </a:cubicBezTo>
                <a:cubicBezTo>
                  <a:pt x="3163" y="1391"/>
                  <a:pt x="3163" y="1391"/>
                  <a:pt x="3162" y="1390"/>
                </a:cubicBezTo>
                <a:cubicBezTo>
                  <a:pt x="3161" y="1390"/>
                  <a:pt x="3161" y="1390"/>
                  <a:pt x="3161" y="1390"/>
                </a:cubicBezTo>
                <a:cubicBezTo>
                  <a:pt x="3161" y="1389"/>
                  <a:pt x="3161" y="1389"/>
                  <a:pt x="3161" y="1389"/>
                </a:cubicBezTo>
                <a:cubicBezTo>
                  <a:pt x="3160" y="1389"/>
                  <a:pt x="3161" y="1390"/>
                  <a:pt x="3161" y="1390"/>
                </a:cubicBezTo>
                <a:cubicBezTo>
                  <a:pt x="3161" y="1390"/>
                  <a:pt x="3161" y="1390"/>
                  <a:pt x="3161" y="1391"/>
                </a:cubicBezTo>
                <a:cubicBezTo>
                  <a:pt x="3162" y="1391"/>
                  <a:pt x="3161" y="1391"/>
                  <a:pt x="3161" y="1391"/>
                </a:cubicBezTo>
                <a:cubicBezTo>
                  <a:pt x="3160" y="1391"/>
                  <a:pt x="3160" y="1392"/>
                  <a:pt x="3159" y="1392"/>
                </a:cubicBezTo>
                <a:cubicBezTo>
                  <a:pt x="3158" y="1392"/>
                  <a:pt x="3157" y="1393"/>
                  <a:pt x="3157" y="1394"/>
                </a:cubicBezTo>
                <a:cubicBezTo>
                  <a:pt x="3157" y="1394"/>
                  <a:pt x="3157" y="1395"/>
                  <a:pt x="3156" y="1396"/>
                </a:cubicBezTo>
                <a:cubicBezTo>
                  <a:pt x="3155" y="1396"/>
                  <a:pt x="3155" y="1396"/>
                  <a:pt x="3155" y="1396"/>
                </a:cubicBezTo>
                <a:cubicBezTo>
                  <a:pt x="3154" y="1396"/>
                  <a:pt x="3154" y="1395"/>
                  <a:pt x="3154" y="1395"/>
                </a:cubicBezTo>
                <a:cubicBezTo>
                  <a:pt x="3153" y="1395"/>
                  <a:pt x="3153" y="1395"/>
                  <a:pt x="3153" y="1395"/>
                </a:cubicBezTo>
                <a:cubicBezTo>
                  <a:pt x="3152" y="1395"/>
                  <a:pt x="3152" y="1394"/>
                  <a:pt x="3151" y="1394"/>
                </a:cubicBezTo>
                <a:cubicBezTo>
                  <a:pt x="3151" y="1394"/>
                  <a:pt x="3151" y="1394"/>
                  <a:pt x="3150" y="1394"/>
                </a:cubicBezTo>
                <a:cubicBezTo>
                  <a:pt x="3150" y="1394"/>
                  <a:pt x="3150" y="1393"/>
                  <a:pt x="3149" y="1393"/>
                </a:cubicBezTo>
                <a:cubicBezTo>
                  <a:pt x="3149" y="1393"/>
                  <a:pt x="3149" y="1394"/>
                  <a:pt x="3148" y="1394"/>
                </a:cubicBezTo>
                <a:cubicBezTo>
                  <a:pt x="3148" y="1394"/>
                  <a:pt x="3147" y="1394"/>
                  <a:pt x="3147" y="1394"/>
                </a:cubicBezTo>
                <a:cubicBezTo>
                  <a:pt x="3146" y="1394"/>
                  <a:pt x="3146" y="1395"/>
                  <a:pt x="3146" y="1395"/>
                </a:cubicBezTo>
                <a:cubicBezTo>
                  <a:pt x="3145" y="1395"/>
                  <a:pt x="3144" y="1394"/>
                  <a:pt x="3144" y="1394"/>
                </a:cubicBezTo>
                <a:cubicBezTo>
                  <a:pt x="3143" y="1394"/>
                  <a:pt x="3143" y="1394"/>
                  <a:pt x="3142" y="1394"/>
                </a:cubicBezTo>
                <a:cubicBezTo>
                  <a:pt x="3142" y="1394"/>
                  <a:pt x="3142" y="1393"/>
                  <a:pt x="3141" y="1393"/>
                </a:cubicBezTo>
                <a:cubicBezTo>
                  <a:pt x="3141" y="1393"/>
                  <a:pt x="3140" y="1392"/>
                  <a:pt x="3139" y="1392"/>
                </a:cubicBezTo>
                <a:cubicBezTo>
                  <a:pt x="3138" y="1392"/>
                  <a:pt x="3138" y="1392"/>
                  <a:pt x="3137" y="1392"/>
                </a:cubicBezTo>
                <a:cubicBezTo>
                  <a:pt x="3136" y="1392"/>
                  <a:pt x="3135" y="1392"/>
                  <a:pt x="3133" y="1392"/>
                </a:cubicBezTo>
                <a:cubicBezTo>
                  <a:pt x="3133" y="1392"/>
                  <a:pt x="3132" y="1392"/>
                  <a:pt x="3131" y="1392"/>
                </a:cubicBezTo>
                <a:cubicBezTo>
                  <a:pt x="3130" y="1392"/>
                  <a:pt x="3130" y="1392"/>
                  <a:pt x="3129" y="1392"/>
                </a:cubicBezTo>
                <a:cubicBezTo>
                  <a:pt x="3129" y="1392"/>
                  <a:pt x="3128" y="1393"/>
                  <a:pt x="3128" y="1393"/>
                </a:cubicBezTo>
                <a:cubicBezTo>
                  <a:pt x="3128" y="1393"/>
                  <a:pt x="3127" y="1393"/>
                  <a:pt x="3127" y="1393"/>
                </a:cubicBezTo>
                <a:cubicBezTo>
                  <a:pt x="3127" y="1393"/>
                  <a:pt x="3127" y="1394"/>
                  <a:pt x="3126" y="1394"/>
                </a:cubicBezTo>
                <a:cubicBezTo>
                  <a:pt x="3126" y="1395"/>
                  <a:pt x="3126" y="1395"/>
                  <a:pt x="3126" y="1395"/>
                </a:cubicBezTo>
                <a:cubicBezTo>
                  <a:pt x="3126" y="1396"/>
                  <a:pt x="3126" y="1396"/>
                  <a:pt x="3126" y="1396"/>
                </a:cubicBezTo>
                <a:cubicBezTo>
                  <a:pt x="3126" y="1397"/>
                  <a:pt x="3127" y="1398"/>
                  <a:pt x="3127" y="1398"/>
                </a:cubicBezTo>
                <a:cubicBezTo>
                  <a:pt x="3128" y="1398"/>
                  <a:pt x="3129" y="1398"/>
                  <a:pt x="3130" y="1398"/>
                </a:cubicBezTo>
                <a:cubicBezTo>
                  <a:pt x="3131" y="1398"/>
                  <a:pt x="3132" y="1398"/>
                  <a:pt x="3133" y="1398"/>
                </a:cubicBezTo>
                <a:cubicBezTo>
                  <a:pt x="3134" y="1398"/>
                  <a:pt x="3135" y="1398"/>
                  <a:pt x="3136" y="1398"/>
                </a:cubicBezTo>
                <a:cubicBezTo>
                  <a:pt x="3137" y="1398"/>
                  <a:pt x="3138" y="1398"/>
                  <a:pt x="3138" y="1398"/>
                </a:cubicBezTo>
                <a:cubicBezTo>
                  <a:pt x="3139" y="1399"/>
                  <a:pt x="3139" y="1399"/>
                  <a:pt x="3140" y="1399"/>
                </a:cubicBezTo>
                <a:cubicBezTo>
                  <a:pt x="3142" y="1399"/>
                  <a:pt x="3143" y="1397"/>
                  <a:pt x="3145" y="1398"/>
                </a:cubicBezTo>
                <a:cubicBezTo>
                  <a:pt x="3146" y="1398"/>
                  <a:pt x="3146" y="1398"/>
                  <a:pt x="3147" y="1399"/>
                </a:cubicBezTo>
                <a:cubicBezTo>
                  <a:pt x="3148" y="1399"/>
                  <a:pt x="3149" y="1398"/>
                  <a:pt x="3149" y="1398"/>
                </a:cubicBezTo>
                <a:cubicBezTo>
                  <a:pt x="3150" y="1398"/>
                  <a:pt x="3150" y="1398"/>
                  <a:pt x="3151" y="1398"/>
                </a:cubicBezTo>
                <a:cubicBezTo>
                  <a:pt x="3151" y="1398"/>
                  <a:pt x="3152" y="1397"/>
                  <a:pt x="3152" y="1397"/>
                </a:cubicBezTo>
                <a:cubicBezTo>
                  <a:pt x="3152" y="1397"/>
                  <a:pt x="3153" y="1397"/>
                  <a:pt x="3153" y="1397"/>
                </a:cubicBezTo>
                <a:close/>
                <a:moveTo>
                  <a:pt x="3185" y="1151"/>
                </a:moveTo>
                <a:cubicBezTo>
                  <a:pt x="3185" y="1151"/>
                  <a:pt x="3184" y="1152"/>
                  <a:pt x="3185" y="1152"/>
                </a:cubicBezTo>
                <a:cubicBezTo>
                  <a:pt x="3185" y="1152"/>
                  <a:pt x="3185" y="1152"/>
                  <a:pt x="3185" y="1152"/>
                </a:cubicBezTo>
                <a:cubicBezTo>
                  <a:pt x="3186" y="1152"/>
                  <a:pt x="3185" y="1152"/>
                  <a:pt x="3185" y="1152"/>
                </a:cubicBezTo>
                <a:cubicBezTo>
                  <a:pt x="3185" y="1152"/>
                  <a:pt x="3185" y="1151"/>
                  <a:pt x="3185" y="1151"/>
                </a:cubicBezTo>
                <a:close/>
                <a:moveTo>
                  <a:pt x="3195" y="1187"/>
                </a:moveTo>
                <a:cubicBezTo>
                  <a:pt x="3194" y="1187"/>
                  <a:pt x="3194" y="1187"/>
                  <a:pt x="3194" y="1187"/>
                </a:cubicBezTo>
                <a:cubicBezTo>
                  <a:pt x="3194" y="1187"/>
                  <a:pt x="3193" y="1186"/>
                  <a:pt x="3193" y="1186"/>
                </a:cubicBezTo>
                <a:cubicBezTo>
                  <a:pt x="3192" y="1186"/>
                  <a:pt x="3192" y="1186"/>
                  <a:pt x="3192" y="1185"/>
                </a:cubicBezTo>
                <a:cubicBezTo>
                  <a:pt x="3192" y="1185"/>
                  <a:pt x="3192" y="1185"/>
                  <a:pt x="3191" y="1185"/>
                </a:cubicBezTo>
                <a:cubicBezTo>
                  <a:pt x="3191" y="1184"/>
                  <a:pt x="3191" y="1184"/>
                  <a:pt x="3191" y="1184"/>
                </a:cubicBezTo>
                <a:cubicBezTo>
                  <a:pt x="3190" y="1184"/>
                  <a:pt x="3190" y="1185"/>
                  <a:pt x="3190" y="1185"/>
                </a:cubicBezTo>
                <a:cubicBezTo>
                  <a:pt x="3189" y="1186"/>
                  <a:pt x="3190" y="1186"/>
                  <a:pt x="3190" y="1187"/>
                </a:cubicBezTo>
                <a:cubicBezTo>
                  <a:pt x="3190" y="1187"/>
                  <a:pt x="3190" y="1188"/>
                  <a:pt x="3191" y="1189"/>
                </a:cubicBezTo>
                <a:cubicBezTo>
                  <a:pt x="3191" y="1189"/>
                  <a:pt x="3191" y="1190"/>
                  <a:pt x="3191" y="1190"/>
                </a:cubicBezTo>
                <a:cubicBezTo>
                  <a:pt x="3191" y="1191"/>
                  <a:pt x="3192" y="1192"/>
                  <a:pt x="3191" y="1193"/>
                </a:cubicBezTo>
                <a:cubicBezTo>
                  <a:pt x="3191" y="1194"/>
                  <a:pt x="3190" y="1194"/>
                  <a:pt x="3189" y="1194"/>
                </a:cubicBezTo>
                <a:cubicBezTo>
                  <a:pt x="3188" y="1193"/>
                  <a:pt x="3188" y="1193"/>
                  <a:pt x="3188" y="1193"/>
                </a:cubicBezTo>
                <a:cubicBezTo>
                  <a:pt x="3187" y="1192"/>
                  <a:pt x="3187" y="1194"/>
                  <a:pt x="3187" y="1194"/>
                </a:cubicBezTo>
                <a:cubicBezTo>
                  <a:pt x="3188" y="1195"/>
                  <a:pt x="3187" y="1196"/>
                  <a:pt x="3186" y="1195"/>
                </a:cubicBezTo>
                <a:cubicBezTo>
                  <a:pt x="3185" y="1195"/>
                  <a:pt x="3185" y="1194"/>
                  <a:pt x="3184" y="1193"/>
                </a:cubicBezTo>
                <a:cubicBezTo>
                  <a:pt x="3182" y="1193"/>
                  <a:pt x="3183" y="1196"/>
                  <a:pt x="3183" y="1197"/>
                </a:cubicBezTo>
                <a:cubicBezTo>
                  <a:pt x="3183" y="1197"/>
                  <a:pt x="3182" y="1197"/>
                  <a:pt x="3182" y="1197"/>
                </a:cubicBezTo>
                <a:cubicBezTo>
                  <a:pt x="3183" y="1198"/>
                  <a:pt x="3183" y="1198"/>
                  <a:pt x="3183" y="1198"/>
                </a:cubicBezTo>
                <a:cubicBezTo>
                  <a:pt x="3183" y="1199"/>
                  <a:pt x="3183" y="1199"/>
                  <a:pt x="3183" y="1199"/>
                </a:cubicBezTo>
                <a:cubicBezTo>
                  <a:pt x="3182" y="1200"/>
                  <a:pt x="3182" y="1200"/>
                  <a:pt x="3181" y="1199"/>
                </a:cubicBezTo>
                <a:cubicBezTo>
                  <a:pt x="3181" y="1199"/>
                  <a:pt x="3180" y="1199"/>
                  <a:pt x="3180" y="1198"/>
                </a:cubicBezTo>
                <a:cubicBezTo>
                  <a:pt x="3179" y="1198"/>
                  <a:pt x="3179" y="1198"/>
                  <a:pt x="3178" y="1199"/>
                </a:cubicBezTo>
                <a:cubicBezTo>
                  <a:pt x="3178" y="1199"/>
                  <a:pt x="3178" y="1199"/>
                  <a:pt x="3178" y="1199"/>
                </a:cubicBezTo>
                <a:cubicBezTo>
                  <a:pt x="3177" y="1200"/>
                  <a:pt x="3177" y="1200"/>
                  <a:pt x="3177" y="1200"/>
                </a:cubicBezTo>
                <a:cubicBezTo>
                  <a:pt x="3177" y="1201"/>
                  <a:pt x="3177" y="1201"/>
                  <a:pt x="3177" y="1201"/>
                </a:cubicBezTo>
                <a:cubicBezTo>
                  <a:pt x="3177" y="1202"/>
                  <a:pt x="3177" y="1202"/>
                  <a:pt x="3177" y="1202"/>
                </a:cubicBezTo>
                <a:cubicBezTo>
                  <a:pt x="3176" y="1203"/>
                  <a:pt x="3175" y="1203"/>
                  <a:pt x="3175" y="1203"/>
                </a:cubicBezTo>
                <a:cubicBezTo>
                  <a:pt x="3174" y="1203"/>
                  <a:pt x="3174" y="1203"/>
                  <a:pt x="3173" y="1203"/>
                </a:cubicBezTo>
                <a:cubicBezTo>
                  <a:pt x="3173" y="1204"/>
                  <a:pt x="3173" y="1204"/>
                  <a:pt x="3173" y="1204"/>
                </a:cubicBezTo>
                <a:cubicBezTo>
                  <a:pt x="3172" y="1204"/>
                  <a:pt x="3172" y="1204"/>
                  <a:pt x="3172" y="1205"/>
                </a:cubicBezTo>
                <a:cubicBezTo>
                  <a:pt x="3172" y="1205"/>
                  <a:pt x="3171" y="1205"/>
                  <a:pt x="3171" y="1205"/>
                </a:cubicBezTo>
                <a:cubicBezTo>
                  <a:pt x="3171" y="1205"/>
                  <a:pt x="3171" y="1206"/>
                  <a:pt x="3170" y="1206"/>
                </a:cubicBezTo>
                <a:cubicBezTo>
                  <a:pt x="3170" y="1206"/>
                  <a:pt x="3170" y="1205"/>
                  <a:pt x="3170" y="1205"/>
                </a:cubicBezTo>
                <a:cubicBezTo>
                  <a:pt x="3171" y="1205"/>
                  <a:pt x="3171" y="1204"/>
                  <a:pt x="3172" y="1204"/>
                </a:cubicBezTo>
                <a:cubicBezTo>
                  <a:pt x="3173" y="1203"/>
                  <a:pt x="3173" y="1203"/>
                  <a:pt x="3172" y="1202"/>
                </a:cubicBezTo>
                <a:cubicBezTo>
                  <a:pt x="3172" y="1201"/>
                  <a:pt x="3172" y="1201"/>
                  <a:pt x="3172" y="1200"/>
                </a:cubicBezTo>
                <a:cubicBezTo>
                  <a:pt x="3172" y="1199"/>
                  <a:pt x="3172" y="1199"/>
                  <a:pt x="3171" y="1198"/>
                </a:cubicBezTo>
                <a:cubicBezTo>
                  <a:pt x="3171" y="1198"/>
                  <a:pt x="3170" y="1198"/>
                  <a:pt x="3170" y="1198"/>
                </a:cubicBezTo>
                <a:cubicBezTo>
                  <a:pt x="3169" y="1197"/>
                  <a:pt x="3169" y="1199"/>
                  <a:pt x="3169" y="1198"/>
                </a:cubicBezTo>
                <a:cubicBezTo>
                  <a:pt x="3169" y="1198"/>
                  <a:pt x="3168" y="1198"/>
                  <a:pt x="3168" y="1198"/>
                </a:cubicBezTo>
                <a:cubicBezTo>
                  <a:pt x="3168" y="1197"/>
                  <a:pt x="3168" y="1197"/>
                  <a:pt x="3168" y="1197"/>
                </a:cubicBezTo>
                <a:cubicBezTo>
                  <a:pt x="3168" y="1197"/>
                  <a:pt x="3167" y="1197"/>
                  <a:pt x="3167" y="1197"/>
                </a:cubicBezTo>
                <a:cubicBezTo>
                  <a:pt x="3167" y="1197"/>
                  <a:pt x="3167" y="1197"/>
                  <a:pt x="3167" y="1197"/>
                </a:cubicBezTo>
                <a:cubicBezTo>
                  <a:pt x="3168" y="1198"/>
                  <a:pt x="3167" y="1198"/>
                  <a:pt x="3167" y="1198"/>
                </a:cubicBezTo>
                <a:cubicBezTo>
                  <a:pt x="3166" y="1199"/>
                  <a:pt x="3166" y="1199"/>
                  <a:pt x="3165" y="1199"/>
                </a:cubicBezTo>
                <a:cubicBezTo>
                  <a:pt x="3164" y="1199"/>
                  <a:pt x="3164" y="1199"/>
                  <a:pt x="3163" y="1200"/>
                </a:cubicBezTo>
                <a:cubicBezTo>
                  <a:pt x="3163" y="1200"/>
                  <a:pt x="3162" y="1201"/>
                  <a:pt x="3162" y="1202"/>
                </a:cubicBezTo>
                <a:cubicBezTo>
                  <a:pt x="3162" y="1202"/>
                  <a:pt x="3163" y="1203"/>
                  <a:pt x="3163" y="1203"/>
                </a:cubicBezTo>
                <a:cubicBezTo>
                  <a:pt x="3162" y="1203"/>
                  <a:pt x="3162" y="1204"/>
                  <a:pt x="3161" y="1204"/>
                </a:cubicBezTo>
                <a:cubicBezTo>
                  <a:pt x="3161" y="1204"/>
                  <a:pt x="3161" y="1204"/>
                  <a:pt x="3160" y="1204"/>
                </a:cubicBezTo>
                <a:cubicBezTo>
                  <a:pt x="3160" y="1204"/>
                  <a:pt x="3160" y="1204"/>
                  <a:pt x="3159" y="1204"/>
                </a:cubicBezTo>
                <a:cubicBezTo>
                  <a:pt x="3159" y="1204"/>
                  <a:pt x="3159" y="1204"/>
                  <a:pt x="3158" y="1204"/>
                </a:cubicBezTo>
                <a:cubicBezTo>
                  <a:pt x="3158" y="1204"/>
                  <a:pt x="3158" y="1204"/>
                  <a:pt x="3158" y="1204"/>
                </a:cubicBezTo>
                <a:cubicBezTo>
                  <a:pt x="3157" y="1205"/>
                  <a:pt x="3156" y="1205"/>
                  <a:pt x="3156" y="1205"/>
                </a:cubicBezTo>
                <a:cubicBezTo>
                  <a:pt x="3155" y="1205"/>
                  <a:pt x="3154" y="1205"/>
                  <a:pt x="3154" y="1206"/>
                </a:cubicBezTo>
                <a:cubicBezTo>
                  <a:pt x="3154" y="1207"/>
                  <a:pt x="3153" y="1207"/>
                  <a:pt x="3153" y="1208"/>
                </a:cubicBezTo>
                <a:cubicBezTo>
                  <a:pt x="3153" y="1208"/>
                  <a:pt x="3153" y="1209"/>
                  <a:pt x="3153" y="1209"/>
                </a:cubicBezTo>
                <a:cubicBezTo>
                  <a:pt x="3153" y="1210"/>
                  <a:pt x="3153" y="1210"/>
                  <a:pt x="3152" y="1211"/>
                </a:cubicBezTo>
                <a:cubicBezTo>
                  <a:pt x="3152" y="1211"/>
                  <a:pt x="3152" y="1212"/>
                  <a:pt x="3152" y="1213"/>
                </a:cubicBezTo>
                <a:cubicBezTo>
                  <a:pt x="3152" y="1213"/>
                  <a:pt x="3152" y="1213"/>
                  <a:pt x="3152" y="1214"/>
                </a:cubicBezTo>
                <a:cubicBezTo>
                  <a:pt x="3151" y="1214"/>
                  <a:pt x="3151" y="1214"/>
                  <a:pt x="3150" y="1215"/>
                </a:cubicBezTo>
                <a:cubicBezTo>
                  <a:pt x="3150" y="1216"/>
                  <a:pt x="3151" y="1218"/>
                  <a:pt x="3152" y="1218"/>
                </a:cubicBezTo>
                <a:cubicBezTo>
                  <a:pt x="3152" y="1218"/>
                  <a:pt x="3153" y="1218"/>
                  <a:pt x="3153" y="1218"/>
                </a:cubicBezTo>
                <a:cubicBezTo>
                  <a:pt x="3153" y="1217"/>
                  <a:pt x="3153" y="1217"/>
                  <a:pt x="3154" y="1217"/>
                </a:cubicBezTo>
                <a:cubicBezTo>
                  <a:pt x="3154" y="1216"/>
                  <a:pt x="3154" y="1216"/>
                  <a:pt x="3154" y="1215"/>
                </a:cubicBezTo>
                <a:cubicBezTo>
                  <a:pt x="3154" y="1215"/>
                  <a:pt x="3154" y="1214"/>
                  <a:pt x="3154" y="1214"/>
                </a:cubicBezTo>
                <a:cubicBezTo>
                  <a:pt x="3154" y="1214"/>
                  <a:pt x="3155" y="1213"/>
                  <a:pt x="3155" y="1213"/>
                </a:cubicBezTo>
                <a:cubicBezTo>
                  <a:pt x="3155" y="1213"/>
                  <a:pt x="3156" y="1212"/>
                  <a:pt x="3156" y="1212"/>
                </a:cubicBezTo>
                <a:cubicBezTo>
                  <a:pt x="3156" y="1212"/>
                  <a:pt x="3155" y="1212"/>
                  <a:pt x="3155" y="1212"/>
                </a:cubicBezTo>
                <a:cubicBezTo>
                  <a:pt x="3155" y="1212"/>
                  <a:pt x="3155" y="1211"/>
                  <a:pt x="3156" y="1211"/>
                </a:cubicBezTo>
                <a:cubicBezTo>
                  <a:pt x="3156" y="1211"/>
                  <a:pt x="3156" y="1211"/>
                  <a:pt x="3156" y="1211"/>
                </a:cubicBezTo>
                <a:cubicBezTo>
                  <a:pt x="3157" y="1211"/>
                  <a:pt x="3157" y="1211"/>
                  <a:pt x="3157" y="1211"/>
                </a:cubicBezTo>
                <a:cubicBezTo>
                  <a:pt x="3157" y="1210"/>
                  <a:pt x="3157" y="1210"/>
                  <a:pt x="3157" y="1210"/>
                </a:cubicBezTo>
                <a:cubicBezTo>
                  <a:pt x="3157" y="1210"/>
                  <a:pt x="3157" y="1210"/>
                  <a:pt x="3157" y="1210"/>
                </a:cubicBezTo>
                <a:cubicBezTo>
                  <a:pt x="3156" y="1210"/>
                  <a:pt x="3157" y="1209"/>
                  <a:pt x="3157" y="1209"/>
                </a:cubicBezTo>
                <a:cubicBezTo>
                  <a:pt x="3158" y="1208"/>
                  <a:pt x="3158" y="1208"/>
                  <a:pt x="3159" y="1208"/>
                </a:cubicBezTo>
                <a:cubicBezTo>
                  <a:pt x="3160" y="1208"/>
                  <a:pt x="3160" y="1208"/>
                  <a:pt x="3161" y="1208"/>
                </a:cubicBezTo>
                <a:cubicBezTo>
                  <a:pt x="3161" y="1209"/>
                  <a:pt x="3160" y="1209"/>
                  <a:pt x="3160" y="1209"/>
                </a:cubicBezTo>
                <a:cubicBezTo>
                  <a:pt x="3160" y="1209"/>
                  <a:pt x="3160" y="1210"/>
                  <a:pt x="3160" y="1210"/>
                </a:cubicBezTo>
                <a:cubicBezTo>
                  <a:pt x="3160" y="1210"/>
                  <a:pt x="3161" y="1210"/>
                  <a:pt x="3160" y="1211"/>
                </a:cubicBezTo>
                <a:cubicBezTo>
                  <a:pt x="3160" y="1211"/>
                  <a:pt x="3161" y="1212"/>
                  <a:pt x="3161" y="1211"/>
                </a:cubicBezTo>
                <a:cubicBezTo>
                  <a:pt x="3161" y="1211"/>
                  <a:pt x="3162" y="1210"/>
                  <a:pt x="3162" y="1211"/>
                </a:cubicBezTo>
                <a:cubicBezTo>
                  <a:pt x="3162" y="1211"/>
                  <a:pt x="3162" y="1211"/>
                  <a:pt x="3162" y="1211"/>
                </a:cubicBezTo>
                <a:cubicBezTo>
                  <a:pt x="3163" y="1212"/>
                  <a:pt x="3163" y="1211"/>
                  <a:pt x="3163" y="1211"/>
                </a:cubicBezTo>
                <a:cubicBezTo>
                  <a:pt x="3163" y="1211"/>
                  <a:pt x="3163" y="1211"/>
                  <a:pt x="3163" y="1211"/>
                </a:cubicBezTo>
                <a:cubicBezTo>
                  <a:pt x="3163" y="1211"/>
                  <a:pt x="3163" y="1211"/>
                  <a:pt x="3163" y="1211"/>
                </a:cubicBezTo>
                <a:cubicBezTo>
                  <a:pt x="3163" y="1210"/>
                  <a:pt x="3163" y="1210"/>
                  <a:pt x="3163" y="1210"/>
                </a:cubicBezTo>
                <a:cubicBezTo>
                  <a:pt x="3163" y="1209"/>
                  <a:pt x="3163" y="1209"/>
                  <a:pt x="3164" y="1209"/>
                </a:cubicBezTo>
                <a:cubicBezTo>
                  <a:pt x="3164" y="1209"/>
                  <a:pt x="3164" y="1208"/>
                  <a:pt x="3164" y="1209"/>
                </a:cubicBezTo>
                <a:cubicBezTo>
                  <a:pt x="3164" y="1209"/>
                  <a:pt x="3164" y="1209"/>
                  <a:pt x="3164" y="1209"/>
                </a:cubicBezTo>
                <a:cubicBezTo>
                  <a:pt x="3165" y="1210"/>
                  <a:pt x="3165" y="1210"/>
                  <a:pt x="3165" y="1210"/>
                </a:cubicBezTo>
                <a:cubicBezTo>
                  <a:pt x="3165" y="1210"/>
                  <a:pt x="3165" y="1210"/>
                  <a:pt x="3165" y="1210"/>
                </a:cubicBezTo>
                <a:cubicBezTo>
                  <a:pt x="3164" y="1210"/>
                  <a:pt x="3164" y="1210"/>
                  <a:pt x="3164" y="1210"/>
                </a:cubicBezTo>
                <a:cubicBezTo>
                  <a:pt x="3164" y="1210"/>
                  <a:pt x="3164" y="1211"/>
                  <a:pt x="3165" y="1211"/>
                </a:cubicBezTo>
                <a:cubicBezTo>
                  <a:pt x="3165" y="1211"/>
                  <a:pt x="3165" y="1210"/>
                  <a:pt x="3166" y="1211"/>
                </a:cubicBezTo>
                <a:cubicBezTo>
                  <a:pt x="3166" y="1211"/>
                  <a:pt x="3166" y="1211"/>
                  <a:pt x="3166" y="1212"/>
                </a:cubicBezTo>
                <a:cubicBezTo>
                  <a:pt x="3166" y="1212"/>
                  <a:pt x="3167" y="1212"/>
                  <a:pt x="3167" y="1212"/>
                </a:cubicBezTo>
                <a:cubicBezTo>
                  <a:pt x="3167" y="1212"/>
                  <a:pt x="3167" y="1212"/>
                  <a:pt x="3167" y="1213"/>
                </a:cubicBezTo>
                <a:cubicBezTo>
                  <a:pt x="3167" y="1213"/>
                  <a:pt x="3168" y="1212"/>
                  <a:pt x="3168" y="1212"/>
                </a:cubicBezTo>
                <a:cubicBezTo>
                  <a:pt x="3168" y="1212"/>
                  <a:pt x="3167" y="1212"/>
                  <a:pt x="3167" y="1211"/>
                </a:cubicBezTo>
                <a:cubicBezTo>
                  <a:pt x="3167" y="1211"/>
                  <a:pt x="3167" y="1211"/>
                  <a:pt x="3167" y="1211"/>
                </a:cubicBezTo>
                <a:cubicBezTo>
                  <a:pt x="3167" y="1211"/>
                  <a:pt x="3167" y="1211"/>
                  <a:pt x="3167" y="1210"/>
                </a:cubicBezTo>
                <a:cubicBezTo>
                  <a:pt x="3167" y="1210"/>
                  <a:pt x="3168" y="1210"/>
                  <a:pt x="3168" y="1210"/>
                </a:cubicBezTo>
                <a:cubicBezTo>
                  <a:pt x="3168" y="1209"/>
                  <a:pt x="3168" y="1209"/>
                  <a:pt x="3168" y="1208"/>
                </a:cubicBezTo>
                <a:cubicBezTo>
                  <a:pt x="3168" y="1208"/>
                  <a:pt x="3168" y="1207"/>
                  <a:pt x="3169" y="1207"/>
                </a:cubicBezTo>
                <a:cubicBezTo>
                  <a:pt x="3169" y="1207"/>
                  <a:pt x="3170" y="1207"/>
                  <a:pt x="3170" y="1207"/>
                </a:cubicBezTo>
                <a:cubicBezTo>
                  <a:pt x="3171" y="1208"/>
                  <a:pt x="3171" y="1208"/>
                  <a:pt x="3171" y="1208"/>
                </a:cubicBezTo>
                <a:cubicBezTo>
                  <a:pt x="3172" y="1209"/>
                  <a:pt x="3172" y="1209"/>
                  <a:pt x="3173" y="1209"/>
                </a:cubicBezTo>
                <a:cubicBezTo>
                  <a:pt x="3173" y="1209"/>
                  <a:pt x="3174" y="1209"/>
                  <a:pt x="3174" y="1209"/>
                </a:cubicBezTo>
                <a:cubicBezTo>
                  <a:pt x="3175" y="1210"/>
                  <a:pt x="3175" y="1210"/>
                  <a:pt x="3175" y="1211"/>
                </a:cubicBezTo>
                <a:cubicBezTo>
                  <a:pt x="3176" y="1211"/>
                  <a:pt x="3176" y="1212"/>
                  <a:pt x="3176" y="1212"/>
                </a:cubicBezTo>
                <a:cubicBezTo>
                  <a:pt x="3176" y="1212"/>
                  <a:pt x="3177" y="1212"/>
                  <a:pt x="3177" y="1212"/>
                </a:cubicBezTo>
                <a:cubicBezTo>
                  <a:pt x="3177" y="1212"/>
                  <a:pt x="3177" y="1213"/>
                  <a:pt x="3177" y="1213"/>
                </a:cubicBezTo>
                <a:cubicBezTo>
                  <a:pt x="3177" y="1213"/>
                  <a:pt x="3177" y="1213"/>
                  <a:pt x="3177" y="1213"/>
                </a:cubicBezTo>
                <a:cubicBezTo>
                  <a:pt x="3177" y="1214"/>
                  <a:pt x="3177" y="1214"/>
                  <a:pt x="3176" y="1214"/>
                </a:cubicBezTo>
                <a:cubicBezTo>
                  <a:pt x="3176" y="1214"/>
                  <a:pt x="3176" y="1215"/>
                  <a:pt x="3176" y="1215"/>
                </a:cubicBezTo>
                <a:cubicBezTo>
                  <a:pt x="3175" y="1215"/>
                  <a:pt x="3175" y="1215"/>
                  <a:pt x="3175" y="1215"/>
                </a:cubicBezTo>
                <a:cubicBezTo>
                  <a:pt x="3175" y="1215"/>
                  <a:pt x="3174" y="1216"/>
                  <a:pt x="3174" y="1216"/>
                </a:cubicBezTo>
                <a:cubicBezTo>
                  <a:pt x="3174" y="1216"/>
                  <a:pt x="3174" y="1217"/>
                  <a:pt x="3174" y="1217"/>
                </a:cubicBezTo>
                <a:cubicBezTo>
                  <a:pt x="3174" y="1217"/>
                  <a:pt x="3174" y="1218"/>
                  <a:pt x="3174" y="1218"/>
                </a:cubicBezTo>
                <a:cubicBezTo>
                  <a:pt x="3174" y="1218"/>
                  <a:pt x="3174" y="1218"/>
                  <a:pt x="3174" y="1219"/>
                </a:cubicBezTo>
                <a:cubicBezTo>
                  <a:pt x="3174" y="1219"/>
                  <a:pt x="3174" y="1219"/>
                  <a:pt x="3175" y="1219"/>
                </a:cubicBezTo>
                <a:cubicBezTo>
                  <a:pt x="3175" y="1220"/>
                  <a:pt x="3174" y="1220"/>
                  <a:pt x="3175" y="1220"/>
                </a:cubicBezTo>
                <a:cubicBezTo>
                  <a:pt x="3175" y="1221"/>
                  <a:pt x="3175" y="1221"/>
                  <a:pt x="3175" y="1221"/>
                </a:cubicBezTo>
                <a:cubicBezTo>
                  <a:pt x="3175" y="1222"/>
                  <a:pt x="3175" y="1222"/>
                  <a:pt x="3175" y="1222"/>
                </a:cubicBezTo>
                <a:cubicBezTo>
                  <a:pt x="3175" y="1223"/>
                  <a:pt x="3175" y="1223"/>
                  <a:pt x="3175" y="1224"/>
                </a:cubicBezTo>
                <a:cubicBezTo>
                  <a:pt x="3175" y="1225"/>
                  <a:pt x="3176" y="1225"/>
                  <a:pt x="3177" y="1226"/>
                </a:cubicBezTo>
                <a:cubicBezTo>
                  <a:pt x="3177" y="1226"/>
                  <a:pt x="3178" y="1227"/>
                  <a:pt x="3178" y="1227"/>
                </a:cubicBezTo>
                <a:cubicBezTo>
                  <a:pt x="3179" y="1227"/>
                  <a:pt x="3179" y="1228"/>
                  <a:pt x="3180" y="1228"/>
                </a:cubicBezTo>
                <a:cubicBezTo>
                  <a:pt x="3181" y="1228"/>
                  <a:pt x="3182" y="1229"/>
                  <a:pt x="3183" y="1229"/>
                </a:cubicBezTo>
                <a:cubicBezTo>
                  <a:pt x="3183" y="1229"/>
                  <a:pt x="3183" y="1229"/>
                  <a:pt x="3184" y="1229"/>
                </a:cubicBezTo>
                <a:cubicBezTo>
                  <a:pt x="3184" y="1230"/>
                  <a:pt x="3186" y="1231"/>
                  <a:pt x="3187" y="1230"/>
                </a:cubicBezTo>
                <a:cubicBezTo>
                  <a:pt x="3187" y="1229"/>
                  <a:pt x="3187" y="1228"/>
                  <a:pt x="3188" y="1227"/>
                </a:cubicBezTo>
                <a:cubicBezTo>
                  <a:pt x="3189" y="1227"/>
                  <a:pt x="3189" y="1228"/>
                  <a:pt x="3189" y="1229"/>
                </a:cubicBezTo>
                <a:cubicBezTo>
                  <a:pt x="3189" y="1229"/>
                  <a:pt x="3188" y="1230"/>
                  <a:pt x="3188" y="1230"/>
                </a:cubicBezTo>
                <a:cubicBezTo>
                  <a:pt x="3188" y="1231"/>
                  <a:pt x="3188" y="1231"/>
                  <a:pt x="3189" y="1231"/>
                </a:cubicBezTo>
                <a:cubicBezTo>
                  <a:pt x="3189" y="1231"/>
                  <a:pt x="3189" y="1232"/>
                  <a:pt x="3189" y="1233"/>
                </a:cubicBezTo>
                <a:cubicBezTo>
                  <a:pt x="3189" y="1233"/>
                  <a:pt x="3191" y="1233"/>
                  <a:pt x="3191" y="1233"/>
                </a:cubicBezTo>
                <a:cubicBezTo>
                  <a:pt x="3191" y="1232"/>
                  <a:pt x="3192" y="1230"/>
                  <a:pt x="3194" y="1229"/>
                </a:cubicBezTo>
                <a:cubicBezTo>
                  <a:pt x="3195" y="1228"/>
                  <a:pt x="3194" y="1226"/>
                  <a:pt x="3193" y="1225"/>
                </a:cubicBezTo>
                <a:cubicBezTo>
                  <a:pt x="3193" y="1224"/>
                  <a:pt x="3193" y="1224"/>
                  <a:pt x="3193" y="1223"/>
                </a:cubicBezTo>
                <a:cubicBezTo>
                  <a:pt x="3193" y="1223"/>
                  <a:pt x="3193" y="1223"/>
                  <a:pt x="3193" y="1222"/>
                </a:cubicBezTo>
                <a:cubicBezTo>
                  <a:pt x="3193" y="1222"/>
                  <a:pt x="3192" y="1222"/>
                  <a:pt x="3191" y="1222"/>
                </a:cubicBezTo>
                <a:cubicBezTo>
                  <a:pt x="3191" y="1221"/>
                  <a:pt x="3191" y="1221"/>
                  <a:pt x="3191" y="1221"/>
                </a:cubicBezTo>
                <a:cubicBezTo>
                  <a:pt x="3190" y="1221"/>
                  <a:pt x="3190" y="1221"/>
                  <a:pt x="3190" y="1221"/>
                </a:cubicBezTo>
                <a:cubicBezTo>
                  <a:pt x="3190" y="1220"/>
                  <a:pt x="3190" y="1219"/>
                  <a:pt x="3190" y="1219"/>
                </a:cubicBezTo>
                <a:cubicBezTo>
                  <a:pt x="3191" y="1218"/>
                  <a:pt x="3191" y="1218"/>
                  <a:pt x="3191" y="1217"/>
                </a:cubicBezTo>
                <a:cubicBezTo>
                  <a:pt x="3191" y="1217"/>
                  <a:pt x="3191" y="1216"/>
                  <a:pt x="3192" y="1216"/>
                </a:cubicBezTo>
                <a:cubicBezTo>
                  <a:pt x="3192" y="1216"/>
                  <a:pt x="3192" y="1216"/>
                  <a:pt x="3193" y="1216"/>
                </a:cubicBezTo>
                <a:cubicBezTo>
                  <a:pt x="3193" y="1216"/>
                  <a:pt x="3193" y="1216"/>
                  <a:pt x="3194" y="1216"/>
                </a:cubicBezTo>
                <a:cubicBezTo>
                  <a:pt x="3194" y="1216"/>
                  <a:pt x="3194" y="1216"/>
                  <a:pt x="3194" y="1216"/>
                </a:cubicBezTo>
                <a:cubicBezTo>
                  <a:pt x="3194" y="1216"/>
                  <a:pt x="3194" y="1217"/>
                  <a:pt x="3194" y="1217"/>
                </a:cubicBezTo>
                <a:cubicBezTo>
                  <a:pt x="3194" y="1217"/>
                  <a:pt x="3194" y="1217"/>
                  <a:pt x="3194" y="1217"/>
                </a:cubicBezTo>
                <a:cubicBezTo>
                  <a:pt x="3194" y="1217"/>
                  <a:pt x="3194" y="1218"/>
                  <a:pt x="3194" y="1218"/>
                </a:cubicBezTo>
                <a:cubicBezTo>
                  <a:pt x="3194" y="1218"/>
                  <a:pt x="3194" y="1217"/>
                  <a:pt x="3194" y="1217"/>
                </a:cubicBezTo>
                <a:cubicBezTo>
                  <a:pt x="3194" y="1217"/>
                  <a:pt x="3194" y="1218"/>
                  <a:pt x="3195" y="1218"/>
                </a:cubicBezTo>
                <a:cubicBezTo>
                  <a:pt x="3195" y="1217"/>
                  <a:pt x="3195" y="1216"/>
                  <a:pt x="3195" y="1216"/>
                </a:cubicBezTo>
                <a:cubicBezTo>
                  <a:pt x="3195" y="1215"/>
                  <a:pt x="3194" y="1215"/>
                  <a:pt x="3194" y="1215"/>
                </a:cubicBezTo>
                <a:cubicBezTo>
                  <a:pt x="3193" y="1215"/>
                  <a:pt x="3193" y="1215"/>
                  <a:pt x="3193" y="1214"/>
                </a:cubicBezTo>
                <a:cubicBezTo>
                  <a:pt x="3193" y="1214"/>
                  <a:pt x="3193" y="1213"/>
                  <a:pt x="3194" y="1213"/>
                </a:cubicBezTo>
                <a:cubicBezTo>
                  <a:pt x="3194" y="1213"/>
                  <a:pt x="3195" y="1213"/>
                  <a:pt x="3195" y="1212"/>
                </a:cubicBezTo>
                <a:cubicBezTo>
                  <a:pt x="3195" y="1212"/>
                  <a:pt x="3195" y="1212"/>
                  <a:pt x="3195" y="1212"/>
                </a:cubicBezTo>
                <a:cubicBezTo>
                  <a:pt x="3196" y="1213"/>
                  <a:pt x="3195" y="1213"/>
                  <a:pt x="3196" y="1214"/>
                </a:cubicBezTo>
                <a:cubicBezTo>
                  <a:pt x="3196" y="1214"/>
                  <a:pt x="3196" y="1214"/>
                  <a:pt x="3196" y="1215"/>
                </a:cubicBezTo>
                <a:cubicBezTo>
                  <a:pt x="3196" y="1215"/>
                  <a:pt x="3196" y="1215"/>
                  <a:pt x="3196" y="1215"/>
                </a:cubicBezTo>
                <a:cubicBezTo>
                  <a:pt x="3196" y="1215"/>
                  <a:pt x="3196" y="1215"/>
                  <a:pt x="3196" y="1216"/>
                </a:cubicBezTo>
                <a:cubicBezTo>
                  <a:pt x="3197" y="1216"/>
                  <a:pt x="3197" y="1216"/>
                  <a:pt x="3197" y="1216"/>
                </a:cubicBezTo>
                <a:cubicBezTo>
                  <a:pt x="3197" y="1217"/>
                  <a:pt x="3197" y="1217"/>
                  <a:pt x="3197" y="1217"/>
                </a:cubicBezTo>
                <a:cubicBezTo>
                  <a:pt x="3197" y="1218"/>
                  <a:pt x="3198" y="1218"/>
                  <a:pt x="3198" y="1218"/>
                </a:cubicBezTo>
                <a:cubicBezTo>
                  <a:pt x="3198" y="1218"/>
                  <a:pt x="3198" y="1219"/>
                  <a:pt x="3198" y="1219"/>
                </a:cubicBezTo>
                <a:cubicBezTo>
                  <a:pt x="3198" y="1220"/>
                  <a:pt x="3198" y="1221"/>
                  <a:pt x="3198" y="1221"/>
                </a:cubicBezTo>
                <a:cubicBezTo>
                  <a:pt x="3198" y="1222"/>
                  <a:pt x="3198" y="1222"/>
                  <a:pt x="3198" y="1223"/>
                </a:cubicBezTo>
                <a:cubicBezTo>
                  <a:pt x="3199" y="1223"/>
                  <a:pt x="3199" y="1223"/>
                  <a:pt x="3199" y="1223"/>
                </a:cubicBezTo>
                <a:cubicBezTo>
                  <a:pt x="3199" y="1224"/>
                  <a:pt x="3199" y="1224"/>
                  <a:pt x="3199" y="1224"/>
                </a:cubicBezTo>
                <a:cubicBezTo>
                  <a:pt x="3199" y="1224"/>
                  <a:pt x="3199" y="1225"/>
                  <a:pt x="3199" y="1225"/>
                </a:cubicBezTo>
                <a:cubicBezTo>
                  <a:pt x="3200" y="1225"/>
                  <a:pt x="3200" y="1224"/>
                  <a:pt x="3200" y="1224"/>
                </a:cubicBezTo>
                <a:cubicBezTo>
                  <a:pt x="3200" y="1223"/>
                  <a:pt x="3200" y="1222"/>
                  <a:pt x="3200" y="1221"/>
                </a:cubicBezTo>
                <a:cubicBezTo>
                  <a:pt x="3200" y="1220"/>
                  <a:pt x="3200" y="1220"/>
                  <a:pt x="3200" y="1219"/>
                </a:cubicBezTo>
                <a:cubicBezTo>
                  <a:pt x="3200" y="1219"/>
                  <a:pt x="3199" y="1218"/>
                  <a:pt x="3199" y="1218"/>
                </a:cubicBezTo>
                <a:cubicBezTo>
                  <a:pt x="3199" y="1217"/>
                  <a:pt x="3200" y="1217"/>
                  <a:pt x="3200" y="1217"/>
                </a:cubicBezTo>
                <a:cubicBezTo>
                  <a:pt x="3200" y="1218"/>
                  <a:pt x="3200" y="1217"/>
                  <a:pt x="3201" y="1217"/>
                </a:cubicBezTo>
                <a:cubicBezTo>
                  <a:pt x="3201" y="1216"/>
                  <a:pt x="3202" y="1217"/>
                  <a:pt x="3202" y="1216"/>
                </a:cubicBezTo>
                <a:cubicBezTo>
                  <a:pt x="3203" y="1216"/>
                  <a:pt x="3203" y="1215"/>
                  <a:pt x="3203" y="1215"/>
                </a:cubicBezTo>
                <a:cubicBezTo>
                  <a:pt x="3203" y="1214"/>
                  <a:pt x="3204" y="1214"/>
                  <a:pt x="3204" y="1213"/>
                </a:cubicBezTo>
                <a:cubicBezTo>
                  <a:pt x="3204" y="1213"/>
                  <a:pt x="3203" y="1213"/>
                  <a:pt x="3203" y="1213"/>
                </a:cubicBezTo>
                <a:cubicBezTo>
                  <a:pt x="3203" y="1212"/>
                  <a:pt x="3204" y="1212"/>
                  <a:pt x="3203" y="1212"/>
                </a:cubicBezTo>
                <a:cubicBezTo>
                  <a:pt x="3203" y="1211"/>
                  <a:pt x="3204" y="1211"/>
                  <a:pt x="3204" y="1211"/>
                </a:cubicBezTo>
                <a:cubicBezTo>
                  <a:pt x="3204" y="1211"/>
                  <a:pt x="3204" y="1210"/>
                  <a:pt x="3204" y="1210"/>
                </a:cubicBezTo>
                <a:cubicBezTo>
                  <a:pt x="3203" y="1210"/>
                  <a:pt x="3204" y="1209"/>
                  <a:pt x="3204" y="1209"/>
                </a:cubicBezTo>
                <a:cubicBezTo>
                  <a:pt x="3203" y="1209"/>
                  <a:pt x="3203" y="1209"/>
                  <a:pt x="3203" y="1208"/>
                </a:cubicBezTo>
                <a:cubicBezTo>
                  <a:pt x="3203" y="1208"/>
                  <a:pt x="3203" y="1208"/>
                  <a:pt x="3203" y="1208"/>
                </a:cubicBezTo>
                <a:cubicBezTo>
                  <a:pt x="3203" y="1208"/>
                  <a:pt x="3202" y="1207"/>
                  <a:pt x="3202" y="1207"/>
                </a:cubicBezTo>
                <a:cubicBezTo>
                  <a:pt x="3202" y="1207"/>
                  <a:pt x="3202" y="1207"/>
                  <a:pt x="3201" y="1206"/>
                </a:cubicBezTo>
                <a:cubicBezTo>
                  <a:pt x="3201" y="1206"/>
                  <a:pt x="3201" y="1206"/>
                  <a:pt x="3202" y="1206"/>
                </a:cubicBezTo>
                <a:cubicBezTo>
                  <a:pt x="3202" y="1205"/>
                  <a:pt x="3202" y="1205"/>
                  <a:pt x="3202" y="1205"/>
                </a:cubicBezTo>
                <a:cubicBezTo>
                  <a:pt x="3202" y="1205"/>
                  <a:pt x="3202" y="1205"/>
                  <a:pt x="3202" y="1204"/>
                </a:cubicBezTo>
                <a:cubicBezTo>
                  <a:pt x="3202" y="1204"/>
                  <a:pt x="3202" y="1204"/>
                  <a:pt x="3202" y="1203"/>
                </a:cubicBezTo>
                <a:cubicBezTo>
                  <a:pt x="3202" y="1203"/>
                  <a:pt x="3202" y="1203"/>
                  <a:pt x="3202" y="1202"/>
                </a:cubicBezTo>
                <a:cubicBezTo>
                  <a:pt x="3202" y="1202"/>
                  <a:pt x="3202" y="1202"/>
                  <a:pt x="3202" y="1202"/>
                </a:cubicBezTo>
                <a:cubicBezTo>
                  <a:pt x="3201" y="1202"/>
                  <a:pt x="3201" y="1203"/>
                  <a:pt x="3201" y="1203"/>
                </a:cubicBezTo>
                <a:cubicBezTo>
                  <a:pt x="3201" y="1203"/>
                  <a:pt x="3200" y="1202"/>
                  <a:pt x="3201" y="1202"/>
                </a:cubicBezTo>
                <a:cubicBezTo>
                  <a:pt x="3201" y="1202"/>
                  <a:pt x="3202" y="1202"/>
                  <a:pt x="3201" y="1201"/>
                </a:cubicBezTo>
                <a:cubicBezTo>
                  <a:pt x="3201" y="1201"/>
                  <a:pt x="3201" y="1201"/>
                  <a:pt x="3201" y="1201"/>
                </a:cubicBezTo>
                <a:cubicBezTo>
                  <a:pt x="3201" y="1200"/>
                  <a:pt x="3201" y="1200"/>
                  <a:pt x="3201" y="1200"/>
                </a:cubicBezTo>
                <a:cubicBezTo>
                  <a:pt x="3201" y="1200"/>
                  <a:pt x="3201" y="1200"/>
                  <a:pt x="3201" y="1199"/>
                </a:cubicBezTo>
                <a:cubicBezTo>
                  <a:pt x="3201" y="1199"/>
                  <a:pt x="3202" y="1200"/>
                  <a:pt x="3201" y="1199"/>
                </a:cubicBezTo>
                <a:cubicBezTo>
                  <a:pt x="3201" y="1198"/>
                  <a:pt x="3201" y="1199"/>
                  <a:pt x="3200" y="1199"/>
                </a:cubicBezTo>
                <a:cubicBezTo>
                  <a:pt x="3200" y="1199"/>
                  <a:pt x="3200" y="1198"/>
                  <a:pt x="3199" y="1198"/>
                </a:cubicBezTo>
                <a:cubicBezTo>
                  <a:pt x="3199" y="1199"/>
                  <a:pt x="3199" y="1199"/>
                  <a:pt x="3199" y="1199"/>
                </a:cubicBezTo>
                <a:cubicBezTo>
                  <a:pt x="3199" y="1199"/>
                  <a:pt x="3198" y="1199"/>
                  <a:pt x="3198" y="1199"/>
                </a:cubicBezTo>
                <a:cubicBezTo>
                  <a:pt x="3198" y="1199"/>
                  <a:pt x="3198" y="1198"/>
                  <a:pt x="3198" y="1198"/>
                </a:cubicBezTo>
                <a:cubicBezTo>
                  <a:pt x="3198" y="1198"/>
                  <a:pt x="3198" y="1198"/>
                  <a:pt x="3198" y="1197"/>
                </a:cubicBezTo>
                <a:cubicBezTo>
                  <a:pt x="3198" y="1197"/>
                  <a:pt x="3199" y="1197"/>
                  <a:pt x="3199" y="1197"/>
                </a:cubicBezTo>
                <a:cubicBezTo>
                  <a:pt x="3199" y="1197"/>
                  <a:pt x="3199" y="1196"/>
                  <a:pt x="3200" y="1196"/>
                </a:cubicBezTo>
                <a:cubicBezTo>
                  <a:pt x="3200" y="1196"/>
                  <a:pt x="3200" y="1196"/>
                  <a:pt x="3200" y="1195"/>
                </a:cubicBezTo>
                <a:cubicBezTo>
                  <a:pt x="3201" y="1194"/>
                  <a:pt x="3199" y="1193"/>
                  <a:pt x="3199" y="1192"/>
                </a:cubicBezTo>
                <a:cubicBezTo>
                  <a:pt x="3199" y="1191"/>
                  <a:pt x="3199" y="1191"/>
                  <a:pt x="3199" y="1191"/>
                </a:cubicBezTo>
                <a:cubicBezTo>
                  <a:pt x="3199" y="1190"/>
                  <a:pt x="3199" y="1190"/>
                  <a:pt x="3199" y="1190"/>
                </a:cubicBezTo>
                <a:cubicBezTo>
                  <a:pt x="3199" y="1190"/>
                  <a:pt x="3198" y="1190"/>
                  <a:pt x="3198" y="1190"/>
                </a:cubicBezTo>
                <a:cubicBezTo>
                  <a:pt x="3197" y="1191"/>
                  <a:pt x="3197" y="1190"/>
                  <a:pt x="3197" y="1190"/>
                </a:cubicBezTo>
                <a:cubicBezTo>
                  <a:pt x="3196" y="1189"/>
                  <a:pt x="3197" y="1189"/>
                  <a:pt x="3196" y="1189"/>
                </a:cubicBezTo>
                <a:cubicBezTo>
                  <a:pt x="3196" y="1189"/>
                  <a:pt x="3196" y="1189"/>
                  <a:pt x="3196" y="1188"/>
                </a:cubicBezTo>
                <a:cubicBezTo>
                  <a:pt x="3196" y="1188"/>
                  <a:pt x="3195" y="1187"/>
                  <a:pt x="3195" y="1187"/>
                </a:cubicBezTo>
                <a:close/>
                <a:moveTo>
                  <a:pt x="3196" y="1184"/>
                </a:moveTo>
                <a:cubicBezTo>
                  <a:pt x="3196" y="1184"/>
                  <a:pt x="3197" y="1184"/>
                  <a:pt x="3197" y="1185"/>
                </a:cubicBezTo>
                <a:cubicBezTo>
                  <a:pt x="3198" y="1185"/>
                  <a:pt x="3198" y="1185"/>
                  <a:pt x="3198" y="1184"/>
                </a:cubicBezTo>
                <a:cubicBezTo>
                  <a:pt x="3199" y="1184"/>
                  <a:pt x="3198" y="1184"/>
                  <a:pt x="3198" y="1184"/>
                </a:cubicBezTo>
                <a:cubicBezTo>
                  <a:pt x="3198" y="1183"/>
                  <a:pt x="3198" y="1183"/>
                  <a:pt x="3198" y="1183"/>
                </a:cubicBezTo>
                <a:cubicBezTo>
                  <a:pt x="3198" y="1183"/>
                  <a:pt x="3198" y="1183"/>
                  <a:pt x="3198" y="1182"/>
                </a:cubicBezTo>
                <a:cubicBezTo>
                  <a:pt x="3198" y="1182"/>
                  <a:pt x="3198" y="1182"/>
                  <a:pt x="3198" y="1181"/>
                </a:cubicBezTo>
                <a:cubicBezTo>
                  <a:pt x="3197" y="1181"/>
                  <a:pt x="3197" y="1181"/>
                  <a:pt x="3197" y="1182"/>
                </a:cubicBezTo>
                <a:cubicBezTo>
                  <a:pt x="3197" y="1182"/>
                  <a:pt x="3197" y="1182"/>
                  <a:pt x="3197" y="1182"/>
                </a:cubicBezTo>
                <a:cubicBezTo>
                  <a:pt x="3197" y="1183"/>
                  <a:pt x="3196" y="1183"/>
                  <a:pt x="3196" y="1183"/>
                </a:cubicBezTo>
                <a:cubicBezTo>
                  <a:pt x="3196" y="1183"/>
                  <a:pt x="3196" y="1183"/>
                  <a:pt x="3196" y="1183"/>
                </a:cubicBezTo>
                <a:cubicBezTo>
                  <a:pt x="3196" y="1184"/>
                  <a:pt x="3196" y="1183"/>
                  <a:pt x="3196" y="1184"/>
                </a:cubicBezTo>
                <a:close/>
                <a:moveTo>
                  <a:pt x="3196" y="1187"/>
                </a:moveTo>
                <a:cubicBezTo>
                  <a:pt x="3196" y="1187"/>
                  <a:pt x="3197" y="1186"/>
                  <a:pt x="3197" y="1186"/>
                </a:cubicBezTo>
                <a:cubicBezTo>
                  <a:pt x="3197" y="1186"/>
                  <a:pt x="3196" y="1185"/>
                  <a:pt x="3196" y="1185"/>
                </a:cubicBezTo>
                <a:cubicBezTo>
                  <a:pt x="3196" y="1185"/>
                  <a:pt x="3196" y="1185"/>
                  <a:pt x="3196" y="1185"/>
                </a:cubicBezTo>
                <a:cubicBezTo>
                  <a:pt x="3196" y="1184"/>
                  <a:pt x="3196" y="1185"/>
                  <a:pt x="3196" y="1185"/>
                </a:cubicBezTo>
                <a:cubicBezTo>
                  <a:pt x="3196" y="1185"/>
                  <a:pt x="3196" y="1185"/>
                  <a:pt x="3196" y="1186"/>
                </a:cubicBezTo>
                <a:cubicBezTo>
                  <a:pt x="3196" y="1186"/>
                  <a:pt x="3196" y="1187"/>
                  <a:pt x="3196" y="1187"/>
                </a:cubicBezTo>
                <a:close/>
                <a:moveTo>
                  <a:pt x="3150" y="1417"/>
                </a:moveTo>
                <a:cubicBezTo>
                  <a:pt x="3150" y="1417"/>
                  <a:pt x="3149" y="1417"/>
                  <a:pt x="3149" y="1417"/>
                </a:cubicBezTo>
                <a:cubicBezTo>
                  <a:pt x="3148" y="1417"/>
                  <a:pt x="3148" y="1417"/>
                  <a:pt x="3148" y="1417"/>
                </a:cubicBezTo>
                <a:cubicBezTo>
                  <a:pt x="3147" y="1418"/>
                  <a:pt x="3149" y="1418"/>
                  <a:pt x="3149" y="1418"/>
                </a:cubicBezTo>
                <a:cubicBezTo>
                  <a:pt x="3150" y="1418"/>
                  <a:pt x="3151" y="1418"/>
                  <a:pt x="3151" y="1417"/>
                </a:cubicBezTo>
                <a:cubicBezTo>
                  <a:pt x="3151" y="1417"/>
                  <a:pt x="3150" y="1417"/>
                  <a:pt x="3150" y="1417"/>
                </a:cubicBezTo>
                <a:close/>
                <a:moveTo>
                  <a:pt x="3118" y="1408"/>
                </a:moveTo>
                <a:cubicBezTo>
                  <a:pt x="3118" y="1408"/>
                  <a:pt x="3118" y="1408"/>
                  <a:pt x="3119" y="1408"/>
                </a:cubicBezTo>
                <a:cubicBezTo>
                  <a:pt x="3120" y="1408"/>
                  <a:pt x="3120" y="1409"/>
                  <a:pt x="3121" y="1409"/>
                </a:cubicBezTo>
                <a:cubicBezTo>
                  <a:pt x="3122" y="1409"/>
                  <a:pt x="3123" y="1409"/>
                  <a:pt x="3124" y="1409"/>
                </a:cubicBezTo>
                <a:cubicBezTo>
                  <a:pt x="3125" y="1409"/>
                  <a:pt x="3125" y="1410"/>
                  <a:pt x="3126" y="1410"/>
                </a:cubicBezTo>
                <a:cubicBezTo>
                  <a:pt x="3126" y="1410"/>
                  <a:pt x="3127" y="1411"/>
                  <a:pt x="3127" y="1411"/>
                </a:cubicBezTo>
                <a:cubicBezTo>
                  <a:pt x="3128" y="1411"/>
                  <a:pt x="3129" y="1412"/>
                  <a:pt x="3129" y="1413"/>
                </a:cubicBezTo>
                <a:cubicBezTo>
                  <a:pt x="3130" y="1413"/>
                  <a:pt x="3131" y="1413"/>
                  <a:pt x="3132" y="1414"/>
                </a:cubicBezTo>
                <a:cubicBezTo>
                  <a:pt x="3132" y="1414"/>
                  <a:pt x="3133" y="1415"/>
                  <a:pt x="3134" y="1415"/>
                </a:cubicBezTo>
                <a:cubicBezTo>
                  <a:pt x="3134" y="1415"/>
                  <a:pt x="3135" y="1414"/>
                  <a:pt x="3135" y="1413"/>
                </a:cubicBezTo>
                <a:cubicBezTo>
                  <a:pt x="3136" y="1413"/>
                  <a:pt x="3137" y="1413"/>
                  <a:pt x="3138" y="1413"/>
                </a:cubicBezTo>
                <a:cubicBezTo>
                  <a:pt x="3138" y="1412"/>
                  <a:pt x="3138" y="1411"/>
                  <a:pt x="3137" y="1411"/>
                </a:cubicBezTo>
                <a:cubicBezTo>
                  <a:pt x="3136" y="1410"/>
                  <a:pt x="3136" y="1410"/>
                  <a:pt x="3135" y="1409"/>
                </a:cubicBezTo>
                <a:cubicBezTo>
                  <a:pt x="3135" y="1408"/>
                  <a:pt x="3134" y="1408"/>
                  <a:pt x="3133" y="1407"/>
                </a:cubicBezTo>
                <a:cubicBezTo>
                  <a:pt x="3132" y="1407"/>
                  <a:pt x="3132" y="1408"/>
                  <a:pt x="3131" y="1407"/>
                </a:cubicBezTo>
                <a:cubicBezTo>
                  <a:pt x="3131" y="1406"/>
                  <a:pt x="3131" y="1406"/>
                  <a:pt x="3131" y="1406"/>
                </a:cubicBezTo>
                <a:cubicBezTo>
                  <a:pt x="3131" y="1405"/>
                  <a:pt x="3130" y="1406"/>
                  <a:pt x="3130" y="1405"/>
                </a:cubicBezTo>
                <a:cubicBezTo>
                  <a:pt x="3129" y="1405"/>
                  <a:pt x="3129" y="1404"/>
                  <a:pt x="3128" y="1403"/>
                </a:cubicBezTo>
                <a:cubicBezTo>
                  <a:pt x="3127" y="1403"/>
                  <a:pt x="3126" y="1404"/>
                  <a:pt x="3125" y="1403"/>
                </a:cubicBezTo>
                <a:cubicBezTo>
                  <a:pt x="3124" y="1403"/>
                  <a:pt x="3123" y="1403"/>
                  <a:pt x="3122" y="1403"/>
                </a:cubicBezTo>
                <a:cubicBezTo>
                  <a:pt x="3121" y="1404"/>
                  <a:pt x="3120" y="1404"/>
                  <a:pt x="3120" y="1404"/>
                </a:cubicBezTo>
                <a:cubicBezTo>
                  <a:pt x="3119" y="1405"/>
                  <a:pt x="3118" y="1405"/>
                  <a:pt x="3118" y="1405"/>
                </a:cubicBezTo>
                <a:cubicBezTo>
                  <a:pt x="3117" y="1405"/>
                  <a:pt x="3117" y="1405"/>
                  <a:pt x="3117" y="1405"/>
                </a:cubicBezTo>
                <a:cubicBezTo>
                  <a:pt x="3115" y="1406"/>
                  <a:pt x="3116" y="1407"/>
                  <a:pt x="3117" y="1407"/>
                </a:cubicBezTo>
                <a:cubicBezTo>
                  <a:pt x="3117" y="1408"/>
                  <a:pt x="3117" y="1408"/>
                  <a:pt x="3118" y="1408"/>
                </a:cubicBezTo>
                <a:close/>
                <a:moveTo>
                  <a:pt x="3191" y="1392"/>
                </a:moveTo>
                <a:cubicBezTo>
                  <a:pt x="3191" y="1392"/>
                  <a:pt x="3191" y="1391"/>
                  <a:pt x="3191" y="1391"/>
                </a:cubicBezTo>
                <a:cubicBezTo>
                  <a:pt x="3192" y="1391"/>
                  <a:pt x="3192" y="1391"/>
                  <a:pt x="3192" y="1391"/>
                </a:cubicBezTo>
                <a:cubicBezTo>
                  <a:pt x="3192" y="1390"/>
                  <a:pt x="3193" y="1391"/>
                  <a:pt x="3193" y="1390"/>
                </a:cubicBezTo>
                <a:cubicBezTo>
                  <a:pt x="3192" y="1390"/>
                  <a:pt x="3191" y="1391"/>
                  <a:pt x="3191" y="1392"/>
                </a:cubicBezTo>
                <a:close/>
                <a:moveTo>
                  <a:pt x="3134" y="1369"/>
                </a:moveTo>
                <a:cubicBezTo>
                  <a:pt x="3134" y="1369"/>
                  <a:pt x="3134" y="1369"/>
                  <a:pt x="3134" y="1369"/>
                </a:cubicBezTo>
                <a:cubicBezTo>
                  <a:pt x="3134" y="1368"/>
                  <a:pt x="3134" y="1367"/>
                  <a:pt x="3134" y="1366"/>
                </a:cubicBezTo>
                <a:cubicBezTo>
                  <a:pt x="3134" y="1366"/>
                  <a:pt x="3134" y="1365"/>
                  <a:pt x="3134" y="1365"/>
                </a:cubicBezTo>
                <a:cubicBezTo>
                  <a:pt x="3134" y="1365"/>
                  <a:pt x="3134" y="1364"/>
                  <a:pt x="3133" y="1364"/>
                </a:cubicBezTo>
                <a:cubicBezTo>
                  <a:pt x="3133" y="1364"/>
                  <a:pt x="3133" y="1364"/>
                  <a:pt x="3133" y="1364"/>
                </a:cubicBezTo>
                <a:cubicBezTo>
                  <a:pt x="3133" y="1364"/>
                  <a:pt x="3133" y="1365"/>
                  <a:pt x="3133" y="1365"/>
                </a:cubicBezTo>
                <a:cubicBezTo>
                  <a:pt x="3133" y="1366"/>
                  <a:pt x="3133" y="1366"/>
                  <a:pt x="3133" y="1367"/>
                </a:cubicBezTo>
                <a:cubicBezTo>
                  <a:pt x="3133" y="1368"/>
                  <a:pt x="3133" y="1368"/>
                  <a:pt x="3134" y="1369"/>
                </a:cubicBezTo>
                <a:close/>
                <a:moveTo>
                  <a:pt x="3122" y="1397"/>
                </a:moveTo>
                <a:cubicBezTo>
                  <a:pt x="3122" y="1397"/>
                  <a:pt x="3122" y="1396"/>
                  <a:pt x="3122" y="1396"/>
                </a:cubicBezTo>
                <a:cubicBezTo>
                  <a:pt x="3123" y="1395"/>
                  <a:pt x="3124" y="1396"/>
                  <a:pt x="3123" y="1394"/>
                </a:cubicBezTo>
                <a:cubicBezTo>
                  <a:pt x="3123" y="1394"/>
                  <a:pt x="3122" y="1393"/>
                  <a:pt x="3122" y="1394"/>
                </a:cubicBezTo>
                <a:cubicBezTo>
                  <a:pt x="3121" y="1394"/>
                  <a:pt x="3122" y="1394"/>
                  <a:pt x="3122" y="1394"/>
                </a:cubicBezTo>
                <a:cubicBezTo>
                  <a:pt x="3121" y="1395"/>
                  <a:pt x="3121" y="1395"/>
                  <a:pt x="3121" y="1395"/>
                </a:cubicBezTo>
                <a:cubicBezTo>
                  <a:pt x="3121" y="1396"/>
                  <a:pt x="3121" y="1397"/>
                  <a:pt x="3122" y="1397"/>
                </a:cubicBezTo>
                <a:close/>
                <a:moveTo>
                  <a:pt x="3118" y="1390"/>
                </a:moveTo>
                <a:cubicBezTo>
                  <a:pt x="3117" y="1389"/>
                  <a:pt x="3117" y="1391"/>
                  <a:pt x="3118" y="1391"/>
                </a:cubicBezTo>
                <a:cubicBezTo>
                  <a:pt x="3118" y="1391"/>
                  <a:pt x="3118" y="1391"/>
                  <a:pt x="3118" y="1391"/>
                </a:cubicBezTo>
                <a:cubicBezTo>
                  <a:pt x="3118" y="1390"/>
                  <a:pt x="3118" y="1390"/>
                  <a:pt x="3118" y="1390"/>
                </a:cubicBezTo>
                <a:close/>
                <a:moveTo>
                  <a:pt x="3154" y="1358"/>
                </a:moveTo>
                <a:cubicBezTo>
                  <a:pt x="3154" y="1358"/>
                  <a:pt x="3155" y="1358"/>
                  <a:pt x="3156" y="1359"/>
                </a:cubicBezTo>
                <a:cubicBezTo>
                  <a:pt x="3157" y="1359"/>
                  <a:pt x="3158" y="1359"/>
                  <a:pt x="3158" y="1358"/>
                </a:cubicBezTo>
                <a:cubicBezTo>
                  <a:pt x="3159" y="1357"/>
                  <a:pt x="3158" y="1356"/>
                  <a:pt x="3158" y="1356"/>
                </a:cubicBezTo>
                <a:cubicBezTo>
                  <a:pt x="3159" y="1355"/>
                  <a:pt x="3160" y="1354"/>
                  <a:pt x="3160" y="1355"/>
                </a:cubicBezTo>
                <a:cubicBezTo>
                  <a:pt x="3160" y="1355"/>
                  <a:pt x="3160" y="1356"/>
                  <a:pt x="3159" y="1356"/>
                </a:cubicBezTo>
                <a:cubicBezTo>
                  <a:pt x="3159" y="1356"/>
                  <a:pt x="3159" y="1357"/>
                  <a:pt x="3159" y="1357"/>
                </a:cubicBezTo>
                <a:cubicBezTo>
                  <a:pt x="3159" y="1358"/>
                  <a:pt x="3158" y="1358"/>
                  <a:pt x="3158" y="1359"/>
                </a:cubicBezTo>
                <a:cubicBezTo>
                  <a:pt x="3157" y="1360"/>
                  <a:pt x="3158" y="1360"/>
                  <a:pt x="3159" y="1361"/>
                </a:cubicBezTo>
                <a:cubicBezTo>
                  <a:pt x="3159" y="1361"/>
                  <a:pt x="3159" y="1361"/>
                  <a:pt x="3159" y="1362"/>
                </a:cubicBezTo>
                <a:cubicBezTo>
                  <a:pt x="3159" y="1362"/>
                  <a:pt x="3160" y="1362"/>
                  <a:pt x="3160" y="1362"/>
                </a:cubicBezTo>
                <a:cubicBezTo>
                  <a:pt x="3161" y="1362"/>
                  <a:pt x="3161" y="1361"/>
                  <a:pt x="3162" y="1360"/>
                </a:cubicBezTo>
                <a:cubicBezTo>
                  <a:pt x="3162" y="1359"/>
                  <a:pt x="3163" y="1360"/>
                  <a:pt x="3164" y="1359"/>
                </a:cubicBezTo>
                <a:cubicBezTo>
                  <a:pt x="3164" y="1359"/>
                  <a:pt x="3164" y="1358"/>
                  <a:pt x="3164" y="1358"/>
                </a:cubicBezTo>
                <a:cubicBezTo>
                  <a:pt x="3165" y="1358"/>
                  <a:pt x="3165" y="1357"/>
                  <a:pt x="3165" y="1357"/>
                </a:cubicBezTo>
                <a:cubicBezTo>
                  <a:pt x="3164" y="1356"/>
                  <a:pt x="3163" y="1356"/>
                  <a:pt x="3163" y="1355"/>
                </a:cubicBezTo>
                <a:cubicBezTo>
                  <a:pt x="3163" y="1355"/>
                  <a:pt x="3163" y="1355"/>
                  <a:pt x="3163" y="1354"/>
                </a:cubicBezTo>
                <a:cubicBezTo>
                  <a:pt x="3162" y="1354"/>
                  <a:pt x="3162" y="1353"/>
                  <a:pt x="3162" y="1353"/>
                </a:cubicBezTo>
                <a:cubicBezTo>
                  <a:pt x="3162" y="1352"/>
                  <a:pt x="3163" y="1352"/>
                  <a:pt x="3163" y="1352"/>
                </a:cubicBezTo>
                <a:cubicBezTo>
                  <a:pt x="3163" y="1352"/>
                  <a:pt x="3163" y="1351"/>
                  <a:pt x="3164" y="1351"/>
                </a:cubicBezTo>
                <a:cubicBezTo>
                  <a:pt x="3164" y="1351"/>
                  <a:pt x="3165" y="1353"/>
                  <a:pt x="3165" y="1352"/>
                </a:cubicBezTo>
                <a:cubicBezTo>
                  <a:pt x="3165" y="1351"/>
                  <a:pt x="3165" y="1351"/>
                  <a:pt x="3165" y="1350"/>
                </a:cubicBezTo>
                <a:cubicBezTo>
                  <a:pt x="3165" y="1350"/>
                  <a:pt x="3165" y="1350"/>
                  <a:pt x="3165" y="1349"/>
                </a:cubicBezTo>
                <a:cubicBezTo>
                  <a:pt x="3165" y="1349"/>
                  <a:pt x="3164" y="1347"/>
                  <a:pt x="3163" y="1347"/>
                </a:cubicBezTo>
                <a:cubicBezTo>
                  <a:pt x="3162" y="1347"/>
                  <a:pt x="3162" y="1347"/>
                  <a:pt x="3161" y="1348"/>
                </a:cubicBezTo>
                <a:cubicBezTo>
                  <a:pt x="3161" y="1349"/>
                  <a:pt x="3161" y="1350"/>
                  <a:pt x="3161" y="1350"/>
                </a:cubicBezTo>
                <a:cubicBezTo>
                  <a:pt x="3161" y="1351"/>
                  <a:pt x="3161" y="1352"/>
                  <a:pt x="3161" y="1353"/>
                </a:cubicBezTo>
                <a:cubicBezTo>
                  <a:pt x="3160" y="1353"/>
                  <a:pt x="3160" y="1353"/>
                  <a:pt x="3160" y="1352"/>
                </a:cubicBezTo>
                <a:cubicBezTo>
                  <a:pt x="3160" y="1352"/>
                  <a:pt x="3160" y="1352"/>
                  <a:pt x="3159" y="1351"/>
                </a:cubicBezTo>
                <a:cubicBezTo>
                  <a:pt x="3159" y="1351"/>
                  <a:pt x="3159" y="1350"/>
                  <a:pt x="3159" y="1350"/>
                </a:cubicBezTo>
                <a:cubicBezTo>
                  <a:pt x="3159" y="1350"/>
                  <a:pt x="3158" y="1350"/>
                  <a:pt x="3158" y="1350"/>
                </a:cubicBezTo>
                <a:cubicBezTo>
                  <a:pt x="3158" y="1350"/>
                  <a:pt x="3158" y="1351"/>
                  <a:pt x="3157" y="1351"/>
                </a:cubicBezTo>
                <a:cubicBezTo>
                  <a:pt x="3157" y="1351"/>
                  <a:pt x="3156" y="1351"/>
                  <a:pt x="3156" y="1351"/>
                </a:cubicBezTo>
                <a:cubicBezTo>
                  <a:pt x="3155" y="1351"/>
                  <a:pt x="3154" y="1352"/>
                  <a:pt x="3155" y="1353"/>
                </a:cubicBezTo>
                <a:cubicBezTo>
                  <a:pt x="3155" y="1354"/>
                  <a:pt x="3155" y="1355"/>
                  <a:pt x="3155" y="1355"/>
                </a:cubicBezTo>
                <a:cubicBezTo>
                  <a:pt x="3155" y="1356"/>
                  <a:pt x="3154" y="1357"/>
                  <a:pt x="3154" y="1358"/>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51448" tIns="25724" rIns="51448" bIns="25724" numCol="1" anchor="t" anchorCtr="0" compatLnSpc="1">
            <a:prstTxWarp prst="textNoShape">
              <a:avLst/>
            </a:prstTxWarp>
          </a:bodyPr>
          <a:lstStyle/>
          <a:p>
            <a:pPr algn="ctr" defTabSz="308049" hangingPunct="0"/>
            <a:endParaRPr sz="1350" b="1" kern="0" dirty="0">
              <a:solidFill>
                <a:prstClr val="white"/>
              </a:solidFill>
              <a:sym typeface="Helvetica Neue"/>
            </a:endParaRPr>
          </a:p>
        </p:txBody>
      </p:sp>
      <p:sp>
        <p:nvSpPr>
          <p:cNvPr id="2" name="Title 1"/>
          <p:cNvSpPr>
            <a:spLocks noGrp="1"/>
          </p:cNvSpPr>
          <p:nvPr>
            <p:ph type="ctrTitle"/>
          </p:nvPr>
        </p:nvSpPr>
        <p:spPr>
          <a:xfrm>
            <a:off x="913448" y="1371600"/>
            <a:ext cx="7317105" cy="2286001"/>
          </a:xfrm>
        </p:spPr>
        <p:txBody>
          <a:bodyPr>
            <a:normAutofit/>
          </a:bodyPr>
          <a:lstStyle>
            <a:lvl1pPr>
              <a:defRPr sz="2475"/>
            </a:lvl1pPr>
          </a:lstStyle>
          <a:p>
            <a:r>
              <a:rPr lang="en-US"/>
              <a:t>Click to edit Master title style</a:t>
            </a:r>
            <a:endParaRPr/>
          </a:p>
        </p:txBody>
      </p:sp>
      <p:sp>
        <p:nvSpPr>
          <p:cNvPr id="3" name="Subtitle 2"/>
          <p:cNvSpPr>
            <a:spLocks noGrp="1"/>
          </p:cNvSpPr>
          <p:nvPr>
            <p:ph type="subTitle" idx="1"/>
          </p:nvPr>
        </p:nvSpPr>
        <p:spPr>
          <a:xfrm>
            <a:off x="913448" y="3771900"/>
            <a:ext cx="5887984" cy="857250"/>
          </a:xfrm>
        </p:spPr>
        <p:txBody>
          <a:bodyPr>
            <a:normAutofit/>
          </a:bodyPr>
          <a:lstStyle>
            <a:lvl1pPr marL="0" indent="0" algn="l">
              <a:spcBef>
                <a:spcPts val="0"/>
              </a:spcBef>
              <a:buNone/>
              <a:defRPr sz="1125">
                <a:solidFill>
                  <a:schemeClr val="tx1"/>
                </a:solidFill>
              </a:defRPr>
            </a:lvl1pPr>
            <a:lvl2pPr marL="257210" indent="0" algn="ctr">
              <a:buNone/>
              <a:defRPr>
                <a:solidFill>
                  <a:schemeClr val="tx1">
                    <a:tint val="75000"/>
                  </a:schemeClr>
                </a:solidFill>
              </a:defRPr>
            </a:lvl2pPr>
            <a:lvl3pPr marL="514420" indent="0" algn="ctr">
              <a:buNone/>
              <a:defRPr>
                <a:solidFill>
                  <a:schemeClr val="tx1">
                    <a:tint val="75000"/>
                  </a:schemeClr>
                </a:solidFill>
              </a:defRPr>
            </a:lvl3pPr>
            <a:lvl4pPr marL="771630" indent="0" algn="ctr">
              <a:buNone/>
              <a:defRPr>
                <a:solidFill>
                  <a:schemeClr val="tx1">
                    <a:tint val="75000"/>
                  </a:schemeClr>
                </a:solidFill>
              </a:defRPr>
            </a:lvl4pPr>
            <a:lvl5pPr marL="1028840" indent="0" algn="ctr">
              <a:buNone/>
              <a:defRPr>
                <a:solidFill>
                  <a:schemeClr val="tx1">
                    <a:tint val="75000"/>
                  </a:schemeClr>
                </a:solidFill>
              </a:defRPr>
            </a:lvl5pPr>
            <a:lvl6pPr marL="1286049" indent="0" algn="ctr">
              <a:buNone/>
              <a:defRPr>
                <a:solidFill>
                  <a:schemeClr val="tx1">
                    <a:tint val="75000"/>
                  </a:schemeClr>
                </a:solidFill>
              </a:defRPr>
            </a:lvl6pPr>
            <a:lvl7pPr marL="1543259" indent="0" algn="ctr">
              <a:buNone/>
              <a:defRPr>
                <a:solidFill>
                  <a:schemeClr val="tx1">
                    <a:tint val="75000"/>
                  </a:schemeClr>
                </a:solidFill>
              </a:defRPr>
            </a:lvl7pPr>
            <a:lvl8pPr marL="1800470" indent="0" algn="ctr">
              <a:buNone/>
              <a:defRPr>
                <a:solidFill>
                  <a:schemeClr val="tx1">
                    <a:tint val="75000"/>
                  </a:schemeClr>
                </a:solidFill>
              </a:defRPr>
            </a:lvl8pPr>
            <a:lvl9pPr marL="2057679" indent="0" algn="ctr">
              <a:buNone/>
              <a:defRPr>
                <a:solidFill>
                  <a:schemeClr val="tx1">
                    <a:tint val="75000"/>
                  </a:schemeClr>
                </a:solidFill>
              </a:defRPr>
            </a:lvl9pPr>
          </a:lstStyle>
          <a:p>
            <a:r>
              <a:rPr lang="en-US"/>
              <a:t>Click to edit Master subtitle style</a:t>
            </a:r>
            <a:endParaRPr/>
          </a:p>
        </p:txBody>
      </p:sp>
    </p:spTree>
    <p:extLst>
      <p:ext uri="{BB962C8B-B14F-4D97-AF65-F5344CB8AC3E}">
        <p14:creationId xmlns:p14="http://schemas.microsoft.com/office/powerpoint/2010/main" val="23647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idx="1"/>
          </p:nvPr>
        </p:nvSpPr>
        <p:spPr/>
        <p:txBody>
          <a:bodyPr/>
          <a:lstStyle>
            <a:lvl5pPr>
              <a:defRPr/>
            </a:lvl5pPr>
            <a:lvl6pPr>
              <a:defRPr/>
            </a:lvl6pPr>
            <a:lvl7pPr>
              <a:defRPr baseline="0"/>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3399478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Title">
    <p:bg>
      <p:bgPr>
        <a:solidFill>
          <a:schemeClr val="bg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7" name="Picture 6"/>
          <p:cNvPicPr>
            <a:picLocks noChangeAspect="1"/>
          </p:cNvPicPr>
          <p:nvPr userDrawn="1"/>
        </p:nvPicPr>
        <p:blipFill rotWithShape="1">
          <a:blip r:embed="rId5"/>
          <a:srcRect l="22100"/>
          <a:stretch/>
        </p:blipFill>
        <p:spPr>
          <a:xfrm>
            <a:off x="0" y="508243"/>
            <a:ext cx="2166026" cy="3708582"/>
          </a:xfrm>
          <a:prstGeom prst="rect">
            <a:avLst/>
          </a:prstGeom>
        </p:spPr>
      </p:pic>
      <p:sp>
        <p:nvSpPr>
          <p:cNvPr id="8" name="Picture Placeholder 5"/>
          <p:cNvSpPr>
            <a:spLocks noGrp="1" noChangeAspect="1"/>
          </p:cNvSpPr>
          <p:nvPr>
            <p:ph type="pic" sz="quarter" idx="13"/>
          </p:nvPr>
        </p:nvSpPr>
        <p:spPr>
          <a:xfrm>
            <a:off x="2771800" y="483518"/>
            <a:ext cx="3096344" cy="3096344"/>
          </a:xfrm>
          <a:prstGeom prst="ellipse">
            <a:avLst/>
          </a:prstGeom>
          <a:noFill/>
          <a:ln w="76200">
            <a:solidFill>
              <a:srgbClr val="FFFFFF">
                <a:alpha val="20000"/>
              </a:srgbClr>
            </a:solidFill>
          </a:ln>
        </p:spPr>
        <p:txBody>
          <a:bodyPr/>
          <a:lstStyle>
            <a:lvl1pPr algn="ctr">
              <a:defRPr sz="1400"/>
            </a:lvl1pPr>
          </a:lstStyle>
          <a:p>
            <a:endParaRPr lang="en-GB" dirty="0"/>
          </a:p>
        </p:txBody>
      </p:sp>
      <p:sp>
        <p:nvSpPr>
          <p:cNvPr id="9" name="Picture Placeholder 5"/>
          <p:cNvSpPr>
            <a:spLocks noGrp="1" noChangeAspect="1"/>
          </p:cNvSpPr>
          <p:nvPr>
            <p:ph type="pic" sz="quarter" idx="14"/>
          </p:nvPr>
        </p:nvSpPr>
        <p:spPr>
          <a:xfrm>
            <a:off x="5868144" y="2211710"/>
            <a:ext cx="2206226" cy="2206226"/>
          </a:xfrm>
          <a:prstGeom prst="ellipse">
            <a:avLst/>
          </a:prstGeom>
          <a:noFill/>
          <a:ln w="76200">
            <a:solidFill>
              <a:srgbClr val="FFFFFF">
                <a:alpha val="20000"/>
              </a:srgbClr>
            </a:solidFill>
          </a:ln>
        </p:spPr>
        <p:txBody>
          <a:bodyPr/>
          <a:lstStyle>
            <a:lvl1pPr algn="ctr">
              <a:defRPr sz="1400"/>
            </a:lvl1pPr>
          </a:lstStyle>
          <a:p>
            <a:endParaRPr lang="en-GB" dirty="0"/>
          </a:p>
        </p:txBody>
      </p:sp>
      <p:pic>
        <p:nvPicPr>
          <p:cNvPr id="14" name="Picture 13"/>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2087984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3449" y="2571751"/>
            <a:ext cx="7317105" cy="1771649"/>
          </a:xfrm>
        </p:spPr>
        <p:txBody>
          <a:bodyPr anchor="b">
            <a:normAutofit/>
          </a:bodyPr>
          <a:lstStyle>
            <a:lvl1pPr algn="l">
              <a:defRPr sz="2475" b="0" cap="all"/>
            </a:lvl1pPr>
          </a:lstStyle>
          <a:p>
            <a:r>
              <a:rPr lang="en-US"/>
              <a:t>Click to edit Master title style</a:t>
            </a:r>
            <a:endParaRPr/>
          </a:p>
        </p:txBody>
      </p:sp>
      <p:sp>
        <p:nvSpPr>
          <p:cNvPr id="3" name="Text Placeholder 2"/>
          <p:cNvSpPr>
            <a:spLocks noGrp="1"/>
          </p:cNvSpPr>
          <p:nvPr>
            <p:ph type="body" idx="1"/>
          </p:nvPr>
        </p:nvSpPr>
        <p:spPr>
          <a:xfrm>
            <a:off x="910100" y="514352"/>
            <a:ext cx="5891332" cy="857249"/>
          </a:xfrm>
        </p:spPr>
        <p:txBody>
          <a:bodyPr anchor="t"/>
          <a:lstStyle>
            <a:lvl1pPr marL="0" indent="0">
              <a:spcBef>
                <a:spcPts val="0"/>
              </a:spcBef>
              <a:buNone/>
              <a:defRPr sz="1125">
                <a:solidFill>
                  <a:schemeClr val="tx1"/>
                </a:solidFill>
              </a:defRPr>
            </a:lvl1pPr>
            <a:lvl2pPr marL="257210" indent="0">
              <a:buNone/>
              <a:defRPr sz="1012">
                <a:solidFill>
                  <a:schemeClr val="tx1">
                    <a:tint val="75000"/>
                  </a:schemeClr>
                </a:solidFill>
              </a:defRPr>
            </a:lvl2pPr>
            <a:lvl3pPr marL="514420" indent="0">
              <a:buNone/>
              <a:defRPr sz="900">
                <a:solidFill>
                  <a:schemeClr val="tx1">
                    <a:tint val="75000"/>
                  </a:schemeClr>
                </a:solidFill>
              </a:defRPr>
            </a:lvl3pPr>
            <a:lvl4pPr marL="771630" indent="0">
              <a:buNone/>
              <a:defRPr sz="788">
                <a:solidFill>
                  <a:schemeClr val="tx1">
                    <a:tint val="75000"/>
                  </a:schemeClr>
                </a:solidFill>
              </a:defRPr>
            </a:lvl4pPr>
            <a:lvl5pPr marL="1028840" indent="0">
              <a:buNone/>
              <a:defRPr sz="788">
                <a:solidFill>
                  <a:schemeClr val="tx1">
                    <a:tint val="75000"/>
                  </a:schemeClr>
                </a:solidFill>
              </a:defRPr>
            </a:lvl5pPr>
            <a:lvl6pPr marL="1286049" indent="0">
              <a:buNone/>
              <a:defRPr sz="788">
                <a:solidFill>
                  <a:schemeClr val="tx1">
                    <a:tint val="75000"/>
                  </a:schemeClr>
                </a:solidFill>
              </a:defRPr>
            </a:lvl6pPr>
            <a:lvl7pPr marL="1543259" indent="0">
              <a:buNone/>
              <a:defRPr sz="788">
                <a:solidFill>
                  <a:schemeClr val="tx1">
                    <a:tint val="75000"/>
                  </a:schemeClr>
                </a:solidFill>
              </a:defRPr>
            </a:lvl7pPr>
            <a:lvl8pPr marL="1800470" indent="0">
              <a:buNone/>
              <a:defRPr sz="788">
                <a:solidFill>
                  <a:schemeClr val="tx1">
                    <a:tint val="75000"/>
                  </a:schemeClr>
                </a:solidFill>
              </a:defRPr>
            </a:lvl8pPr>
            <a:lvl9pPr marL="2057679" indent="0">
              <a:buNone/>
              <a:defRPr sz="788">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30317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925200" y="1371600"/>
            <a:ext cx="3532470" cy="3257550"/>
          </a:xfrm>
        </p:spPr>
        <p:txBody>
          <a:bodyPr>
            <a:normAutofit/>
          </a:bodyPr>
          <a:lstStyle>
            <a:lvl1pPr>
              <a:defRPr sz="1350"/>
            </a:lvl1pPr>
            <a:lvl2pPr>
              <a:defRPr sz="1125"/>
            </a:lvl2pPr>
            <a:lvl3pPr>
              <a:defRPr sz="1012"/>
            </a:lvl3pPr>
            <a:lvl4pPr>
              <a:defRPr sz="900"/>
            </a:lvl4pPr>
            <a:lvl5pPr>
              <a:defRPr sz="900"/>
            </a:lvl5pPr>
            <a:lvl6pPr>
              <a:defRPr sz="900"/>
            </a:lvl6pPr>
            <a:lvl7pPr>
              <a:defRPr sz="900" baseline="0"/>
            </a:lvl7pPr>
            <a:lvl8pPr>
              <a:defRPr sz="900" baseline="0"/>
            </a:lvl8pPr>
            <a:lvl9pPr>
              <a:defRPr sz="900"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4698083" y="1371600"/>
            <a:ext cx="3532470" cy="3257550"/>
          </a:xfrm>
        </p:spPr>
        <p:txBody>
          <a:bodyPr>
            <a:normAutofit/>
          </a:bodyPr>
          <a:lstStyle>
            <a:lvl1pPr>
              <a:defRPr sz="1350"/>
            </a:lvl1pPr>
            <a:lvl2pPr>
              <a:defRPr sz="1125"/>
            </a:lvl2pPr>
            <a:lvl3pPr>
              <a:defRPr sz="1012"/>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03176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913449" y="1371599"/>
            <a:ext cx="3532790" cy="628651"/>
          </a:xfrm>
        </p:spPr>
        <p:txBody>
          <a:bodyPr anchor="ctr"/>
          <a:lstStyle>
            <a:lvl1pPr marL="0" indent="0">
              <a:spcBef>
                <a:spcPts val="0"/>
              </a:spcBef>
              <a:buNone/>
              <a:defRPr sz="1350" b="0" cap="all" baseline="0">
                <a:solidFill>
                  <a:schemeClr val="tx1">
                    <a:lumMod val="50000"/>
                  </a:schemeClr>
                </a:solidFill>
              </a:defRPr>
            </a:lvl1pPr>
            <a:lvl2pPr marL="257210" indent="0">
              <a:buNone/>
              <a:defRPr sz="1125" b="1"/>
            </a:lvl2pPr>
            <a:lvl3pPr marL="514420" indent="0">
              <a:buNone/>
              <a:defRPr sz="1012" b="1"/>
            </a:lvl3pPr>
            <a:lvl4pPr marL="771630" indent="0">
              <a:buNone/>
              <a:defRPr sz="900" b="1"/>
            </a:lvl4pPr>
            <a:lvl5pPr marL="1028840" indent="0">
              <a:buNone/>
              <a:defRPr sz="900" b="1"/>
            </a:lvl5pPr>
            <a:lvl6pPr marL="1286049" indent="0">
              <a:buNone/>
              <a:defRPr sz="900" b="1"/>
            </a:lvl6pPr>
            <a:lvl7pPr marL="1543259" indent="0">
              <a:buNone/>
              <a:defRPr sz="900" b="1"/>
            </a:lvl7pPr>
            <a:lvl8pPr marL="1800470" indent="0">
              <a:buNone/>
              <a:defRPr sz="900" b="1"/>
            </a:lvl8pPr>
            <a:lvl9pPr marL="2057679" indent="0">
              <a:buNone/>
              <a:defRPr sz="900" b="1"/>
            </a:lvl9pPr>
          </a:lstStyle>
          <a:p>
            <a:pPr lvl="0"/>
            <a:r>
              <a:rPr lang="en-US"/>
              <a:t>Click to edit Master text styles</a:t>
            </a:r>
          </a:p>
        </p:txBody>
      </p:sp>
      <p:sp>
        <p:nvSpPr>
          <p:cNvPr id="4" name="Content Placeholder 3"/>
          <p:cNvSpPr>
            <a:spLocks noGrp="1"/>
          </p:cNvSpPr>
          <p:nvPr>
            <p:ph sz="half" idx="2"/>
          </p:nvPr>
        </p:nvSpPr>
        <p:spPr>
          <a:xfrm>
            <a:off x="913449" y="2057401"/>
            <a:ext cx="3532790" cy="2571749"/>
          </a:xfrm>
        </p:spPr>
        <p:txBody>
          <a:bodyPr>
            <a:normAutofit/>
          </a:bodyPr>
          <a:lstStyle>
            <a:lvl1pPr>
              <a:defRPr sz="1125"/>
            </a:lvl1pPr>
            <a:lvl2pPr>
              <a:defRPr sz="1012"/>
            </a:lvl2pPr>
            <a:lvl3pPr>
              <a:defRPr sz="900"/>
            </a:lvl3pPr>
            <a:lvl4pPr>
              <a:defRPr sz="788"/>
            </a:lvl4pPr>
            <a:lvl5pPr>
              <a:defRPr sz="788"/>
            </a:lvl5pPr>
            <a:lvl6pPr>
              <a:defRPr sz="788"/>
            </a:lvl6pPr>
            <a:lvl7pPr>
              <a:defRPr sz="788"/>
            </a:lvl7pPr>
            <a:lvl8pPr>
              <a:defRPr sz="788"/>
            </a:lvl8pPr>
            <a:lvl9pPr>
              <a:defRPr sz="7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4697764" y="1371599"/>
            <a:ext cx="3532790" cy="628651"/>
          </a:xfrm>
        </p:spPr>
        <p:txBody>
          <a:bodyPr anchor="ctr"/>
          <a:lstStyle>
            <a:lvl1pPr marL="0" indent="0">
              <a:spcBef>
                <a:spcPts val="0"/>
              </a:spcBef>
              <a:buNone/>
              <a:defRPr sz="1350" b="0" cap="all" baseline="0">
                <a:solidFill>
                  <a:schemeClr val="tx1">
                    <a:lumMod val="50000"/>
                  </a:schemeClr>
                </a:solidFill>
              </a:defRPr>
            </a:lvl1pPr>
            <a:lvl2pPr marL="257210" indent="0">
              <a:buNone/>
              <a:defRPr sz="1125" b="1"/>
            </a:lvl2pPr>
            <a:lvl3pPr marL="514420" indent="0">
              <a:buNone/>
              <a:defRPr sz="1012" b="1"/>
            </a:lvl3pPr>
            <a:lvl4pPr marL="771630" indent="0">
              <a:buNone/>
              <a:defRPr sz="900" b="1"/>
            </a:lvl4pPr>
            <a:lvl5pPr marL="1028840" indent="0">
              <a:buNone/>
              <a:defRPr sz="900" b="1"/>
            </a:lvl5pPr>
            <a:lvl6pPr marL="1286049" indent="0">
              <a:buNone/>
              <a:defRPr sz="900" b="1"/>
            </a:lvl6pPr>
            <a:lvl7pPr marL="1543259" indent="0">
              <a:buNone/>
              <a:defRPr sz="900" b="1"/>
            </a:lvl7pPr>
            <a:lvl8pPr marL="1800470" indent="0">
              <a:buNone/>
              <a:defRPr sz="900" b="1"/>
            </a:lvl8pPr>
            <a:lvl9pPr marL="2057679"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97764" y="2057401"/>
            <a:ext cx="3532790" cy="2571749"/>
          </a:xfrm>
        </p:spPr>
        <p:txBody>
          <a:bodyPr>
            <a:normAutofit/>
          </a:bodyPr>
          <a:lstStyle>
            <a:lvl1pPr>
              <a:defRPr sz="1125"/>
            </a:lvl1pPr>
            <a:lvl2pPr>
              <a:defRPr sz="1012"/>
            </a:lvl2pPr>
            <a:lvl3pPr>
              <a:defRPr sz="900"/>
            </a:lvl3pPr>
            <a:lvl4pPr>
              <a:defRPr sz="788"/>
            </a:lvl4pPr>
            <a:lvl5pPr>
              <a:defRPr sz="788"/>
            </a:lvl5pPr>
            <a:lvl6pPr>
              <a:defRPr sz="788"/>
            </a:lvl6pPr>
            <a:lvl7pPr>
              <a:defRPr sz="788"/>
            </a:lvl7pPr>
            <a:lvl8pPr>
              <a:defRPr sz="788" baseline="0"/>
            </a:lvl8pPr>
            <a:lvl9pPr>
              <a:defRPr sz="788"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7" name="Date Placeholder 6"/>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9" name="Slide Number Placeholder 8"/>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93071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3" name="Date Placeholder 2"/>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5" name="Slide Number Placeholder 4"/>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211850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2" name="Date Placeholder 1"/>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4" name="Slide Number Placeholder 3"/>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450803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3886021" cy="5143500"/>
          </a:xfrm>
          <a:prstGeom prst="rect">
            <a:avLst/>
          </a:prstGeom>
          <a:gradFill flip="none" rotWithShape="1">
            <a:gsLst>
              <a:gs pos="0">
                <a:schemeClr val="bg1">
                  <a:lumMod val="85000"/>
                </a:schemeClr>
              </a:gs>
              <a:gs pos="100000">
                <a:srgbClr val="FFFFFF">
                  <a:alpha val="89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8049" hangingPunct="0"/>
            <a:endParaRPr sz="1350" b="1" kern="0" dirty="0">
              <a:solidFill>
                <a:prstClr val="white"/>
              </a:solidFill>
              <a:sym typeface="Helvetica Neue"/>
            </a:endParaRPr>
          </a:p>
        </p:txBody>
      </p:sp>
      <p:sp>
        <p:nvSpPr>
          <p:cNvPr id="2" name="Title 1"/>
          <p:cNvSpPr>
            <a:spLocks noGrp="1"/>
          </p:cNvSpPr>
          <p:nvPr>
            <p:ph type="title"/>
          </p:nvPr>
        </p:nvSpPr>
        <p:spPr>
          <a:xfrm>
            <a:off x="513293" y="514350"/>
            <a:ext cx="2915409" cy="3028950"/>
          </a:xfrm>
        </p:spPr>
        <p:txBody>
          <a:bodyPr anchor="b">
            <a:noAutofit/>
          </a:bodyPr>
          <a:lstStyle>
            <a:lvl1pPr algn="l">
              <a:defRPr sz="2251" b="0"/>
            </a:lvl1pPr>
          </a:lstStyle>
          <a:p>
            <a:r>
              <a:rPr lang="en-US"/>
              <a:t>Click to edit Master title style</a:t>
            </a:r>
            <a:endParaRPr/>
          </a:p>
        </p:txBody>
      </p:sp>
      <p:sp>
        <p:nvSpPr>
          <p:cNvPr id="3" name="Content Placeholder 2"/>
          <p:cNvSpPr>
            <a:spLocks noGrp="1"/>
          </p:cNvSpPr>
          <p:nvPr>
            <p:ph idx="1"/>
          </p:nvPr>
        </p:nvSpPr>
        <p:spPr>
          <a:xfrm>
            <a:off x="4400507" y="514350"/>
            <a:ext cx="4230202" cy="4114800"/>
          </a:xfrm>
        </p:spPr>
        <p:txBody>
          <a:bodyPr>
            <a:normAutofit/>
          </a:bodyPr>
          <a:lstStyle>
            <a:lvl1pPr>
              <a:defRPr sz="1350"/>
            </a:lvl1pPr>
            <a:lvl2pPr>
              <a:defRPr sz="1125"/>
            </a:lvl2pPr>
            <a:lvl3pPr>
              <a:defRPr sz="1012"/>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13293" y="3657600"/>
            <a:ext cx="2915409" cy="971550"/>
          </a:xfrm>
        </p:spPr>
        <p:txBody>
          <a:bodyPr>
            <a:normAutofit/>
          </a:bodyPr>
          <a:lstStyle>
            <a:lvl1pPr marL="0" indent="0">
              <a:spcBef>
                <a:spcPts val="0"/>
              </a:spcBef>
              <a:buNone/>
              <a:defRPr sz="1012"/>
            </a:lvl1pPr>
            <a:lvl2pPr marL="257210" indent="0">
              <a:buNone/>
              <a:defRPr sz="675"/>
            </a:lvl2pPr>
            <a:lvl3pPr marL="514420" indent="0">
              <a:buNone/>
              <a:defRPr sz="563"/>
            </a:lvl3pPr>
            <a:lvl4pPr marL="771630" indent="0">
              <a:buNone/>
              <a:defRPr sz="506"/>
            </a:lvl4pPr>
            <a:lvl5pPr marL="1028840" indent="0">
              <a:buNone/>
              <a:defRPr sz="506"/>
            </a:lvl5pPr>
            <a:lvl6pPr marL="1286049" indent="0">
              <a:buNone/>
              <a:defRPr sz="506"/>
            </a:lvl6pPr>
            <a:lvl7pPr marL="1543259" indent="0">
              <a:buNone/>
              <a:defRPr sz="506"/>
            </a:lvl7pPr>
            <a:lvl8pPr marL="1800470" indent="0">
              <a:buNone/>
              <a:defRPr sz="506"/>
            </a:lvl8pPr>
            <a:lvl9pPr marL="2057679" indent="0">
              <a:buNone/>
              <a:defRPr sz="506"/>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61438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3886021" cy="5143500"/>
          </a:xfrm>
          <a:prstGeom prst="rect">
            <a:avLst/>
          </a:prstGeom>
          <a:gradFill flip="none" rotWithShape="1">
            <a:gsLst>
              <a:gs pos="0">
                <a:schemeClr val="bg1">
                  <a:lumMod val="85000"/>
                </a:schemeClr>
              </a:gs>
              <a:gs pos="100000">
                <a:srgbClr val="FFFFFF">
                  <a:alpha val="89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8049" hangingPunct="0"/>
            <a:endParaRPr sz="1350" b="1" kern="0" dirty="0">
              <a:solidFill>
                <a:prstClr val="white"/>
              </a:solidFill>
              <a:sym typeface="Helvetica Neue"/>
            </a:endParaRPr>
          </a:p>
        </p:txBody>
      </p:sp>
      <p:sp>
        <p:nvSpPr>
          <p:cNvPr id="2" name="Title 1"/>
          <p:cNvSpPr>
            <a:spLocks noGrp="1"/>
          </p:cNvSpPr>
          <p:nvPr>
            <p:ph type="title"/>
          </p:nvPr>
        </p:nvSpPr>
        <p:spPr>
          <a:xfrm>
            <a:off x="513293" y="514350"/>
            <a:ext cx="2915409" cy="3028950"/>
          </a:xfrm>
        </p:spPr>
        <p:txBody>
          <a:bodyPr anchor="b">
            <a:noAutofit/>
          </a:bodyPr>
          <a:lstStyle>
            <a:lvl1pPr algn="l">
              <a:defRPr sz="2251" b="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4400506" y="514350"/>
            <a:ext cx="4230202" cy="4114800"/>
          </a:xfrm>
          <a:solidFill>
            <a:schemeClr val="bg1">
              <a:lumMod val="95000"/>
            </a:schemeClr>
          </a:solidFill>
          <a:ln w="3175">
            <a:solidFill>
              <a:schemeClr val="bg1">
                <a:lumMod val="75000"/>
              </a:schemeClr>
            </a:solidFill>
            <a:miter lim="800000"/>
          </a:ln>
        </p:spPr>
        <p:txBody>
          <a:bodyPr tIns="914400">
            <a:normAutofit/>
          </a:bodyPr>
          <a:lstStyle>
            <a:lvl1pPr marL="0" indent="0" algn="ctr">
              <a:buNone/>
              <a:defRPr sz="1350"/>
            </a:lvl1pPr>
            <a:lvl2pPr marL="257210" indent="0">
              <a:buNone/>
              <a:defRPr sz="1575"/>
            </a:lvl2pPr>
            <a:lvl3pPr marL="514420" indent="0">
              <a:buNone/>
              <a:defRPr sz="1350"/>
            </a:lvl3pPr>
            <a:lvl4pPr marL="771630" indent="0">
              <a:buNone/>
              <a:defRPr sz="1125"/>
            </a:lvl4pPr>
            <a:lvl5pPr marL="1028840" indent="0">
              <a:buNone/>
              <a:defRPr sz="1125"/>
            </a:lvl5pPr>
            <a:lvl6pPr marL="1286049" indent="0">
              <a:buNone/>
              <a:defRPr sz="1125"/>
            </a:lvl6pPr>
            <a:lvl7pPr marL="1543259" indent="0">
              <a:buNone/>
              <a:defRPr sz="1125"/>
            </a:lvl7pPr>
            <a:lvl8pPr marL="1800470" indent="0">
              <a:buNone/>
              <a:defRPr sz="1125"/>
            </a:lvl8pPr>
            <a:lvl9pPr marL="2057679" indent="0">
              <a:buNone/>
              <a:defRPr sz="1125"/>
            </a:lvl9pPr>
          </a:lstStyle>
          <a:p>
            <a:r>
              <a:rPr lang="en-US" dirty="0"/>
              <a:t>Click icon to add picture</a:t>
            </a:r>
            <a:endParaRPr dirty="0"/>
          </a:p>
        </p:txBody>
      </p:sp>
      <p:sp>
        <p:nvSpPr>
          <p:cNvPr id="4" name="Text Placeholder 3"/>
          <p:cNvSpPr>
            <a:spLocks noGrp="1"/>
          </p:cNvSpPr>
          <p:nvPr>
            <p:ph type="body" sz="half" idx="2"/>
          </p:nvPr>
        </p:nvSpPr>
        <p:spPr>
          <a:xfrm>
            <a:off x="513293" y="3657600"/>
            <a:ext cx="2915409" cy="971550"/>
          </a:xfrm>
        </p:spPr>
        <p:txBody>
          <a:bodyPr>
            <a:normAutofit/>
          </a:bodyPr>
          <a:lstStyle>
            <a:lvl1pPr marL="0" indent="0">
              <a:spcBef>
                <a:spcPts val="0"/>
              </a:spcBef>
              <a:buNone/>
              <a:defRPr sz="1012"/>
            </a:lvl1pPr>
            <a:lvl2pPr marL="257210" indent="0">
              <a:buNone/>
              <a:defRPr sz="675"/>
            </a:lvl2pPr>
            <a:lvl3pPr marL="514420" indent="0">
              <a:buNone/>
              <a:defRPr sz="563"/>
            </a:lvl3pPr>
            <a:lvl4pPr marL="771630" indent="0">
              <a:buNone/>
              <a:defRPr sz="506"/>
            </a:lvl4pPr>
            <a:lvl5pPr marL="1028840" indent="0">
              <a:buNone/>
              <a:defRPr sz="506"/>
            </a:lvl5pPr>
            <a:lvl6pPr marL="1286049" indent="0">
              <a:buNone/>
              <a:defRPr sz="506"/>
            </a:lvl6pPr>
            <a:lvl7pPr marL="1543259" indent="0">
              <a:buNone/>
              <a:defRPr sz="506"/>
            </a:lvl7pPr>
            <a:lvl8pPr marL="1800470" indent="0">
              <a:buNone/>
              <a:defRPr sz="506"/>
            </a:lvl8pPr>
            <a:lvl9pPr marL="2057679" indent="0">
              <a:buNone/>
              <a:defRPr sz="506"/>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5" name="Date Placeholder 4"/>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7" name="Slide Number Placeholder 6"/>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121538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411545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14350"/>
            <a:ext cx="1601153" cy="41148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913447" y="514350"/>
            <a:ext cx="5563553" cy="4114800"/>
          </a:xfrm>
        </p:spPr>
        <p:txBody>
          <a:bodyPr vert="eaVert"/>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solidFill>
                  <a:srgbClr val="545454"/>
                </a:solidFill>
              </a:rPr>
              <a:t>Add a footer</a:t>
            </a:r>
            <a:endParaRPr dirty="0">
              <a:solidFill>
                <a:srgbClr val="545454"/>
              </a:solidFill>
            </a:endParaRPr>
          </a:p>
        </p:txBody>
      </p:sp>
      <p:sp>
        <p:nvSpPr>
          <p:cNvPr id="4" name="Date Placeholder 3"/>
          <p:cNvSpPr>
            <a:spLocks noGrp="1"/>
          </p:cNvSpPr>
          <p:nvPr>
            <p:ph type="dt" sz="half" idx="10"/>
          </p:nvPr>
        </p:nvSpPr>
        <p:spPr/>
        <p:txBody>
          <a:bodyPr/>
          <a:lstStyle/>
          <a:p>
            <a:fld id="{EDF33987-6305-4E2A-BF18-EF013ECE927B}" type="datetimeFigureOut">
              <a:rPr lang="en-US">
                <a:solidFill>
                  <a:srgbClr val="545454"/>
                </a:solidFill>
              </a:rPr>
              <a:pPr/>
              <a:t>10/24/18</a:t>
            </a:fld>
            <a:endParaRPr dirty="0">
              <a:solidFill>
                <a:srgbClr val="545454"/>
              </a:solidFill>
            </a:endParaRPr>
          </a:p>
        </p:txBody>
      </p:sp>
      <p:sp>
        <p:nvSpPr>
          <p:cNvPr id="6" name="Slide Number Placeholder 5"/>
          <p:cNvSpPr>
            <a:spLocks noGrp="1"/>
          </p:cNvSpPr>
          <p:nvPr>
            <p:ph type="sldNum" sz="quarter" idx="12"/>
          </p:nvPr>
        </p:nvSpPr>
        <p:spPr/>
        <p:txBody>
          <a:bodyPr/>
          <a:lstStyle/>
          <a:p>
            <a:fld id="{F36C87F6-986D-49E6-AF40-1B3A1EE8064D}" type="slidenum">
              <a:rPr>
                <a:solidFill>
                  <a:srgbClr val="545454"/>
                </a:solidFill>
              </a:rPr>
              <a:pPr/>
              <a:t>‹#›</a:t>
            </a:fld>
            <a:endParaRPr dirty="0">
              <a:solidFill>
                <a:srgbClr val="545454"/>
              </a:solidFill>
            </a:endParaRPr>
          </a:p>
        </p:txBody>
      </p:sp>
    </p:spTree>
    <p:extLst>
      <p:ext uri="{BB962C8B-B14F-4D97-AF65-F5344CB8AC3E}">
        <p14:creationId xmlns:p14="http://schemas.microsoft.com/office/powerpoint/2010/main" val="245002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1_Title">
    <p:bg>
      <p:bgPr>
        <a:solidFill>
          <a:schemeClr val="bg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6" name="Picture 5"/>
          <p:cNvPicPr>
            <a:picLocks noChangeAspect="1"/>
          </p:cNvPicPr>
          <p:nvPr userDrawn="1"/>
        </p:nvPicPr>
        <p:blipFill>
          <a:blip r:embed="rId5"/>
          <a:stretch>
            <a:fillRect/>
          </a:stretch>
        </p:blipFill>
        <p:spPr>
          <a:xfrm>
            <a:off x="203484" y="4622816"/>
            <a:ext cx="946867" cy="414055"/>
          </a:xfrm>
          <a:prstGeom prst="rect">
            <a:avLst/>
          </a:prstGeom>
        </p:spPr>
      </p:pic>
    </p:spTree>
    <p:extLst>
      <p:ext uri="{BB962C8B-B14F-4D97-AF65-F5344CB8AC3E}">
        <p14:creationId xmlns:p14="http://schemas.microsoft.com/office/powerpoint/2010/main" val="659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7_Title">
    <p:bg>
      <p:bgPr>
        <a:solidFill>
          <a:schemeClr val="bg2"/>
        </a:solidFill>
        <a:effectLst/>
      </p:bgPr>
    </p:bg>
    <p:spTree>
      <p:nvGrpSpPr>
        <p:cNvPr id="1" name=""/>
        <p:cNvGrpSpPr/>
        <p:nvPr/>
      </p:nvGrpSpPr>
      <p:grpSpPr>
        <a:xfrm>
          <a:off x="0" y="0"/>
          <a:ext cx="0" cy="0"/>
          <a:chOff x="0" y="0"/>
          <a:chExt cx="0" cy="0"/>
        </a:xfrm>
      </p:grpSpPr>
      <p:sp>
        <p:nvSpPr>
          <p:cNvPr id="17" name="Rectangle 16"/>
          <p:cNvSpPr/>
          <p:nvPr userDrawn="1"/>
        </p:nvSpPr>
        <p:spPr bwMode="auto">
          <a:xfrm>
            <a:off x="0" y="0"/>
            <a:ext cx="9144000" cy="667568"/>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tx2"/>
                </a:gs>
                <a:gs pos="100000">
                  <a:schemeClr val="tx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2" name="Picture 11"/>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accent1"/>
                </a:solidFill>
                <a:latin typeface="+mn-lt"/>
              </a:defRPr>
            </a:lvl1pPr>
          </a:lstStyle>
          <a:p>
            <a:pPr lvl="0"/>
            <a:r>
              <a:rPr lang="de-DE" noProof="0" dirty="0"/>
              <a:t>Title</a:t>
            </a:r>
            <a:endParaRPr lang="en-GB" noProof="0" dirty="0"/>
          </a:p>
        </p:txBody>
      </p:sp>
      <p:grpSp>
        <p:nvGrpSpPr>
          <p:cNvPr id="2" name="Group 1"/>
          <p:cNvGrpSpPr/>
          <p:nvPr userDrawn="1"/>
        </p:nvGrpSpPr>
        <p:grpSpPr>
          <a:xfrm>
            <a:off x="7471011" y="-1"/>
            <a:ext cx="1672989" cy="1588851"/>
            <a:chOff x="7471011" y="-1"/>
            <a:chExt cx="1672989" cy="1588851"/>
          </a:xfrm>
        </p:grpSpPr>
        <p:pic>
          <p:nvPicPr>
            <p:cNvPr id="10" name="Picture 9"/>
            <p:cNvPicPr>
              <a:picLocks noChangeAspect="1"/>
            </p:cNvPicPr>
            <p:nvPr userDrawn="1"/>
          </p:nvPicPr>
          <p:blipFill rotWithShape="1">
            <a:blip r:embed="rId4"/>
            <a:srcRect t="47335" r="36214"/>
            <a:stretch/>
          </p:blipFill>
          <p:spPr>
            <a:xfrm>
              <a:off x="7471011" y="-1"/>
              <a:ext cx="1672989" cy="1588851"/>
            </a:xfrm>
            <a:prstGeom prst="rect">
              <a:avLst/>
            </a:prstGeom>
          </p:spPr>
        </p:pic>
        <p:pic>
          <p:nvPicPr>
            <p:cNvPr id="18" name="Picture 17"/>
            <p:cNvPicPr>
              <a:picLocks noChangeAspect="1"/>
            </p:cNvPicPr>
            <p:nvPr userDrawn="1"/>
          </p:nvPicPr>
          <p:blipFill rotWithShape="1">
            <a:blip r:embed="rId5"/>
            <a:srcRect t="47335" r="36214"/>
            <a:stretch/>
          </p:blipFill>
          <p:spPr>
            <a:xfrm>
              <a:off x="7471011" y="-1"/>
              <a:ext cx="1672989" cy="1588851"/>
            </a:xfrm>
            <a:prstGeom prst="rect">
              <a:avLst/>
            </a:prstGeom>
          </p:spPr>
        </p:pic>
      </p:grpSp>
      <p:pic>
        <p:nvPicPr>
          <p:cNvPr id="19" name="Picture 18"/>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2492201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8_Title">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722050"/>
            <a:ext cx="9144000" cy="4421450"/>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sp>
        <p:nvSpPr>
          <p:cNvPr id="4" name="Text Placeholder 3"/>
          <p:cNvSpPr>
            <a:spLocks noGrp="1"/>
          </p:cNvSpPr>
          <p:nvPr>
            <p:ph type="body" sz="quarter" idx="14"/>
          </p:nvPr>
        </p:nvSpPr>
        <p:spPr>
          <a:xfrm>
            <a:off x="358775" y="868363"/>
            <a:ext cx="8104290" cy="3508375"/>
          </a:xfrm>
        </p:spPr>
        <p:txBody>
          <a:bodyPr/>
          <a:lstStyle>
            <a:lvl1pPr marL="265113" indent="-265113">
              <a:lnSpc>
                <a:spcPct val="100000"/>
              </a:lnSpc>
              <a:spcBef>
                <a:spcPts val="600"/>
              </a:spcBef>
              <a:buClr>
                <a:schemeClr val="accent1"/>
              </a:buClr>
              <a:buFont typeface="Arial" panose="020B0604020202020204" pitchFamily="34" charset="0"/>
              <a:buChar char="•"/>
              <a:defRPr/>
            </a:lvl1pPr>
            <a:lvl2pPr>
              <a:buClr>
                <a:schemeClr val="accent1"/>
              </a:buClr>
              <a:defRPr/>
            </a:lvl2pPr>
            <a:lvl3pPr marL="542925" indent="-265113">
              <a:lnSpc>
                <a:spcPct val="100000"/>
              </a:lnSpc>
              <a:spcBef>
                <a:spcPts val="600"/>
              </a:spcBef>
              <a:buFont typeface="Arial" panose="020B0604020202020204" pitchFamily="34" charset="0"/>
              <a:buChar char="•"/>
              <a:defRPr sz="1600"/>
            </a:lvl3pPr>
            <a:lvl4pPr>
              <a:lnSpc>
                <a:spcPct val="100000"/>
              </a:lnSpc>
              <a:spcBef>
                <a:spcPts val="600"/>
              </a:spcBef>
              <a:defRPr sz="1600"/>
            </a:lvl4pPr>
            <a:lvl5pPr>
              <a:lnSpc>
                <a:spcPct val="100000"/>
              </a:lnSpc>
              <a:spcBef>
                <a:spcPts val="600"/>
              </a:spcBef>
              <a:defRPr sz="1600"/>
            </a:lvl5pPr>
            <a:lvl6pPr>
              <a:lnSpc>
                <a:spcPct val="100000"/>
              </a:lnSpc>
              <a:spcBef>
                <a:spcPts val="600"/>
              </a:spcBef>
              <a:defRPr sz="1600">
                <a:solidFill>
                  <a:schemeClr val="accent1"/>
                </a:solidFill>
              </a:defRPr>
            </a:lvl6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bg1"/>
                </a:solidFill>
                <a:latin typeface="+mn-lt"/>
              </a:defRPr>
            </a:lvl1pPr>
          </a:lstStyle>
          <a:p>
            <a:pPr lvl="0"/>
            <a:r>
              <a:rPr lang="de-DE" noProof="0" dirty="0"/>
              <a:t>Title</a:t>
            </a:r>
            <a:endParaRPr lang="en-GB" noProof="0" dirty="0"/>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tx2"/>
                </a:gs>
                <a:gs pos="100000">
                  <a:schemeClr val="tx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grpSp>
        <p:nvGrpSpPr>
          <p:cNvPr id="13" name="Group 12"/>
          <p:cNvGrpSpPr/>
          <p:nvPr userDrawn="1"/>
        </p:nvGrpSpPr>
        <p:grpSpPr>
          <a:xfrm>
            <a:off x="7471011" y="-1"/>
            <a:ext cx="1672989" cy="1588851"/>
            <a:chOff x="7471011" y="-1"/>
            <a:chExt cx="1672989" cy="1588851"/>
          </a:xfrm>
        </p:grpSpPr>
        <p:pic>
          <p:nvPicPr>
            <p:cNvPr id="17" name="Picture 16"/>
            <p:cNvPicPr>
              <a:picLocks noChangeAspect="1"/>
            </p:cNvPicPr>
            <p:nvPr userDrawn="1"/>
          </p:nvPicPr>
          <p:blipFill rotWithShape="1">
            <a:blip r:embed="rId3"/>
            <a:srcRect t="47335" r="36214"/>
            <a:stretch/>
          </p:blipFill>
          <p:spPr>
            <a:xfrm>
              <a:off x="7471011" y="-1"/>
              <a:ext cx="1672989" cy="1588851"/>
            </a:xfrm>
            <a:prstGeom prst="rect">
              <a:avLst/>
            </a:prstGeom>
          </p:spPr>
        </p:pic>
        <p:pic>
          <p:nvPicPr>
            <p:cNvPr id="18" name="Picture 17"/>
            <p:cNvPicPr>
              <a:picLocks noChangeAspect="1"/>
            </p:cNvPicPr>
            <p:nvPr userDrawn="1"/>
          </p:nvPicPr>
          <p:blipFill rotWithShape="1">
            <a:blip r:embed="rId4"/>
            <a:srcRect t="47335" r="36214"/>
            <a:stretch/>
          </p:blipFill>
          <p:spPr>
            <a:xfrm>
              <a:off x="7471011" y="-1"/>
              <a:ext cx="1672989" cy="1588851"/>
            </a:xfrm>
            <a:prstGeom prst="rect">
              <a:avLst/>
            </a:prstGeom>
          </p:spPr>
        </p:pic>
      </p:grpSp>
      <p:pic>
        <p:nvPicPr>
          <p:cNvPr id="20" name="Picture 19"/>
          <p:cNvPicPr>
            <a:picLocks noChangeAspect="1"/>
          </p:cNvPicPr>
          <p:nvPr userDrawn="1"/>
        </p:nvPicPr>
        <p:blipFill>
          <a:blip r:embed="rId5"/>
          <a:stretch>
            <a:fillRect/>
          </a:stretch>
        </p:blipFill>
        <p:spPr>
          <a:xfrm>
            <a:off x="203484" y="4623439"/>
            <a:ext cx="946867" cy="412808"/>
          </a:xfrm>
          <a:prstGeom prst="rect">
            <a:avLst/>
          </a:prstGeom>
        </p:spPr>
      </p:pic>
    </p:spTree>
    <p:extLst>
      <p:ext uri="{BB962C8B-B14F-4D97-AF65-F5344CB8AC3E}">
        <p14:creationId xmlns:p14="http://schemas.microsoft.com/office/powerpoint/2010/main" val="107827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2_Title">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3"/>
          <a:srcRect t="48080"/>
          <a:stretch/>
        </p:blipFill>
        <p:spPr>
          <a:xfrm>
            <a:off x="6490277" y="0"/>
            <a:ext cx="2368301" cy="1368881"/>
          </a:xfrm>
          <a:prstGeom prst="rect">
            <a:avLst/>
          </a:prstGeom>
        </p:spPr>
      </p:pic>
      <p:pic>
        <p:nvPicPr>
          <p:cNvPr id="14" name="Picture 13"/>
          <p:cNvPicPr>
            <a:picLocks noChangeAspect="1"/>
          </p:cNvPicPr>
          <p:nvPr userDrawn="1"/>
        </p:nvPicPr>
        <p:blipFill rotWithShape="1">
          <a:blip r:embed="rId4"/>
          <a:srcRect l="18520"/>
          <a:stretch/>
        </p:blipFill>
        <p:spPr>
          <a:xfrm>
            <a:off x="0" y="1667144"/>
            <a:ext cx="1927209" cy="3154686"/>
          </a:xfrm>
          <a:prstGeom prst="rect">
            <a:avLst/>
          </a:prstGeom>
        </p:spPr>
      </p:pic>
      <p:sp>
        <p:nvSpPr>
          <p:cNvPr id="17" name="Rectangle 4"/>
          <p:cNvSpPr>
            <a:spLocks noGrp="1" noChangeArrowheads="1"/>
          </p:cNvSpPr>
          <p:nvPr>
            <p:ph type="subTitle" idx="1" hasCustomPrompt="1"/>
          </p:nvPr>
        </p:nvSpPr>
        <p:spPr bwMode="white">
          <a:xfrm>
            <a:off x="3131467" y="3931786"/>
            <a:ext cx="5560692" cy="611789"/>
          </a:xfrm>
        </p:spPr>
        <p:txBody>
          <a:bodyPr wrap="square">
            <a:noAutofit/>
          </a:bodyPr>
          <a:lstStyle>
            <a:lvl1pPr>
              <a:spcBef>
                <a:spcPts val="600"/>
              </a:spcBef>
              <a:defRPr sz="2000" baseline="0">
                <a:solidFill>
                  <a:schemeClr val="accent1"/>
                </a:solidFill>
                <a:sym typeface="Symbol" pitchFamily="18" charset="2"/>
              </a:defRPr>
            </a:lvl1pPr>
          </a:lstStyle>
          <a:p>
            <a:r>
              <a:rPr lang="de-DE" noProof="0" dirty="0">
                <a:sym typeface="Symbol" pitchFamily="18" charset="2"/>
              </a:rPr>
              <a:t>Title</a:t>
            </a:r>
            <a:endParaRPr lang="en-GB" noProof="0" dirty="0">
              <a:sym typeface="Symbol" pitchFamily="18" charset="2"/>
            </a:endParaRPr>
          </a:p>
        </p:txBody>
      </p:sp>
      <p:sp>
        <p:nvSpPr>
          <p:cNvPr id="18" name="Rectangle 5"/>
          <p:cNvSpPr>
            <a:spLocks noGrp="1" noChangeArrowheads="1"/>
          </p:cNvSpPr>
          <p:nvPr>
            <p:ph type="ctrTitle" hasCustomPrompt="1"/>
          </p:nvPr>
        </p:nvSpPr>
        <p:spPr>
          <a:xfrm>
            <a:off x="3131803" y="2872022"/>
            <a:ext cx="5562134" cy="990296"/>
          </a:xfrm>
          <a:noFill/>
        </p:spPr>
        <p:txBody>
          <a:bodyPr anchor="b">
            <a:noAutofit/>
          </a:bodyPr>
          <a:lstStyle>
            <a:lvl1pPr>
              <a:spcBef>
                <a:spcPts val="600"/>
              </a:spcBef>
              <a:defRPr sz="2400" b="1" cap="all" baseline="0">
                <a:solidFill>
                  <a:schemeClr val="accent1"/>
                </a:solidFill>
              </a:defRPr>
            </a:lvl1pPr>
          </a:lstStyle>
          <a:p>
            <a:r>
              <a:rPr lang="de-DE" noProof="0" dirty="0"/>
              <a:t>Name</a:t>
            </a:r>
            <a:endParaRPr lang="en-GB" noProof="0" dirty="0"/>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9" name="Picture 8"/>
          <p:cNvPicPr>
            <a:picLocks noChangeAspect="1"/>
          </p:cNvPicPr>
          <p:nvPr userDrawn="1"/>
        </p:nvPicPr>
        <p:blipFill>
          <a:blip r:embed="rId6"/>
          <a:stretch>
            <a:fillRect/>
          </a:stretch>
        </p:blipFill>
        <p:spPr>
          <a:xfrm>
            <a:off x="1988679" y="892922"/>
            <a:ext cx="4638822" cy="2022400"/>
          </a:xfrm>
          <a:prstGeom prst="rect">
            <a:avLst/>
          </a:prstGeom>
        </p:spPr>
      </p:pic>
    </p:spTree>
    <p:extLst>
      <p:ext uri="{BB962C8B-B14F-4D97-AF65-F5344CB8AC3E}">
        <p14:creationId xmlns:p14="http://schemas.microsoft.com/office/powerpoint/2010/main" val="980732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mp; content - 1 column">
    <p:spTree>
      <p:nvGrpSpPr>
        <p:cNvPr id="1" name=""/>
        <p:cNvGrpSpPr/>
        <p:nvPr/>
      </p:nvGrpSpPr>
      <p:grpSpPr>
        <a:xfrm>
          <a:off x="0" y="0"/>
          <a:ext cx="0" cy="0"/>
          <a:chOff x="0" y="0"/>
          <a:chExt cx="0" cy="0"/>
        </a:xfrm>
      </p:grpSpPr>
      <p:grpSp>
        <p:nvGrpSpPr>
          <p:cNvPr id="11" name="Group 10"/>
          <p:cNvGrpSpPr/>
          <p:nvPr userDrawn="1"/>
        </p:nvGrpSpPr>
        <p:grpSpPr>
          <a:xfrm>
            <a:off x="7471011" y="-1"/>
            <a:ext cx="1672989" cy="1588851"/>
            <a:chOff x="7471011" y="-1"/>
            <a:chExt cx="1672989" cy="1588851"/>
          </a:xfrm>
        </p:grpSpPr>
        <p:pic>
          <p:nvPicPr>
            <p:cNvPr id="12" name="Picture 11"/>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19" name="Picture 18"/>
            <p:cNvPicPr>
              <a:picLocks noChangeAspect="1"/>
            </p:cNvPicPr>
            <p:nvPr userDrawn="1"/>
          </p:nvPicPr>
          <p:blipFill rotWithShape="1">
            <a:blip r:embed="rId3"/>
            <a:srcRect t="47335" r="36214"/>
            <a:stretch/>
          </p:blipFill>
          <p:spPr>
            <a:xfrm>
              <a:off x="7471011" y="-1"/>
              <a:ext cx="1672989" cy="1588851"/>
            </a:xfrm>
            <a:prstGeom prst="rect">
              <a:avLst/>
            </a:prstGeom>
          </p:spPr>
        </p:pic>
      </p:grpSp>
      <p:sp>
        <p:nvSpPr>
          <p:cNvPr id="2" name="Titel 1"/>
          <p:cNvSpPr>
            <a:spLocks noGrp="1"/>
          </p:cNvSpPr>
          <p:nvPr userDrawn="1">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sp>
        <p:nvSpPr>
          <p:cNvPr id="15" name="Text Placeholder 7"/>
          <p:cNvSpPr>
            <a:spLocks noGrp="1"/>
          </p:cNvSpPr>
          <p:nvPr userDrawn="1">
            <p:ph type="body" sz="quarter" idx="13"/>
          </p:nvPr>
        </p:nvSpPr>
        <p:spPr>
          <a:xfrm>
            <a:off x="358775" y="868363"/>
            <a:ext cx="8103600" cy="3495161"/>
          </a:xfrm>
          <a:noFill/>
          <a:ln w="9525">
            <a:noFill/>
            <a:miter lim="800000"/>
            <a:headEnd/>
            <a:tailEnd/>
          </a:ln>
          <a:effectLst/>
        </p:spPr>
        <p:txBody>
          <a:bodyPr vert="horz" wrap="square" lIns="0" tIns="0" rIns="0" bIns="0" numCol="1" anchor="t" anchorCtr="0" compatLnSpc="1">
            <a:prstTxWarp prst="textNoShape">
              <a:avLst/>
            </a:prstTxWarp>
          </a:bodyPr>
          <a:lstStyle>
            <a:lvl1pPr marL="265113" indent="-265113">
              <a:lnSpc>
                <a:spcPct val="100000"/>
              </a:lnSpc>
              <a:spcBef>
                <a:spcPts val="600"/>
              </a:spcBef>
              <a:buClr>
                <a:schemeClr val="accent1"/>
              </a:buClr>
              <a:buFont typeface="Arial" panose="020B0604020202020204" pitchFamily="34" charset="0"/>
              <a:buChar char="•"/>
              <a:defRPr lang="en-US" dirty="0"/>
            </a:lvl1pPr>
            <a:lvl2pPr>
              <a:defRPr lang="en-US" dirty="0"/>
            </a:lvl2pPr>
            <a:lvl3pPr marL="542925" indent="-265113">
              <a:lnSpc>
                <a:spcPct val="100000"/>
              </a:lnSpc>
              <a:spcBef>
                <a:spcPts val="600"/>
              </a:spcBef>
              <a:buFont typeface="Arial" panose="020B0604020202020204" pitchFamily="34" charset="0"/>
              <a:buChar char="•"/>
              <a:defRPr lang="en-US" sz="1600" dirty="0"/>
            </a:lvl3pPr>
            <a:lvl4pPr>
              <a:lnSpc>
                <a:spcPct val="100000"/>
              </a:lnSpc>
              <a:spcBef>
                <a:spcPts val="600"/>
              </a:spcBef>
              <a:defRPr lang="en-US" sz="1600" dirty="0"/>
            </a:lvl4pPr>
            <a:lvl5pPr>
              <a:lnSpc>
                <a:spcPct val="100000"/>
              </a:lnSpc>
              <a:spcBef>
                <a:spcPts val="600"/>
              </a:spcBef>
              <a:defRPr lang="en-GB" sz="1600" dirty="0"/>
            </a:lvl5pPr>
            <a:lvl6pPr>
              <a:lnSpc>
                <a:spcPct val="100000"/>
              </a:lnSpc>
              <a:spcBef>
                <a:spcPts val="600"/>
              </a:spcBef>
              <a:defRPr sz="1600">
                <a:solidFill>
                  <a:schemeClr val="accent1"/>
                </a:solidFill>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grpSp>
        <p:nvGrpSpPr>
          <p:cNvPr id="4" name="Group 3"/>
          <p:cNvGrpSpPr/>
          <p:nvPr userDrawn="1"/>
        </p:nvGrpSpPr>
        <p:grpSpPr>
          <a:xfrm>
            <a:off x="0" y="667932"/>
            <a:ext cx="9144000" cy="54000"/>
            <a:chOff x="0" y="667932"/>
            <a:chExt cx="9144000" cy="72000"/>
          </a:xfrm>
        </p:grpSpPr>
        <p:sp>
          <p:nvSpPr>
            <p:cNvPr id="16" name="Rectangle 15"/>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7" name="Rectangle 16"/>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4" name="Picture 13"/>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852598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mp; content - 2 columns">
    <p:spTree>
      <p:nvGrpSpPr>
        <p:cNvPr id="1" name=""/>
        <p:cNvGrpSpPr/>
        <p:nvPr/>
      </p:nvGrpSpPr>
      <p:grpSpPr>
        <a:xfrm>
          <a:off x="0" y="0"/>
          <a:ext cx="0" cy="0"/>
          <a:chOff x="0" y="0"/>
          <a:chExt cx="0" cy="0"/>
        </a:xfrm>
      </p:grpSpPr>
      <p:grpSp>
        <p:nvGrpSpPr>
          <p:cNvPr id="13" name="Group 12"/>
          <p:cNvGrpSpPr/>
          <p:nvPr userDrawn="1"/>
        </p:nvGrpSpPr>
        <p:grpSpPr>
          <a:xfrm>
            <a:off x="7471011" y="-1"/>
            <a:ext cx="1672989" cy="1588851"/>
            <a:chOff x="7471011" y="-1"/>
            <a:chExt cx="1672989" cy="1588851"/>
          </a:xfrm>
        </p:grpSpPr>
        <p:pic>
          <p:nvPicPr>
            <p:cNvPr id="15" name="Picture 14"/>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23" name="Picture 22"/>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7" name="Group 16"/>
          <p:cNvGrpSpPr/>
          <p:nvPr userDrawn="1"/>
        </p:nvGrpSpPr>
        <p:grpSpPr>
          <a:xfrm>
            <a:off x="0" y="667932"/>
            <a:ext cx="9144000" cy="54000"/>
            <a:chOff x="0" y="667932"/>
            <a:chExt cx="9144000" cy="72000"/>
          </a:xfrm>
        </p:grpSpPr>
        <p:sp>
          <p:nvSpPr>
            <p:cNvPr id="18" name="Rectangle 17"/>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21" name="Rectangle 20"/>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19" name="Text Placeholder 7"/>
          <p:cNvSpPr>
            <a:spLocks noGrp="1"/>
          </p:cNvSpPr>
          <p:nvPr>
            <p:ph type="body" sz="quarter" idx="13"/>
          </p:nvPr>
        </p:nvSpPr>
        <p:spPr>
          <a:xfrm>
            <a:off x="358775"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7"/>
          <p:cNvSpPr>
            <a:spLocks noGrp="1"/>
          </p:cNvSpPr>
          <p:nvPr>
            <p:ph type="body" sz="quarter" idx="14"/>
          </p:nvPr>
        </p:nvSpPr>
        <p:spPr>
          <a:xfrm>
            <a:off x="4679521"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pic>
        <p:nvPicPr>
          <p:cNvPr id="16" name="Picture 15"/>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1699337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12" name="Group 11"/>
          <p:cNvGrpSpPr/>
          <p:nvPr userDrawn="1"/>
        </p:nvGrpSpPr>
        <p:grpSpPr>
          <a:xfrm>
            <a:off x="7471011" y="-1"/>
            <a:ext cx="1672989" cy="1588851"/>
            <a:chOff x="7471011" y="-1"/>
            <a:chExt cx="1672989" cy="1588851"/>
          </a:xfrm>
        </p:grpSpPr>
        <p:pic>
          <p:nvPicPr>
            <p:cNvPr id="16" name="Picture 15"/>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18" name="Picture 17"/>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3" name="Group 12"/>
          <p:cNvGrpSpPr/>
          <p:nvPr userDrawn="1"/>
        </p:nvGrpSpPr>
        <p:grpSpPr>
          <a:xfrm>
            <a:off x="0" y="667932"/>
            <a:ext cx="9144000" cy="54000"/>
            <a:chOff x="0" y="667932"/>
            <a:chExt cx="9144000" cy="72000"/>
          </a:xfrm>
        </p:grpSpPr>
        <p:sp>
          <p:nvSpPr>
            <p:cNvPr id="14" name="Rectangle 13"/>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5" name="Rectangle 14"/>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2" name="Titel 1"/>
          <p:cNvSpPr>
            <a:spLocks noGrp="1"/>
          </p:cNvSpPr>
          <p:nvPr>
            <p:ph type="title" hasCustomPrompt="1"/>
          </p:nvPr>
        </p:nvSpPr>
        <p:spPr/>
        <p:txBody>
          <a:bodyPr/>
          <a:lstStyle>
            <a:lvl1pPr>
              <a:defRPr cap="all" baseline="0"/>
            </a:lvl1pPr>
          </a:lstStyle>
          <a:p>
            <a:r>
              <a:rPr lang="de-DE" noProof="0" dirty="0"/>
              <a:t>Title</a:t>
            </a:r>
            <a:endParaRPr lang="en-GB" noProof="0" dirty="0"/>
          </a:p>
        </p:txBody>
      </p:sp>
      <p:pic>
        <p:nvPicPr>
          <p:cNvPr id="11" name="Picture 10"/>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2806153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698615" y="1190585"/>
            <a:ext cx="1990747" cy="2655183"/>
          </a:xfrm>
          <a:prstGeom prst="rect">
            <a:avLst/>
          </a:prstGeom>
        </p:spPr>
      </p:pic>
      <p:pic>
        <p:nvPicPr>
          <p:cNvPr id="13" name="Picture 12"/>
          <p:cNvPicPr>
            <a:picLocks noChangeAspect="1"/>
          </p:cNvPicPr>
          <p:nvPr userDrawn="1"/>
        </p:nvPicPr>
        <p:blipFill rotWithShape="1">
          <a:blip r:embed="rId3"/>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2843808" y="901430"/>
            <a:ext cx="5562134" cy="3326859"/>
          </a:xfrm>
          <a:noFill/>
        </p:spPr>
        <p:txBody>
          <a:bodyPr anchor="ctr" anchorCtr="0">
            <a:noAutofit/>
          </a:bodyPr>
          <a:lstStyle>
            <a:lvl1pPr>
              <a:lnSpc>
                <a:spcPts val="5600"/>
              </a:lnSpc>
              <a:spcBef>
                <a:spcPts val="600"/>
              </a:spcBef>
              <a:defRPr sz="54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8" name="Picture 7"/>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60563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9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Rectangle 5"/>
          <p:cNvSpPr>
            <a:spLocks noGrp="1" noChangeArrowheads="1"/>
          </p:cNvSpPr>
          <p:nvPr>
            <p:ph type="ctrTitle"/>
          </p:nvPr>
        </p:nvSpPr>
        <p:spPr>
          <a:xfrm>
            <a:off x="2195736" y="915566"/>
            <a:ext cx="5562134" cy="3326859"/>
          </a:xfrm>
          <a:noFill/>
        </p:spPr>
        <p:txBody>
          <a:bodyPr anchor="ctr" anchorCtr="0">
            <a:noAutofit/>
          </a:bodyPr>
          <a:lstStyle>
            <a:lvl1pPr>
              <a:lnSpc>
                <a:spcPts val="5200"/>
              </a:lnSpc>
              <a:spcBef>
                <a:spcPts val="600"/>
              </a:spcBef>
              <a:defRPr sz="5000" b="1" cap="all" baseline="0">
                <a:solidFill>
                  <a:schemeClr val="bg1"/>
                </a:solidFill>
              </a:defRPr>
            </a:lvl1pPr>
          </a:lstStyle>
          <a:p>
            <a:endParaRPr lang="en-GB" noProof="0" dirty="0"/>
          </a:p>
        </p:txBody>
      </p:sp>
      <p:pic>
        <p:nvPicPr>
          <p:cNvPr id="13" name="Picture 12"/>
          <p:cNvPicPr>
            <a:picLocks noChangeAspect="1"/>
          </p:cNvPicPr>
          <p:nvPr userDrawn="1"/>
        </p:nvPicPr>
        <p:blipFill rotWithShape="1">
          <a:blip r:embed="rId3"/>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7" name="Picture 6"/>
          <p:cNvPicPr>
            <a:picLocks noChangeAspect="1"/>
          </p:cNvPicPr>
          <p:nvPr userDrawn="1"/>
        </p:nvPicPr>
        <p:blipFill>
          <a:blip r:embed="rId6"/>
          <a:stretch>
            <a:fillRect/>
          </a:stretch>
        </p:blipFill>
        <p:spPr>
          <a:xfrm>
            <a:off x="357886" y="1456365"/>
            <a:ext cx="1683404" cy="2245261"/>
          </a:xfrm>
          <a:prstGeom prst="rect">
            <a:avLst/>
          </a:prstGeom>
        </p:spPr>
      </p:pic>
      <p:pic>
        <p:nvPicPr>
          <p:cNvPr id="9" name="Picture 8"/>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2219442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4408529" y="830588"/>
            <a:ext cx="1287465" cy="1717171"/>
          </a:xfrm>
          <a:prstGeom prst="rect">
            <a:avLst/>
          </a:prstGeom>
        </p:spPr>
      </p:pic>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5792049" y="639831"/>
            <a:ext cx="3060848" cy="1512523"/>
          </a:xfrm>
          <a:noFill/>
        </p:spPr>
        <p:txBody>
          <a:bodyPr anchor="b" anchorCtr="0">
            <a:noAutofit/>
          </a:bodyPr>
          <a:lstStyle>
            <a:lvl1pPr>
              <a:lnSpc>
                <a:spcPts val="3600"/>
              </a:lnSpc>
              <a:spcBef>
                <a:spcPts val="600"/>
              </a:spcBef>
              <a:defRPr sz="32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4" name="Text Placeholder 3"/>
          <p:cNvSpPr>
            <a:spLocks noGrp="1"/>
          </p:cNvSpPr>
          <p:nvPr>
            <p:ph type="body" sz="quarter" idx="10"/>
          </p:nvPr>
        </p:nvSpPr>
        <p:spPr>
          <a:xfrm>
            <a:off x="5792049" y="2283718"/>
            <a:ext cx="3060000" cy="2304256"/>
          </a:xfrm>
        </p:spPr>
        <p:txBody>
          <a:bodyPr/>
          <a:lstStyle>
            <a:lvl1pPr>
              <a:spcBef>
                <a:spcPts val="600"/>
              </a:spcBef>
              <a:defRPr sz="1400">
                <a:solidFill>
                  <a:schemeClr val="bg1"/>
                </a:solidFill>
              </a:defRPr>
            </a:lvl1pPr>
            <a:lvl2pPr>
              <a:spcBef>
                <a:spcPts val="600"/>
              </a:spcBef>
              <a:defRPr sz="1400">
                <a:solidFill>
                  <a:schemeClr val="bg1"/>
                </a:solidFill>
              </a:defRPr>
            </a:lvl2pPr>
            <a:lvl3pPr>
              <a:spcBef>
                <a:spcPts val="600"/>
              </a:spcBef>
              <a:defRPr sz="14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438299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Titl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7" name="Picture 6"/>
          <p:cNvPicPr>
            <a:picLocks noChangeAspect="1"/>
          </p:cNvPicPr>
          <p:nvPr userDrawn="1"/>
        </p:nvPicPr>
        <p:blipFill rotWithShape="1">
          <a:blip r:embed="rId5"/>
          <a:srcRect l="22100"/>
          <a:stretch/>
        </p:blipFill>
        <p:spPr>
          <a:xfrm>
            <a:off x="0" y="508243"/>
            <a:ext cx="2166026" cy="3708582"/>
          </a:xfrm>
          <a:prstGeom prst="rect">
            <a:avLst/>
          </a:prstGeom>
        </p:spPr>
      </p:pic>
      <p:sp>
        <p:nvSpPr>
          <p:cNvPr id="8" name="Picture Placeholder 5"/>
          <p:cNvSpPr>
            <a:spLocks noGrp="1" noChangeAspect="1"/>
          </p:cNvSpPr>
          <p:nvPr>
            <p:ph type="pic" sz="quarter" idx="13"/>
          </p:nvPr>
        </p:nvSpPr>
        <p:spPr>
          <a:xfrm>
            <a:off x="2771800" y="483518"/>
            <a:ext cx="3096344" cy="3096344"/>
          </a:xfrm>
          <a:prstGeom prst="ellipse">
            <a:avLst/>
          </a:prstGeom>
          <a:noFill/>
          <a:ln w="76200">
            <a:solidFill>
              <a:srgbClr val="FFFFFF">
                <a:alpha val="20000"/>
              </a:srgbClr>
            </a:solidFill>
          </a:ln>
        </p:spPr>
        <p:txBody>
          <a:bodyPr/>
          <a:lstStyle>
            <a:lvl1pPr algn="ctr">
              <a:defRPr sz="1400"/>
            </a:lvl1pPr>
          </a:lstStyle>
          <a:p>
            <a:endParaRPr lang="en-GB" dirty="0"/>
          </a:p>
        </p:txBody>
      </p:sp>
      <p:sp>
        <p:nvSpPr>
          <p:cNvPr id="9" name="Picture Placeholder 5"/>
          <p:cNvSpPr>
            <a:spLocks noGrp="1" noChangeAspect="1"/>
          </p:cNvSpPr>
          <p:nvPr>
            <p:ph type="pic" sz="quarter" idx="14"/>
          </p:nvPr>
        </p:nvSpPr>
        <p:spPr>
          <a:xfrm>
            <a:off x="5868144" y="2211710"/>
            <a:ext cx="2206226" cy="2206226"/>
          </a:xfrm>
          <a:prstGeom prst="ellipse">
            <a:avLst/>
          </a:prstGeom>
          <a:noFill/>
          <a:ln w="76200">
            <a:solidFill>
              <a:srgbClr val="FFFFFF">
                <a:alpha val="20000"/>
              </a:srgbClr>
            </a:solidFill>
          </a:ln>
        </p:spPr>
        <p:txBody>
          <a:bodyPr/>
          <a:lstStyle>
            <a:lvl1pPr algn="ctr">
              <a:defRPr sz="1400"/>
            </a:lvl1pPr>
          </a:lstStyle>
          <a:p>
            <a:endParaRPr lang="en-GB" dirty="0"/>
          </a:p>
        </p:txBody>
      </p:sp>
      <p:pic>
        <p:nvPicPr>
          <p:cNvPr id="14" name="Picture 13"/>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708554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_Title">
    <p:bg>
      <p:bgPr>
        <a:solidFill>
          <a:schemeClr val="accent4"/>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6" name="Picture 5"/>
          <p:cNvPicPr>
            <a:picLocks noChangeAspect="1"/>
          </p:cNvPicPr>
          <p:nvPr userDrawn="1"/>
        </p:nvPicPr>
        <p:blipFill>
          <a:blip r:embed="rId5"/>
          <a:stretch>
            <a:fillRect/>
          </a:stretch>
        </p:blipFill>
        <p:spPr>
          <a:xfrm>
            <a:off x="203484" y="4622816"/>
            <a:ext cx="946867" cy="414055"/>
          </a:xfrm>
          <a:prstGeom prst="rect">
            <a:avLst/>
          </a:prstGeom>
        </p:spPr>
      </p:pic>
    </p:spTree>
    <p:extLst>
      <p:ext uri="{BB962C8B-B14F-4D97-AF65-F5344CB8AC3E}">
        <p14:creationId xmlns:p14="http://schemas.microsoft.com/office/powerpoint/2010/main" val="1047416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9_Title">
    <p:bg>
      <p:bgPr>
        <a:solidFill>
          <a:schemeClr val="accent4"/>
        </a:solidFill>
        <a:effectLst/>
      </p:bgPr>
    </p:bg>
    <p:spTree>
      <p:nvGrpSpPr>
        <p:cNvPr id="1" name=""/>
        <p:cNvGrpSpPr/>
        <p:nvPr/>
      </p:nvGrpSpPr>
      <p:grpSpPr>
        <a:xfrm>
          <a:off x="0" y="0"/>
          <a:ext cx="0" cy="0"/>
          <a:chOff x="0" y="0"/>
          <a:chExt cx="0" cy="0"/>
        </a:xfrm>
      </p:grpSpPr>
      <p:sp>
        <p:nvSpPr>
          <p:cNvPr id="17" name="Rectangle 16"/>
          <p:cNvSpPr/>
          <p:nvPr userDrawn="1"/>
        </p:nvSpPr>
        <p:spPr bwMode="auto">
          <a:xfrm>
            <a:off x="0" y="0"/>
            <a:ext cx="9144000" cy="667568"/>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2" name="Picture 11"/>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accent1"/>
                </a:solidFill>
                <a:latin typeface="+mn-lt"/>
              </a:defRPr>
            </a:lvl1pPr>
          </a:lstStyle>
          <a:p>
            <a:pPr lvl="0"/>
            <a:r>
              <a:rPr lang="de-DE" noProof="0" dirty="0"/>
              <a:t>Title</a:t>
            </a:r>
            <a:endParaRPr lang="en-GB" noProof="0" dirty="0"/>
          </a:p>
        </p:txBody>
      </p:sp>
      <p:grpSp>
        <p:nvGrpSpPr>
          <p:cNvPr id="2" name="Group 1"/>
          <p:cNvGrpSpPr/>
          <p:nvPr userDrawn="1"/>
        </p:nvGrpSpPr>
        <p:grpSpPr>
          <a:xfrm>
            <a:off x="7471011" y="-1"/>
            <a:ext cx="1672989" cy="1588851"/>
            <a:chOff x="7471011" y="-1"/>
            <a:chExt cx="1672989" cy="1588851"/>
          </a:xfrm>
        </p:grpSpPr>
        <p:pic>
          <p:nvPicPr>
            <p:cNvPr id="10" name="Picture 9"/>
            <p:cNvPicPr>
              <a:picLocks noChangeAspect="1"/>
            </p:cNvPicPr>
            <p:nvPr userDrawn="1"/>
          </p:nvPicPr>
          <p:blipFill rotWithShape="1">
            <a:blip r:embed="rId4"/>
            <a:srcRect t="47335" r="36214"/>
            <a:stretch/>
          </p:blipFill>
          <p:spPr>
            <a:xfrm>
              <a:off x="7471011" y="-1"/>
              <a:ext cx="1672989" cy="1588851"/>
            </a:xfrm>
            <a:prstGeom prst="rect">
              <a:avLst/>
            </a:prstGeom>
          </p:spPr>
        </p:pic>
        <p:pic>
          <p:nvPicPr>
            <p:cNvPr id="13" name="Picture 12"/>
            <p:cNvPicPr>
              <a:picLocks noChangeAspect="1"/>
            </p:cNvPicPr>
            <p:nvPr userDrawn="1"/>
          </p:nvPicPr>
          <p:blipFill rotWithShape="1">
            <a:blip r:embed="rId5"/>
            <a:srcRect t="47335" r="36214"/>
            <a:stretch/>
          </p:blipFill>
          <p:spPr>
            <a:xfrm>
              <a:off x="7471011" y="-1"/>
              <a:ext cx="1672989" cy="1588851"/>
            </a:xfrm>
            <a:prstGeom prst="rect">
              <a:avLst/>
            </a:prstGeom>
          </p:spPr>
        </p:pic>
      </p:grpSp>
      <p:pic>
        <p:nvPicPr>
          <p:cNvPr id="19" name="Picture 18"/>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2027240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0_Title">
    <p:bg>
      <p:bgPr>
        <a:solidFill>
          <a:schemeClr val="accent4"/>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722050"/>
            <a:ext cx="9144000" cy="4421450"/>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sp>
        <p:nvSpPr>
          <p:cNvPr id="4" name="Text Placeholder 3"/>
          <p:cNvSpPr>
            <a:spLocks noGrp="1"/>
          </p:cNvSpPr>
          <p:nvPr>
            <p:ph type="body" sz="quarter" idx="14"/>
          </p:nvPr>
        </p:nvSpPr>
        <p:spPr>
          <a:xfrm>
            <a:off x="358775" y="868363"/>
            <a:ext cx="8104290" cy="3508375"/>
          </a:xfrm>
        </p:spPr>
        <p:txBody>
          <a:bodyPr/>
          <a:lstStyle>
            <a:lvl1pPr marL="265113" indent="-265113">
              <a:lnSpc>
                <a:spcPct val="100000"/>
              </a:lnSpc>
              <a:spcBef>
                <a:spcPts val="600"/>
              </a:spcBef>
              <a:buClr>
                <a:schemeClr val="accent1"/>
              </a:buClr>
              <a:buFont typeface="Arial" panose="020B0604020202020204" pitchFamily="34" charset="0"/>
              <a:buChar char="•"/>
              <a:defRPr/>
            </a:lvl1pPr>
            <a:lvl2pPr>
              <a:buClr>
                <a:schemeClr val="accent1"/>
              </a:buClr>
              <a:defRPr/>
            </a:lvl2pPr>
            <a:lvl3pPr marL="542925" indent="-265113">
              <a:lnSpc>
                <a:spcPct val="100000"/>
              </a:lnSpc>
              <a:spcBef>
                <a:spcPts val="600"/>
              </a:spcBef>
              <a:buFont typeface="Arial" panose="020B0604020202020204" pitchFamily="34" charset="0"/>
              <a:buChar char="•"/>
              <a:defRPr sz="1600"/>
            </a:lvl3pPr>
            <a:lvl4pPr>
              <a:lnSpc>
                <a:spcPct val="100000"/>
              </a:lnSpc>
              <a:spcBef>
                <a:spcPts val="600"/>
              </a:spcBef>
              <a:defRPr sz="1600"/>
            </a:lvl4pPr>
            <a:lvl5pPr>
              <a:lnSpc>
                <a:spcPct val="100000"/>
              </a:lnSpc>
              <a:spcBef>
                <a:spcPts val="600"/>
              </a:spcBef>
              <a:defRPr sz="1600"/>
            </a:lvl5pPr>
            <a:lvl6pPr>
              <a:lnSpc>
                <a:spcPct val="100000"/>
              </a:lnSpc>
              <a:spcBef>
                <a:spcPts val="600"/>
              </a:spcBef>
              <a:defRPr sz="1600">
                <a:solidFill>
                  <a:schemeClr val="accent1"/>
                </a:solidFill>
              </a:defRPr>
            </a:lvl6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bg1"/>
                </a:solidFill>
                <a:latin typeface="+mn-lt"/>
              </a:defRPr>
            </a:lvl1pPr>
          </a:lstStyle>
          <a:p>
            <a:pPr lvl="0"/>
            <a:r>
              <a:rPr lang="de-DE" noProof="0" dirty="0"/>
              <a:t>Title</a:t>
            </a:r>
            <a:endParaRPr lang="en-GB" noProof="0" dirty="0"/>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grpSp>
        <p:nvGrpSpPr>
          <p:cNvPr id="13" name="Group 12"/>
          <p:cNvGrpSpPr/>
          <p:nvPr userDrawn="1"/>
        </p:nvGrpSpPr>
        <p:grpSpPr>
          <a:xfrm>
            <a:off x="7471011" y="-1"/>
            <a:ext cx="1672989" cy="1588851"/>
            <a:chOff x="7471011" y="-1"/>
            <a:chExt cx="1672989" cy="1588851"/>
          </a:xfrm>
        </p:grpSpPr>
        <p:pic>
          <p:nvPicPr>
            <p:cNvPr id="17" name="Picture 16"/>
            <p:cNvPicPr>
              <a:picLocks noChangeAspect="1"/>
            </p:cNvPicPr>
            <p:nvPr userDrawn="1"/>
          </p:nvPicPr>
          <p:blipFill rotWithShape="1">
            <a:blip r:embed="rId3"/>
            <a:srcRect t="47335" r="36214"/>
            <a:stretch/>
          </p:blipFill>
          <p:spPr>
            <a:xfrm>
              <a:off x="7471011" y="-1"/>
              <a:ext cx="1672989" cy="1588851"/>
            </a:xfrm>
            <a:prstGeom prst="rect">
              <a:avLst/>
            </a:prstGeom>
          </p:spPr>
        </p:pic>
        <p:pic>
          <p:nvPicPr>
            <p:cNvPr id="18" name="Picture 17"/>
            <p:cNvPicPr>
              <a:picLocks noChangeAspect="1"/>
            </p:cNvPicPr>
            <p:nvPr userDrawn="1"/>
          </p:nvPicPr>
          <p:blipFill rotWithShape="1">
            <a:blip r:embed="rId4"/>
            <a:srcRect t="47335" r="36214"/>
            <a:stretch/>
          </p:blipFill>
          <p:spPr>
            <a:xfrm>
              <a:off x="7471011" y="-1"/>
              <a:ext cx="1672989" cy="1588851"/>
            </a:xfrm>
            <a:prstGeom prst="rect">
              <a:avLst/>
            </a:prstGeom>
          </p:spPr>
        </p:pic>
      </p:grpSp>
      <p:pic>
        <p:nvPicPr>
          <p:cNvPr id="20" name="Picture 19"/>
          <p:cNvPicPr>
            <a:picLocks noChangeAspect="1"/>
          </p:cNvPicPr>
          <p:nvPr userDrawn="1"/>
        </p:nvPicPr>
        <p:blipFill>
          <a:blip r:embed="rId5"/>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891113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203484" y="4622816"/>
            <a:ext cx="946867" cy="414055"/>
          </a:xfrm>
          <a:prstGeom prst="rect">
            <a:avLst/>
          </a:prstGeom>
        </p:spPr>
      </p:pic>
      <p:pic>
        <p:nvPicPr>
          <p:cNvPr id="3" name="Picture 2"/>
          <p:cNvPicPr>
            <a:picLocks noChangeAspect="1"/>
          </p:cNvPicPr>
          <p:nvPr userDrawn="1"/>
        </p:nvPicPr>
        <p:blipFill>
          <a:blip r:embed="rId3"/>
          <a:stretch>
            <a:fillRect/>
          </a:stretch>
        </p:blipFill>
        <p:spPr>
          <a:xfrm>
            <a:off x="698615" y="1190585"/>
            <a:ext cx="1990747" cy="2655183"/>
          </a:xfrm>
          <a:prstGeom prst="rect">
            <a:avLst/>
          </a:prstGeom>
        </p:spPr>
      </p:pic>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2843808" y="901430"/>
            <a:ext cx="5562134" cy="3326859"/>
          </a:xfrm>
          <a:noFill/>
        </p:spPr>
        <p:txBody>
          <a:bodyPr anchor="ctr" anchorCtr="0">
            <a:noAutofit/>
          </a:bodyPr>
          <a:lstStyle>
            <a:lvl1pPr>
              <a:lnSpc>
                <a:spcPts val="5600"/>
              </a:lnSpc>
              <a:spcBef>
                <a:spcPts val="600"/>
              </a:spcBef>
              <a:defRPr sz="54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Tree>
    <p:extLst>
      <p:ext uri="{BB962C8B-B14F-4D97-AF65-F5344CB8AC3E}">
        <p14:creationId xmlns:p14="http://schemas.microsoft.com/office/powerpoint/2010/main" val="1181452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content - 1 column">
    <p:spTree>
      <p:nvGrpSpPr>
        <p:cNvPr id="1" name=""/>
        <p:cNvGrpSpPr/>
        <p:nvPr/>
      </p:nvGrpSpPr>
      <p:grpSpPr>
        <a:xfrm>
          <a:off x="0" y="0"/>
          <a:ext cx="0" cy="0"/>
          <a:chOff x="0" y="0"/>
          <a:chExt cx="0" cy="0"/>
        </a:xfrm>
      </p:grpSpPr>
      <p:grpSp>
        <p:nvGrpSpPr>
          <p:cNvPr id="19" name="Group 18"/>
          <p:cNvGrpSpPr/>
          <p:nvPr userDrawn="1"/>
        </p:nvGrpSpPr>
        <p:grpSpPr>
          <a:xfrm>
            <a:off x="7471011" y="-1"/>
            <a:ext cx="1672989" cy="1588851"/>
            <a:chOff x="7471011" y="-1"/>
            <a:chExt cx="1672989" cy="1588851"/>
          </a:xfrm>
        </p:grpSpPr>
        <p:pic>
          <p:nvPicPr>
            <p:cNvPr id="20" name="Picture 19"/>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21" name="Picture 20"/>
            <p:cNvPicPr>
              <a:picLocks noChangeAspect="1"/>
            </p:cNvPicPr>
            <p:nvPr userDrawn="1"/>
          </p:nvPicPr>
          <p:blipFill rotWithShape="1">
            <a:blip r:embed="rId3"/>
            <a:srcRect t="47335" r="36214"/>
            <a:stretch/>
          </p:blipFill>
          <p:spPr>
            <a:xfrm>
              <a:off x="7471011" y="-1"/>
              <a:ext cx="1672989" cy="1588851"/>
            </a:xfrm>
            <a:prstGeom prst="rect">
              <a:avLst/>
            </a:prstGeom>
          </p:spPr>
        </p:pic>
      </p:grpSp>
      <p:sp>
        <p:nvSpPr>
          <p:cNvPr id="2" name="Titel 1"/>
          <p:cNvSpPr>
            <a:spLocks noGrp="1"/>
          </p:cNvSpPr>
          <p:nvPr userDrawn="1">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sp>
        <p:nvSpPr>
          <p:cNvPr id="15" name="Text Placeholder 7"/>
          <p:cNvSpPr>
            <a:spLocks noGrp="1"/>
          </p:cNvSpPr>
          <p:nvPr userDrawn="1">
            <p:ph type="body" sz="quarter" idx="13"/>
          </p:nvPr>
        </p:nvSpPr>
        <p:spPr>
          <a:xfrm>
            <a:off x="358775" y="868363"/>
            <a:ext cx="8103600" cy="3495161"/>
          </a:xfrm>
          <a:noFill/>
          <a:ln w="9525">
            <a:noFill/>
            <a:miter lim="800000"/>
            <a:headEnd/>
            <a:tailEnd/>
          </a:ln>
          <a:effectLst/>
        </p:spPr>
        <p:txBody>
          <a:bodyPr vert="horz" wrap="square" lIns="0" tIns="0" rIns="0" bIns="0" numCol="1" anchor="t" anchorCtr="0" compatLnSpc="1">
            <a:prstTxWarp prst="textNoShape">
              <a:avLst/>
            </a:prstTxWarp>
          </a:bodyPr>
          <a:lstStyle>
            <a:lvl1pPr marL="265113" indent="-265113">
              <a:lnSpc>
                <a:spcPct val="100000"/>
              </a:lnSpc>
              <a:spcBef>
                <a:spcPts val="600"/>
              </a:spcBef>
              <a:buClr>
                <a:schemeClr val="accent1"/>
              </a:buClr>
              <a:buFont typeface="Arial" panose="020B0604020202020204" pitchFamily="34" charset="0"/>
              <a:buChar char="•"/>
              <a:defRPr lang="en-US" dirty="0"/>
            </a:lvl1pPr>
            <a:lvl2pPr>
              <a:defRPr lang="en-US" dirty="0"/>
            </a:lvl2pPr>
            <a:lvl3pPr marL="542925" indent="-265113">
              <a:lnSpc>
                <a:spcPct val="100000"/>
              </a:lnSpc>
              <a:spcBef>
                <a:spcPts val="600"/>
              </a:spcBef>
              <a:buFont typeface="Arial" panose="020B0604020202020204" pitchFamily="34" charset="0"/>
              <a:buChar char="•"/>
              <a:defRPr lang="en-US" sz="1600" dirty="0"/>
            </a:lvl3pPr>
            <a:lvl4pPr>
              <a:lnSpc>
                <a:spcPct val="100000"/>
              </a:lnSpc>
              <a:spcBef>
                <a:spcPts val="600"/>
              </a:spcBef>
              <a:defRPr lang="en-US" sz="1600" dirty="0"/>
            </a:lvl4pPr>
            <a:lvl5pPr>
              <a:lnSpc>
                <a:spcPct val="100000"/>
              </a:lnSpc>
              <a:spcBef>
                <a:spcPts val="600"/>
              </a:spcBef>
              <a:defRPr lang="en-GB" sz="1600" dirty="0"/>
            </a:lvl5pPr>
            <a:lvl6pPr>
              <a:lnSpc>
                <a:spcPct val="100000"/>
              </a:lnSpc>
              <a:spcBef>
                <a:spcPts val="600"/>
              </a:spcBef>
              <a:defRPr sz="1600">
                <a:solidFill>
                  <a:schemeClr val="accent1"/>
                </a:solidFill>
              </a:defRPr>
            </a:lvl6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grpSp>
        <p:nvGrpSpPr>
          <p:cNvPr id="4" name="Group 3"/>
          <p:cNvGrpSpPr/>
          <p:nvPr userDrawn="1"/>
        </p:nvGrpSpPr>
        <p:grpSpPr>
          <a:xfrm>
            <a:off x="0" y="667932"/>
            <a:ext cx="9144000" cy="54000"/>
            <a:chOff x="0" y="667932"/>
            <a:chExt cx="9144000" cy="72000"/>
          </a:xfrm>
        </p:grpSpPr>
        <p:sp>
          <p:nvSpPr>
            <p:cNvPr id="16" name="Rectangle 15"/>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7" name="Rectangle 16"/>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2" name="Picture 11"/>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882977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 2 columns">
    <p:spTree>
      <p:nvGrpSpPr>
        <p:cNvPr id="1" name=""/>
        <p:cNvGrpSpPr/>
        <p:nvPr/>
      </p:nvGrpSpPr>
      <p:grpSpPr>
        <a:xfrm>
          <a:off x="0" y="0"/>
          <a:ext cx="0" cy="0"/>
          <a:chOff x="0" y="0"/>
          <a:chExt cx="0" cy="0"/>
        </a:xfrm>
      </p:grpSpPr>
      <p:grpSp>
        <p:nvGrpSpPr>
          <p:cNvPr id="23" name="Group 22"/>
          <p:cNvGrpSpPr/>
          <p:nvPr userDrawn="1"/>
        </p:nvGrpSpPr>
        <p:grpSpPr>
          <a:xfrm>
            <a:off x="7471011" y="-1"/>
            <a:ext cx="1672989" cy="1588851"/>
            <a:chOff x="7471011" y="-1"/>
            <a:chExt cx="1672989" cy="1588851"/>
          </a:xfrm>
        </p:grpSpPr>
        <p:pic>
          <p:nvPicPr>
            <p:cNvPr id="24" name="Picture 23"/>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25" name="Picture 24"/>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7" name="Group 16"/>
          <p:cNvGrpSpPr/>
          <p:nvPr userDrawn="1"/>
        </p:nvGrpSpPr>
        <p:grpSpPr>
          <a:xfrm>
            <a:off x="0" y="667932"/>
            <a:ext cx="9144000" cy="54000"/>
            <a:chOff x="0" y="667932"/>
            <a:chExt cx="9144000" cy="72000"/>
          </a:xfrm>
        </p:grpSpPr>
        <p:sp>
          <p:nvSpPr>
            <p:cNvPr id="18" name="Rectangle 17"/>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21" name="Rectangle 20"/>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19" name="Text Placeholder 7"/>
          <p:cNvSpPr>
            <a:spLocks noGrp="1"/>
          </p:cNvSpPr>
          <p:nvPr>
            <p:ph type="body" sz="quarter" idx="13"/>
          </p:nvPr>
        </p:nvSpPr>
        <p:spPr>
          <a:xfrm>
            <a:off x="358775"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7"/>
          <p:cNvSpPr>
            <a:spLocks noGrp="1"/>
          </p:cNvSpPr>
          <p:nvPr>
            <p:ph type="body" sz="quarter" idx="14"/>
          </p:nvPr>
        </p:nvSpPr>
        <p:spPr>
          <a:xfrm>
            <a:off x="4679521" y="869510"/>
            <a:ext cx="4096406" cy="3439555"/>
          </a:xfrm>
          <a:noFill/>
          <a:ln w="9525">
            <a:noFill/>
            <a:miter lim="800000"/>
            <a:headEnd/>
            <a:tailEnd/>
          </a:ln>
          <a:effectLst/>
        </p:spPr>
        <p:txBody>
          <a:bodyPr vert="horz" wrap="square" lIns="0" tIns="0" rIns="0" bIns="0" numCol="1" anchor="t" anchorCtr="0" compatLnSpc="1">
            <a:prstTxWarp prst="textNoShape">
              <a:avLst/>
            </a:prstTxWarp>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lvl1pPr>
          </a:lstStyle>
          <a:p>
            <a:pPr lvl="0"/>
            <a:r>
              <a:rPr lang="de-DE" noProof="0" dirty="0"/>
              <a:t>Title</a:t>
            </a:r>
            <a:endParaRPr lang="en-GB" noProof="0" dirty="0"/>
          </a:p>
        </p:txBody>
      </p:sp>
      <p:pic>
        <p:nvPicPr>
          <p:cNvPr id="14" name="Picture 13"/>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2979398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8" name="Group 17"/>
          <p:cNvGrpSpPr/>
          <p:nvPr userDrawn="1"/>
        </p:nvGrpSpPr>
        <p:grpSpPr>
          <a:xfrm>
            <a:off x="7471011" y="-1"/>
            <a:ext cx="1672989" cy="1588851"/>
            <a:chOff x="7471011" y="-1"/>
            <a:chExt cx="1672989" cy="1588851"/>
          </a:xfrm>
        </p:grpSpPr>
        <p:pic>
          <p:nvPicPr>
            <p:cNvPr id="19" name="Picture 18"/>
            <p:cNvPicPr>
              <a:picLocks noChangeAspect="1"/>
            </p:cNvPicPr>
            <p:nvPr userDrawn="1"/>
          </p:nvPicPr>
          <p:blipFill rotWithShape="1">
            <a:blip r:embed="rId2"/>
            <a:srcRect t="47335" r="36214"/>
            <a:stretch/>
          </p:blipFill>
          <p:spPr>
            <a:xfrm>
              <a:off x="7471011" y="-1"/>
              <a:ext cx="1672989" cy="1588851"/>
            </a:xfrm>
            <a:prstGeom prst="rect">
              <a:avLst/>
            </a:prstGeom>
          </p:spPr>
        </p:pic>
        <p:pic>
          <p:nvPicPr>
            <p:cNvPr id="20" name="Picture 19"/>
            <p:cNvPicPr>
              <a:picLocks noChangeAspect="1"/>
            </p:cNvPicPr>
            <p:nvPr userDrawn="1"/>
          </p:nvPicPr>
          <p:blipFill rotWithShape="1">
            <a:blip r:embed="rId3"/>
            <a:srcRect t="47335" r="36214"/>
            <a:stretch/>
          </p:blipFill>
          <p:spPr>
            <a:xfrm>
              <a:off x="7471011" y="-1"/>
              <a:ext cx="1672989" cy="1588851"/>
            </a:xfrm>
            <a:prstGeom prst="rect">
              <a:avLst/>
            </a:prstGeom>
          </p:spPr>
        </p:pic>
      </p:grpSp>
      <p:grpSp>
        <p:nvGrpSpPr>
          <p:cNvPr id="13" name="Group 12"/>
          <p:cNvGrpSpPr/>
          <p:nvPr userDrawn="1"/>
        </p:nvGrpSpPr>
        <p:grpSpPr>
          <a:xfrm>
            <a:off x="0" y="667932"/>
            <a:ext cx="9144000" cy="54000"/>
            <a:chOff x="0" y="667932"/>
            <a:chExt cx="9144000" cy="72000"/>
          </a:xfrm>
        </p:grpSpPr>
        <p:sp>
          <p:nvSpPr>
            <p:cNvPr id="14" name="Rectangle 13"/>
            <p:cNvSpPr/>
            <p:nvPr userDrawn="1"/>
          </p:nvSpPr>
          <p:spPr bwMode="auto">
            <a:xfrm>
              <a:off x="0" y="667932"/>
              <a:ext cx="3042000" cy="72000"/>
            </a:xfrm>
            <a:prstGeom prst="rect">
              <a:avLst/>
            </a:prstGeom>
            <a:gradFill flip="none" rotWithShape="1">
              <a:gsLst>
                <a:gs pos="0">
                  <a:schemeClr val="bg1"/>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5" name="Rectangle 14"/>
            <p:cNvSpPr/>
            <p:nvPr userDrawn="1"/>
          </p:nvSpPr>
          <p:spPr bwMode="auto">
            <a:xfrm>
              <a:off x="3096000" y="667932"/>
              <a:ext cx="6048000" cy="72000"/>
            </a:xfrm>
            <a:prstGeom prst="rect">
              <a:avLst/>
            </a:prstGeom>
            <a:gradFill flip="none" rotWithShape="1">
              <a:gsLst>
                <a:gs pos="0">
                  <a:schemeClr val="bg1"/>
                </a:gs>
                <a:gs pos="74000">
                  <a:schemeClr val="tx2"/>
                </a:gs>
                <a:gs pos="100000">
                  <a:schemeClr val="tx2"/>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sp>
        <p:nvSpPr>
          <p:cNvPr id="2" name="Titel 1"/>
          <p:cNvSpPr>
            <a:spLocks noGrp="1"/>
          </p:cNvSpPr>
          <p:nvPr>
            <p:ph type="title" hasCustomPrompt="1"/>
          </p:nvPr>
        </p:nvSpPr>
        <p:spPr/>
        <p:txBody>
          <a:bodyPr/>
          <a:lstStyle>
            <a:lvl1pPr>
              <a:defRPr cap="all" baseline="0"/>
            </a:lvl1pPr>
          </a:lstStyle>
          <a:p>
            <a:r>
              <a:rPr lang="de-DE" noProof="0" dirty="0"/>
              <a:t>Title</a:t>
            </a:r>
            <a:endParaRPr lang="en-GB" noProof="0" dirty="0"/>
          </a:p>
        </p:txBody>
      </p:sp>
      <p:pic>
        <p:nvPicPr>
          <p:cNvPr id="11" name="Picture 10"/>
          <p:cNvPicPr>
            <a:picLocks noChangeAspect="1"/>
          </p:cNvPicPr>
          <p:nvPr userDrawn="1"/>
        </p:nvPicPr>
        <p:blipFill>
          <a:blip r:embed="rId4"/>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14112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no brandin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203484" y="4623439"/>
            <a:ext cx="946867" cy="412808"/>
          </a:xfrm>
          <a:prstGeom prst="rect">
            <a:avLst/>
          </a:prstGeom>
        </p:spPr>
      </p:pic>
    </p:spTree>
    <p:extLst>
      <p:ext uri="{BB962C8B-B14F-4D97-AF65-F5344CB8AC3E}">
        <p14:creationId xmlns:p14="http://schemas.microsoft.com/office/powerpoint/2010/main" val="2794679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884369" cy="1477328"/>
          </a:xfrm>
        </p:spPr>
        <p:txBody>
          <a:bodyPr wrap="square" lIns="0">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4" y="357275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0" name="Gerade Verbindung 9"/>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9863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24" name="Gerade Verbindung 23"/>
          <p:cNvCxnSpPr/>
          <p:nvPr/>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1477328"/>
          </a:xfrm>
        </p:spPr>
        <p:txBody>
          <a:bodyPr wrap="square">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1" name="Gerade Verbindung 10"/>
          <p:cNvCxnSpPr/>
          <p:nvPr userDrawn="1"/>
        </p:nvCxnSpPr>
        <p:spPr>
          <a:xfrm>
            <a:off x="0"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dirty="0">
                <a:solidFill>
                  <a:schemeClr val="bg1"/>
                </a:solidFill>
                <a:latin typeface="+mj-lt"/>
              </a:defRPr>
            </a:lvl1pPr>
          </a:lstStyle>
          <a:p>
            <a:pPr marL="0" lvl="0" algn="ctr"/>
            <a:r>
              <a:rPr lang="en-GB" noProof="0" dirty="0"/>
              <a:t>Add. info [font size variable]</a:t>
            </a:r>
          </a:p>
        </p:txBody>
      </p:sp>
    </p:spTree>
    <p:extLst>
      <p:ext uri="{BB962C8B-B14F-4D97-AF65-F5344CB8AC3E}">
        <p14:creationId xmlns:p14="http://schemas.microsoft.com/office/powerpoint/2010/main" val="1950817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9288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Tree>
    <p:extLst>
      <p:ext uri="{BB962C8B-B14F-4D97-AF65-F5344CB8AC3E}">
        <p14:creationId xmlns:p14="http://schemas.microsoft.com/office/powerpoint/2010/main" val="3360525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28"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Textmasterformat bearbeiten</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de-DE" noProof="0"/>
              <a:t>Bild durch Klicken auf Symbol hinzufügen</a:t>
            </a:r>
            <a:endParaRPr lang="en-GB" noProof="0" dirty="0"/>
          </a:p>
        </p:txBody>
      </p:sp>
    </p:spTree>
    <p:extLst>
      <p:ext uri="{BB962C8B-B14F-4D97-AF65-F5344CB8AC3E}">
        <p14:creationId xmlns:p14="http://schemas.microsoft.com/office/powerpoint/2010/main" val="3104028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2925603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7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357886" y="1816405"/>
            <a:ext cx="1683404" cy="2245261"/>
          </a:xfrm>
          <a:prstGeom prst="rect">
            <a:avLst/>
          </a:prstGeom>
        </p:spPr>
      </p:pic>
      <p:sp>
        <p:nvSpPr>
          <p:cNvPr id="18" name="Rectangle 5"/>
          <p:cNvSpPr>
            <a:spLocks noGrp="1" noChangeArrowheads="1"/>
          </p:cNvSpPr>
          <p:nvPr>
            <p:ph type="ctrTitle"/>
          </p:nvPr>
        </p:nvSpPr>
        <p:spPr>
          <a:xfrm>
            <a:off x="2195736" y="1275606"/>
            <a:ext cx="5562134" cy="3326859"/>
          </a:xfrm>
          <a:noFill/>
        </p:spPr>
        <p:txBody>
          <a:bodyPr anchor="ctr" anchorCtr="0">
            <a:noAutofit/>
          </a:bodyPr>
          <a:lstStyle>
            <a:lvl1pPr>
              <a:lnSpc>
                <a:spcPts val="5200"/>
              </a:lnSpc>
              <a:spcBef>
                <a:spcPts val="600"/>
              </a:spcBef>
              <a:defRPr sz="5000" b="1" cap="all" baseline="0">
                <a:solidFill>
                  <a:schemeClr val="bg1"/>
                </a:solidFill>
              </a:defRPr>
            </a:lvl1pPr>
          </a:lstStyle>
          <a:p>
            <a:endParaRPr lang="en-GB" noProof="0" dirty="0"/>
          </a:p>
        </p:txBody>
      </p:sp>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8" name="Picture 7"/>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683811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endParaRPr lang="en-GB" dirty="0"/>
          </a:p>
        </p:txBody>
      </p:sp>
      <p:sp>
        <p:nvSpPr>
          <p:cNvPr id="5" name="Fußzeilenplatzhalter 4"/>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367575" y="78437"/>
            <a:ext cx="8408850" cy="553998"/>
          </a:xfrm>
        </p:spPr>
        <p:txBody>
          <a:bodyPr/>
          <a:lstStyle>
            <a:lvl1pPr>
              <a:defRPr sz="3600"/>
            </a:lvl1pPr>
          </a:lstStyle>
          <a:p>
            <a:r>
              <a:rPr lang="de-DE" dirty="0"/>
              <a:t>Titelmasterformat durch Klicken bearbeiten</a:t>
            </a:r>
          </a:p>
        </p:txBody>
      </p:sp>
    </p:spTree>
    <p:extLst>
      <p:ext uri="{BB962C8B-B14F-4D97-AF65-F5344CB8AC3E}">
        <p14:creationId xmlns:p14="http://schemas.microsoft.com/office/powerpoint/2010/main" val="71399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de-DE"/>
              <a:t>Titelmasterformat durch Klicken bearbeiten</a:t>
            </a:r>
          </a:p>
        </p:txBody>
      </p:sp>
      <p:sp>
        <p:nvSpPr>
          <p:cNvPr id="6" name="Datumsplatzhalter 5"/>
          <p:cNvSpPr>
            <a:spLocks noGrp="1"/>
          </p:cNvSpPr>
          <p:nvPr>
            <p:ph type="dt" sz="half" idx="10"/>
          </p:nvPr>
        </p:nvSpPr>
        <p:spPr/>
        <p:txBody>
          <a:bodyPr/>
          <a:lstStyle/>
          <a:p>
            <a:endParaRPr lang="en-GB" dirty="0"/>
          </a:p>
        </p:txBody>
      </p:sp>
      <p:sp>
        <p:nvSpPr>
          <p:cNvPr id="7" name="Fußzeilenplatzhalter 6"/>
          <p:cNvSpPr>
            <a:spLocks noGrp="1"/>
          </p:cNvSpPr>
          <p:nvPr>
            <p:ph type="ftr" sz="quarter" idx="11"/>
          </p:nvPr>
        </p:nvSpPr>
        <p:spPr/>
        <p:txBody>
          <a:bodyPr/>
          <a:lstStyle/>
          <a:p>
            <a:r>
              <a:rPr lang="en-GB"/>
              <a:t>#ConV2X 2018</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1554669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73"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7" name="Titel 6"/>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35991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15" name="Rechteck 14"/>
          <p:cNvSpPr/>
          <p:nvPr userDrawn="1"/>
        </p:nvSpPr>
        <p:spPr>
          <a:xfrm>
            <a:off x="0" y="103559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367575" y="1200151"/>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endParaRPr lang="en-GB" dirty="0"/>
          </a:p>
        </p:txBody>
      </p:sp>
      <p:sp>
        <p:nvSpPr>
          <p:cNvPr id="6" name="Fußzeilenplatzhalter 5"/>
          <p:cNvSpPr>
            <a:spLocks noGrp="1"/>
          </p:cNvSpPr>
          <p:nvPr>
            <p:ph type="ftr" sz="quarter" idx="11"/>
          </p:nvPr>
        </p:nvSpPr>
        <p:spPr/>
        <p:txBody>
          <a:bodyPr/>
          <a:lstStyle/>
          <a:p>
            <a:r>
              <a:rPr lang="en-GB"/>
              <a:t>#ConV2X 2018</a:t>
            </a:r>
            <a:endParaRPr lang="en-GB" dirty="0"/>
          </a:p>
        </p:txBody>
      </p:sp>
      <p:sp>
        <p:nvSpPr>
          <p:cNvPr id="7" name="Foliennummernplatzhalter 6"/>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491041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1771575" y="1451438"/>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dirty="0" smtClean="0">
                <a:solidFill>
                  <a:schemeClr val="bg1"/>
                </a:solidFill>
                <a:latin typeface="+mj-lt"/>
              </a:defRPr>
            </a:lvl1pPr>
          </a:lstStyle>
          <a:p>
            <a:pPr marL="0" lvl="0" algn="ctr"/>
            <a:r>
              <a:rPr lang="en-GB" noProof="0" dirty="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dirty="0"/>
          </a:p>
        </p:txBody>
      </p:sp>
      <p:sp>
        <p:nvSpPr>
          <p:cNvPr id="5" name="Fußzeilenplatzhalter 4"/>
          <p:cNvSpPr>
            <a:spLocks noGrp="1"/>
          </p:cNvSpPr>
          <p:nvPr>
            <p:ph type="ftr" sz="quarter" idx="13"/>
          </p:nvPr>
        </p:nvSpPr>
        <p:spPr/>
        <p:txBody>
          <a:bodyPr/>
          <a:lstStyle/>
          <a:p>
            <a:r>
              <a:rPr lang="en-GB"/>
              <a:t>#ConV2X 2018</a:t>
            </a:r>
            <a:endParaRPr lang="en-GB" dirty="0"/>
          </a:p>
        </p:txBody>
      </p:sp>
      <p:sp>
        <p:nvSpPr>
          <p:cNvPr id="7" name="Foliennummernplatzhalter 6"/>
          <p:cNvSpPr>
            <a:spLocks noGrp="1"/>
          </p:cNvSpPr>
          <p:nvPr>
            <p:ph type="sldNum" sz="quarter" idx="14"/>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1771575" y="659904"/>
            <a:ext cx="5065660" cy="369332"/>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2205947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6426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3985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8334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0491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73"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55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0_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stretch>
            <a:fillRect/>
          </a:stretch>
        </p:blipFill>
        <p:spPr>
          <a:xfrm>
            <a:off x="4408529" y="830588"/>
            <a:ext cx="1287465" cy="1717171"/>
          </a:xfrm>
          <a:prstGeom prst="rect">
            <a:avLst/>
          </a:prstGeom>
        </p:spPr>
      </p:pic>
      <p:pic>
        <p:nvPicPr>
          <p:cNvPr id="13" name="Picture 12"/>
          <p:cNvPicPr>
            <a:picLocks noChangeAspect="1"/>
          </p:cNvPicPr>
          <p:nvPr userDrawn="1"/>
        </p:nvPicPr>
        <p:blipFill rotWithShape="1">
          <a:blip r:embed="rId4"/>
          <a:srcRect t="48080"/>
          <a:stretch/>
        </p:blipFill>
        <p:spPr>
          <a:xfrm>
            <a:off x="6490277" y="0"/>
            <a:ext cx="2368301" cy="1368881"/>
          </a:xfrm>
          <a:prstGeom prst="rect">
            <a:avLst/>
          </a:prstGeom>
        </p:spPr>
      </p:pic>
      <p:sp>
        <p:nvSpPr>
          <p:cNvPr id="18" name="Rectangle 5"/>
          <p:cNvSpPr>
            <a:spLocks noGrp="1" noChangeArrowheads="1"/>
          </p:cNvSpPr>
          <p:nvPr>
            <p:ph type="ctrTitle"/>
          </p:nvPr>
        </p:nvSpPr>
        <p:spPr>
          <a:xfrm>
            <a:off x="5792049" y="639831"/>
            <a:ext cx="3060848" cy="1512523"/>
          </a:xfrm>
          <a:noFill/>
        </p:spPr>
        <p:txBody>
          <a:bodyPr anchor="b" anchorCtr="0">
            <a:noAutofit/>
          </a:bodyPr>
          <a:lstStyle>
            <a:lvl1pPr>
              <a:lnSpc>
                <a:spcPts val="3600"/>
              </a:lnSpc>
              <a:spcBef>
                <a:spcPts val="600"/>
              </a:spcBef>
              <a:defRPr sz="3200" b="1" cap="all" baseline="0">
                <a:solidFill>
                  <a:schemeClr val="bg1"/>
                </a:solidFill>
              </a:defRPr>
            </a:lvl1pPr>
          </a:lstStyle>
          <a:p>
            <a:endParaRPr lang="en-GB" noProof="0" dirty="0"/>
          </a:p>
        </p:txBody>
      </p:sp>
      <p:pic>
        <p:nvPicPr>
          <p:cNvPr id="12" name="Picture 11"/>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4" name="Text Placeholder 3"/>
          <p:cNvSpPr>
            <a:spLocks noGrp="1"/>
          </p:cNvSpPr>
          <p:nvPr>
            <p:ph type="body" sz="quarter" idx="10"/>
          </p:nvPr>
        </p:nvSpPr>
        <p:spPr>
          <a:xfrm>
            <a:off x="5792049" y="2283718"/>
            <a:ext cx="3060000" cy="2304256"/>
          </a:xfrm>
        </p:spPr>
        <p:txBody>
          <a:bodyPr/>
          <a:lstStyle>
            <a:lvl1pPr>
              <a:spcBef>
                <a:spcPts val="600"/>
              </a:spcBef>
              <a:defRPr sz="1400">
                <a:solidFill>
                  <a:schemeClr val="bg1"/>
                </a:solidFill>
              </a:defRPr>
            </a:lvl1pPr>
            <a:lvl2pPr>
              <a:spcBef>
                <a:spcPts val="600"/>
              </a:spcBef>
              <a:defRPr sz="1400">
                <a:solidFill>
                  <a:schemeClr val="bg1"/>
                </a:solidFill>
              </a:defRPr>
            </a:lvl2pPr>
            <a:lvl3pPr>
              <a:spcBef>
                <a:spcPts val="600"/>
              </a:spcBef>
              <a:defRPr sz="14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9" name="Picture 8"/>
          <p:cNvPicPr>
            <a:picLocks noChangeAspect="1"/>
          </p:cNvPicPr>
          <p:nvPr userDrawn="1"/>
        </p:nvPicPr>
        <p:blipFill>
          <a:blip r:embed="rId7"/>
          <a:stretch>
            <a:fillRect/>
          </a:stretch>
        </p:blipFill>
        <p:spPr>
          <a:xfrm>
            <a:off x="203484" y="4622816"/>
            <a:ext cx="946867" cy="414055"/>
          </a:xfrm>
          <a:prstGeom prst="rect">
            <a:avLst/>
          </a:prstGeom>
        </p:spPr>
      </p:pic>
    </p:spTree>
    <p:extLst>
      <p:ext uri="{BB962C8B-B14F-4D97-AF65-F5344CB8AC3E}">
        <p14:creationId xmlns:p14="http://schemas.microsoft.com/office/powerpoint/2010/main" val="8903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75" y="1200151"/>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8904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noProof="0" dirty="0"/>
          </a:p>
        </p:txBody>
      </p:sp>
      <p:sp>
        <p:nvSpPr>
          <p:cNvPr id="3" name="Fußzeilenplatzhalter 2"/>
          <p:cNvSpPr>
            <a:spLocks noGrp="1"/>
          </p:cNvSpPr>
          <p:nvPr>
            <p:ph type="ftr" sz="quarter" idx="11"/>
          </p:nvPr>
        </p:nvSpPr>
        <p:spPr/>
        <p:txBody>
          <a:bodyPr/>
          <a:lstStyle/>
          <a:p>
            <a:r>
              <a:rPr lang="en-GB" noProof="0"/>
              <a:t>#ConV2X 2018</a:t>
            </a:r>
            <a:endParaRPr lang="en-GB" noProof="0" dirty="0"/>
          </a:p>
        </p:txBody>
      </p:sp>
      <p:sp>
        <p:nvSpPr>
          <p:cNvPr id="4" name="Foliennummernplatzhalter 3"/>
          <p:cNvSpPr>
            <a:spLocks noGrp="1"/>
          </p:cNvSpPr>
          <p:nvPr>
            <p:ph type="sldNum" sz="quarter" idx="12"/>
          </p:nvPr>
        </p:nvSpPr>
        <p:spPr/>
        <p:txBody>
          <a:bodyPr/>
          <a:lstStyle/>
          <a:p>
            <a:fld id="{143B55C4-4F5A-416B-997D-6CE47EB0A945}" type="slidenum">
              <a:rPr lang="en-GB" noProof="0" smtClean="0"/>
              <a:t>‹#›</a:t>
            </a:fld>
            <a:endParaRPr lang="en-GB" noProof="0" dirty="0"/>
          </a:p>
        </p:txBody>
      </p:sp>
    </p:spTree>
    <p:extLst>
      <p:ext uri="{BB962C8B-B14F-4D97-AF65-F5344CB8AC3E}">
        <p14:creationId xmlns:p14="http://schemas.microsoft.com/office/powerpoint/2010/main" val="1748081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Empty slide">
    <p:spTree>
      <p:nvGrpSpPr>
        <p:cNvPr id="1" name=""/>
        <p:cNvGrpSpPr/>
        <p:nvPr/>
      </p:nvGrpSpPr>
      <p:grpSpPr>
        <a:xfrm>
          <a:off x="0" y="0"/>
          <a:ext cx="0" cy="0"/>
          <a:chOff x="0" y="0"/>
          <a:chExt cx="0" cy="0"/>
        </a:xfrm>
      </p:grpSpPr>
      <p:sp>
        <p:nvSpPr>
          <p:cNvPr id="78" name="Shape 78"/>
          <p:cNvSpPr>
            <a:spLocks noGrp="1"/>
          </p:cNvSpPr>
          <p:nvPr>
            <p:ph type="title"/>
          </p:nvPr>
        </p:nvSpPr>
        <p:spPr>
          <a:prstGeom prst="rect">
            <a:avLst/>
          </a:prstGeom>
        </p:spPr>
        <p:txBody>
          <a:bodyPr/>
          <a:lstStyle/>
          <a:p>
            <a:r>
              <a:t>Title Text</a:t>
            </a:r>
          </a:p>
        </p:txBody>
      </p:sp>
      <p:sp>
        <p:nvSpPr>
          <p:cNvPr id="79" name="Shape 79"/>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3367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Graphic with text">
    <p:spTree>
      <p:nvGrpSpPr>
        <p:cNvPr id="1" name=""/>
        <p:cNvGrpSpPr/>
        <p:nvPr/>
      </p:nvGrpSpPr>
      <p:grpSpPr>
        <a:xfrm>
          <a:off x="0" y="0"/>
          <a:ext cx="0" cy="0"/>
          <a:chOff x="0" y="0"/>
          <a:chExt cx="0" cy="0"/>
        </a:xfrm>
      </p:grpSpPr>
      <p:sp>
        <p:nvSpPr>
          <p:cNvPr id="114" name="Shape 114"/>
          <p:cNvSpPr/>
          <p:nvPr/>
        </p:nvSpPr>
        <p:spPr>
          <a:xfrm>
            <a:off x="357160" y="4286262"/>
            <a:ext cx="4143407" cy="321473"/>
          </a:xfrm>
          <a:prstGeom prst="rect">
            <a:avLst/>
          </a:prstGeom>
          <a:solidFill>
            <a:srgbClr val="A3C2E0"/>
          </a:solidFill>
          <a:ln w="12700">
            <a:miter lim="400000"/>
          </a:ln>
        </p:spPr>
        <p:txBody>
          <a:bodyPr lIns="0" tIns="0" rIns="0" bIns="0" anchor="ctr"/>
          <a:lstStyle/>
          <a:p>
            <a:pPr eaLnBrk="1" fontAlgn="auto">
              <a:spcBef>
                <a:spcPts val="0"/>
              </a:spcBef>
              <a:spcAft>
                <a:spcPts val="0"/>
              </a:spcAft>
              <a:defRPr sz="1400">
                <a:latin typeface="BISansCond"/>
                <a:ea typeface="BISansCond"/>
                <a:cs typeface="BISansCond"/>
                <a:sym typeface="BISansCond"/>
              </a:defRPr>
            </a:pPr>
            <a:endParaRPr sz="1050" kern="0">
              <a:solidFill>
                <a:srgbClr val="003366"/>
              </a:solidFill>
              <a:latin typeface="BISansCond"/>
              <a:ea typeface="BISansCond"/>
              <a:cs typeface="BISansCond"/>
              <a:sym typeface="BISansCond"/>
            </a:endParaRPr>
          </a:p>
        </p:txBody>
      </p:sp>
      <p:sp>
        <p:nvSpPr>
          <p:cNvPr id="115" name="Shape 115"/>
          <p:cNvSpPr>
            <a:spLocks noGrp="1"/>
          </p:cNvSpPr>
          <p:nvPr>
            <p:ph type="title"/>
          </p:nvPr>
        </p:nvSpPr>
        <p:spPr>
          <a:prstGeom prst="rect">
            <a:avLst/>
          </a:prstGeom>
        </p:spPr>
        <p:txBody>
          <a:bodyPr/>
          <a:lstStyle/>
          <a:p>
            <a:r>
              <a:t>Title Text</a:t>
            </a:r>
          </a:p>
        </p:txBody>
      </p:sp>
      <p:sp>
        <p:nvSpPr>
          <p:cNvPr id="116" name="Shape 116"/>
          <p:cNvSpPr>
            <a:spLocks noGrp="1"/>
          </p:cNvSpPr>
          <p:nvPr>
            <p:ph type="body" sz="half" idx="1"/>
          </p:nvPr>
        </p:nvSpPr>
        <p:spPr>
          <a:xfrm>
            <a:off x="4651375" y="944166"/>
            <a:ext cx="4141788" cy="36492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7" name="Shape 117"/>
          <p:cNvSpPr>
            <a:spLocks noGrp="1"/>
          </p:cNvSpPr>
          <p:nvPr>
            <p:ph type="body" sz="quarter" idx="13"/>
          </p:nvPr>
        </p:nvSpPr>
        <p:spPr>
          <a:xfrm>
            <a:off x="357187" y="4339856"/>
            <a:ext cx="4143378" cy="267880"/>
          </a:xfrm>
          <a:prstGeom prst="rect">
            <a:avLst/>
          </a:prstGeom>
        </p:spPr>
        <p:txBody>
          <a:bodyPr/>
          <a:lstStyle/>
          <a:p>
            <a:endParaRPr/>
          </a:p>
        </p:txBody>
      </p:sp>
      <p:sp>
        <p:nvSpPr>
          <p:cNvPr id="118" name="Shape 118"/>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24921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3" name="Shape 53"/>
          <p:cNvSpPr>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hasCustomPrompt="1"/>
          </p:nvPr>
        </p:nvSpPr>
        <p:spPr/>
        <p:txBody>
          <a:bodyPr/>
          <a:lstStyle/>
          <a:p>
            <a:r>
              <a:rPr lang="en-US" dirty="0"/>
              <a:t>Click to add title</a:t>
            </a:r>
            <a:endParaRPr lang="de-DE" dirty="0"/>
          </a:p>
        </p:txBody>
      </p:sp>
    </p:spTree>
    <p:extLst>
      <p:ext uri="{BB962C8B-B14F-4D97-AF65-F5344CB8AC3E}">
        <p14:creationId xmlns:p14="http://schemas.microsoft.com/office/powerpoint/2010/main" val="2643286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Interlink with picture">
    <p:spTree>
      <p:nvGrpSpPr>
        <p:cNvPr id="1" name=""/>
        <p:cNvGrpSpPr/>
        <p:nvPr/>
      </p:nvGrpSpPr>
      <p:grpSpPr>
        <a:xfrm>
          <a:off x="0" y="0"/>
          <a:ext cx="0" cy="0"/>
          <a:chOff x="0" y="0"/>
          <a:chExt cx="0" cy="0"/>
        </a:xfrm>
      </p:grpSpPr>
      <p:sp>
        <p:nvSpPr>
          <p:cNvPr id="96" name="Shape 96"/>
          <p:cNvSpPr>
            <a:spLocks noGrp="1"/>
          </p:cNvSpPr>
          <p:nvPr>
            <p:ph type="title"/>
          </p:nvPr>
        </p:nvSpPr>
        <p:spPr>
          <a:prstGeom prst="rect">
            <a:avLst/>
          </a:prstGeom>
        </p:spPr>
        <p:txBody>
          <a:bodyPr/>
          <a:lstStyle/>
          <a:p>
            <a:r>
              <a:t>Title Text</a:t>
            </a:r>
          </a:p>
        </p:txBody>
      </p:sp>
      <p:sp>
        <p:nvSpPr>
          <p:cNvPr id="97" name="Shape 97"/>
          <p:cNvSpPr>
            <a:spLocks noGrp="1"/>
          </p:cNvSpPr>
          <p:nvPr>
            <p:ph type="pic" idx="13"/>
          </p:nvPr>
        </p:nvSpPr>
        <p:spPr>
          <a:xfrm>
            <a:off x="0" y="750094"/>
            <a:ext cx="9144000" cy="3857639"/>
          </a:xfrm>
          <a:prstGeom prst="rect">
            <a:avLst/>
          </a:prstGeom>
        </p:spPr>
        <p:txBody>
          <a:bodyPr lIns="91439" tIns="45719" rIns="91439" bIns="45719">
            <a:noAutofit/>
          </a:bodyPr>
          <a:lstStyle/>
          <a:p>
            <a:endParaRPr/>
          </a:p>
        </p:txBody>
      </p:sp>
      <p:sp>
        <p:nvSpPr>
          <p:cNvPr id="98" name="Shape 98"/>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53547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Big text">
    <p:spTree>
      <p:nvGrpSpPr>
        <p:cNvPr id="1" name=""/>
        <p:cNvGrpSpPr/>
        <p:nvPr/>
      </p:nvGrpSpPr>
      <p:grpSpPr>
        <a:xfrm>
          <a:off x="0" y="0"/>
          <a:ext cx="0" cy="0"/>
          <a:chOff x="0" y="0"/>
          <a:chExt cx="0" cy="0"/>
        </a:xfrm>
      </p:grpSpPr>
      <p:sp>
        <p:nvSpPr>
          <p:cNvPr id="105" name="Shape 105"/>
          <p:cNvSpPr>
            <a:spLocks noGrp="1"/>
          </p:cNvSpPr>
          <p:nvPr>
            <p:ph type="title"/>
          </p:nvPr>
        </p:nvSpPr>
        <p:spPr>
          <a:prstGeom prst="rect">
            <a:avLst/>
          </a:prstGeom>
        </p:spPr>
        <p:txBody>
          <a:bodyPr/>
          <a:lstStyle/>
          <a:p>
            <a:r>
              <a:t>Title Text</a:t>
            </a:r>
          </a:p>
        </p:txBody>
      </p:sp>
      <p:sp>
        <p:nvSpPr>
          <p:cNvPr id="106" name="Shape 106"/>
          <p:cNvSpPr>
            <a:spLocks noGrp="1"/>
          </p:cNvSpPr>
          <p:nvPr>
            <p:ph type="body" idx="1"/>
          </p:nvPr>
        </p:nvSpPr>
        <p:spPr>
          <a:prstGeom prst="rect">
            <a:avLst/>
          </a:prstGeom>
        </p:spPr>
        <p:txBody>
          <a:bodyPr/>
          <a:lstStyle>
            <a:lvl1pPr>
              <a:defRPr sz="3150" b="1"/>
            </a:lvl1pPr>
            <a:lvl2pPr>
              <a:defRPr sz="3150" b="1"/>
            </a:lvl2pPr>
            <a:lvl3pPr>
              <a:defRPr sz="3150" b="1"/>
            </a:lvl3pPr>
            <a:lvl4pPr>
              <a:defRPr sz="3150" b="1"/>
            </a:lvl4pPr>
            <a:lvl5pPr>
              <a:defRPr sz="3150" b="1"/>
            </a:lvl5pPr>
          </a:lstStyle>
          <a:p>
            <a:r>
              <a:t>Body Level One</a:t>
            </a:r>
          </a:p>
          <a:p>
            <a:pPr lvl="1"/>
            <a:r>
              <a:t>Body Level Two</a:t>
            </a:r>
          </a:p>
          <a:p>
            <a:pPr lvl="2"/>
            <a:r>
              <a:t>Body Level Three</a:t>
            </a:r>
          </a:p>
          <a:p>
            <a:pPr lvl="3"/>
            <a:r>
              <a:t>Body Level Four</a:t>
            </a:r>
          </a:p>
          <a:p>
            <a:pPr lvl="4"/>
            <a:r>
              <a:t>Body Level Five</a:t>
            </a:r>
          </a:p>
        </p:txBody>
      </p:sp>
      <p:sp>
        <p:nvSpPr>
          <p:cNvPr id="107" name="Shape 107"/>
          <p:cNvSpPr>
            <a:spLocks noGrp="1"/>
          </p:cNvSpPr>
          <p:nvPr>
            <p:ph type="sldNum" sz="quarter" idx="2"/>
          </p:nvPr>
        </p:nvSpPr>
        <p:spPr>
          <a:xfrm>
            <a:off x="8628949" y="4910708"/>
            <a:ext cx="147476" cy="153888"/>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551809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a:xfrm>
            <a:off x="7630236" y="4910708"/>
            <a:ext cx="573875" cy="153888"/>
          </a:xfrm>
        </p:spPr>
        <p:txBody>
          <a:bodyPr/>
          <a:lstStyle>
            <a:lvl1pPr>
              <a:defRPr/>
            </a:lvl1pPr>
          </a:lstStyle>
          <a:p>
            <a:endParaRPr lang="en-GB" dirty="0"/>
          </a:p>
        </p:txBody>
      </p:sp>
      <p:sp>
        <p:nvSpPr>
          <p:cNvPr id="5" name="Fußzeilenplatzhalter 4"/>
          <p:cNvSpPr>
            <a:spLocks noGrp="1"/>
          </p:cNvSpPr>
          <p:nvPr>
            <p:ph type="ftr" sz="quarter" idx="11"/>
          </p:nvPr>
        </p:nvSpPr>
        <p:spPr/>
        <p:txBody>
          <a:bodyPr/>
          <a:lstStyle>
            <a:lvl1pPr>
              <a:defRPr/>
            </a:lvl1pPr>
          </a:lstStyle>
          <a:p>
            <a:r>
              <a:rPr lang="en-GB"/>
              <a:t>#ConV2X 2018</a:t>
            </a:r>
            <a:endParaRPr lang="en-GB" dirty="0"/>
          </a:p>
        </p:txBody>
      </p:sp>
      <p:sp>
        <p:nvSpPr>
          <p:cNvPr id="6" name="Foliennummernplatzhalter 5"/>
          <p:cNvSpPr>
            <a:spLocks noGrp="1"/>
          </p:cNvSpPr>
          <p:nvPr>
            <p:ph type="sldNum" sz="quarter" idx="12"/>
          </p:nvPr>
        </p:nvSpPr>
        <p:spPr>
          <a:xfrm>
            <a:off x="8628949" y="4910708"/>
            <a:ext cx="147476" cy="153888"/>
          </a:xfrm>
        </p:spPr>
        <p:txBody>
          <a:bodyPr/>
          <a:lstStyle>
            <a:lvl1pPr>
              <a:defRPr/>
            </a:lvl1pPr>
          </a:lstStyle>
          <a:p>
            <a:fld id="{D446586B-FF75-47A1-A069-ED9CC9CD5B58}" type="slidenum">
              <a:rPr lang="en-GB" smtClean="0"/>
              <a:pPr/>
              <a:t>‹#›</a:t>
            </a:fld>
            <a:endParaRPr lang="en-GB" dirty="0"/>
          </a:p>
        </p:txBody>
      </p:sp>
    </p:spTree>
    <p:extLst>
      <p:ext uri="{BB962C8B-B14F-4D97-AF65-F5344CB8AC3E}">
        <p14:creationId xmlns:p14="http://schemas.microsoft.com/office/powerpoint/2010/main" val="569563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19696" y="4416838"/>
            <a:ext cx="1259701" cy="381600"/>
          </a:xfrm>
          <a:prstGeom prst="rect">
            <a:avLst/>
          </a:prstGeom>
        </p:spPr>
      </p:pic>
      <p:cxnSp>
        <p:nvCxnSpPr>
          <p:cNvPr id="24" name="Gerade Verbindung 23"/>
          <p:cNvCxnSpPr/>
          <p:nvPr/>
        </p:nvCxnSpPr>
        <p:spPr>
          <a:xfrm>
            <a:off x="2"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7" y="1991163"/>
            <a:ext cx="5884369" cy="1477328"/>
          </a:xfrm>
        </p:spPr>
        <p:txBody>
          <a:bodyPr wrap="square" lIns="0">
            <a:spAutoFit/>
          </a:bodyPr>
          <a:lstStyle>
            <a:lvl1pPr>
              <a:defRPr sz="4800">
                <a:solidFill>
                  <a:srgbClr val="003366"/>
                </a:solidFill>
              </a:defRPr>
            </a:lvl1pPr>
          </a:lstStyle>
          <a:p>
            <a:r>
              <a:rPr lang="de-DE" noProof="0" dirty="0"/>
              <a:t>Titel durch Klicken bearbeiten</a:t>
            </a:r>
          </a:p>
        </p:txBody>
      </p:sp>
      <p:sp>
        <p:nvSpPr>
          <p:cNvPr id="3" name="Untertitel 2"/>
          <p:cNvSpPr>
            <a:spLocks noGrp="1"/>
          </p:cNvSpPr>
          <p:nvPr>
            <p:ph type="subTitle" idx="1" hasCustomPrompt="1"/>
          </p:nvPr>
        </p:nvSpPr>
        <p:spPr>
          <a:xfrm>
            <a:off x="367576" y="357275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Untertitel durch Klicken bearbeiten</a:t>
            </a:r>
          </a:p>
        </p:txBody>
      </p:sp>
      <p:cxnSp>
        <p:nvCxnSpPr>
          <p:cNvPr id="10" name="Gerade Verbindung 9"/>
          <p:cNvCxnSpPr/>
          <p:nvPr userDrawn="1"/>
        </p:nvCxnSpPr>
        <p:spPr>
          <a:xfrm>
            <a:off x="2"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008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folie mit Infobox">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9696" y="4416838"/>
            <a:ext cx="1259701" cy="381600"/>
          </a:xfrm>
          <a:prstGeom prst="rect">
            <a:avLst/>
          </a:prstGeom>
        </p:spPr>
      </p:pic>
      <p:cxnSp>
        <p:nvCxnSpPr>
          <p:cNvPr id="24" name="Gerade Verbindung 23"/>
          <p:cNvCxnSpPr/>
          <p:nvPr/>
        </p:nvCxnSpPr>
        <p:spPr>
          <a:xfrm>
            <a:off x="2"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1477328"/>
          </a:xfrm>
        </p:spPr>
        <p:txBody>
          <a:bodyPr wrap="square">
            <a:spAutoFit/>
          </a:bodyPr>
          <a:lstStyle>
            <a:lvl1pPr>
              <a:defRPr sz="4800">
                <a:solidFill>
                  <a:srgbClr val="003366"/>
                </a:solidFill>
              </a:defRPr>
            </a:lvl1pPr>
          </a:lstStyle>
          <a:p>
            <a:r>
              <a:rPr lang="de-CH" noProof="0" dirty="0"/>
              <a:t>Titel durch Klicken bearbeiten</a:t>
            </a:r>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Untertitel durch Klicken bearbeiten</a:t>
            </a:r>
          </a:p>
        </p:txBody>
      </p:sp>
      <p:cxnSp>
        <p:nvCxnSpPr>
          <p:cNvPr id="11" name="Gerade Verbindung 10"/>
          <p:cNvCxnSpPr/>
          <p:nvPr userDrawn="1"/>
        </p:nvCxnSpPr>
        <p:spPr>
          <a:xfrm>
            <a:off x="2"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2400" dirty="0">
                <a:solidFill>
                  <a:schemeClr val="bg1"/>
                </a:solidFill>
                <a:latin typeface="+mj-lt"/>
              </a:defRPr>
            </a:lvl1pPr>
          </a:lstStyle>
          <a:p>
            <a:pPr marL="0" lvl="0" algn="ctr"/>
            <a:r>
              <a:rPr lang="de-DE" noProof="0" dirty="0"/>
              <a:t>Infotext bearbeiten [Variable Schriftgröße]</a:t>
            </a:r>
          </a:p>
        </p:txBody>
      </p:sp>
    </p:spTree>
    <p:extLst>
      <p:ext uri="{BB962C8B-B14F-4D97-AF65-F5344CB8AC3E}">
        <p14:creationId xmlns:p14="http://schemas.microsoft.com/office/powerpoint/2010/main" val="4019313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22100"/>
          <a:stretch/>
        </p:blipFill>
        <p:spPr>
          <a:xfrm>
            <a:off x="0" y="508243"/>
            <a:ext cx="2166026" cy="3708582"/>
          </a:xfrm>
          <a:prstGeom prst="rect">
            <a:avLst/>
          </a:prstGeom>
        </p:spPr>
      </p:pic>
      <p:pic>
        <p:nvPicPr>
          <p:cNvPr id="13" name="Picture 12"/>
          <p:cNvPicPr>
            <a:picLocks noChangeAspect="1"/>
          </p:cNvPicPr>
          <p:nvPr userDrawn="1"/>
        </p:nvPicPr>
        <p:blipFill rotWithShape="1">
          <a:blip r:embed="rId3"/>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7" name="Picture Placeholder 5"/>
          <p:cNvSpPr>
            <a:spLocks noGrp="1" noChangeAspect="1"/>
          </p:cNvSpPr>
          <p:nvPr>
            <p:ph type="pic" sz="quarter" idx="13"/>
          </p:nvPr>
        </p:nvSpPr>
        <p:spPr>
          <a:xfrm>
            <a:off x="2771800" y="483518"/>
            <a:ext cx="3096344" cy="3096344"/>
          </a:xfrm>
          <a:prstGeom prst="ellipse">
            <a:avLst/>
          </a:prstGeom>
          <a:noFill/>
          <a:ln w="76200">
            <a:solidFill>
              <a:srgbClr val="FFFFFF">
                <a:alpha val="20000"/>
              </a:srgbClr>
            </a:solidFill>
          </a:ln>
        </p:spPr>
        <p:txBody>
          <a:bodyPr/>
          <a:lstStyle>
            <a:lvl1pPr algn="ctr">
              <a:defRPr sz="1400"/>
            </a:lvl1pPr>
          </a:lstStyle>
          <a:p>
            <a:endParaRPr lang="en-GB" dirty="0"/>
          </a:p>
        </p:txBody>
      </p:sp>
      <p:sp>
        <p:nvSpPr>
          <p:cNvPr id="8" name="Picture Placeholder 5"/>
          <p:cNvSpPr>
            <a:spLocks noGrp="1" noChangeAspect="1"/>
          </p:cNvSpPr>
          <p:nvPr>
            <p:ph type="pic" sz="quarter" idx="14"/>
          </p:nvPr>
        </p:nvSpPr>
        <p:spPr>
          <a:xfrm>
            <a:off x="5868144" y="2211710"/>
            <a:ext cx="2206226" cy="2206226"/>
          </a:xfrm>
          <a:prstGeom prst="ellipse">
            <a:avLst/>
          </a:prstGeom>
          <a:noFill/>
          <a:ln w="76200">
            <a:solidFill>
              <a:srgbClr val="FFFFFF">
                <a:alpha val="20000"/>
              </a:srgbClr>
            </a:solidFill>
          </a:ln>
        </p:spPr>
        <p:txBody>
          <a:bodyPr/>
          <a:lstStyle>
            <a:lvl1pPr algn="ctr">
              <a:defRPr sz="1400"/>
            </a:lvl1pPr>
          </a:lstStyle>
          <a:p>
            <a:endParaRPr lang="en-GB" dirty="0"/>
          </a:p>
        </p:txBody>
      </p:sp>
      <p:pic>
        <p:nvPicPr>
          <p:cNvPr id="10" name="Picture 9"/>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165460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19696"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28" y="1980098"/>
            <a:ext cx="6682018" cy="738664"/>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GB" noProof="0" dirty="0" err="1"/>
              <a:t>Kapitel-Titel</a:t>
            </a:r>
            <a:r>
              <a:rPr lang="en-GB" noProof="0" dirty="0"/>
              <a:t> </a:t>
            </a:r>
            <a:r>
              <a:rPr lang="en-GB" noProof="0" dirty="0" err="1"/>
              <a:t>bearbeiten</a:t>
            </a:r>
            <a:endParaRPr lang="en-GB" noProof="0" dirty="0"/>
          </a:p>
        </p:txBody>
      </p:sp>
      <p:sp>
        <p:nvSpPr>
          <p:cNvPr id="20" name="Textplatzhalter 18"/>
          <p:cNvSpPr>
            <a:spLocks noGrp="1"/>
          </p:cNvSpPr>
          <p:nvPr>
            <p:ph type="body" sz="quarter" idx="12" hasCustomPrompt="1"/>
          </p:nvPr>
        </p:nvSpPr>
        <p:spPr>
          <a:xfrm>
            <a:off x="351829" y="2788611"/>
            <a:ext cx="4059236" cy="369332"/>
          </a:xfrm>
        </p:spPr>
        <p:txBody>
          <a:bodyPr wrap="square">
            <a:spAutoFit/>
          </a:bodyPr>
          <a:lstStyle>
            <a:lvl1pPr marL="0" indent="0">
              <a:buNone/>
              <a:defRPr sz="2400" baseline="0">
                <a:solidFill>
                  <a:schemeClr val="bg1"/>
                </a:solidFill>
                <a:latin typeface="BISansCond" panose="02000006050000020004" pitchFamily="2" charset="0"/>
              </a:defRPr>
            </a:lvl1pPr>
          </a:lstStyle>
          <a:p>
            <a:pPr lvl="0"/>
            <a:r>
              <a:rPr lang="en-GB" noProof="0" dirty="0" err="1"/>
              <a:t>Optionalen</a:t>
            </a:r>
            <a:r>
              <a:rPr lang="en-GB" noProof="0" dirty="0"/>
              <a:t> </a:t>
            </a:r>
            <a:r>
              <a:rPr lang="en-GB" noProof="0" dirty="0" err="1"/>
              <a:t>Untertitel</a:t>
            </a:r>
            <a:r>
              <a:rPr lang="en-GB" noProof="0" dirty="0"/>
              <a:t> </a:t>
            </a:r>
            <a:r>
              <a:rPr lang="en-GB" noProof="0" dirty="0" err="1"/>
              <a:t>bearbeiten</a:t>
            </a:r>
            <a:endParaRPr lang="en-GB" noProof="0" dirty="0"/>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7964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Kapitelfolie inkl. Referenten">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9696"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hasCustomPrompt="1"/>
          </p:nvPr>
        </p:nvSpPr>
        <p:spPr>
          <a:xfrm>
            <a:off x="351830"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GB" noProof="0" dirty="0"/>
              <a:t>Kapitel-Titel </a:t>
            </a:r>
            <a:r>
              <a:rPr lang="en-GB" noProof="0" dirty="0" err="1"/>
              <a:t>bearbeiten</a:t>
            </a:r>
            <a:endParaRPr lang="en-GB" noProof="0" dirty="0"/>
          </a:p>
        </p:txBody>
      </p:sp>
      <p:sp>
        <p:nvSpPr>
          <p:cNvPr id="20" name="Textplatzhalter 18"/>
          <p:cNvSpPr>
            <a:spLocks noGrp="1"/>
          </p:cNvSpPr>
          <p:nvPr>
            <p:ph type="body" sz="quarter" idx="12" hasCustomPrompt="1"/>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GB" noProof="0" dirty="0"/>
              <a:t>Untertitel </a:t>
            </a:r>
            <a:r>
              <a:rPr lang="en-GB" noProof="0" dirty="0" err="1"/>
              <a:t>bearbeiten</a:t>
            </a:r>
            <a:endParaRPr lang="en-GB" noProof="0" dirty="0"/>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noProof="0"/>
              <a:t>Edit Master text styles</a:t>
            </a:r>
          </a:p>
        </p:txBody>
      </p:sp>
    </p:spTree>
    <p:extLst>
      <p:ext uri="{BB962C8B-B14F-4D97-AF65-F5344CB8AC3E}">
        <p14:creationId xmlns:p14="http://schemas.microsoft.com/office/powerpoint/2010/main" val="370160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Kapitelfolie inkl. Referenten + Bild">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Grafik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19696"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0"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noProof="0"/>
              <a:t>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noProof="0"/>
              <a:t>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noProof="0"/>
              <a:t>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noProof="0"/>
              <a:t>Click icon to add picture</a:t>
            </a:r>
            <a:endParaRPr lang="en-GB" noProof="0" dirty="0"/>
          </a:p>
        </p:txBody>
      </p:sp>
    </p:spTree>
    <p:extLst>
      <p:ext uri="{BB962C8B-B14F-4D97-AF65-F5344CB8AC3E}">
        <p14:creationId xmlns:p14="http://schemas.microsoft.com/office/powerpoint/2010/main" val="369000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lone 1">
    <p:spTree>
      <p:nvGrpSpPr>
        <p:cNvPr id="1" name=""/>
        <p:cNvGrpSpPr/>
        <p:nvPr/>
      </p:nvGrpSpPr>
      <p:grpSpPr>
        <a:xfrm>
          <a:off x="0" y="0"/>
          <a:ext cx="0" cy="0"/>
          <a:chOff x="0" y="0"/>
          <a:chExt cx="0" cy="0"/>
        </a:xfrm>
      </p:grpSpPr>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2" name="Datumsplatzhalter 1"/>
          <p:cNvSpPr>
            <a:spLocks noGrp="1"/>
          </p:cNvSpPr>
          <p:nvPr>
            <p:ph type="dt" sz="half" idx="10"/>
          </p:nvPr>
        </p:nvSpPr>
        <p:spPr/>
        <p:txBody>
          <a:bodyPr/>
          <a:lstStyle/>
          <a:p>
            <a:endParaRPr lang="en-GB" dirty="0"/>
          </a:p>
        </p:txBody>
      </p:sp>
      <p:sp>
        <p:nvSpPr>
          <p:cNvPr id="3" name="Fußzeilenplatzhalter 2"/>
          <p:cNvSpPr>
            <a:spLocks noGrp="1"/>
          </p:cNvSpPr>
          <p:nvPr>
            <p:ph type="ftr" sz="quarter" idx="11"/>
          </p:nvPr>
        </p:nvSpPr>
        <p:spPr/>
        <p:txBody>
          <a:bodyPr/>
          <a:lstStyle/>
          <a:p>
            <a:r>
              <a:rPr lang="en-GB"/>
              <a:t>#ConV2X 2018</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3734107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Stand-alone 2: 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noProof="0"/>
              <a:t>Click to edit Master title style</a:t>
            </a:r>
            <a:endParaRPr lang="en-GB" noProof="0" dirty="0"/>
          </a:p>
        </p:txBody>
      </p:sp>
      <p:sp>
        <p:nvSpPr>
          <p:cNvPr id="3" name="Inhaltsplatzhalter 2"/>
          <p:cNvSpPr>
            <a:spLocks noGrp="1"/>
          </p:cNvSpPr>
          <p:nvPr>
            <p:ph idx="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Datumsplatzhalter 7"/>
          <p:cNvSpPr>
            <a:spLocks noGrp="1"/>
          </p:cNvSpPr>
          <p:nvPr>
            <p:ph type="dt" sz="half" idx="10"/>
          </p:nvPr>
        </p:nvSpPr>
        <p:spPr/>
        <p:txBody>
          <a:bodyPr/>
          <a:lstStyle/>
          <a:p>
            <a:endParaRPr lang="en-GB" dirty="0"/>
          </a:p>
        </p:txBody>
      </p:sp>
      <p:sp>
        <p:nvSpPr>
          <p:cNvPr id="9" name="Fußzeilenplatzhalter 8"/>
          <p:cNvSpPr>
            <a:spLocks noGrp="1"/>
          </p:cNvSpPr>
          <p:nvPr>
            <p:ph type="ftr" sz="quarter" idx="11"/>
          </p:nvPr>
        </p:nvSpPr>
        <p:spPr/>
        <p:txBody>
          <a:bodyPr/>
          <a:lstStyle/>
          <a:p>
            <a:r>
              <a:rPr lang="en-GB"/>
              <a:t>#ConV2X 2018</a:t>
            </a:r>
            <a:endParaRPr lang="en-GB" dirty="0"/>
          </a:p>
        </p:txBody>
      </p:sp>
      <p:sp>
        <p:nvSpPr>
          <p:cNvPr id="10" name="Foliennummernplatzhalter 9"/>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3826493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Stand-alone 3: 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noProof="0"/>
              <a:t>Click to edit Master title style</a:t>
            </a:r>
            <a:endParaRPr lang="en-GB" noProof="0" dirty="0"/>
          </a:p>
        </p:txBody>
      </p:sp>
      <p:sp>
        <p:nvSpPr>
          <p:cNvPr id="3" name="Inhaltsplatzhalter 2"/>
          <p:cNvSpPr>
            <a:spLocks noGrp="1"/>
          </p:cNvSpPr>
          <p:nvPr>
            <p:ph idx="1" hasCustomPrompt="1"/>
          </p:nvPr>
        </p:nvSpPr>
        <p:spPr/>
        <p:txBody>
          <a:bodyPr/>
          <a:lstStyle>
            <a:lvl3pPr>
              <a:defRPr sz="1600"/>
            </a:lvl3p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10"/>
          </p:nvPr>
        </p:nvSpPr>
        <p:spPr/>
        <p:txBody>
          <a:bodyPr/>
          <a:lstStyle/>
          <a:p>
            <a:endParaRPr lang="en-GB" noProof="0" dirty="0"/>
          </a:p>
        </p:txBody>
      </p:sp>
      <p:sp>
        <p:nvSpPr>
          <p:cNvPr id="5" name="Fußzeilenplatzhalter 4"/>
          <p:cNvSpPr>
            <a:spLocks noGrp="1"/>
          </p:cNvSpPr>
          <p:nvPr>
            <p:ph type="ftr" sz="quarter" idx="11"/>
          </p:nvPr>
        </p:nvSpPr>
        <p:spPr/>
        <p:txBody>
          <a:bodyPr/>
          <a:lstStyle/>
          <a:p>
            <a:r>
              <a:rPr lang="en-GB" noProof="0"/>
              <a:t>#ConV2X 2018</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25659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tand-alone 4: Standard Folie">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en-US" noProof="0"/>
              <a:t>Edit Master text styles</a:t>
            </a:r>
          </a:p>
          <a:p>
            <a:pPr lvl="1"/>
            <a:r>
              <a:rPr lang="en-US" noProof="0"/>
              <a:t>Second level</a:t>
            </a:r>
          </a:p>
          <a:p>
            <a:pPr lvl="2"/>
            <a:r>
              <a:rPr lang="en-US" noProof="0"/>
              <a:t>Third level</a:t>
            </a:r>
          </a:p>
        </p:txBody>
      </p: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noProof="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9174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tand-alone 5: Diagramm-Folie">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77" y="1200152"/>
            <a:ext cx="2934425" cy="278256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endParaRPr lang="en-GB" noProof="0" dirty="0"/>
          </a:p>
        </p:txBody>
      </p:sp>
      <p:sp>
        <p:nvSpPr>
          <p:cNvPr id="6" name="Fußzeilenplatzhalter 5"/>
          <p:cNvSpPr>
            <a:spLocks noGrp="1"/>
          </p:cNvSpPr>
          <p:nvPr>
            <p:ph type="ftr" sz="quarter" idx="13"/>
          </p:nvPr>
        </p:nvSpPr>
        <p:spPr/>
        <p:txBody>
          <a:bodyPr/>
          <a:lstStyle/>
          <a:p>
            <a:r>
              <a:rPr lang="en-GB" noProof="0"/>
              <a:t>#ConV2X 2018</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noProof="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7475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Stand-alone 6: Leere Foli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noProof="0" dirty="0"/>
          </a:p>
        </p:txBody>
      </p:sp>
      <p:sp>
        <p:nvSpPr>
          <p:cNvPr id="3" name="Fußzeilenplatzhalter 2"/>
          <p:cNvSpPr>
            <a:spLocks noGrp="1"/>
          </p:cNvSpPr>
          <p:nvPr>
            <p:ph type="ftr" sz="quarter" idx="11"/>
          </p:nvPr>
        </p:nvSpPr>
        <p:spPr/>
        <p:txBody>
          <a:bodyPr/>
          <a:lstStyle/>
          <a:p>
            <a:r>
              <a:rPr lang="en-GB" noProof="0"/>
              <a:t>#ConV2X 2018</a:t>
            </a:r>
            <a:endParaRPr lang="en-GB" noProof="0" dirty="0"/>
          </a:p>
        </p:txBody>
      </p:sp>
      <p:sp>
        <p:nvSpPr>
          <p:cNvPr id="4" name="Foliennummernplatzhalter 3"/>
          <p:cNvSpPr>
            <a:spLocks noGrp="1"/>
          </p:cNvSpPr>
          <p:nvPr>
            <p:ph type="sldNum" sz="quarter" idx="12"/>
          </p:nvPr>
        </p:nvSpPr>
        <p:spPr/>
        <p:txBody>
          <a:bodyPr/>
          <a:lstStyle/>
          <a:p>
            <a:fld id="{143B55C4-4F5A-416B-997D-6CE47EB0A945}" type="slidenum">
              <a:rPr lang="en-GB" noProof="0" smtClean="0"/>
              <a:t>‹#›</a:t>
            </a:fld>
            <a:endParaRPr lang="en-GB" noProof="0" dirty="0"/>
          </a:p>
        </p:txBody>
      </p:sp>
    </p:spTree>
    <p:extLst>
      <p:ext uri="{BB962C8B-B14F-4D97-AF65-F5344CB8AC3E}">
        <p14:creationId xmlns:p14="http://schemas.microsoft.com/office/powerpoint/2010/main" val="1433683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ve 1: Standard-Folie">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p:nvPr>
        </p:nvSpPr>
        <p:spPr/>
        <p:txBody>
          <a:bodyPr/>
          <a:lstStyle/>
          <a:p>
            <a:r>
              <a:rPr lang="en-US"/>
              <a:t>Click to edit Master title style</a:t>
            </a:r>
            <a:endParaRPr lang="de-DE"/>
          </a:p>
        </p:txBody>
      </p:sp>
      <p:sp>
        <p:nvSpPr>
          <p:cNvPr id="10" name="Datumsplatzhalter 9"/>
          <p:cNvSpPr>
            <a:spLocks noGrp="1"/>
          </p:cNvSpPr>
          <p:nvPr>
            <p:ph type="dt" sz="half" idx="10"/>
          </p:nvPr>
        </p:nvSpPr>
        <p:spPr/>
        <p:txBody>
          <a:bodyPr/>
          <a:lstStyle/>
          <a:p>
            <a:endParaRPr lang="en-GB" dirty="0"/>
          </a:p>
        </p:txBody>
      </p:sp>
      <p:sp>
        <p:nvSpPr>
          <p:cNvPr id="11" name="Fußzeilenplatzhalter 10"/>
          <p:cNvSpPr>
            <a:spLocks noGrp="1"/>
          </p:cNvSpPr>
          <p:nvPr>
            <p:ph type="ftr" sz="quarter" idx="11"/>
          </p:nvPr>
        </p:nvSpPr>
        <p:spPr/>
        <p:txBody>
          <a:bodyPr/>
          <a:lstStyle/>
          <a:p>
            <a:r>
              <a:rPr lang="en-GB"/>
              <a:t>#ConV2X 2018</a:t>
            </a:r>
            <a:endParaRPr lang="en-GB" dirty="0"/>
          </a:p>
        </p:txBody>
      </p:sp>
      <p:sp>
        <p:nvSpPr>
          <p:cNvPr id="12" name="Foliennummernplatzhalter 11"/>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4292255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itle">
    <p:bg>
      <p:bgPr>
        <a:solidFill>
          <a:schemeClr val="tx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t="48080"/>
          <a:stretch/>
        </p:blipFill>
        <p:spPr>
          <a:xfrm>
            <a:off x="6490277" y="0"/>
            <a:ext cx="2368301" cy="1368881"/>
          </a:xfrm>
          <a:prstGeom prst="rect">
            <a:avLst/>
          </a:prstGeom>
        </p:spPr>
      </p:pic>
      <p:pic>
        <p:nvPicPr>
          <p:cNvPr id="12" name="Picture 11"/>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pic>
        <p:nvPicPr>
          <p:cNvPr id="6" name="Picture 5"/>
          <p:cNvPicPr>
            <a:picLocks noChangeAspect="1"/>
          </p:cNvPicPr>
          <p:nvPr userDrawn="1"/>
        </p:nvPicPr>
        <p:blipFill>
          <a:blip r:embed="rId5"/>
          <a:stretch>
            <a:fillRect/>
          </a:stretch>
        </p:blipFill>
        <p:spPr>
          <a:xfrm>
            <a:off x="203484" y="4622816"/>
            <a:ext cx="946867" cy="414055"/>
          </a:xfrm>
          <a:prstGeom prst="rect">
            <a:avLst/>
          </a:prstGeom>
        </p:spPr>
      </p:pic>
    </p:spTree>
    <p:extLst>
      <p:ext uri="{BB962C8B-B14F-4D97-AF65-F5344CB8AC3E}">
        <p14:creationId xmlns:p14="http://schemas.microsoft.com/office/powerpoint/2010/main" val="1942802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ve 2: Titel 24pt und Inhalt">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8" name="Titel 7"/>
          <p:cNvSpPr>
            <a:spLocks noGrp="1"/>
          </p:cNvSpPr>
          <p:nvPr>
            <p:ph type="title"/>
          </p:nvPr>
        </p:nvSpPr>
        <p:spPr>
          <a:xfrm>
            <a:off x="367575" y="115012"/>
            <a:ext cx="8408850" cy="553998"/>
          </a:xfrm>
        </p:spPr>
        <p:txBody>
          <a:bodyPr/>
          <a:lstStyle>
            <a:lvl1pPr>
              <a:defRPr sz="3600"/>
            </a:lvl1pPr>
          </a:lstStyle>
          <a:p>
            <a:r>
              <a:rPr lang="en-US"/>
              <a:t>Click to edit Master title style</a:t>
            </a:r>
            <a:endParaRPr lang="de-DE"/>
          </a:p>
        </p:txBody>
      </p:sp>
      <p:sp>
        <p:nvSpPr>
          <p:cNvPr id="10" name="Datumsplatzhalter 9"/>
          <p:cNvSpPr>
            <a:spLocks noGrp="1"/>
          </p:cNvSpPr>
          <p:nvPr>
            <p:ph type="dt" sz="half" idx="10"/>
          </p:nvPr>
        </p:nvSpPr>
        <p:spPr/>
        <p:txBody>
          <a:bodyPr/>
          <a:lstStyle/>
          <a:p>
            <a:endParaRPr lang="en-GB" dirty="0"/>
          </a:p>
        </p:txBody>
      </p:sp>
      <p:sp>
        <p:nvSpPr>
          <p:cNvPr id="12" name="Fußzeilenplatzhalter 11"/>
          <p:cNvSpPr>
            <a:spLocks noGrp="1"/>
          </p:cNvSpPr>
          <p:nvPr>
            <p:ph type="ftr" sz="quarter" idx="11"/>
          </p:nvPr>
        </p:nvSpPr>
        <p:spPr/>
        <p:txBody>
          <a:bodyPr/>
          <a:lstStyle/>
          <a:p>
            <a:r>
              <a:rPr lang="en-GB"/>
              <a:t>#ConV2X 2018</a:t>
            </a:r>
            <a:endParaRPr lang="en-GB" dirty="0"/>
          </a:p>
        </p:txBody>
      </p:sp>
      <p:sp>
        <p:nvSpPr>
          <p:cNvPr id="13" name="Foliennummernplatzhalter 12"/>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3983602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ve 3: Standard Folie 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t>Click to edit Master title style</a:t>
            </a:r>
            <a:endParaRPr lang="de-DE"/>
          </a:p>
        </p:txBody>
      </p:sp>
      <p:sp>
        <p:nvSpPr>
          <p:cNvPr id="6" name="Datumsplatzhalter 5"/>
          <p:cNvSpPr>
            <a:spLocks noGrp="1"/>
          </p:cNvSpPr>
          <p:nvPr>
            <p:ph type="dt" sz="half" idx="10"/>
          </p:nvPr>
        </p:nvSpPr>
        <p:spPr/>
        <p:txBody>
          <a:bodyPr/>
          <a:lstStyle/>
          <a:p>
            <a:endParaRPr lang="en-GB" dirty="0"/>
          </a:p>
        </p:txBody>
      </p:sp>
      <p:sp>
        <p:nvSpPr>
          <p:cNvPr id="7" name="Fußzeilenplatzhalter 6"/>
          <p:cNvSpPr>
            <a:spLocks noGrp="1"/>
          </p:cNvSpPr>
          <p:nvPr>
            <p:ph type="ftr" sz="quarter" idx="11"/>
          </p:nvPr>
        </p:nvSpPr>
        <p:spPr/>
        <p:txBody>
          <a:bodyPr/>
          <a:lstStyle/>
          <a:p>
            <a:r>
              <a:rPr lang="en-GB"/>
              <a:t>#ConV2X 2018</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89411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ve 4: Standard Folie 5">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en-US" noProof="0"/>
              <a:t>Edit Master text styles</a:t>
            </a:r>
          </a:p>
          <a:p>
            <a:pPr lvl="1"/>
            <a:r>
              <a:rPr lang="en-US" noProof="0"/>
              <a:t>Second level</a:t>
            </a:r>
          </a:p>
          <a:p>
            <a:pPr lvl="2"/>
            <a:r>
              <a:rPr lang="en-US" noProof="0"/>
              <a:t>Third level</a:t>
            </a:r>
          </a:p>
        </p:txBody>
      </p:sp>
      <p:sp>
        <p:nvSpPr>
          <p:cNvPr id="3" name="Titel 2"/>
          <p:cNvSpPr>
            <a:spLocks noGrp="1"/>
          </p:cNvSpPr>
          <p:nvPr>
            <p:ph type="title"/>
          </p:nvPr>
        </p:nvSpPr>
        <p:spPr/>
        <p:txBody>
          <a:bodyPr/>
          <a:lstStyle/>
          <a:p>
            <a:r>
              <a:rPr lang="en-US"/>
              <a:t>Click to edit Master title style</a:t>
            </a:r>
            <a:endParaRPr lang="de-DE"/>
          </a:p>
        </p:txBody>
      </p:sp>
      <p:sp>
        <p:nvSpPr>
          <p:cNvPr id="4" name="Datumsplatzhalter 3"/>
          <p:cNvSpPr>
            <a:spLocks noGrp="1"/>
          </p:cNvSpPr>
          <p:nvPr>
            <p:ph type="dt" sz="half" idx="10"/>
          </p:nvPr>
        </p:nvSpPr>
        <p:spPr/>
        <p:txBody>
          <a:bodyPr/>
          <a:lstStyle/>
          <a:p>
            <a:endParaRPr lang="en-GB" dirty="0"/>
          </a:p>
        </p:txBody>
      </p:sp>
      <p:sp>
        <p:nvSpPr>
          <p:cNvPr id="6" name="Fußzeilenplatzhalter 5"/>
          <p:cNvSpPr>
            <a:spLocks noGrp="1"/>
          </p:cNvSpPr>
          <p:nvPr>
            <p:ph type="ftr" sz="quarter" idx="11"/>
          </p:nvPr>
        </p:nvSpPr>
        <p:spPr/>
        <p:txBody>
          <a:bodyPr/>
          <a:lstStyle/>
          <a:p>
            <a:r>
              <a:rPr lang="en-GB"/>
              <a:t>#ConV2X 2018</a:t>
            </a:r>
            <a:endParaRPr lang="en-GB" dirty="0"/>
          </a:p>
        </p:txBody>
      </p:sp>
      <p:sp>
        <p:nvSpPr>
          <p:cNvPr id="7" name="Foliennummernplatzhalter 6"/>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426787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Live 6: Diagramm Folie">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15" name="Rechteck 14"/>
          <p:cNvSpPr/>
          <p:nvPr userDrawn="1"/>
        </p:nvSpPr>
        <p:spPr>
          <a:xfrm>
            <a:off x="0" y="1035591"/>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367577" y="1200152"/>
            <a:ext cx="2934425" cy="2782569"/>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t>Click to edit Master title style</a:t>
            </a:r>
            <a:endParaRPr lang="de-DE"/>
          </a:p>
        </p:txBody>
      </p:sp>
      <p:sp>
        <p:nvSpPr>
          <p:cNvPr id="6" name="Datumsplatzhalter 5"/>
          <p:cNvSpPr>
            <a:spLocks noGrp="1"/>
          </p:cNvSpPr>
          <p:nvPr>
            <p:ph type="dt" sz="half" idx="10"/>
          </p:nvPr>
        </p:nvSpPr>
        <p:spPr/>
        <p:txBody>
          <a:bodyPr/>
          <a:lstStyle/>
          <a:p>
            <a:endParaRPr lang="en-GB" dirty="0"/>
          </a:p>
        </p:txBody>
      </p:sp>
      <p:sp>
        <p:nvSpPr>
          <p:cNvPr id="7" name="Fußzeilenplatzhalter 6"/>
          <p:cNvSpPr>
            <a:spLocks noGrp="1"/>
          </p:cNvSpPr>
          <p:nvPr>
            <p:ph type="ftr" sz="quarter" idx="11"/>
          </p:nvPr>
        </p:nvSpPr>
        <p:spPr/>
        <p:txBody>
          <a:bodyPr/>
          <a:lstStyle/>
          <a:p>
            <a:r>
              <a:rPr lang="en-GB"/>
              <a:t>#ConV2X 2018</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1169636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Live 7: Text Slider">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sp>
        <p:nvSpPr>
          <p:cNvPr id="3" name="Inhaltsplatzhalter 2"/>
          <p:cNvSpPr>
            <a:spLocks noGrp="1"/>
          </p:cNvSpPr>
          <p:nvPr>
            <p:ph idx="1"/>
          </p:nvPr>
        </p:nvSpPr>
        <p:spPr>
          <a:xfrm>
            <a:off x="1771577" y="1451438"/>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1800" baseline="0" dirty="0" smtClean="0">
                <a:solidFill>
                  <a:schemeClr val="bg1"/>
                </a:solidFill>
                <a:latin typeface="+mj-lt"/>
              </a:defRPr>
            </a:lvl1pPr>
          </a:lstStyle>
          <a:p>
            <a:pPr marL="0" lvl="0" algn="ctr"/>
            <a:r>
              <a:rPr lang="en-GB" noProof="0" dirty="0" err="1"/>
              <a:t>Infos</a:t>
            </a:r>
            <a:endParaRPr lang="en-GB" noProof="0" dirty="0"/>
          </a:p>
          <a:p>
            <a:pPr marL="0" lvl="0" algn="ctr"/>
            <a:r>
              <a:rPr lang="en-GB" noProof="0" dirty="0"/>
              <a:t>[</a:t>
            </a:r>
            <a:r>
              <a:rPr lang="en-GB" noProof="0" dirty="0" err="1"/>
              <a:t>Schriftgröße</a:t>
            </a:r>
            <a:r>
              <a:rPr lang="en-GB" noProof="0" dirty="0"/>
              <a:t> </a:t>
            </a:r>
            <a:r>
              <a:rPr lang="en-GB" noProof="0" dirty="0" err="1"/>
              <a:t>variabel</a:t>
            </a:r>
            <a:r>
              <a:rPr lang="en-GB" noProof="0" dirty="0"/>
              <a:t>]</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4" name="Titel 3"/>
          <p:cNvSpPr>
            <a:spLocks noGrp="1"/>
          </p:cNvSpPr>
          <p:nvPr>
            <p:ph type="title"/>
          </p:nvPr>
        </p:nvSpPr>
        <p:spPr>
          <a:xfrm>
            <a:off x="1781923" y="290572"/>
            <a:ext cx="5055313" cy="369332"/>
          </a:xfrm>
        </p:spPr>
        <p:txBody>
          <a:bodyPr/>
          <a:lstStyle/>
          <a:p>
            <a:r>
              <a:rPr lang="en-US"/>
              <a:t>Click to edit Master title style</a:t>
            </a:r>
            <a:endParaRPr lang="de-DE"/>
          </a:p>
        </p:txBody>
      </p:sp>
      <p:sp>
        <p:nvSpPr>
          <p:cNvPr id="5" name="Datumsplatzhalter 4"/>
          <p:cNvSpPr>
            <a:spLocks noGrp="1"/>
          </p:cNvSpPr>
          <p:nvPr>
            <p:ph type="dt" sz="half" idx="12"/>
          </p:nvPr>
        </p:nvSpPr>
        <p:spPr/>
        <p:txBody>
          <a:bodyPr/>
          <a:lstStyle/>
          <a:p>
            <a:endParaRPr lang="en-GB" dirty="0"/>
          </a:p>
        </p:txBody>
      </p:sp>
      <p:sp>
        <p:nvSpPr>
          <p:cNvPr id="7" name="Fußzeilenplatzhalter 6"/>
          <p:cNvSpPr>
            <a:spLocks noGrp="1"/>
          </p:cNvSpPr>
          <p:nvPr>
            <p:ph type="ftr" sz="quarter" idx="13"/>
          </p:nvPr>
        </p:nvSpPr>
        <p:spPr/>
        <p:txBody>
          <a:bodyPr/>
          <a:lstStyle/>
          <a:p>
            <a:r>
              <a:rPr lang="en-GB"/>
              <a:t>#ConV2X 2018</a:t>
            </a:r>
            <a:endParaRPr lang="en-GB" dirty="0"/>
          </a:p>
        </p:txBody>
      </p:sp>
      <p:sp>
        <p:nvSpPr>
          <p:cNvPr id="8" name="Foliennummernplatzhalter 7"/>
          <p:cNvSpPr>
            <a:spLocks noGrp="1"/>
          </p:cNvSpPr>
          <p:nvPr>
            <p:ph type="sldNum" sz="quarter" idx="14"/>
          </p:nvPr>
        </p:nvSpPr>
        <p:spPr/>
        <p:txBody>
          <a:bodyPr/>
          <a:lstStyle/>
          <a:p>
            <a:fld id="{143B55C4-4F5A-416B-997D-6CE47EB0A945}" type="slidenum">
              <a:rPr lang="en-GB" smtClean="0"/>
              <a:pPr/>
              <a:t>‹#›</a:t>
            </a:fld>
            <a:endParaRPr lang="en-GB" dirty="0"/>
          </a:p>
        </p:txBody>
      </p:sp>
    </p:spTree>
    <p:extLst>
      <p:ext uri="{BB962C8B-B14F-4D97-AF65-F5344CB8AC3E}">
        <p14:creationId xmlns:p14="http://schemas.microsoft.com/office/powerpoint/2010/main" val="2548999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ve 8: Organisationschart">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dirty="0">
              <a:solidFill>
                <a:schemeClr val="tx1"/>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endParaRPr lang="en-GB" dirty="0"/>
          </a:p>
        </p:txBody>
      </p:sp>
      <p:sp>
        <p:nvSpPr>
          <p:cNvPr id="4" name="Fußzeilenplatzhalter 3"/>
          <p:cNvSpPr>
            <a:spLocks noGrp="1"/>
          </p:cNvSpPr>
          <p:nvPr>
            <p:ph type="ftr" sz="quarter" idx="11"/>
          </p:nvPr>
        </p:nvSpPr>
        <p:spPr/>
        <p:txBody>
          <a:bodyPr/>
          <a:lstStyle/>
          <a:p>
            <a:r>
              <a:rPr lang="en-GB"/>
              <a:t>#ConV2X 2018</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7" name="Titel 6"/>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11228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p:bg>
      <p:bgPr>
        <a:solidFill>
          <a:schemeClr val="tx1"/>
        </a:solidFill>
        <a:effectLst/>
      </p:bgPr>
    </p:bg>
    <p:spTree>
      <p:nvGrpSpPr>
        <p:cNvPr id="1" name=""/>
        <p:cNvGrpSpPr/>
        <p:nvPr/>
      </p:nvGrpSpPr>
      <p:grpSpPr>
        <a:xfrm>
          <a:off x="0" y="0"/>
          <a:ext cx="0" cy="0"/>
          <a:chOff x="0" y="0"/>
          <a:chExt cx="0" cy="0"/>
        </a:xfrm>
      </p:grpSpPr>
      <p:pic>
        <p:nvPicPr>
          <p:cNvPr id="64539" name="Picture 10" descr="BI-Logo_36pt_blue_neg"/>
          <p:cNvPicPr>
            <a:picLocks noChangeAspect="1" noChangeArrowheads="1"/>
          </p:cNvPicPr>
          <p:nvPr/>
        </p:nvPicPr>
        <p:blipFill>
          <a:blip r:embed="rId2" cstate="print"/>
          <a:srcRect/>
          <a:stretch>
            <a:fillRect/>
          </a:stretch>
        </p:blipFill>
        <p:spPr bwMode="black">
          <a:xfrm>
            <a:off x="6737351" y="4452940"/>
            <a:ext cx="2159000" cy="498872"/>
          </a:xfrm>
          <a:prstGeom prst="rect">
            <a:avLst/>
          </a:prstGeom>
          <a:noFill/>
          <a:ln w="9525">
            <a:noFill/>
            <a:miter lim="800000"/>
            <a:headEnd/>
            <a:tailEnd/>
          </a:ln>
        </p:spPr>
      </p:pic>
      <p:sp>
        <p:nvSpPr>
          <p:cNvPr id="64530" name="Rectangle 18"/>
          <p:cNvSpPr>
            <a:spLocks noChangeArrowheads="1"/>
          </p:cNvSpPr>
          <p:nvPr/>
        </p:nvSpPr>
        <p:spPr bwMode="auto">
          <a:xfrm>
            <a:off x="0" y="1339444"/>
            <a:ext cx="9144000" cy="1889522"/>
          </a:xfrm>
          <a:prstGeom prst="rect">
            <a:avLst/>
          </a:prstGeom>
          <a:solidFill>
            <a:schemeClr val="accent4"/>
          </a:solidFill>
          <a:ln w="12700">
            <a:noFill/>
            <a:miter lim="800000"/>
            <a:headEnd/>
            <a:tailEnd/>
          </a:ln>
          <a:effectLst/>
        </p:spPr>
        <p:txBody>
          <a:bodyPr wrap="none" anchor="ctr"/>
          <a:lstStyle/>
          <a:p>
            <a:endParaRPr lang="en-US" dirty="0">
              <a:solidFill>
                <a:srgbClr val="003366"/>
              </a:solidFill>
            </a:endParaRPr>
          </a:p>
        </p:txBody>
      </p:sp>
      <p:sp>
        <p:nvSpPr>
          <p:cNvPr id="64516" name="Rectangle 4"/>
          <p:cNvSpPr>
            <a:spLocks noGrp="1" noChangeArrowheads="1"/>
          </p:cNvSpPr>
          <p:nvPr>
            <p:ph type="subTitle" idx="1"/>
          </p:nvPr>
        </p:nvSpPr>
        <p:spPr bwMode="white">
          <a:xfrm>
            <a:off x="3491675" y="2158607"/>
            <a:ext cx="5323714" cy="615553"/>
          </a:xfrm>
        </p:spPr>
        <p:txBody>
          <a:bodyPr wrap="square">
            <a:spAutoFit/>
          </a:bodyPr>
          <a:lstStyle>
            <a:lvl1pPr>
              <a:spcBef>
                <a:spcPct val="0"/>
              </a:spcBef>
              <a:defRPr>
                <a:solidFill>
                  <a:schemeClr val="bg1"/>
                </a:solidFill>
                <a:sym typeface="Symbol" pitchFamily="18" charset="2"/>
              </a:defRPr>
            </a:lvl1pPr>
          </a:lstStyle>
          <a:p>
            <a:r>
              <a:rPr lang="de-DE" noProof="0">
                <a:sym typeface="Symbol" pitchFamily="18" charset="2"/>
              </a:rPr>
              <a:t>Formatvorlage des Untertitelmasters durch Klicken bearbeiten</a:t>
            </a:r>
            <a:endParaRPr lang="en-US" noProof="0" dirty="0">
              <a:sym typeface="Symbol" pitchFamily="18" charset="2"/>
            </a:endParaRPr>
          </a:p>
        </p:txBody>
      </p:sp>
      <p:sp>
        <p:nvSpPr>
          <p:cNvPr id="64517" name="Rectangle 5"/>
          <p:cNvSpPr>
            <a:spLocks noGrp="1" noChangeArrowheads="1"/>
          </p:cNvSpPr>
          <p:nvPr>
            <p:ph type="ctrTitle"/>
          </p:nvPr>
        </p:nvSpPr>
        <p:spPr>
          <a:xfrm>
            <a:off x="3491886" y="1393027"/>
            <a:ext cx="5325095" cy="629849"/>
          </a:xfrm>
          <a:noFill/>
        </p:spPr>
        <p:txBody>
          <a:bodyPr anchor="b">
            <a:noAutofit/>
          </a:bodyPr>
          <a:lstStyle>
            <a:lvl1pPr>
              <a:defRPr sz="2800"/>
            </a:lvl1pPr>
          </a:lstStyle>
          <a:p>
            <a:r>
              <a:rPr lang="de-DE" noProof="0"/>
              <a:t>Titelmasterformat durch Klicken bearbeiten</a:t>
            </a:r>
            <a:endParaRPr lang="en-US" noProof="0" dirty="0"/>
          </a:p>
        </p:txBody>
      </p:sp>
      <p:grpSp>
        <p:nvGrpSpPr>
          <p:cNvPr id="2" name="Group 8"/>
          <p:cNvGrpSpPr>
            <a:grpSpLocks/>
          </p:cNvGrpSpPr>
          <p:nvPr/>
        </p:nvGrpSpPr>
        <p:grpSpPr bwMode="auto">
          <a:xfrm>
            <a:off x="0" y="0"/>
            <a:ext cx="9144000" cy="5143500"/>
            <a:chOff x="0" y="0"/>
            <a:chExt cx="5760" cy="4320"/>
          </a:xfrm>
        </p:grpSpPr>
        <p:sp>
          <p:nvSpPr>
            <p:cNvPr id="64521" name="Line 9"/>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endParaRPr lang="en-US" dirty="0">
                <a:solidFill>
                  <a:srgbClr val="003366"/>
                </a:solidFill>
              </a:endParaRPr>
            </a:p>
          </p:txBody>
        </p:sp>
        <p:sp>
          <p:nvSpPr>
            <p:cNvPr id="64522" name="Line 10"/>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endParaRPr lang="en-US" dirty="0">
                <a:solidFill>
                  <a:srgbClr val="003366"/>
                </a:solidFill>
              </a:endParaRPr>
            </a:p>
          </p:txBody>
        </p:sp>
        <p:sp>
          <p:nvSpPr>
            <p:cNvPr id="64523" name="Line 11"/>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endParaRPr lang="en-US" dirty="0">
                <a:solidFill>
                  <a:srgbClr val="003366"/>
                </a:solidFill>
              </a:endParaRPr>
            </a:p>
          </p:txBody>
        </p:sp>
        <p:sp>
          <p:nvSpPr>
            <p:cNvPr id="64524" name="Line 12"/>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endParaRPr lang="en-US" dirty="0">
                <a:solidFill>
                  <a:srgbClr val="003366"/>
                </a:solidFill>
              </a:endParaRPr>
            </a:p>
          </p:txBody>
        </p:sp>
      </p:grpSp>
      <p:sp>
        <p:nvSpPr>
          <p:cNvPr id="12" name="Rectangle 1"/>
          <p:cNvSpPr>
            <a:spLocks noChangeArrowheads="1"/>
          </p:cNvSpPr>
          <p:nvPr/>
        </p:nvSpPr>
        <p:spPr bwMode="auto">
          <a:xfrm>
            <a:off x="88900" y="4876803"/>
            <a:ext cx="6457950" cy="208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fontAlgn="base">
              <a:spcBef>
                <a:spcPct val="0"/>
              </a:spcBef>
              <a:spcAft>
                <a:spcPct val="0"/>
              </a:spcAft>
            </a:pPr>
            <a:r>
              <a:rPr lang="en-US" sz="800" dirty="0">
                <a:solidFill>
                  <a:srgbClr val="FFFFFF"/>
                </a:solidFill>
              </a:rPr>
              <a:t>The information in this document is working hypothesis and for discussion purposes only, and does not constitute in any case decisions on changes in the organization. All content requires senior management and legal review. No decision will be made without consulting representatives of the workers' council.</a:t>
            </a:r>
          </a:p>
        </p:txBody>
      </p:sp>
      <p:sp>
        <p:nvSpPr>
          <p:cNvPr id="16" name="Rectangle 12"/>
          <p:cNvSpPr/>
          <p:nvPr userDrawn="1"/>
        </p:nvSpPr>
        <p:spPr bwMode="auto">
          <a:xfrm>
            <a:off x="5937854" y="1"/>
            <a:ext cx="3206147" cy="287174"/>
          </a:xfrm>
          <a:prstGeom prst="rect">
            <a:avLst/>
          </a:prstGeom>
          <a:noFill/>
          <a:ln w="9525" cap="flat" cmpd="sng" algn="ctr">
            <a:noFill/>
            <a:prstDash val="solid"/>
            <a:round/>
            <a:headEnd type="none" w="med" len="med"/>
            <a:tailEnd type="none" w="med" len="med"/>
          </a:ln>
          <a:effectLst/>
        </p:spPr>
        <p:txBody>
          <a:bodyPr vert="horz" wrap="square" lIns="134999" tIns="134999" rIns="134999" bIns="134999" numCol="1" rtlCol="0" anchor="ctr" anchorCtr="0" compatLnSpc="1">
            <a:prstTxWarp prst="textNoShape">
              <a:avLst/>
            </a:prstTxWarp>
          </a:bodyPr>
          <a:lstStyle/>
          <a:p>
            <a:pPr algn="ctr" eaLnBrk="0" fontAlgn="base" hangingPunct="0">
              <a:spcBef>
                <a:spcPct val="0"/>
              </a:spcBef>
              <a:spcAft>
                <a:spcPct val="0"/>
              </a:spcAft>
            </a:pPr>
            <a:r>
              <a:rPr lang="en-US" sz="2400" b="1" i="1" dirty="0">
                <a:solidFill>
                  <a:srgbClr val="FF0000"/>
                </a:solidFill>
              </a:rPr>
              <a:t>For BI-internal use only</a:t>
            </a:r>
          </a:p>
        </p:txBody>
      </p:sp>
      <p:pic>
        <p:nvPicPr>
          <p:cNvPr id="87042" name="Picture 2"/>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a:stretch/>
        </p:blipFill>
        <p:spPr bwMode="auto">
          <a:xfrm>
            <a:off x="6006057" y="1338843"/>
            <a:ext cx="3184582" cy="189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3" name="Picture 3"/>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a:stretch/>
        </p:blipFill>
        <p:spPr bwMode="auto">
          <a:xfrm>
            <a:off x="-192" y="1338815"/>
            <a:ext cx="3173797" cy="189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0360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US"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Rectangle 14"/>
          <p:cNvSpPr>
            <a:spLocks noGrp="1" noChangeArrowheads="1"/>
          </p:cNvSpPr>
          <p:nvPr>
            <p:ph type="sldNum" sz="quarter" idx="4"/>
          </p:nvPr>
        </p:nvSpPr>
        <p:spPr bwMode="auto">
          <a:xfrm>
            <a:off x="8136389" y="4951813"/>
            <a:ext cx="900113" cy="13454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1000">
                <a:solidFill>
                  <a:srgbClr val="000000"/>
                </a:solidFill>
                <a:latin typeface="+mn-lt"/>
              </a:defRPr>
            </a:lvl1pPr>
          </a:lstStyle>
          <a:p>
            <a:fld id="{D446586B-FF75-47A1-A069-ED9CC9CD5B58}" type="slidenum">
              <a:rPr lang="en-US" smtClean="0"/>
              <a:pPr/>
              <a:t>‹#›</a:t>
            </a:fld>
            <a:endParaRPr lang="en-US" dirty="0"/>
          </a:p>
        </p:txBody>
      </p:sp>
    </p:spTree>
    <p:extLst>
      <p:ext uri="{BB962C8B-B14F-4D97-AF65-F5344CB8AC3E}">
        <p14:creationId xmlns:p14="http://schemas.microsoft.com/office/powerpoint/2010/main" val="451918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tandar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Titelmasterformat durch Klicken bearbeiten</a:t>
            </a:r>
            <a:endParaRPr lang="de-DE" dirty="0"/>
          </a:p>
        </p:txBody>
      </p:sp>
      <p:sp>
        <p:nvSpPr>
          <p:cNvPr id="4" name="Rectangle 14"/>
          <p:cNvSpPr>
            <a:spLocks noGrp="1" noChangeArrowheads="1"/>
          </p:cNvSpPr>
          <p:nvPr>
            <p:ph type="sldNum" sz="quarter" idx="4"/>
          </p:nvPr>
        </p:nvSpPr>
        <p:spPr bwMode="auto">
          <a:xfrm>
            <a:off x="8172405" y="4951813"/>
            <a:ext cx="900113" cy="13454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1000">
                <a:solidFill>
                  <a:srgbClr val="000000"/>
                </a:solidFill>
                <a:latin typeface="+mn-lt"/>
              </a:defRPr>
            </a:lvl1pPr>
          </a:lstStyle>
          <a:p>
            <a:fld id="{D446586B-FF75-47A1-A069-ED9CC9CD5B58}" type="slidenum">
              <a:rPr lang="en-US" smtClean="0"/>
              <a:pPr/>
              <a:t>‹#›</a:t>
            </a:fld>
            <a:endParaRPr lang="en-US" dirty="0"/>
          </a:p>
        </p:txBody>
      </p:sp>
    </p:spTree>
    <p:extLst>
      <p:ext uri="{BB962C8B-B14F-4D97-AF65-F5344CB8AC3E}">
        <p14:creationId xmlns:p14="http://schemas.microsoft.com/office/powerpoint/2010/main" val="2937742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pic>
        <p:nvPicPr>
          <p:cNvPr id="102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7" y="1991163"/>
            <a:ext cx="5884369" cy="1477328"/>
          </a:xfrm>
        </p:spPr>
        <p:txBody>
          <a:bodyPr wrap="square" lIns="0">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7" y="357275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0" name="Gerade Verbindung 9"/>
          <p:cNvCxnSpPr/>
          <p:nvPr userDrawn="1"/>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42898" y="4558046"/>
            <a:ext cx="1208313" cy="368309"/>
          </a:xfrm>
          <a:prstGeom prst="rect">
            <a:avLst/>
          </a:prstGeom>
        </p:spPr>
      </p:pic>
    </p:spTree>
    <p:extLst>
      <p:ext uri="{BB962C8B-B14F-4D97-AF65-F5344CB8AC3E}">
        <p14:creationId xmlns:p14="http://schemas.microsoft.com/office/powerpoint/2010/main" val="783847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5_Title">
    <p:bg>
      <p:bgPr>
        <a:solidFill>
          <a:schemeClr val="tx2"/>
        </a:solidFill>
        <a:effectLst/>
      </p:bgPr>
    </p:bg>
    <p:spTree>
      <p:nvGrpSpPr>
        <p:cNvPr id="1" name=""/>
        <p:cNvGrpSpPr/>
        <p:nvPr/>
      </p:nvGrpSpPr>
      <p:grpSpPr>
        <a:xfrm>
          <a:off x="0" y="0"/>
          <a:ext cx="0" cy="0"/>
          <a:chOff x="0" y="0"/>
          <a:chExt cx="0" cy="0"/>
        </a:xfrm>
      </p:grpSpPr>
      <p:sp>
        <p:nvSpPr>
          <p:cNvPr id="17" name="Rectangle 16"/>
          <p:cNvSpPr/>
          <p:nvPr userDrawn="1"/>
        </p:nvSpPr>
        <p:spPr bwMode="auto">
          <a:xfrm>
            <a:off x="0" y="0"/>
            <a:ext cx="9144000" cy="667568"/>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pic>
        <p:nvPicPr>
          <p:cNvPr id="12" name="Picture 11"/>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accent1"/>
                </a:solidFill>
                <a:latin typeface="+mn-lt"/>
              </a:defRPr>
            </a:lvl1pPr>
          </a:lstStyle>
          <a:p>
            <a:pPr lvl="0"/>
            <a:r>
              <a:rPr lang="de-DE" noProof="0" dirty="0"/>
              <a:t>Title</a:t>
            </a:r>
            <a:endParaRPr lang="en-GB" noProof="0" dirty="0"/>
          </a:p>
        </p:txBody>
      </p:sp>
      <p:grpSp>
        <p:nvGrpSpPr>
          <p:cNvPr id="27" name="Group 26"/>
          <p:cNvGrpSpPr/>
          <p:nvPr userDrawn="1"/>
        </p:nvGrpSpPr>
        <p:grpSpPr>
          <a:xfrm>
            <a:off x="7471011" y="-1"/>
            <a:ext cx="1672989" cy="1588851"/>
            <a:chOff x="7471011" y="-1"/>
            <a:chExt cx="1672989" cy="1588851"/>
          </a:xfrm>
        </p:grpSpPr>
        <p:pic>
          <p:nvPicPr>
            <p:cNvPr id="23" name="Picture 22"/>
            <p:cNvPicPr>
              <a:picLocks noChangeAspect="1"/>
            </p:cNvPicPr>
            <p:nvPr userDrawn="1"/>
          </p:nvPicPr>
          <p:blipFill rotWithShape="1">
            <a:blip r:embed="rId4"/>
            <a:srcRect t="47335" r="36214"/>
            <a:stretch/>
          </p:blipFill>
          <p:spPr>
            <a:xfrm>
              <a:off x="7471011" y="-1"/>
              <a:ext cx="1672989" cy="1588851"/>
            </a:xfrm>
            <a:prstGeom prst="rect">
              <a:avLst/>
            </a:prstGeom>
          </p:spPr>
        </p:pic>
        <p:pic>
          <p:nvPicPr>
            <p:cNvPr id="26" name="Picture 25"/>
            <p:cNvPicPr>
              <a:picLocks noChangeAspect="1"/>
            </p:cNvPicPr>
            <p:nvPr userDrawn="1"/>
          </p:nvPicPr>
          <p:blipFill rotWithShape="1">
            <a:blip r:embed="rId5"/>
            <a:srcRect t="47335" r="36214"/>
            <a:stretch/>
          </p:blipFill>
          <p:spPr>
            <a:xfrm>
              <a:off x="7471011" y="-1"/>
              <a:ext cx="1672989" cy="1588851"/>
            </a:xfrm>
            <a:prstGeom prst="rect">
              <a:avLst/>
            </a:prstGeom>
          </p:spPr>
        </p:pic>
      </p:grpSp>
      <p:pic>
        <p:nvPicPr>
          <p:cNvPr id="18" name="Picture 17"/>
          <p:cNvPicPr>
            <a:picLocks noChangeAspect="1"/>
          </p:cNvPicPr>
          <p:nvPr userDrawn="1"/>
        </p:nvPicPr>
        <p:blipFill>
          <a:blip r:embed="rId6"/>
          <a:stretch>
            <a:fillRect/>
          </a:stretch>
        </p:blipFill>
        <p:spPr>
          <a:xfrm>
            <a:off x="203484" y="4622816"/>
            <a:ext cx="946867" cy="414055"/>
          </a:xfrm>
          <a:prstGeom prst="rect">
            <a:avLst/>
          </a:prstGeom>
        </p:spPr>
      </p:pic>
    </p:spTree>
    <p:extLst>
      <p:ext uri="{BB962C8B-B14F-4D97-AF65-F5344CB8AC3E}">
        <p14:creationId xmlns:p14="http://schemas.microsoft.com/office/powerpoint/2010/main" val="3547610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1477328"/>
          </a:xfrm>
        </p:spPr>
        <p:txBody>
          <a:bodyPr wrap="square">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1" name="Gerade Verbindung 10"/>
          <p:cNvCxnSpPr/>
          <p:nvPr userDrawn="1"/>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dirty="0">
                <a:solidFill>
                  <a:schemeClr val="bg1"/>
                </a:solidFill>
                <a:latin typeface="+mj-lt"/>
              </a:defRPr>
            </a:lvl1pPr>
          </a:lstStyle>
          <a:p>
            <a:pPr marL="0" lvl="0" algn="ctr"/>
            <a:r>
              <a:rPr lang="en-GB" noProof="0" dirty="0"/>
              <a:t>Add. info [font size variabl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42898" y="4558046"/>
            <a:ext cx="1208313" cy="368309"/>
          </a:xfrm>
          <a:prstGeom prst="rect">
            <a:avLst/>
          </a:prstGeom>
        </p:spPr>
      </p:pic>
    </p:spTree>
    <p:extLst>
      <p:ext uri="{BB962C8B-B14F-4D97-AF65-F5344CB8AC3E}">
        <p14:creationId xmlns:p14="http://schemas.microsoft.com/office/powerpoint/2010/main" val="2909132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2"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2898" y="4558046"/>
            <a:ext cx="1208313" cy="368309"/>
          </a:xfrm>
          <a:prstGeom prst="rect">
            <a:avLst/>
          </a:prstGeom>
        </p:spPr>
      </p:pic>
    </p:spTree>
    <p:extLst>
      <p:ext uri="{BB962C8B-B14F-4D97-AF65-F5344CB8AC3E}">
        <p14:creationId xmlns:p14="http://schemas.microsoft.com/office/powerpoint/2010/main" val="257771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2"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a:t>Textmaster</a:t>
            </a:r>
            <a:r>
              <a:rPr lang="en-GB" noProof="0" dirty="0"/>
              <a:t>-format </a:t>
            </a:r>
            <a:r>
              <a:rPr lang="en-GB" noProof="0" dirty="0" err="1"/>
              <a:t>bearbeiten</a:t>
            </a:r>
            <a:endParaRPr lang="en-GB" noProof="0" dirty="0"/>
          </a:p>
        </p:txBody>
      </p:sp>
      <p:pic>
        <p:nvPicPr>
          <p:cNvPr id="11" name="Picture 10"/>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2898" y="4558046"/>
            <a:ext cx="1208313" cy="368309"/>
          </a:xfrm>
          <a:prstGeom prst="rect">
            <a:avLst/>
          </a:prstGeom>
        </p:spPr>
      </p:pic>
    </p:spTree>
    <p:extLst>
      <p:ext uri="{BB962C8B-B14F-4D97-AF65-F5344CB8AC3E}">
        <p14:creationId xmlns:p14="http://schemas.microsoft.com/office/powerpoint/2010/main" val="1337892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2"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a:t>Textmaster</a:t>
            </a:r>
            <a:r>
              <a:rPr lang="en-GB" noProof="0" dirty="0"/>
              <a:t>-format </a:t>
            </a:r>
            <a:r>
              <a:rPr lang="en-GB" noProof="0" dirty="0" err="1"/>
              <a:t>bearbeiten</a:t>
            </a:r>
            <a:endParaRPr lang="en-GB" noProof="0" dirty="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de-DE" noProof="0"/>
              <a:t>Bild durch Klicken auf Symbol hinzufügen</a:t>
            </a:r>
            <a:endParaRPr lang="en-GB" noProof="0" dirty="0"/>
          </a:p>
        </p:txBody>
      </p:sp>
      <p:pic>
        <p:nvPicPr>
          <p:cNvPr id="11" name="Picture 10"/>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42898" y="4558046"/>
            <a:ext cx="1208313" cy="368309"/>
          </a:xfrm>
          <a:prstGeom prst="rect">
            <a:avLst/>
          </a:prstGeom>
        </p:spPr>
      </p:pic>
    </p:spTree>
    <p:extLst>
      <p:ext uri="{BB962C8B-B14F-4D97-AF65-F5344CB8AC3E}">
        <p14:creationId xmlns:p14="http://schemas.microsoft.com/office/powerpoint/2010/main" val="3138528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3" name="Titel 2"/>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867292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6" name="Datumsplatzhalter 5"/>
          <p:cNvSpPr>
            <a:spLocks noGrp="1"/>
          </p:cNvSpPr>
          <p:nvPr>
            <p:ph type="dt" sz="half" idx="10"/>
          </p:nvPr>
        </p:nvSpPr>
        <p:spPr/>
        <p:txBody>
          <a:bodyPr/>
          <a:lstStyle/>
          <a:p>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de-DE"/>
              <a:t>Titelmasterformat durch Klicken bearbeiten</a:t>
            </a:r>
            <a:endParaRPr lang="de-DE" dirty="0"/>
          </a:p>
        </p:txBody>
      </p:sp>
    </p:spTree>
    <p:extLst>
      <p:ext uri="{BB962C8B-B14F-4D97-AF65-F5344CB8AC3E}">
        <p14:creationId xmlns:p14="http://schemas.microsoft.com/office/powerpoint/2010/main" val="2366984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4" name="Titel 3"/>
          <p:cNvSpPr>
            <a:spLocks noGrp="1"/>
          </p:cNvSpPr>
          <p:nvPr>
            <p:ph type="title"/>
          </p:nvPr>
        </p:nvSpPr>
        <p:spPr/>
        <p:txBody>
          <a:bodyPr/>
          <a:lstStyle/>
          <a:p>
            <a:r>
              <a:rPr lang="de-DE"/>
              <a:t>Titelmasterformat durch Klicken bearbeiten</a:t>
            </a:r>
          </a:p>
        </p:txBody>
      </p:sp>
      <p:sp>
        <p:nvSpPr>
          <p:cNvPr id="6" name="Datumsplatzhalter 5"/>
          <p:cNvSpPr>
            <a:spLocks noGrp="1"/>
          </p:cNvSpPr>
          <p:nvPr>
            <p:ph type="dt" sz="half" idx="10"/>
          </p:nvPr>
        </p:nvSpPr>
        <p:spPr/>
        <p:txBody>
          <a:bodyPr/>
          <a:lstStyle/>
          <a:p>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155659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3" name="Datumsplatzhalter 2"/>
          <p:cNvSpPr>
            <a:spLocks noGrp="1"/>
          </p:cNvSpPr>
          <p:nvPr>
            <p:ph type="dt" sz="half" idx="10"/>
          </p:nvPr>
        </p:nvSpPr>
        <p:spPr/>
        <p:txBody>
          <a:bodyPr/>
          <a:lstStyle/>
          <a:p>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2695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3" name="Inhaltsplatzhalter 2"/>
          <p:cNvSpPr>
            <a:spLocks noGrp="1"/>
          </p:cNvSpPr>
          <p:nvPr>
            <p:ph idx="1"/>
          </p:nvPr>
        </p:nvSpPr>
        <p:spPr>
          <a:xfrm>
            <a:off x="367577" y="1200152"/>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4" name="Datumsplatzhalter 3"/>
          <p:cNvSpPr>
            <a:spLocks noGrp="1"/>
          </p:cNvSpPr>
          <p:nvPr>
            <p:ph type="dt" sz="half" idx="10"/>
          </p:nvPr>
        </p:nvSpPr>
        <p:spPr/>
        <p:txBody>
          <a:bodyPr/>
          <a:lstStyle/>
          <a:p>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365736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3" name="Inhaltsplatzhalter 2"/>
          <p:cNvSpPr>
            <a:spLocks noGrp="1"/>
          </p:cNvSpPr>
          <p:nvPr>
            <p:ph idx="1"/>
          </p:nvPr>
        </p:nvSpPr>
        <p:spPr>
          <a:xfrm>
            <a:off x="1771579" y="1451438"/>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lvl1pPr marL="0" indent="0" algn="ctr">
              <a:buNone/>
              <a:defRPr lang="en-US" sz="2000" dirty="0" smtClean="0">
                <a:solidFill>
                  <a:schemeClr val="bg1"/>
                </a:solidFill>
                <a:latin typeface="+mj-lt"/>
              </a:defRPr>
            </a:lvl1pPr>
          </a:lstStyle>
          <a:p>
            <a:pPr marL="0" lvl="0" algn="ctr"/>
            <a:r>
              <a:rPr lang="en-GB" noProof="0" dirty="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4" name="Datumsplatzhalter 3"/>
          <p:cNvSpPr>
            <a:spLocks noGrp="1"/>
          </p:cNvSpPr>
          <p:nvPr>
            <p:ph type="dt" sz="half" idx="12"/>
          </p:nvPr>
        </p:nvSpPr>
        <p:spPr/>
        <p:txBody>
          <a:bodyPr/>
          <a:lstStyle/>
          <a:p>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6" y="567571"/>
            <a:ext cx="5065660" cy="369332"/>
          </a:xfrm>
        </p:spPr>
        <p:txBody>
          <a:bodyPr/>
          <a:lstStyle/>
          <a:p>
            <a:r>
              <a:rPr lang="de-DE"/>
              <a:t>Titelmasterformat durch Klicken bearbeiten</a:t>
            </a:r>
            <a:endParaRPr lang="de-DE" dirty="0"/>
          </a:p>
        </p:txBody>
      </p:sp>
    </p:spTree>
    <p:extLst>
      <p:ext uri="{BB962C8B-B14F-4D97-AF65-F5344CB8AC3E}">
        <p14:creationId xmlns:p14="http://schemas.microsoft.com/office/powerpoint/2010/main" val="3319778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6_Title">
    <p:bg>
      <p:bgPr>
        <a:solidFill>
          <a:schemeClr val="tx2"/>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0" y="722050"/>
            <a:ext cx="9144000" cy="4421450"/>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accent1"/>
              </a:solidFill>
              <a:effectLst/>
              <a:latin typeface="BISansCond" pitchFamily="2"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
        <p:nvSpPr>
          <p:cNvPr id="9" name="Titel 1"/>
          <p:cNvSpPr>
            <a:spLocks noGrp="1"/>
          </p:cNvSpPr>
          <p:nvPr>
            <p:ph type="title" hasCustomPrompt="1"/>
          </p:nvPr>
        </p:nvSpPr>
        <p:spPr>
          <a:xfrm>
            <a:off x="358774" y="84908"/>
            <a:ext cx="8445600" cy="504000"/>
          </a:xfrm>
          <a:noFill/>
          <a:ln w="9525">
            <a:noFill/>
            <a:miter lim="800000"/>
            <a:headEnd/>
            <a:tailEnd/>
          </a:ln>
          <a:effectLst/>
        </p:spPr>
        <p:txBody>
          <a:bodyPr vert="horz" wrap="square" lIns="0" tIns="0" rIns="0" bIns="0" numCol="1" anchor="b" anchorCtr="0" compatLnSpc="1">
            <a:prstTxWarp prst="textNoShape">
              <a:avLst/>
            </a:prstTxWarp>
          </a:bodyPr>
          <a:lstStyle>
            <a:lvl1pPr>
              <a:defRPr lang="en-GB" cap="all" baseline="0" noProof="0" dirty="0">
                <a:solidFill>
                  <a:schemeClr val="bg1"/>
                </a:solidFill>
                <a:latin typeface="+mn-lt"/>
              </a:defRPr>
            </a:lvl1pPr>
          </a:lstStyle>
          <a:p>
            <a:pPr lvl="0"/>
            <a:r>
              <a:rPr lang="de-DE" noProof="0" dirty="0"/>
              <a:t>Title</a:t>
            </a:r>
            <a:endParaRPr lang="en-GB" noProof="0" dirty="0"/>
          </a:p>
        </p:txBody>
      </p:sp>
      <p:grpSp>
        <p:nvGrpSpPr>
          <p:cNvPr id="14" name="Group 13"/>
          <p:cNvGrpSpPr/>
          <p:nvPr userDrawn="1"/>
        </p:nvGrpSpPr>
        <p:grpSpPr>
          <a:xfrm>
            <a:off x="0" y="667932"/>
            <a:ext cx="9144000" cy="54000"/>
            <a:chOff x="0" y="667932"/>
            <a:chExt cx="9144000" cy="72000"/>
          </a:xfrm>
        </p:grpSpPr>
        <p:sp>
          <p:nvSpPr>
            <p:cNvPr id="15" name="Rectangle 14"/>
            <p:cNvSpPr/>
            <p:nvPr userDrawn="1"/>
          </p:nvSpPr>
          <p:spPr bwMode="auto">
            <a:xfrm>
              <a:off x="0" y="667932"/>
              <a:ext cx="3042000" cy="72000"/>
            </a:xfrm>
            <a:prstGeom prst="rect">
              <a:avLst/>
            </a:prstGeom>
            <a:gradFill flip="none" rotWithShape="1">
              <a:gsLst>
                <a:gs pos="0">
                  <a:schemeClr val="bg1">
                    <a:alpha val="0"/>
                  </a:schemeClr>
                </a:gs>
                <a:gs pos="74000">
                  <a:schemeClr val="bg2"/>
                </a:gs>
                <a:gs pos="100000">
                  <a:schemeClr val="bg2"/>
                </a:gs>
              </a:gsLst>
              <a:lin ang="1080000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sp>
          <p:nvSpPr>
            <p:cNvPr id="16" name="Rectangle 15"/>
            <p:cNvSpPr/>
            <p:nvPr userDrawn="1"/>
          </p:nvSpPr>
          <p:spPr bwMode="auto">
            <a:xfrm>
              <a:off x="3096000" y="667932"/>
              <a:ext cx="6048000" cy="72000"/>
            </a:xfrm>
            <a:prstGeom prst="rect">
              <a:avLst/>
            </a:prstGeom>
            <a:gradFill flip="none" rotWithShape="1">
              <a:gsLst>
                <a:gs pos="0">
                  <a:schemeClr val="bg1">
                    <a:alpha val="0"/>
                  </a:schemeClr>
                </a:gs>
                <a:gs pos="74000">
                  <a:schemeClr val="bg1"/>
                </a:gs>
                <a:gs pos="100000">
                  <a:schemeClr val="bg1"/>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R="0" lvl="0" indent="0" eaLnBrk="0" fontAlgn="base" hangingPunct="0">
                <a:lnSpc>
                  <a:spcPct val="100000"/>
                </a:lnSpc>
                <a:spcBef>
                  <a:spcPct val="0"/>
                </a:spcBef>
                <a:spcAft>
                  <a:spcPct val="0"/>
                </a:spcAft>
                <a:buClrTx/>
                <a:buSzTx/>
                <a:buFontTx/>
                <a:buNone/>
                <a:tabLst/>
              </a:pPr>
              <a:endParaRPr kumimoji="0" lang="en-GB" sz="1400" b="0" i="0" u="none" strike="noStrike" cap="none" normalizeH="0" baseline="0" dirty="0">
                <a:ln>
                  <a:noFill/>
                </a:ln>
                <a:effectLst/>
                <a:latin typeface="Calibri" panose="020F0502020204030204" pitchFamily="34" charset="0"/>
              </a:endParaRPr>
            </a:p>
          </p:txBody>
        </p:sp>
      </p:grpSp>
      <p:grpSp>
        <p:nvGrpSpPr>
          <p:cNvPr id="23" name="Group 22"/>
          <p:cNvGrpSpPr/>
          <p:nvPr userDrawn="1"/>
        </p:nvGrpSpPr>
        <p:grpSpPr>
          <a:xfrm>
            <a:off x="7471011" y="-1"/>
            <a:ext cx="1672989" cy="1588851"/>
            <a:chOff x="7471011" y="-1"/>
            <a:chExt cx="1672989" cy="1588851"/>
          </a:xfrm>
        </p:grpSpPr>
        <p:pic>
          <p:nvPicPr>
            <p:cNvPr id="24" name="Picture 23"/>
            <p:cNvPicPr>
              <a:picLocks noChangeAspect="1"/>
            </p:cNvPicPr>
            <p:nvPr userDrawn="1"/>
          </p:nvPicPr>
          <p:blipFill rotWithShape="1">
            <a:blip r:embed="rId3"/>
            <a:srcRect t="47335" r="36214"/>
            <a:stretch/>
          </p:blipFill>
          <p:spPr>
            <a:xfrm>
              <a:off x="7471011" y="-1"/>
              <a:ext cx="1672989" cy="1588851"/>
            </a:xfrm>
            <a:prstGeom prst="rect">
              <a:avLst/>
            </a:prstGeom>
          </p:spPr>
        </p:pic>
        <p:pic>
          <p:nvPicPr>
            <p:cNvPr id="25" name="Picture 24"/>
            <p:cNvPicPr>
              <a:picLocks noChangeAspect="1"/>
            </p:cNvPicPr>
            <p:nvPr userDrawn="1"/>
          </p:nvPicPr>
          <p:blipFill rotWithShape="1">
            <a:blip r:embed="rId4"/>
            <a:srcRect t="47335" r="36214"/>
            <a:stretch/>
          </p:blipFill>
          <p:spPr>
            <a:xfrm>
              <a:off x="7471011" y="-1"/>
              <a:ext cx="1672989" cy="1588851"/>
            </a:xfrm>
            <a:prstGeom prst="rect">
              <a:avLst/>
            </a:prstGeom>
          </p:spPr>
        </p:pic>
      </p:grpSp>
      <p:sp>
        <p:nvSpPr>
          <p:cNvPr id="4" name="Text Placeholder 3"/>
          <p:cNvSpPr>
            <a:spLocks noGrp="1"/>
          </p:cNvSpPr>
          <p:nvPr>
            <p:ph type="body" sz="quarter" idx="14"/>
          </p:nvPr>
        </p:nvSpPr>
        <p:spPr>
          <a:xfrm>
            <a:off x="358775" y="868363"/>
            <a:ext cx="8104290" cy="3508375"/>
          </a:xfrm>
        </p:spPr>
        <p:txBody>
          <a:bodyPr/>
          <a:lstStyle>
            <a:lvl1pPr marL="265113" indent="-265113">
              <a:lnSpc>
                <a:spcPct val="100000"/>
              </a:lnSpc>
              <a:spcBef>
                <a:spcPts val="600"/>
              </a:spcBef>
              <a:buClr>
                <a:schemeClr val="accent1"/>
              </a:buClr>
              <a:buFont typeface="Arial" panose="020B0604020202020204" pitchFamily="34" charset="0"/>
              <a:buChar char="•"/>
              <a:defRPr/>
            </a:lvl1pPr>
            <a:lvl2pPr>
              <a:buClr>
                <a:schemeClr val="accent1"/>
              </a:buClr>
              <a:defRPr/>
            </a:lvl2pPr>
            <a:lvl3pPr marL="542925" indent="-265113">
              <a:lnSpc>
                <a:spcPct val="100000"/>
              </a:lnSpc>
              <a:spcBef>
                <a:spcPts val="600"/>
              </a:spcBef>
              <a:buFont typeface="Arial" panose="020B0604020202020204" pitchFamily="34" charset="0"/>
              <a:buChar char="•"/>
              <a:defRPr sz="1600"/>
            </a:lvl3pPr>
            <a:lvl4pPr>
              <a:lnSpc>
                <a:spcPct val="100000"/>
              </a:lnSpc>
              <a:spcBef>
                <a:spcPts val="600"/>
              </a:spcBef>
              <a:defRPr sz="1600"/>
            </a:lvl4pPr>
            <a:lvl5pPr>
              <a:lnSpc>
                <a:spcPct val="100000"/>
              </a:lnSpc>
              <a:spcBef>
                <a:spcPts val="600"/>
              </a:spcBef>
              <a:defRPr sz="1600"/>
            </a:lvl5pPr>
            <a:lvl6pPr>
              <a:lnSpc>
                <a:spcPct val="100000"/>
              </a:lnSpc>
              <a:spcBef>
                <a:spcPts val="600"/>
              </a:spcBef>
              <a:defRPr sz="1600">
                <a:solidFill>
                  <a:schemeClr val="accent1"/>
                </a:solidFill>
              </a:defRPr>
            </a:lvl6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pic>
        <p:nvPicPr>
          <p:cNvPr id="17" name="Picture 16"/>
          <p:cNvPicPr>
            <a:picLocks noChangeAspect="1"/>
          </p:cNvPicPr>
          <p:nvPr userDrawn="1"/>
        </p:nvPicPr>
        <p:blipFill>
          <a:blip r:embed="rId5"/>
          <a:stretch>
            <a:fillRect/>
          </a:stretch>
        </p:blipFill>
        <p:spPr>
          <a:xfrm>
            <a:off x="203484" y="4623439"/>
            <a:ext cx="946867" cy="412808"/>
          </a:xfrm>
          <a:prstGeom prst="rect">
            <a:avLst/>
          </a:prstGeom>
        </p:spPr>
      </p:pic>
    </p:spTree>
    <p:extLst>
      <p:ext uri="{BB962C8B-B14F-4D97-AF65-F5344CB8AC3E}">
        <p14:creationId xmlns:p14="http://schemas.microsoft.com/office/powerpoint/2010/main" val="3223701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
        <p:nvSpPr>
          <p:cNvPr id="3" name="Datumsplatzhalter 2"/>
          <p:cNvSpPr>
            <a:spLocks noGrp="1"/>
          </p:cNvSpPr>
          <p:nvPr>
            <p:ph type="dt" sz="half" idx="10"/>
          </p:nvPr>
        </p:nvSpPr>
        <p:spPr/>
        <p:txBody>
          <a:bodyPr/>
          <a:lstStyle/>
          <a:p>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47161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sp>
        <p:nvSpPr>
          <p:cNvPr id="4" name="Datumsplatzhalter 3"/>
          <p:cNvSpPr>
            <a:spLocks noGrp="1"/>
          </p:cNvSpPr>
          <p:nvPr>
            <p:ph type="dt" sz="half" idx="10"/>
          </p:nvPr>
        </p:nvSpPr>
        <p:spPr/>
        <p:txBody>
          <a:bodyPr/>
          <a:lstStyle/>
          <a:p>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5967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92633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p>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9519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75" y="1200151"/>
            <a:ext cx="5616001" cy="3394472"/>
          </a:xfrm>
        </p:spPr>
        <p:txBody>
          <a:bodyPr/>
          <a:lstStyle>
            <a:lvl1pPr marL="0" indent="0">
              <a:spcBef>
                <a:spcPts val="600"/>
              </a:spcBef>
              <a:buNone/>
              <a:defRPr/>
            </a:lvl1pPr>
            <a:lvl2pPr marL="182563" indent="-182563">
              <a:spcBef>
                <a:spcPts val="600"/>
              </a:spcBef>
              <a:buFont typeface="BISans" panose="02000503040000020004" pitchFamily="2" charset="0"/>
              <a:buChar char="•"/>
              <a:defRPr/>
            </a:lvl2pPr>
            <a:lvl3pPr marL="358775" indent="-176213">
              <a:buFont typeface="Arial" panose="020B0604020202020204" pitchFamily="34" charset="0"/>
              <a:buChar char="–"/>
              <a:defRPr/>
            </a:lvl3pPr>
          </a:lstStyle>
          <a:p>
            <a:pPr lvl="0"/>
            <a:r>
              <a:rPr lang="de-DE" noProof="0"/>
              <a:t>Textmasterformat bearbeiten</a:t>
            </a:r>
          </a:p>
          <a:p>
            <a:pPr lvl="1"/>
            <a:r>
              <a:rPr lang="de-DE" noProof="0"/>
              <a:t>Zweite Ebene</a:t>
            </a:r>
          </a:p>
          <a:p>
            <a:pPr lvl="2"/>
            <a:r>
              <a:rPr lang="de-DE" noProof="0"/>
              <a:t>Dritte Ebene</a:t>
            </a:r>
          </a:p>
        </p:txBody>
      </p:sp>
      <p:sp>
        <p:nvSpPr>
          <p:cNvPr id="4" name="Datumsplatzhalter 3"/>
          <p:cNvSpPr>
            <a:spLocks noGrp="1"/>
          </p:cNvSpPr>
          <p:nvPr>
            <p:ph type="dt" sz="half" idx="12"/>
          </p:nvPr>
        </p:nvSpPr>
        <p:spPr/>
        <p:txBody>
          <a:bodyPr/>
          <a:lstStyle/>
          <a:p>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Tree>
    <p:extLst>
      <p:ext uri="{BB962C8B-B14F-4D97-AF65-F5344CB8AC3E}">
        <p14:creationId xmlns:p14="http://schemas.microsoft.com/office/powerpoint/2010/main" val="171991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77" y="1200152"/>
            <a:ext cx="2934425" cy="2782569"/>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2"/>
          </p:nvPr>
        </p:nvSpPr>
        <p:spPr/>
        <p:txBody>
          <a:bodyPr/>
          <a:lstStyle/>
          <a:p>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de-DE" noProof="0"/>
              <a:t>Titelmasterformat durch Klicken bearbeiten</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443" y="4934219"/>
            <a:ext cx="630270" cy="142883"/>
          </a:xfrm>
          <a:prstGeom prst="rect">
            <a:avLst/>
          </a:prstGeom>
        </p:spPr>
      </p:pic>
    </p:spTree>
    <p:extLst>
      <p:ext uri="{BB962C8B-B14F-4D97-AF65-F5344CB8AC3E}">
        <p14:creationId xmlns:p14="http://schemas.microsoft.com/office/powerpoint/2010/main" val="414151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a:solidFill>
                  <a:prstClr val="white">
                    <a:lumMod val="50000"/>
                  </a:prstClr>
                </a:solidFill>
              </a:rPr>
              <a:t>#ConV2X 2018</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3515859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355"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91" y="1589"/>
                        <a:ext cx="1587" cy="1587"/>
                      </a:xfrm>
                      <a:prstGeom prst="rect">
                        <a:avLst/>
                      </a:prstGeom>
                    </p:spPr>
                  </p:pic>
                </p:oleObj>
              </mc:Fallback>
            </mc:AlternateContent>
          </a:graphicData>
        </a:graphic>
      </p:graphicFrame>
      <p:sp>
        <p:nvSpPr>
          <p:cNvPr id="12" name="Rechteck 11"/>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24" name="Gerade Verbindung 23"/>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7" y="1991163"/>
            <a:ext cx="5884369" cy="1477328"/>
          </a:xfrm>
        </p:spPr>
        <p:txBody>
          <a:bodyPr wrap="square" lIns="0">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7" y="357275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0" name="Gerade Verbindung 9"/>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467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 page_02">
    <p:spTree>
      <p:nvGrpSpPr>
        <p:cNvPr id="1" name=""/>
        <p:cNvGrpSpPr/>
        <p:nvPr/>
      </p:nvGrpSpPr>
      <p:grpSpPr>
        <a:xfrm>
          <a:off x="0" y="0"/>
          <a:ext cx="0" cy="0"/>
          <a:chOff x="0" y="0"/>
          <a:chExt cx="0" cy="0"/>
        </a:xfrm>
      </p:grpSpPr>
      <p:sp>
        <p:nvSpPr>
          <p:cNvPr id="13" name="Rechteck 12"/>
          <p:cNvSpPr/>
          <p:nvPr/>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dirty="0">
              <a:solidFill>
                <a:prstClr val="black"/>
              </a:solidFill>
            </a:endParaRPr>
          </a:p>
        </p:txBody>
      </p:sp>
      <p:pic>
        <p:nvPicPr>
          <p:cNvPr id="1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231" t="19013" b="13976"/>
          <a:stretch/>
        </p:blipFill>
        <p:spPr bwMode="auto">
          <a:xfrm>
            <a:off x="0" y="0"/>
            <a:ext cx="642979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24" name="Gerade Verbindung 23"/>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5" y="1991163"/>
            <a:ext cx="5374856" cy="1477328"/>
          </a:xfrm>
        </p:spPr>
        <p:txBody>
          <a:bodyPr wrap="square">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5" y="357275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1" name="Gerade Verbindung 10"/>
          <p:cNvCxnSpPr/>
          <p:nvPr/>
        </p:nvCxnSpPr>
        <p:spPr>
          <a:xfrm>
            <a:off x="4"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lvl1pPr marL="0" indent="0" algn="ctr">
              <a:buNone/>
              <a:defRPr lang="de-DE" sz="3000" dirty="0">
                <a:solidFill>
                  <a:schemeClr val="bg1"/>
                </a:solidFill>
                <a:latin typeface="+mj-lt"/>
              </a:defRPr>
            </a:lvl1pPr>
          </a:lstStyle>
          <a:p>
            <a:pPr marL="0" lvl="0" algn="ctr"/>
            <a:r>
              <a:rPr lang="en-GB" noProof="0" dirty="0"/>
              <a:t>Add. info [font size variable]</a:t>
            </a:r>
          </a:p>
        </p:txBody>
      </p:sp>
    </p:spTree>
    <p:extLst>
      <p:ext uri="{BB962C8B-B14F-4D97-AF65-F5344CB8AC3E}">
        <p14:creationId xmlns:p14="http://schemas.microsoft.com/office/powerpoint/2010/main" val="2339117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hapter title_01">
    <p:spTree>
      <p:nvGrpSpPr>
        <p:cNvPr id="1" name=""/>
        <p:cNvGrpSpPr/>
        <p:nvPr/>
      </p:nvGrpSpPr>
      <p:grpSpPr>
        <a:xfrm>
          <a:off x="0" y="0"/>
          <a:ext cx="0" cy="0"/>
          <a:chOff x="0" y="0"/>
          <a:chExt cx="0" cy="0"/>
        </a:xfrm>
      </p:grpSpPr>
      <p:sp>
        <p:nvSpPr>
          <p:cNvPr id="13" name="Rechteck 12"/>
          <p:cNvSpPr/>
          <p:nvPr/>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19698"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Textmasterformat bearbeiten</a:t>
            </a:r>
          </a:p>
        </p:txBody>
      </p:sp>
      <p:sp>
        <p:nvSpPr>
          <p:cNvPr id="20" name="Textplatzhalter 18"/>
          <p:cNvSpPr>
            <a:spLocks noGrp="1"/>
          </p:cNvSpPr>
          <p:nvPr>
            <p:ph type="body" sz="quarter" idx="12"/>
          </p:nvPr>
        </p:nvSpPr>
        <p:spPr>
          <a:xfrm>
            <a:off x="351829" y="2788611"/>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Textmasterformat bearbeiten</a:t>
            </a:r>
          </a:p>
        </p:txBody>
      </p:sp>
      <p:cxnSp>
        <p:nvCxnSpPr>
          <p:cNvPr id="10" name="Gerade Verbindung 9"/>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987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10.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image" Target="../media/image23.png"/><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image" Target="../media/image23.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slideLayout" Target="../slideLayouts/slideLayout78.xml"/><Relationship Id="rId7" Type="http://schemas.openxmlformats.org/officeDocument/2006/relationships/oleObject" Target="../embeddings/oleObject1.bin"/><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4.xml"/><Relationship Id="rId9" Type="http://schemas.openxmlformats.org/officeDocument/2006/relationships/image" Target="../media/image29.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image" Target="../media/image23.pn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theme" Target="../theme/theme5.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image" Target="../media/image33.png"/><Relationship Id="rId3" Type="http://schemas.openxmlformats.org/officeDocument/2006/relationships/slideLayout" Target="../slideLayouts/slideLayout99.xml"/><Relationship Id="rId21" Type="http://schemas.openxmlformats.org/officeDocument/2006/relationships/theme" Target="../theme/theme6.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image" Target="../media/image34.emf"/><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oleObject" Target="../embeddings/oleObject2.bin"/><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tags" Target="../tags/tag2.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vmlDrawing" Target="../drawings/vmlDrawing2.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image" Target="../media/image38.emf"/><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image" Target="../media/image37.png"/><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theme" Target="../theme/theme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image" Target="../media/image23.png"/><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8.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5" Type="http://schemas.openxmlformats.org/officeDocument/2006/relationships/slideLayout" Target="../slideLayouts/slideLayout155.xml"/><Relationship Id="rId4" Type="http://schemas.openxmlformats.org/officeDocument/2006/relationships/slideLayout" Target="../slideLayouts/slideLayout154.xml"/><Relationship Id="rId9" Type="http://schemas.openxmlformats.org/officeDocument/2006/relationships/image" Target="../media/image4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65" name="Rectangle 41"/>
          <p:cNvSpPr>
            <a:spLocks noGrp="1" noChangeArrowheads="1"/>
          </p:cNvSpPr>
          <p:nvPr>
            <p:ph type="body" idx="1"/>
          </p:nvPr>
        </p:nvSpPr>
        <p:spPr bwMode="auto">
          <a:xfrm>
            <a:off x="358777" y="852724"/>
            <a:ext cx="8434388"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noProof="0" dirty="0"/>
              <a:t>Click to add text</a:t>
            </a:r>
          </a:p>
          <a:p>
            <a:pPr lvl="1"/>
            <a:r>
              <a:rPr lang="de-DE" noProof="0" dirty="0"/>
              <a:t>Second level</a:t>
            </a:r>
          </a:p>
          <a:p>
            <a:pPr lvl="2"/>
            <a:r>
              <a:rPr lang="de-DE" noProof="0" dirty="0"/>
              <a:t>Third level</a:t>
            </a:r>
          </a:p>
          <a:p>
            <a:pPr lvl="3"/>
            <a:r>
              <a:rPr lang="de-DE" noProof="0" dirty="0"/>
              <a:t>Fourth level</a:t>
            </a:r>
          </a:p>
          <a:p>
            <a:pPr lvl="4"/>
            <a:r>
              <a:rPr lang="de-DE" noProof="0" dirty="0"/>
              <a:t>Fifth level</a:t>
            </a:r>
            <a:endParaRPr lang="en-GB" noProof="0" dirty="0"/>
          </a:p>
        </p:txBody>
      </p:sp>
      <p:sp>
        <p:nvSpPr>
          <p:cNvPr id="1066" name="Rectangle 42"/>
          <p:cNvSpPr>
            <a:spLocks noGrp="1" noChangeArrowheads="1"/>
          </p:cNvSpPr>
          <p:nvPr>
            <p:ph type="title"/>
          </p:nvPr>
        </p:nvSpPr>
        <p:spPr bwMode="white">
          <a:xfrm>
            <a:off x="358775" y="84908"/>
            <a:ext cx="8445591" cy="502919"/>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de-DE" noProof="0" dirty="0"/>
              <a:t>Click to add title</a:t>
            </a:r>
            <a:endParaRPr lang="en-GB" noProof="0" dirty="0"/>
          </a:p>
        </p:txBody>
      </p:sp>
      <p:pic>
        <p:nvPicPr>
          <p:cNvPr id="9" name="Picture 8"/>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247360" y="4803848"/>
            <a:ext cx="709049" cy="216127"/>
          </a:xfrm>
          <a:prstGeom prst="rect">
            <a:avLst/>
          </a:prstGeom>
        </p:spPr>
      </p:pic>
    </p:spTree>
    <p:extLst>
      <p:ext uri="{BB962C8B-B14F-4D97-AF65-F5344CB8AC3E}">
        <p14:creationId xmlns:p14="http://schemas.microsoft.com/office/powerpoint/2010/main" val="2283592672"/>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 id="2147483675" r:id="rId22"/>
    <p:sldLayoutId id="2147483677" r:id="rId23"/>
    <p:sldLayoutId id="2147483678" r:id="rId24"/>
    <p:sldLayoutId id="2147483679"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rtl="0" eaLnBrk="1" fontAlgn="base" hangingPunct="1">
        <a:lnSpc>
          <a:spcPct val="100000"/>
        </a:lnSpc>
        <a:spcBef>
          <a:spcPts val="600"/>
        </a:spcBef>
        <a:spcAft>
          <a:spcPct val="0"/>
        </a:spcAft>
        <a:defRPr sz="2400" b="1" baseline="0">
          <a:solidFill>
            <a:schemeClr val="accent1"/>
          </a:solidFill>
          <a:latin typeface="+mj-lt"/>
          <a:ea typeface="+mj-ea"/>
          <a:cs typeface="+mj-cs"/>
        </a:defRPr>
      </a:lvl1pPr>
      <a:lvl2pPr algn="l" rtl="0" eaLnBrk="1" fontAlgn="base" hangingPunct="1">
        <a:spcBef>
          <a:spcPct val="0"/>
        </a:spcBef>
        <a:spcAft>
          <a:spcPct val="0"/>
        </a:spcAft>
        <a:defRPr sz="2400">
          <a:solidFill>
            <a:schemeClr val="tx2"/>
          </a:solidFill>
          <a:latin typeface="BISansCond" pitchFamily="50" charset="0"/>
        </a:defRPr>
      </a:lvl2pPr>
      <a:lvl3pPr algn="l" rtl="0" eaLnBrk="1" fontAlgn="base" hangingPunct="1">
        <a:spcBef>
          <a:spcPct val="0"/>
        </a:spcBef>
        <a:spcAft>
          <a:spcPct val="0"/>
        </a:spcAft>
        <a:defRPr sz="2400">
          <a:solidFill>
            <a:schemeClr val="tx2"/>
          </a:solidFill>
          <a:latin typeface="BISansCond" pitchFamily="50" charset="0"/>
        </a:defRPr>
      </a:lvl3pPr>
      <a:lvl4pPr algn="l" rtl="0" eaLnBrk="1" fontAlgn="base" hangingPunct="1">
        <a:spcBef>
          <a:spcPct val="0"/>
        </a:spcBef>
        <a:spcAft>
          <a:spcPct val="0"/>
        </a:spcAft>
        <a:defRPr sz="2400">
          <a:solidFill>
            <a:schemeClr val="tx2"/>
          </a:solidFill>
          <a:latin typeface="BISansCond" pitchFamily="50" charset="0"/>
        </a:defRPr>
      </a:lvl4pPr>
      <a:lvl5pPr algn="l" rtl="0" eaLnBrk="1" fontAlgn="base" hangingPunct="1">
        <a:spcBef>
          <a:spcPct val="0"/>
        </a:spcBef>
        <a:spcAft>
          <a:spcPct val="0"/>
        </a:spcAft>
        <a:defRPr sz="2400">
          <a:solidFill>
            <a:schemeClr val="tx2"/>
          </a:solidFill>
          <a:latin typeface="BISansCond" pitchFamily="50" charset="0"/>
        </a:defRPr>
      </a:lvl5pPr>
      <a:lvl6pPr marL="457200" algn="l" rtl="0" eaLnBrk="1" fontAlgn="base" hangingPunct="1">
        <a:spcBef>
          <a:spcPct val="0"/>
        </a:spcBef>
        <a:spcAft>
          <a:spcPct val="0"/>
        </a:spcAft>
        <a:defRPr sz="2400">
          <a:solidFill>
            <a:schemeClr val="tx2"/>
          </a:solidFill>
          <a:latin typeface="BISansCond" pitchFamily="50" charset="0"/>
        </a:defRPr>
      </a:lvl6pPr>
      <a:lvl7pPr marL="914400" algn="l" rtl="0" eaLnBrk="1" fontAlgn="base" hangingPunct="1">
        <a:spcBef>
          <a:spcPct val="0"/>
        </a:spcBef>
        <a:spcAft>
          <a:spcPct val="0"/>
        </a:spcAft>
        <a:defRPr sz="2400">
          <a:solidFill>
            <a:schemeClr val="tx2"/>
          </a:solidFill>
          <a:latin typeface="BISansCond" pitchFamily="50" charset="0"/>
        </a:defRPr>
      </a:lvl7pPr>
      <a:lvl8pPr marL="1371600" algn="l" rtl="0" eaLnBrk="1" fontAlgn="base" hangingPunct="1">
        <a:spcBef>
          <a:spcPct val="0"/>
        </a:spcBef>
        <a:spcAft>
          <a:spcPct val="0"/>
        </a:spcAft>
        <a:defRPr sz="2400">
          <a:solidFill>
            <a:schemeClr val="tx2"/>
          </a:solidFill>
          <a:latin typeface="BISansCond" pitchFamily="50" charset="0"/>
        </a:defRPr>
      </a:lvl8pPr>
      <a:lvl9pPr marL="1828800" algn="l" rtl="0" eaLnBrk="1" fontAlgn="base" hangingPunct="1">
        <a:spcBef>
          <a:spcPct val="0"/>
        </a:spcBef>
        <a:spcAft>
          <a:spcPct val="0"/>
        </a:spcAft>
        <a:defRPr sz="2400">
          <a:solidFill>
            <a:schemeClr val="tx2"/>
          </a:solidFill>
          <a:latin typeface="BISansCond" pitchFamily="50" charset="0"/>
        </a:defRPr>
      </a:lvl9pPr>
    </p:titleStyle>
    <p:bodyStyle>
      <a:lvl1pPr marL="0" marR="0" indent="0" algn="l" defTabSz="8610600" rtl="0" eaLnBrk="1" fontAlgn="base" latinLnBrk="0" hangingPunct="1">
        <a:lnSpc>
          <a:spcPct val="100000"/>
        </a:lnSpc>
        <a:spcBef>
          <a:spcPts val="600"/>
        </a:spcBef>
        <a:spcAft>
          <a:spcPct val="0"/>
        </a:spcAft>
        <a:buClr>
          <a:schemeClr val="folHlink"/>
        </a:buClr>
        <a:buSzTx/>
        <a:buFont typeface="Wingdings" pitchFamily="2" charset="2"/>
        <a:buNone/>
        <a:tabLst/>
        <a:defRPr sz="1800" baseline="0">
          <a:solidFill>
            <a:schemeClr val="accent1"/>
          </a:solidFill>
          <a:latin typeface="+mn-lt"/>
          <a:ea typeface="+mn-ea"/>
          <a:cs typeface="+mn-cs"/>
        </a:defRPr>
      </a:lvl1pPr>
      <a:lvl2pPr marL="276225" indent="-274638" algn="l" defTabSz="8610600" rtl="0" eaLnBrk="1" fontAlgn="base" hangingPunct="1">
        <a:lnSpc>
          <a:spcPct val="100000"/>
        </a:lnSpc>
        <a:spcBef>
          <a:spcPts val="600"/>
        </a:spcBef>
        <a:spcAft>
          <a:spcPct val="0"/>
        </a:spcAft>
        <a:buClrTx/>
        <a:buChar char="•"/>
        <a:defRPr sz="1800">
          <a:solidFill>
            <a:schemeClr val="accent1"/>
          </a:solidFill>
          <a:latin typeface="+mn-lt"/>
        </a:defRPr>
      </a:lvl2pPr>
      <a:lvl3pPr marL="542925" indent="-265113" algn="l" defTabSz="8610600" rtl="0" eaLnBrk="1" fontAlgn="base" hangingPunct="1">
        <a:lnSpc>
          <a:spcPct val="100000"/>
        </a:lnSpc>
        <a:spcBef>
          <a:spcPts val="600"/>
        </a:spcBef>
        <a:spcAft>
          <a:spcPct val="0"/>
        </a:spcAft>
        <a:buClrTx/>
        <a:buFont typeface="BISansCond" pitchFamily="2" charset="0"/>
        <a:buChar char="–"/>
        <a:defRPr sz="1800">
          <a:solidFill>
            <a:schemeClr val="accent1"/>
          </a:solidFill>
          <a:latin typeface="+mn-lt"/>
        </a:defRPr>
      </a:lvl3pPr>
      <a:lvl4pPr marL="819150" indent="-274638" algn="l" defTabSz="8610600" rtl="0" eaLnBrk="1" fontAlgn="base" hangingPunct="1">
        <a:lnSpc>
          <a:spcPct val="100000"/>
        </a:lnSpc>
        <a:spcBef>
          <a:spcPts val="600"/>
        </a:spcBef>
        <a:spcAft>
          <a:spcPct val="0"/>
        </a:spcAft>
        <a:buFont typeface="BISansCond" pitchFamily="2" charset="0"/>
        <a:buChar char="–"/>
        <a:defRPr sz="1800">
          <a:solidFill>
            <a:schemeClr val="accent1"/>
          </a:solidFill>
          <a:latin typeface="+mn-lt"/>
        </a:defRPr>
      </a:lvl4pPr>
      <a:lvl5pPr marL="1085850" indent="-265113" algn="l" defTabSz="8610600" rtl="0" eaLnBrk="1" fontAlgn="base" hangingPunct="1">
        <a:lnSpc>
          <a:spcPct val="100000"/>
        </a:lnSpc>
        <a:spcBef>
          <a:spcPts val="600"/>
        </a:spcBef>
        <a:spcAft>
          <a:spcPct val="0"/>
        </a:spcAft>
        <a:buFont typeface="BISansCond" pitchFamily="2" charset="0"/>
        <a:buChar char="–"/>
        <a:defRPr sz="1800">
          <a:solidFill>
            <a:schemeClr val="accent1"/>
          </a:solidFill>
          <a:latin typeface="+mn-lt"/>
        </a:defRPr>
      </a:lvl5pPr>
      <a:lvl6pPr marL="15430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6pPr>
      <a:lvl7pPr marL="20002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7pPr>
      <a:lvl8pPr marL="24574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8pPr>
      <a:lvl9pPr marL="29146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flip="none" rotWithShape="1">
          <a:gsLst>
            <a:gs pos="48000">
              <a:schemeClr val="bg1"/>
            </a:gs>
            <a:gs pos="28000">
              <a:schemeClr val="bg1"/>
            </a:gs>
            <a:gs pos="10000">
              <a:schemeClr val="bg1">
                <a:lumMod val="95000"/>
              </a:schemeClr>
            </a:gs>
            <a:gs pos="100000">
              <a:schemeClr val="bg1">
                <a:lumMod val="85000"/>
              </a:schemeClr>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449" y="205978"/>
            <a:ext cx="7317105" cy="994172"/>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913449" y="1371600"/>
            <a:ext cx="7317105" cy="32575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3"/>
          </p:nvPr>
        </p:nvSpPr>
        <p:spPr>
          <a:xfrm>
            <a:off x="906863" y="4836321"/>
            <a:ext cx="4979929" cy="135730"/>
          </a:xfrm>
          <a:prstGeom prst="rect">
            <a:avLst/>
          </a:prstGeom>
        </p:spPr>
        <p:txBody>
          <a:bodyPr vert="horz" lIns="91440" tIns="45720" rIns="91440" bIns="45720" rtlCol="0" anchor="ctr"/>
          <a:lstStyle>
            <a:lvl1pPr algn="l">
              <a:defRPr sz="619" cap="all" baseline="0">
                <a:solidFill>
                  <a:schemeClr val="tx1"/>
                </a:solidFill>
              </a:defRPr>
            </a:lvl1pPr>
          </a:lstStyle>
          <a:p>
            <a:pPr defTabSz="308049" hangingPunct="0"/>
            <a:r>
              <a:rPr lang="en-US" b="1" kern="0">
                <a:solidFill>
                  <a:srgbClr val="545454"/>
                </a:solidFill>
                <a:latin typeface="Helvetica Neue"/>
                <a:sym typeface="Helvetica Neue"/>
              </a:rPr>
              <a:t>Add a footer</a:t>
            </a:r>
            <a:endParaRPr lang="en-US" b="1" kern="0" dirty="0">
              <a:solidFill>
                <a:srgbClr val="545454"/>
              </a:solidFill>
              <a:latin typeface="Helvetica Neue"/>
              <a:sym typeface="Helvetica Neue"/>
            </a:endParaRPr>
          </a:p>
        </p:txBody>
      </p:sp>
      <p:sp>
        <p:nvSpPr>
          <p:cNvPr id="4" name="Date Placeholder 3"/>
          <p:cNvSpPr>
            <a:spLocks noGrp="1"/>
          </p:cNvSpPr>
          <p:nvPr>
            <p:ph type="dt" sz="half" idx="2"/>
          </p:nvPr>
        </p:nvSpPr>
        <p:spPr>
          <a:xfrm>
            <a:off x="6115453" y="4836321"/>
            <a:ext cx="1047467" cy="135730"/>
          </a:xfrm>
          <a:prstGeom prst="rect">
            <a:avLst/>
          </a:prstGeom>
        </p:spPr>
        <p:txBody>
          <a:bodyPr vert="horz" lIns="91440" tIns="45720" rIns="91440" bIns="45720" rtlCol="0" anchor="ctr"/>
          <a:lstStyle>
            <a:lvl1pPr algn="r">
              <a:defRPr sz="619">
                <a:solidFill>
                  <a:schemeClr val="tx1"/>
                </a:solidFill>
              </a:defRPr>
            </a:lvl1pPr>
          </a:lstStyle>
          <a:p>
            <a:pPr defTabSz="308049" hangingPunct="0"/>
            <a:fld id="{EDF33987-6305-4E2A-BF18-EF013ECE927B}" type="datetimeFigureOut">
              <a:rPr lang="en-US" b="1" kern="0" smtClean="0">
                <a:solidFill>
                  <a:srgbClr val="545454"/>
                </a:solidFill>
                <a:latin typeface="Helvetica Neue"/>
                <a:sym typeface="Helvetica Neue"/>
              </a:rPr>
              <a:pPr defTabSz="308049" hangingPunct="0"/>
              <a:t>10/24/18</a:t>
            </a:fld>
            <a:endParaRPr lang="en-US" b="1" kern="0" dirty="0">
              <a:solidFill>
                <a:srgbClr val="545454"/>
              </a:solidFill>
              <a:latin typeface="Helvetica Neue"/>
              <a:sym typeface="Helvetica Neue"/>
            </a:endParaRPr>
          </a:p>
        </p:txBody>
      </p:sp>
      <p:sp>
        <p:nvSpPr>
          <p:cNvPr id="6" name="Slide Number Placeholder 5"/>
          <p:cNvSpPr>
            <a:spLocks noGrp="1"/>
          </p:cNvSpPr>
          <p:nvPr>
            <p:ph type="sldNum" sz="quarter" idx="4"/>
          </p:nvPr>
        </p:nvSpPr>
        <p:spPr>
          <a:xfrm>
            <a:off x="7373080" y="4836321"/>
            <a:ext cx="857474" cy="135730"/>
          </a:xfrm>
          <a:prstGeom prst="rect">
            <a:avLst/>
          </a:prstGeom>
        </p:spPr>
        <p:txBody>
          <a:bodyPr vert="horz" lIns="91440" tIns="45720" rIns="91440" bIns="45720" rtlCol="0" anchor="ctr"/>
          <a:lstStyle>
            <a:lvl1pPr algn="r">
              <a:defRPr sz="619">
                <a:solidFill>
                  <a:schemeClr val="tx1"/>
                </a:solidFill>
              </a:defRPr>
            </a:lvl1pPr>
          </a:lstStyle>
          <a:p>
            <a:pPr defTabSz="308049" hangingPunct="0"/>
            <a:fld id="{F36C87F6-986D-49E6-AF40-1B3A1EE8064D}" type="slidenum">
              <a:rPr lang="en-US" b="1" kern="0" smtClean="0">
                <a:solidFill>
                  <a:srgbClr val="545454"/>
                </a:solidFill>
                <a:latin typeface="Helvetica Neue"/>
                <a:sym typeface="Helvetica Neue"/>
              </a:rPr>
              <a:pPr defTabSz="308049" hangingPunct="0"/>
              <a:t>‹#›</a:t>
            </a:fld>
            <a:endParaRPr lang="en-US" b="1" kern="0" dirty="0">
              <a:solidFill>
                <a:srgbClr val="545454"/>
              </a:solidFill>
              <a:latin typeface="Helvetica Neue"/>
              <a:sym typeface="Helvetica Neue"/>
            </a:endParaRPr>
          </a:p>
        </p:txBody>
      </p:sp>
    </p:spTree>
    <p:extLst>
      <p:ext uri="{BB962C8B-B14F-4D97-AF65-F5344CB8AC3E}">
        <p14:creationId xmlns:p14="http://schemas.microsoft.com/office/powerpoint/2010/main" val="3694966781"/>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514420" rtl="0" eaLnBrk="1" latinLnBrk="0" hangingPunct="1">
        <a:lnSpc>
          <a:spcPct val="90000"/>
        </a:lnSpc>
        <a:spcBef>
          <a:spcPct val="0"/>
        </a:spcBef>
        <a:buNone/>
        <a:defRPr sz="2251" kern="1200" cap="all" baseline="0">
          <a:solidFill>
            <a:schemeClr val="tx1">
              <a:lumMod val="50000"/>
            </a:schemeClr>
          </a:solidFill>
          <a:latin typeface="+mj-lt"/>
          <a:ea typeface="+mj-ea"/>
          <a:cs typeface="+mj-cs"/>
        </a:defRPr>
      </a:lvl1pPr>
    </p:titleStyle>
    <p:bodyStyle>
      <a:lvl1pPr marL="154326" indent="-128605" algn="l" defTabSz="514420" rtl="0" eaLnBrk="1" latinLnBrk="0" hangingPunct="1">
        <a:lnSpc>
          <a:spcPct val="90000"/>
        </a:lnSpc>
        <a:spcBef>
          <a:spcPts val="1012"/>
        </a:spcBef>
        <a:buClr>
          <a:schemeClr val="tx1"/>
        </a:buClr>
        <a:buSzPct val="80000"/>
        <a:buFont typeface="Arial" pitchFamily="34" charset="0"/>
        <a:buChar char="•"/>
        <a:defRPr sz="1350" kern="1200">
          <a:solidFill>
            <a:schemeClr val="tx1"/>
          </a:solidFill>
          <a:latin typeface="+mn-lt"/>
          <a:ea typeface="+mn-ea"/>
          <a:cs typeface="+mn-cs"/>
        </a:defRPr>
      </a:lvl1pPr>
      <a:lvl2pPr marL="282931" indent="-128605" algn="l" defTabSz="514420" rtl="0" eaLnBrk="1" latinLnBrk="0" hangingPunct="1">
        <a:lnSpc>
          <a:spcPct val="90000"/>
        </a:lnSpc>
        <a:spcBef>
          <a:spcPts val="337"/>
        </a:spcBef>
        <a:buClr>
          <a:schemeClr val="tx1"/>
        </a:buClr>
        <a:buSzPct val="80000"/>
        <a:buFont typeface="Arial" pitchFamily="34" charset="0"/>
        <a:buChar char="•"/>
        <a:defRPr sz="1125" kern="1200">
          <a:solidFill>
            <a:schemeClr val="tx1"/>
          </a:solidFill>
          <a:latin typeface="+mn-lt"/>
          <a:ea typeface="+mn-ea"/>
          <a:cs typeface="+mn-cs"/>
        </a:defRPr>
      </a:lvl2pPr>
      <a:lvl3pPr marL="411536" indent="-128605" algn="l" defTabSz="514420" rtl="0" eaLnBrk="1" latinLnBrk="0" hangingPunct="1">
        <a:lnSpc>
          <a:spcPct val="90000"/>
        </a:lnSpc>
        <a:spcBef>
          <a:spcPts val="337"/>
        </a:spcBef>
        <a:buClr>
          <a:schemeClr val="tx1"/>
        </a:buClr>
        <a:buSzPct val="80000"/>
        <a:buFont typeface="Arial" pitchFamily="34" charset="0"/>
        <a:buChar char="•"/>
        <a:defRPr sz="1012" kern="1200">
          <a:solidFill>
            <a:schemeClr val="tx1"/>
          </a:solidFill>
          <a:latin typeface="+mn-lt"/>
          <a:ea typeface="+mn-ea"/>
          <a:cs typeface="+mn-cs"/>
        </a:defRPr>
      </a:lvl3pPr>
      <a:lvl4pPr marL="540141" indent="-128605" algn="l" defTabSz="514420" rtl="0" eaLnBrk="1" latinLnBrk="0" hangingPunct="1">
        <a:lnSpc>
          <a:spcPct val="90000"/>
        </a:lnSpc>
        <a:spcBef>
          <a:spcPts val="337"/>
        </a:spcBef>
        <a:buClr>
          <a:schemeClr val="tx1"/>
        </a:buClr>
        <a:buSzPct val="80000"/>
        <a:buFont typeface="Arial" pitchFamily="34" charset="0"/>
        <a:buChar char="•"/>
        <a:defRPr sz="900" kern="1200">
          <a:solidFill>
            <a:schemeClr val="tx1"/>
          </a:solidFill>
          <a:latin typeface="+mn-lt"/>
          <a:ea typeface="+mn-ea"/>
          <a:cs typeface="+mn-cs"/>
        </a:defRPr>
      </a:lvl4pPr>
      <a:lvl5pPr marL="668746" indent="-128605" algn="l" defTabSz="514420" rtl="0" eaLnBrk="1" latinLnBrk="0" hangingPunct="1">
        <a:lnSpc>
          <a:spcPct val="90000"/>
        </a:lnSpc>
        <a:spcBef>
          <a:spcPts val="337"/>
        </a:spcBef>
        <a:buClr>
          <a:schemeClr val="tx1"/>
        </a:buClr>
        <a:buSzPct val="80000"/>
        <a:buFont typeface="Arial" pitchFamily="34" charset="0"/>
        <a:buChar char="•"/>
        <a:defRPr sz="900" kern="1200">
          <a:solidFill>
            <a:schemeClr val="tx1"/>
          </a:solidFill>
          <a:latin typeface="+mn-lt"/>
          <a:ea typeface="+mn-ea"/>
          <a:cs typeface="+mn-cs"/>
        </a:defRPr>
      </a:lvl5pPr>
      <a:lvl6pPr marL="797351" indent="-128605" algn="l" defTabSz="514420" rtl="0" eaLnBrk="1" latinLnBrk="0" hangingPunct="1">
        <a:spcBef>
          <a:spcPts val="337"/>
        </a:spcBef>
        <a:buSzPct val="80000"/>
        <a:buFont typeface="Arial" pitchFamily="34" charset="0"/>
        <a:buChar char="•"/>
        <a:defRPr sz="900" kern="1200">
          <a:solidFill>
            <a:schemeClr val="tx1"/>
          </a:solidFill>
          <a:latin typeface="+mn-lt"/>
          <a:ea typeface="+mn-ea"/>
          <a:cs typeface="+mn-cs"/>
        </a:defRPr>
      </a:lvl6pPr>
      <a:lvl7pPr marL="925956" indent="-128605" algn="l" defTabSz="514420" rtl="0" eaLnBrk="1" latinLnBrk="0" hangingPunct="1">
        <a:spcBef>
          <a:spcPts val="337"/>
        </a:spcBef>
        <a:buSzPct val="80000"/>
        <a:buFont typeface="Arial" pitchFamily="34" charset="0"/>
        <a:buChar char="•"/>
        <a:defRPr sz="900" kern="1200">
          <a:solidFill>
            <a:schemeClr val="tx1"/>
          </a:solidFill>
          <a:latin typeface="+mn-lt"/>
          <a:ea typeface="+mn-ea"/>
          <a:cs typeface="+mn-cs"/>
        </a:defRPr>
      </a:lvl7pPr>
      <a:lvl8pPr marL="1054560" indent="-128605" algn="l" defTabSz="514420" rtl="0" eaLnBrk="1" latinLnBrk="0" hangingPunct="1">
        <a:spcBef>
          <a:spcPts val="337"/>
        </a:spcBef>
        <a:buSzPct val="80000"/>
        <a:buFont typeface="Arial" pitchFamily="34" charset="0"/>
        <a:buChar char="•"/>
        <a:defRPr sz="900" kern="1200">
          <a:solidFill>
            <a:schemeClr val="tx1"/>
          </a:solidFill>
          <a:latin typeface="+mn-lt"/>
          <a:ea typeface="+mn-ea"/>
          <a:cs typeface="+mn-cs"/>
        </a:defRPr>
      </a:lvl8pPr>
      <a:lvl9pPr marL="1183166" indent="-128605" algn="l" defTabSz="514420" rtl="0" eaLnBrk="1" latinLnBrk="0" hangingPunct="1">
        <a:spcBef>
          <a:spcPts val="337"/>
        </a:spcBef>
        <a:buSzPct val="80000"/>
        <a:buFont typeface="Arial" pitchFamily="34" charset="0"/>
        <a:buChar char="•"/>
        <a:defRPr sz="900" kern="1200" baseline="0">
          <a:solidFill>
            <a:schemeClr val="tx1"/>
          </a:solidFill>
          <a:latin typeface="+mn-lt"/>
          <a:ea typeface="+mn-ea"/>
          <a:cs typeface="+mn-cs"/>
        </a:defRPr>
      </a:lvl9pPr>
    </p:bodyStyle>
    <p:otherStyle>
      <a:defPPr>
        <a:defRPr/>
      </a:defPPr>
      <a:lvl1pPr marL="0" algn="l" defTabSz="514420" rtl="0" eaLnBrk="1" latinLnBrk="0" hangingPunct="1">
        <a:defRPr sz="1012" kern="1200">
          <a:solidFill>
            <a:schemeClr val="tx1"/>
          </a:solidFill>
          <a:latin typeface="+mn-lt"/>
          <a:ea typeface="+mn-ea"/>
          <a:cs typeface="+mn-cs"/>
        </a:defRPr>
      </a:lvl1pPr>
      <a:lvl2pPr marL="257210" algn="l" defTabSz="514420" rtl="0" eaLnBrk="1" latinLnBrk="0" hangingPunct="1">
        <a:defRPr sz="1012" kern="1200">
          <a:solidFill>
            <a:schemeClr val="tx1"/>
          </a:solidFill>
          <a:latin typeface="+mn-lt"/>
          <a:ea typeface="+mn-ea"/>
          <a:cs typeface="+mn-cs"/>
        </a:defRPr>
      </a:lvl2pPr>
      <a:lvl3pPr marL="514420" algn="l" defTabSz="514420" rtl="0" eaLnBrk="1" latinLnBrk="0" hangingPunct="1">
        <a:defRPr sz="1012" kern="1200">
          <a:solidFill>
            <a:schemeClr val="tx1"/>
          </a:solidFill>
          <a:latin typeface="+mn-lt"/>
          <a:ea typeface="+mn-ea"/>
          <a:cs typeface="+mn-cs"/>
        </a:defRPr>
      </a:lvl3pPr>
      <a:lvl4pPr marL="771630" algn="l" defTabSz="514420" rtl="0" eaLnBrk="1" latinLnBrk="0" hangingPunct="1">
        <a:defRPr sz="1012" kern="1200">
          <a:solidFill>
            <a:schemeClr val="tx1"/>
          </a:solidFill>
          <a:latin typeface="+mn-lt"/>
          <a:ea typeface="+mn-ea"/>
          <a:cs typeface="+mn-cs"/>
        </a:defRPr>
      </a:lvl4pPr>
      <a:lvl5pPr marL="1028840" algn="l" defTabSz="514420" rtl="0" eaLnBrk="1" latinLnBrk="0" hangingPunct="1">
        <a:defRPr sz="1012" kern="1200">
          <a:solidFill>
            <a:schemeClr val="tx1"/>
          </a:solidFill>
          <a:latin typeface="+mn-lt"/>
          <a:ea typeface="+mn-ea"/>
          <a:cs typeface="+mn-cs"/>
        </a:defRPr>
      </a:lvl5pPr>
      <a:lvl6pPr marL="1286049" algn="l" defTabSz="514420" rtl="0" eaLnBrk="1" latinLnBrk="0" hangingPunct="1">
        <a:defRPr sz="1012" kern="1200">
          <a:solidFill>
            <a:schemeClr val="tx1"/>
          </a:solidFill>
          <a:latin typeface="+mn-lt"/>
          <a:ea typeface="+mn-ea"/>
          <a:cs typeface="+mn-cs"/>
        </a:defRPr>
      </a:lvl6pPr>
      <a:lvl7pPr marL="1543259" algn="l" defTabSz="514420" rtl="0" eaLnBrk="1" latinLnBrk="0" hangingPunct="1">
        <a:defRPr sz="1012" kern="1200">
          <a:solidFill>
            <a:schemeClr val="tx1"/>
          </a:solidFill>
          <a:latin typeface="+mn-lt"/>
          <a:ea typeface="+mn-ea"/>
          <a:cs typeface="+mn-cs"/>
        </a:defRPr>
      </a:lvl7pPr>
      <a:lvl8pPr marL="1800470" algn="l" defTabSz="514420" rtl="0" eaLnBrk="1" latinLnBrk="0" hangingPunct="1">
        <a:defRPr sz="1012" kern="1200">
          <a:solidFill>
            <a:schemeClr val="tx1"/>
          </a:solidFill>
          <a:latin typeface="+mn-lt"/>
          <a:ea typeface="+mn-ea"/>
          <a:cs typeface="+mn-cs"/>
        </a:defRPr>
      </a:lvl8pPr>
      <a:lvl9pPr marL="2057679" algn="l" defTabSz="514420" rtl="0" eaLnBrk="1" latinLnBrk="0" hangingPunct="1">
        <a:defRPr sz="101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6" y="36709"/>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98176" y="4910708"/>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endParaRPr lang="en-GB" dirty="0"/>
          </a:p>
        </p:txBody>
      </p:sp>
      <p:sp>
        <p:nvSpPr>
          <p:cNvPr id="5" name="Fußzeilenplatzhalter 4"/>
          <p:cNvSpPr>
            <a:spLocks noGrp="1"/>
          </p:cNvSpPr>
          <p:nvPr>
            <p:ph type="ftr" sz="quarter" idx="3"/>
          </p:nvPr>
        </p:nvSpPr>
        <p:spPr>
          <a:xfrm>
            <a:off x="1351328"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a:t>#ConV2X 2018</a:t>
            </a:r>
            <a:endParaRPr lang="en-GB" dirty="0"/>
          </a:p>
        </p:txBody>
      </p:sp>
      <p:sp>
        <p:nvSpPr>
          <p:cNvPr id="6" name="Foliennummernplatzhalter 5"/>
          <p:cNvSpPr>
            <a:spLocks noGrp="1"/>
          </p:cNvSpPr>
          <p:nvPr>
            <p:ph type="sldNum" sz="quarter" idx="4"/>
          </p:nvPr>
        </p:nvSpPr>
        <p:spPr>
          <a:xfrm>
            <a:off x="8564829" y="4910708"/>
            <a:ext cx="21159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pPr/>
              <a:t>‹#›</a:t>
            </a:fld>
            <a:endParaRPr lang="en-GB" dirty="0"/>
          </a:p>
        </p:txBody>
      </p:sp>
      <p:grpSp>
        <p:nvGrpSpPr>
          <p:cNvPr id="17" name="Gruppieren 16"/>
          <p:cNvGrpSpPr/>
          <p:nvPr/>
        </p:nvGrpSpPr>
        <p:grpSpPr>
          <a:xfrm>
            <a:off x="182826" y="36709"/>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82199655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2400" kern="1200">
          <a:solidFill>
            <a:srgbClr val="003366"/>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8" y="36710"/>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de-DE" noProof="0" dirty="0"/>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de-DE" noProof="0" dirty="0"/>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98178" y="4910708"/>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endParaRPr lang="en-GB" dirty="0"/>
          </a:p>
        </p:txBody>
      </p:sp>
      <p:sp>
        <p:nvSpPr>
          <p:cNvPr id="5" name="Fußzeilenplatzhalter 4"/>
          <p:cNvSpPr>
            <a:spLocks noGrp="1"/>
          </p:cNvSpPr>
          <p:nvPr>
            <p:ph type="ftr" sz="quarter" idx="3"/>
          </p:nvPr>
        </p:nvSpPr>
        <p:spPr>
          <a:xfrm>
            <a:off x="1351328"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a:t>#ConV2X 2018</a:t>
            </a:r>
            <a:endParaRPr lang="en-GB" dirty="0"/>
          </a:p>
        </p:txBody>
      </p:sp>
      <p:sp>
        <p:nvSpPr>
          <p:cNvPr id="6" name="Foliennummernplatzhalter 5"/>
          <p:cNvSpPr>
            <a:spLocks noGrp="1"/>
          </p:cNvSpPr>
          <p:nvPr>
            <p:ph type="sldNum" sz="quarter" idx="4"/>
          </p:nvPr>
        </p:nvSpPr>
        <p:spPr>
          <a:xfrm>
            <a:off x="8564829" y="4910708"/>
            <a:ext cx="21159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pPr/>
              <a:t>‹#›</a:t>
            </a:fld>
            <a:endParaRPr lang="en-GB" dirty="0"/>
          </a:p>
        </p:txBody>
      </p:sp>
      <p:grpSp>
        <p:nvGrpSpPr>
          <p:cNvPr id="17" name="Gruppieren 16"/>
          <p:cNvGrpSpPr/>
          <p:nvPr/>
        </p:nvGrpSpPr>
        <p:grpSpPr>
          <a:xfrm>
            <a:off x="182828" y="36710"/>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46535256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2400" kern="1200">
          <a:solidFill>
            <a:srgbClr val="003366"/>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6"/>
            </p:custDataLst>
            <p:extLst/>
          </p:nvPr>
        </p:nvGraphicFramePr>
        <p:xfrm>
          <a:off x="1591" y="1194"/>
          <a:ext cx="1587" cy="1190"/>
        </p:xfrm>
        <a:graphic>
          <a:graphicData uri="http://schemas.openxmlformats.org/presentationml/2006/ole">
            <mc:AlternateContent xmlns:mc="http://schemas.openxmlformats.org/markup-compatibility/2006">
              <mc:Choice xmlns:v="urn:schemas-microsoft-com:vml" Requires="v">
                <p:oleObj spid="_x0000_s1307" name="think-cell Folie" r:id="rId7" imgW="270" imgH="270" progId="TCLayout.ActiveDocument.1">
                  <p:embed/>
                </p:oleObj>
              </mc:Choice>
              <mc:Fallback>
                <p:oleObj name="think-cell Folie" r:id="rId7" imgW="270" imgH="270" progId="TCLayout.ActiveDocument.1">
                  <p:embed/>
                  <p:pic>
                    <p:nvPicPr>
                      <p:cNvPr id="3" name="Objekt 2" hidden="1"/>
                      <p:cNvPicPr/>
                      <p:nvPr/>
                    </p:nvPicPr>
                    <p:blipFill>
                      <a:blip r:embed="rId8"/>
                      <a:stretch>
                        <a:fillRect/>
                      </a:stretch>
                    </p:blipFill>
                    <p:spPr>
                      <a:xfrm>
                        <a:off x="1591" y="1194"/>
                        <a:ext cx="1587" cy="1190"/>
                      </a:xfrm>
                      <a:prstGeom prst="rect">
                        <a:avLst/>
                      </a:prstGeom>
                    </p:spPr>
                  </p:pic>
                </p:oleObj>
              </mc:Fallback>
            </mc:AlternateContent>
          </a:graphicData>
        </a:graphic>
      </p:graphicFrame>
      <p:sp>
        <p:nvSpPr>
          <p:cNvPr id="1116" name="Rectangle 92"/>
          <p:cNvSpPr>
            <a:spLocks noChangeArrowheads="1"/>
          </p:cNvSpPr>
          <p:nvPr/>
        </p:nvSpPr>
        <p:spPr bwMode="auto">
          <a:xfrm>
            <a:off x="0" y="3"/>
            <a:ext cx="9144000" cy="741760"/>
          </a:xfrm>
          <a:prstGeom prst="rect">
            <a:avLst/>
          </a:prstGeom>
          <a:solidFill>
            <a:schemeClr val="tx1"/>
          </a:solidFill>
          <a:ln w="9525">
            <a:noFill/>
            <a:miter lim="800000"/>
            <a:headEnd/>
            <a:tailEnd/>
          </a:ln>
          <a:effectLst/>
        </p:spPr>
        <p:txBody>
          <a:bodyPr wrap="none" anchor="ctr"/>
          <a:lstStyle/>
          <a:p>
            <a:endParaRPr lang="en-US" dirty="0">
              <a:solidFill>
                <a:srgbClr val="003366"/>
              </a:solidFill>
            </a:endParaRPr>
          </a:p>
        </p:txBody>
      </p:sp>
      <p:sp>
        <p:nvSpPr>
          <p:cNvPr id="1065" name="Rectangle 41"/>
          <p:cNvSpPr>
            <a:spLocks noGrp="1" noChangeArrowheads="1"/>
          </p:cNvSpPr>
          <p:nvPr>
            <p:ph type="body" idx="1"/>
          </p:nvPr>
        </p:nvSpPr>
        <p:spPr bwMode="auto">
          <a:xfrm>
            <a:off x="358777" y="944170"/>
            <a:ext cx="8605713"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1066" name="Rectangle 42"/>
          <p:cNvSpPr>
            <a:spLocks noGrp="1" noChangeArrowheads="1"/>
          </p:cNvSpPr>
          <p:nvPr>
            <p:ph type="title"/>
          </p:nvPr>
        </p:nvSpPr>
        <p:spPr bwMode="white">
          <a:xfrm>
            <a:off x="358781" y="80963"/>
            <a:ext cx="6780213" cy="50720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pic>
        <p:nvPicPr>
          <p:cNvPr id="1145" name="Picture 121" descr="BI-Logo_36pt_blue_neg"/>
          <p:cNvPicPr>
            <a:picLocks noChangeAspect="1" noChangeArrowheads="1"/>
          </p:cNvPicPr>
          <p:nvPr/>
        </p:nvPicPr>
        <p:blipFill>
          <a:blip r:embed="rId9" cstate="print"/>
          <a:srcRect/>
          <a:stretch>
            <a:fillRect/>
          </a:stretch>
        </p:blipFill>
        <p:spPr bwMode="auto">
          <a:xfrm>
            <a:off x="7318375" y="134543"/>
            <a:ext cx="1460500" cy="336947"/>
          </a:xfrm>
          <a:prstGeom prst="rect">
            <a:avLst/>
          </a:prstGeom>
          <a:noFill/>
        </p:spPr>
      </p:pic>
      <p:sp>
        <p:nvSpPr>
          <p:cNvPr id="1058830" name="Rectangle 14"/>
          <p:cNvSpPr>
            <a:spLocks noGrp="1" noChangeArrowheads="1"/>
          </p:cNvSpPr>
          <p:nvPr>
            <p:ph type="sldNum" sz="quarter" idx="4"/>
          </p:nvPr>
        </p:nvSpPr>
        <p:spPr bwMode="auto">
          <a:xfrm>
            <a:off x="8172405" y="4951813"/>
            <a:ext cx="900113" cy="13454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1000">
                <a:solidFill>
                  <a:srgbClr val="000000"/>
                </a:solidFill>
                <a:latin typeface="+mn-lt"/>
              </a:defRPr>
            </a:lvl1pPr>
          </a:lstStyle>
          <a:p>
            <a:fld id="{D446586B-FF75-47A1-A069-ED9CC9CD5B58}" type="slidenum">
              <a:rPr lang="en-US" smtClean="0"/>
              <a:pPr/>
              <a:t>‹#›</a:t>
            </a:fld>
            <a:endParaRPr lang="en-US" dirty="0"/>
          </a:p>
        </p:txBody>
      </p:sp>
      <p:sp>
        <p:nvSpPr>
          <p:cNvPr id="11" name="Rectangle 1"/>
          <p:cNvSpPr>
            <a:spLocks noChangeArrowheads="1"/>
          </p:cNvSpPr>
          <p:nvPr/>
        </p:nvSpPr>
        <p:spPr bwMode="auto">
          <a:xfrm>
            <a:off x="0" y="5000627"/>
            <a:ext cx="9144000" cy="219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fontAlgn="base">
              <a:spcBef>
                <a:spcPct val="0"/>
              </a:spcBef>
              <a:spcAft>
                <a:spcPct val="0"/>
              </a:spcAft>
            </a:pPr>
            <a:r>
              <a:rPr lang="en-US" sz="620" dirty="0">
                <a:solidFill>
                  <a:srgbClr val="003366"/>
                </a:solidFill>
                <a:latin typeface="Arial Narrow" pitchFamily="34" charset="0"/>
              </a:rPr>
              <a:t>The information in this document is working hypothesis and for discussion purposes only, and does not constitute in any case decisions on changes in the organization. All content requires senior management and legal review. No decision will be made without consulting representatives of the workers' council.</a:t>
            </a:r>
          </a:p>
        </p:txBody>
      </p:sp>
      <p:sp>
        <p:nvSpPr>
          <p:cNvPr id="14" name="Rectangle 1"/>
          <p:cNvSpPr>
            <a:spLocks noChangeArrowheads="1"/>
          </p:cNvSpPr>
          <p:nvPr/>
        </p:nvSpPr>
        <p:spPr bwMode="auto">
          <a:xfrm rot="16200000">
            <a:off x="-293322" y="4828180"/>
            <a:ext cx="678485"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fontAlgn="base">
              <a:spcBef>
                <a:spcPct val="0"/>
              </a:spcBef>
              <a:spcAft>
                <a:spcPct val="0"/>
              </a:spcAft>
            </a:pPr>
            <a:r>
              <a:rPr lang="en-US" sz="620" dirty="0">
                <a:solidFill>
                  <a:srgbClr val="003366"/>
                </a:solidFill>
                <a:latin typeface="Arial Narrow" pitchFamily="34" charset="0"/>
              </a:rPr>
              <a:t>Project ImPaCt</a:t>
            </a:r>
          </a:p>
        </p:txBody>
      </p:sp>
      <p:sp>
        <p:nvSpPr>
          <p:cNvPr id="12" name="Rectangle 12"/>
          <p:cNvSpPr/>
          <p:nvPr/>
        </p:nvSpPr>
        <p:spPr bwMode="auto">
          <a:xfrm>
            <a:off x="7303706" y="-41605"/>
            <a:ext cx="1872000" cy="191449"/>
          </a:xfrm>
          <a:prstGeom prst="rect">
            <a:avLst/>
          </a:prstGeom>
          <a:noFill/>
          <a:ln w="9525" cap="flat" cmpd="sng" algn="ctr">
            <a:noFill/>
            <a:prstDash val="solid"/>
            <a:round/>
            <a:headEnd type="none" w="med" len="med"/>
            <a:tailEnd type="none" w="med" len="med"/>
          </a:ln>
          <a:effectLst/>
        </p:spPr>
        <p:txBody>
          <a:bodyPr vert="horz" wrap="square" lIns="90000" tIns="90000" rIns="90000" bIns="90000" numCol="1" rtlCol="0" anchor="ctr" anchorCtr="0" compatLnSpc="1">
            <a:prstTxWarp prst="textNoShape">
              <a:avLst/>
            </a:prstTxWarp>
          </a:bodyPr>
          <a:lstStyle/>
          <a:p>
            <a:pPr algn="ctr" eaLnBrk="0" fontAlgn="base" hangingPunct="0">
              <a:spcBef>
                <a:spcPct val="0"/>
              </a:spcBef>
              <a:spcAft>
                <a:spcPct val="0"/>
              </a:spcAft>
            </a:pPr>
            <a:r>
              <a:rPr lang="en-US" sz="1400" b="1" i="1" dirty="0">
                <a:solidFill>
                  <a:srgbClr val="FF0000"/>
                </a:solidFill>
              </a:rPr>
              <a:t>For BI-internal use only</a:t>
            </a:r>
          </a:p>
        </p:txBody>
      </p:sp>
    </p:spTree>
    <p:extLst>
      <p:ext uri="{BB962C8B-B14F-4D97-AF65-F5344CB8AC3E}">
        <p14:creationId xmlns:p14="http://schemas.microsoft.com/office/powerpoint/2010/main" val="213914316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rtl="0" eaLnBrk="1" fontAlgn="base" hangingPunct="1">
        <a:spcBef>
          <a:spcPct val="0"/>
        </a:spcBef>
        <a:spcAft>
          <a:spcPct val="0"/>
        </a:spcAft>
        <a:defRPr sz="2400">
          <a:solidFill>
            <a:schemeClr val="bg1"/>
          </a:solidFill>
          <a:latin typeface="+mj-lt"/>
          <a:ea typeface="+mj-ea"/>
          <a:cs typeface="+mj-cs"/>
        </a:defRPr>
      </a:lvl1pPr>
      <a:lvl2pPr algn="l" rtl="0" eaLnBrk="1" fontAlgn="base" hangingPunct="1">
        <a:spcBef>
          <a:spcPct val="0"/>
        </a:spcBef>
        <a:spcAft>
          <a:spcPct val="0"/>
        </a:spcAft>
        <a:defRPr sz="2400">
          <a:solidFill>
            <a:schemeClr val="tx2"/>
          </a:solidFill>
          <a:latin typeface="BISansCond" pitchFamily="50" charset="0"/>
        </a:defRPr>
      </a:lvl2pPr>
      <a:lvl3pPr algn="l" rtl="0" eaLnBrk="1" fontAlgn="base" hangingPunct="1">
        <a:spcBef>
          <a:spcPct val="0"/>
        </a:spcBef>
        <a:spcAft>
          <a:spcPct val="0"/>
        </a:spcAft>
        <a:defRPr sz="2400">
          <a:solidFill>
            <a:schemeClr val="tx2"/>
          </a:solidFill>
          <a:latin typeface="BISansCond" pitchFamily="50" charset="0"/>
        </a:defRPr>
      </a:lvl3pPr>
      <a:lvl4pPr algn="l" rtl="0" eaLnBrk="1" fontAlgn="base" hangingPunct="1">
        <a:spcBef>
          <a:spcPct val="0"/>
        </a:spcBef>
        <a:spcAft>
          <a:spcPct val="0"/>
        </a:spcAft>
        <a:defRPr sz="2400">
          <a:solidFill>
            <a:schemeClr val="tx2"/>
          </a:solidFill>
          <a:latin typeface="BISansCond" pitchFamily="50" charset="0"/>
        </a:defRPr>
      </a:lvl4pPr>
      <a:lvl5pPr algn="l" rtl="0" eaLnBrk="1" fontAlgn="base" hangingPunct="1">
        <a:spcBef>
          <a:spcPct val="0"/>
        </a:spcBef>
        <a:spcAft>
          <a:spcPct val="0"/>
        </a:spcAft>
        <a:defRPr sz="2400">
          <a:solidFill>
            <a:schemeClr val="tx2"/>
          </a:solidFill>
          <a:latin typeface="BISansCond" pitchFamily="50" charset="0"/>
        </a:defRPr>
      </a:lvl5pPr>
      <a:lvl6pPr marL="457200" algn="l" rtl="0" eaLnBrk="1" fontAlgn="base" hangingPunct="1">
        <a:spcBef>
          <a:spcPct val="0"/>
        </a:spcBef>
        <a:spcAft>
          <a:spcPct val="0"/>
        </a:spcAft>
        <a:defRPr sz="2400">
          <a:solidFill>
            <a:schemeClr val="tx2"/>
          </a:solidFill>
          <a:latin typeface="BISansCond" pitchFamily="50" charset="0"/>
        </a:defRPr>
      </a:lvl6pPr>
      <a:lvl7pPr marL="914400" algn="l" rtl="0" eaLnBrk="1" fontAlgn="base" hangingPunct="1">
        <a:spcBef>
          <a:spcPct val="0"/>
        </a:spcBef>
        <a:spcAft>
          <a:spcPct val="0"/>
        </a:spcAft>
        <a:defRPr sz="2400">
          <a:solidFill>
            <a:schemeClr val="tx2"/>
          </a:solidFill>
          <a:latin typeface="BISansCond" pitchFamily="50" charset="0"/>
        </a:defRPr>
      </a:lvl7pPr>
      <a:lvl8pPr marL="1371600" algn="l" rtl="0" eaLnBrk="1" fontAlgn="base" hangingPunct="1">
        <a:spcBef>
          <a:spcPct val="0"/>
        </a:spcBef>
        <a:spcAft>
          <a:spcPct val="0"/>
        </a:spcAft>
        <a:defRPr sz="2400">
          <a:solidFill>
            <a:schemeClr val="tx2"/>
          </a:solidFill>
          <a:latin typeface="BISansCond" pitchFamily="50" charset="0"/>
        </a:defRPr>
      </a:lvl8pPr>
      <a:lvl9pPr marL="1828800" algn="l" rtl="0" eaLnBrk="1" fontAlgn="base" hangingPunct="1">
        <a:spcBef>
          <a:spcPct val="0"/>
        </a:spcBef>
        <a:spcAft>
          <a:spcPct val="0"/>
        </a:spcAft>
        <a:defRPr sz="2400">
          <a:solidFill>
            <a:schemeClr val="tx2"/>
          </a:solidFill>
          <a:latin typeface="BISansCond" pitchFamily="50" charset="0"/>
        </a:defRPr>
      </a:lvl9pPr>
    </p:titleStyle>
    <p:bodyStyle>
      <a:lvl1pPr marL="0" marR="0" indent="0" algn="l" defTabSz="8610600" rtl="0" eaLnBrk="1" fontAlgn="base" latinLnBrk="0" hangingPunct="1">
        <a:lnSpc>
          <a:spcPct val="100000"/>
        </a:lnSpc>
        <a:spcBef>
          <a:spcPts val="500"/>
        </a:spcBef>
        <a:spcAft>
          <a:spcPct val="0"/>
        </a:spcAft>
        <a:buClr>
          <a:schemeClr val="folHlink"/>
        </a:buClr>
        <a:buSzTx/>
        <a:buFont typeface="Wingdings" pitchFamily="2" charset="2"/>
        <a:buNone/>
        <a:tabLst/>
        <a:defRPr sz="2000">
          <a:solidFill>
            <a:schemeClr val="tx2"/>
          </a:solidFill>
          <a:latin typeface="+mn-lt"/>
          <a:ea typeface="+mn-ea"/>
          <a:cs typeface="+mn-cs"/>
        </a:defRPr>
      </a:lvl1pPr>
      <a:lvl2pPr marL="276225" indent="-274638" algn="l" defTabSz="8610600" rtl="0" eaLnBrk="1" fontAlgn="base" hangingPunct="1">
        <a:spcBef>
          <a:spcPts val="500"/>
        </a:spcBef>
        <a:spcAft>
          <a:spcPct val="0"/>
        </a:spcAft>
        <a:buClrTx/>
        <a:buChar char="•"/>
        <a:defRPr sz="2000">
          <a:solidFill>
            <a:schemeClr val="tx2"/>
          </a:solidFill>
          <a:latin typeface="+mn-lt"/>
        </a:defRPr>
      </a:lvl2pPr>
      <a:lvl3pPr marL="542925" indent="-265113" algn="l" defTabSz="8610600" rtl="0" eaLnBrk="1" fontAlgn="base" hangingPunct="1">
        <a:spcBef>
          <a:spcPts val="500"/>
        </a:spcBef>
        <a:spcAft>
          <a:spcPct val="0"/>
        </a:spcAft>
        <a:buClrTx/>
        <a:buFont typeface="BISansCond" pitchFamily="2" charset="0"/>
        <a:buChar char="–"/>
        <a:defRPr sz="2000">
          <a:solidFill>
            <a:schemeClr val="tx2"/>
          </a:solidFill>
          <a:latin typeface="+mn-lt"/>
        </a:defRPr>
      </a:lvl3pPr>
      <a:lvl4pPr marL="819150" indent="-274638" algn="l" defTabSz="8610600" rtl="0" eaLnBrk="1" fontAlgn="base" hangingPunct="1">
        <a:spcBef>
          <a:spcPts val="500"/>
        </a:spcBef>
        <a:spcAft>
          <a:spcPct val="0"/>
        </a:spcAft>
        <a:buFont typeface="BISansCond" pitchFamily="2" charset="0"/>
        <a:buChar char="–"/>
        <a:defRPr sz="2000">
          <a:solidFill>
            <a:schemeClr val="tx2"/>
          </a:solidFill>
          <a:latin typeface="+mn-lt"/>
        </a:defRPr>
      </a:lvl4pPr>
      <a:lvl5pPr marL="1085850" indent="-265113" algn="l" defTabSz="8610600" rtl="0" eaLnBrk="1" fontAlgn="base" hangingPunct="1">
        <a:spcBef>
          <a:spcPts val="500"/>
        </a:spcBef>
        <a:spcAft>
          <a:spcPct val="0"/>
        </a:spcAft>
        <a:buFont typeface="BISansCond" pitchFamily="2" charset="0"/>
        <a:buChar char="–"/>
        <a:defRPr sz="2000">
          <a:solidFill>
            <a:schemeClr val="tx2"/>
          </a:solidFill>
          <a:latin typeface="+mn-lt"/>
        </a:defRPr>
      </a:lvl5pPr>
      <a:lvl6pPr marL="15430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6pPr>
      <a:lvl7pPr marL="20002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7pPr>
      <a:lvl8pPr marL="24574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8pPr>
      <a:lvl9pPr marL="2914650" indent="-265113" algn="l" defTabSz="8610600"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9" y="36711"/>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7"/>
            <a:ext cx="8408850" cy="369332"/>
          </a:xfrm>
          <a:prstGeom prst="rect">
            <a:avLst/>
          </a:prstGeom>
        </p:spPr>
        <p:txBody>
          <a:bodyPr vert="horz" wrap="square" lIns="0" tIns="0" rIns="0" bIns="0" rtlCol="0" anchor="t" anchorCtr="0">
            <a:sp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9818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endParaRPr lang="en-GB" dirty="0">
              <a:solidFill>
                <a:prstClr val="white">
                  <a:lumMod val="50000"/>
                </a:prstClr>
              </a:solidFill>
            </a:endParaRPr>
          </a:p>
        </p:txBody>
      </p:sp>
      <p:sp>
        <p:nvSpPr>
          <p:cNvPr id="5" name="Fußzeilenplatzhalter 4"/>
          <p:cNvSpPr>
            <a:spLocks noGrp="1"/>
          </p:cNvSpPr>
          <p:nvPr>
            <p:ph type="ftr" sz="quarter" idx="3"/>
          </p:nvPr>
        </p:nvSpPr>
        <p:spPr>
          <a:xfrm>
            <a:off x="1351328"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a:solidFill>
                  <a:prstClr val="white">
                    <a:lumMod val="50000"/>
                  </a:prstClr>
                </a:solidFill>
              </a:rPr>
              <a:t>#ConV2X 2018</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564829" y="4928716"/>
            <a:ext cx="21159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29" y="36711"/>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11"/>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85390102"/>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2400" kern="1200">
          <a:solidFill>
            <a:srgbClr val="003366"/>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3"/>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331" name="think-cell Folie" r:id="rId24" imgW="270" imgH="270" progId="TCLayout.ActiveDocument.1">
                  <p:embed/>
                </p:oleObj>
              </mc:Choice>
              <mc:Fallback>
                <p:oleObj name="think-cell Folie" r:id="rId24" imgW="270" imgH="270" progId="TCLayout.ActiveDocument.1">
                  <p:embed/>
                  <p:pic>
                    <p:nvPicPr>
                      <p:cNvPr id="7" name="Objekt 6" hidden="1"/>
                      <p:cNvPicPr/>
                      <p:nvPr/>
                    </p:nvPicPr>
                    <p:blipFill>
                      <a:blip r:embed="rId25"/>
                      <a:stretch>
                        <a:fillRect/>
                      </a:stretch>
                    </p:blipFill>
                    <p:spPr>
                      <a:xfrm>
                        <a:off x="1591" y="1589"/>
                        <a:ext cx="1587" cy="1587"/>
                      </a:xfrm>
                      <a:prstGeom prst="rect">
                        <a:avLst/>
                      </a:prstGeom>
                    </p:spPr>
                  </p:pic>
                </p:oleObj>
              </mc:Fallback>
            </mc:AlternateContent>
          </a:graphicData>
        </a:graphic>
      </p:graphicFrame>
      <p:grpSp>
        <p:nvGrpSpPr>
          <p:cNvPr id="23" name="Gruppieren 22"/>
          <p:cNvGrpSpPr/>
          <p:nvPr/>
        </p:nvGrpSpPr>
        <p:grpSpPr>
          <a:xfrm>
            <a:off x="182829" y="36716"/>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98181" y="4910708"/>
            <a:ext cx="605935" cy="153888"/>
          </a:xfrm>
          <a:prstGeom prst="rect">
            <a:avLst/>
          </a:prstGeom>
        </p:spPr>
        <p:txBody>
          <a:bodyPr vert="horz" wrap="none" lIns="0" tIns="0" rIns="0" bIns="0" rtlCol="0" anchor="ctr">
            <a:spAutoFit/>
          </a:bodyPr>
          <a:lstStyle>
            <a:lvl1pPr algn="r">
              <a:defRPr sz="1000">
                <a:solidFill>
                  <a:schemeClr val="bg1">
                    <a:lumMod val="65000"/>
                  </a:schemeClr>
                </a:solidFill>
                <a:latin typeface="BISansCond" panose="02000006050000020004" pitchFamily="2" charset="0"/>
              </a:defRPr>
            </a:lvl1pPr>
          </a:lstStyle>
          <a:p>
            <a:endParaRPr lang="en-GB">
              <a:solidFill>
                <a:prstClr val="white">
                  <a:lumMod val="65000"/>
                </a:prstClr>
              </a:solidFill>
            </a:endParaRPr>
          </a:p>
        </p:txBody>
      </p:sp>
      <p:sp>
        <p:nvSpPr>
          <p:cNvPr id="5" name="Fußzeilenplatzhalter 4"/>
          <p:cNvSpPr>
            <a:spLocks noGrp="1"/>
          </p:cNvSpPr>
          <p:nvPr>
            <p:ph type="ftr" sz="quarter" idx="3"/>
          </p:nvPr>
        </p:nvSpPr>
        <p:spPr>
          <a:xfrm>
            <a:off x="1351328" y="4910708"/>
            <a:ext cx="6139718" cy="153888"/>
          </a:xfrm>
          <a:prstGeom prst="rect">
            <a:avLst/>
          </a:prstGeom>
        </p:spPr>
        <p:txBody>
          <a:bodyPr vert="horz" wrap="square" lIns="0" tIns="0" rIns="0" bIns="0" rtlCol="0" anchor="ctr">
            <a:spAutoFit/>
          </a:bodyPr>
          <a:lstStyle>
            <a:lvl1pPr algn="l">
              <a:defRPr sz="1000">
                <a:solidFill>
                  <a:schemeClr val="bg1">
                    <a:lumMod val="65000"/>
                  </a:schemeClr>
                </a:solidFill>
                <a:latin typeface="BISansCond" panose="02000006050000020004" pitchFamily="2" charset="0"/>
              </a:defRPr>
            </a:lvl1pPr>
          </a:lstStyle>
          <a:p>
            <a:r>
              <a:rPr lang="en-GB">
                <a:solidFill>
                  <a:prstClr val="white">
                    <a:lumMod val="65000"/>
                  </a:prstClr>
                </a:solidFill>
              </a:rPr>
              <a:t>#ConV2X 2018</a:t>
            </a:r>
          </a:p>
        </p:txBody>
      </p:sp>
      <p:sp>
        <p:nvSpPr>
          <p:cNvPr id="6" name="Foliennummernplatzhalter 5"/>
          <p:cNvSpPr>
            <a:spLocks noGrp="1"/>
          </p:cNvSpPr>
          <p:nvPr>
            <p:ph type="sldNum" sz="quarter" idx="4"/>
          </p:nvPr>
        </p:nvSpPr>
        <p:spPr>
          <a:xfrm>
            <a:off x="8564829" y="4910708"/>
            <a:ext cx="211596" cy="153888"/>
          </a:xfrm>
          <a:prstGeom prst="rect">
            <a:avLst/>
          </a:prstGeom>
        </p:spPr>
        <p:txBody>
          <a:bodyPr vert="horz" wrap="none" lIns="0" tIns="0" rIns="0" bIns="0" rtlCol="0" anchor="ctr">
            <a:spAutoFit/>
          </a:bodyPr>
          <a:lstStyle>
            <a:lvl1pPr algn="r">
              <a:defRPr sz="1000">
                <a:solidFill>
                  <a:schemeClr val="bg1">
                    <a:lumMod val="65000"/>
                  </a:schemeClr>
                </a:solidFill>
                <a:latin typeface="BISansCond" panose="02000006050000020004" pitchFamily="2" charset="0"/>
              </a:defRPr>
            </a:lvl1pPr>
          </a:lstStyle>
          <a:p>
            <a:fld id="{A97E546F-5F22-4FC8-9328-EEF93277C966}" type="slidenum">
              <a:rPr lang="en-GB" smtClean="0">
                <a:solidFill>
                  <a:prstClr val="white">
                    <a:lumMod val="65000"/>
                  </a:prstClr>
                </a:solidFill>
              </a:rPr>
              <a:pPr/>
              <a:t>‹#›</a:t>
            </a:fld>
            <a:endParaRPr lang="en-GB">
              <a:solidFill>
                <a:prstClr val="white">
                  <a:lumMod val="65000"/>
                </a:prstClr>
              </a:solidFill>
            </a:endParaRPr>
          </a:p>
        </p:txBody>
      </p:sp>
      <p:grpSp>
        <p:nvGrpSpPr>
          <p:cNvPr id="17" name="Gruppieren 16"/>
          <p:cNvGrpSpPr/>
          <p:nvPr/>
        </p:nvGrpSpPr>
        <p:grpSpPr>
          <a:xfrm>
            <a:off x="182829" y="36716"/>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45751116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2400" kern="1200">
          <a:solidFill>
            <a:schemeClr val="tx1"/>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1"/>
            <a:ext cx="9144000" cy="754380"/>
          </a:xfrm>
          <a:prstGeom prst="rect">
            <a:avLst/>
          </a:prstGeom>
          <a:solidFill>
            <a:schemeClr val="accent1"/>
          </a:solidFill>
          <a:ln w="9525">
            <a:noFill/>
            <a:miter lim="800000"/>
            <a:headEnd/>
            <a:tailEnd/>
          </a:ln>
          <a:effectLst/>
        </p:spPr>
        <p:txBody>
          <a:bodyPr wrap="none" anchor="ctr"/>
          <a:lstStyle/>
          <a:p>
            <a:pPr algn="l" eaLnBrk="0" hangingPunct="0">
              <a:lnSpc>
                <a:spcPct val="100000"/>
              </a:lnSpc>
              <a:spcBef>
                <a:spcPct val="0"/>
              </a:spcBef>
              <a:buClrTx/>
              <a:buFontTx/>
              <a:buNone/>
              <a:defRPr/>
            </a:pPr>
            <a:endParaRPr lang="de-DE" sz="1050" dirty="0">
              <a:solidFill>
                <a:srgbClr val="000000"/>
              </a:solidFill>
              <a:latin typeface="BISansCond"/>
              <a:ea typeface="+mn-ea"/>
            </a:endParaRPr>
          </a:p>
        </p:txBody>
      </p:sp>
      <p:pic>
        <p:nvPicPr>
          <p:cNvPr id="10" name="Picture 7" descr="BI-Logo_36pt_blue_ne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677149" y="134541"/>
            <a:ext cx="1095375" cy="336947"/>
          </a:xfrm>
          <a:prstGeom prst="rect">
            <a:avLst/>
          </a:prstGeom>
          <a:noFill/>
          <a:ln w="9525">
            <a:noFill/>
            <a:miter lim="800000"/>
            <a:headEnd/>
            <a:tailEnd/>
          </a:ln>
        </p:spPr>
      </p:pic>
      <p:pic>
        <p:nvPicPr>
          <p:cNvPr id="12" name="Picture 11"/>
          <p:cNvPicPr>
            <a:picLocks noChangeAspect="1"/>
          </p:cNvPicPr>
          <p:nvPr/>
        </p:nvPicPr>
        <p:blipFill>
          <a:blip r:embed="rId13" cstate="print"/>
          <a:stretch>
            <a:fillRect/>
          </a:stretch>
        </p:blipFill>
        <p:spPr>
          <a:xfrm>
            <a:off x="8247089" y="4372429"/>
            <a:ext cx="675757" cy="667548"/>
          </a:xfrm>
          <a:prstGeom prst="rect">
            <a:avLst/>
          </a:prstGeom>
        </p:spPr>
      </p:pic>
      <p:sp>
        <p:nvSpPr>
          <p:cNvPr id="2" name="Title Placeholder 1"/>
          <p:cNvSpPr>
            <a:spLocks noGrp="1"/>
          </p:cNvSpPr>
          <p:nvPr>
            <p:ph type="title"/>
          </p:nvPr>
        </p:nvSpPr>
        <p:spPr>
          <a:xfrm>
            <a:off x="357188" y="94501"/>
            <a:ext cx="7182000" cy="648890"/>
          </a:xfrm>
          <a:prstGeom prst="rect">
            <a:avLst/>
          </a:prstGeom>
        </p:spPr>
        <p:txBody>
          <a:bodyPr vert="horz" lIns="0" tIns="0" rIns="0" bIns="0" rtlCol="0" anchor="t">
            <a:noAutofit/>
          </a:bodyPr>
          <a:lstStyle/>
          <a:p>
            <a:r>
              <a:rPr lang="en-US" dirty="0"/>
              <a:t>Click to edit Master title style</a:t>
            </a:r>
            <a:endParaRPr lang="en-GB" dirty="0"/>
          </a:p>
        </p:txBody>
      </p:sp>
      <p:sp>
        <p:nvSpPr>
          <p:cNvPr id="14" name="Text Placeholder 13"/>
          <p:cNvSpPr>
            <a:spLocks noGrp="1"/>
          </p:cNvSpPr>
          <p:nvPr>
            <p:ph type="body" idx="1"/>
          </p:nvPr>
        </p:nvSpPr>
        <p:spPr>
          <a:xfrm>
            <a:off x="357188" y="849408"/>
            <a:ext cx="8415337" cy="3394472"/>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576202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rtl="0" eaLnBrk="1" fontAlgn="base" hangingPunct="1">
        <a:lnSpc>
          <a:spcPct val="90000"/>
        </a:lnSpc>
        <a:spcBef>
          <a:spcPct val="0"/>
        </a:spcBef>
        <a:spcAft>
          <a:spcPct val="0"/>
        </a:spcAft>
        <a:defRPr sz="1800" b="1" i="0">
          <a:solidFill>
            <a:schemeClr val="bg1"/>
          </a:solidFill>
          <a:latin typeface="+mj-lt"/>
          <a:ea typeface="+mj-ea"/>
          <a:cs typeface="BISansNEXT" panose="02000503040000020004" pitchFamily="50" charset="0"/>
        </a:defRPr>
      </a:lvl1pPr>
      <a:lvl2pPr algn="l" rtl="0" eaLnBrk="1" fontAlgn="base" hangingPunct="1">
        <a:spcBef>
          <a:spcPct val="0"/>
        </a:spcBef>
        <a:spcAft>
          <a:spcPct val="0"/>
        </a:spcAft>
        <a:defRPr sz="1800">
          <a:solidFill>
            <a:schemeClr val="bg1"/>
          </a:solidFill>
          <a:latin typeface="BISansCond" pitchFamily="2" charset="0"/>
        </a:defRPr>
      </a:lvl2pPr>
      <a:lvl3pPr algn="l" rtl="0" eaLnBrk="1" fontAlgn="base" hangingPunct="1">
        <a:spcBef>
          <a:spcPct val="0"/>
        </a:spcBef>
        <a:spcAft>
          <a:spcPct val="0"/>
        </a:spcAft>
        <a:defRPr sz="1800">
          <a:solidFill>
            <a:schemeClr val="bg1"/>
          </a:solidFill>
          <a:latin typeface="BISansCond" pitchFamily="2" charset="0"/>
        </a:defRPr>
      </a:lvl3pPr>
      <a:lvl4pPr algn="l" rtl="0" eaLnBrk="1" fontAlgn="base" hangingPunct="1">
        <a:spcBef>
          <a:spcPct val="0"/>
        </a:spcBef>
        <a:spcAft>
          <a:spcPct val="0"/>
        </a:spcAft>
        <a:defRPr sz="1800">
          <a:solidFill>
            <a:schemeClr val="bg1"/>
          </a:solidFill>
          <a:latin typeface="BISansCond" pitchFamily="2" charset="0"/>
        </a:defRPr>
      </a:lvl4pPr>
      <a:lvl5pPr algn="l" rtl="0" eaLnBrk="1" fontAlgn="base" hangingPunct="1">
        <a:spcBef>
          <a:spcPct val="0"/>
        </a:spcBef>
        <a:spcAft>
          <a:spcPct val="0"/>
        </a:spcAft>
        <a:defRPr sz="1800">
          <a:solidFill>
            <a:schemeClr val="bg1"/>
          </a:solidFill>
          <a:latin typeface="BISansCond" pitchFamily="2" charset="0"/>
        </a:defRPr>
      </a:lvl5pPr>
      <a:lvl6pPr marL="342900" algn="l" rtl="0" eaLnBrk="1" fontAlgn="base" hangingPunct="1">
        <a:spcBef>
          <a:spcPct val="0"/>
        </a:spcBef>
        <a:spcAft>
          <a:spcPct val="0"/>
        </a:spcAft>
        <a:defRPr sz="1800">
          <a:solidFill>
            <a:schemeClr val="bg1"/>
          </a:solidFill>
          <a:latin typeface="BISansCond" pitchFamily="2" charset="0"/>
        </a:defRPr>
      </a:lvl6pPr>
      <a:lvl7pPr marL="685800" algn="l" rtl="0" eaLnBrk="1" fontAlgn="base" hangingPunct="1">
        <a:spcBef>
          <a:spcPct val="0"/>
        </a:spcBef>
        <a:spcAft>
          <a:spcPct val="0"/>
        </a:spcAft>
        <a:defRPr sz="1800">
          <a:solidFill>
            <a:schemeClr val="bg1"/>
          </a:solidFill>
          <a:latin typeface="BISansCond" pitchFamily="2" charset="0"/>
        </a:defRPr>
      </a:lvl7pPr>
      <a:lvl8pPr marL="1028700" algn="l" rtl="0" eaLnBrk="1" fontAlgn="base" hangingPunct="1">
        <a:spcBef>
          <a:spcPct val="0"/>
        </a:spcBef>
        <a:spcAft>
          <a:spcPct val="0"/>
        </a:spcAft>
        <a:defRPr sz="1800">
          <a:solidFill>
            <a:schemeClr val="bg1"/>
          </a:solidFill>
          <a:latin typeface="BISansCond" pitchFamily="2" charset="0"/>
        </a:defRPr>
      </a:lvl8pPr>
      <a:lvl9pPr marL="1371600" algn="l" rtl="0" eaLnBrk="1" fontAlgn="base" hangingPunct="1">
        <a:spcBef>
          <a:spcPct val="0"/>
        </a:spcBef>
        <a:spcAft>
          <a:spcPct val="0"/>
        </a:spcAft>
        <a:defRPr sz="1800">
          <a:solidFill>
            <a:schemeClr val="bg1"/>
          </a:solidFill>
          <a:latin typeface="BISansCond" pitchFamily="2" charset="0"/>
        </a:defRPr>
      </a:lvl9pPr>
    </p:titleStyle>
    <p:bodyStyle>
      <a:lvl1pPr marL="0" marR="0" indent="0" algn="l" defTabSz="6457950" rtl="0" eaLnBrk="1" fontAlgn="base" latinLnBrk="0" hangingPunct="1">
        <a:lnSpc>
          <a:spcPct val="100000"/>
        </a:lnSpc>
        <a:spcBef>
          <a:spcPts val="225"/>
        </a:spcBef>
        <a:spcAft>
          <a:spcPts val="225"/>
        </a:spcAft>
        <a:buClrTx/>
        <a:buSzPct val="140000"/>
        <a:buFont typeface="Arial" pitchFamily="34" charset="0"/>
        <a:buNone/>
        <a:tabLst/>
        <a:defRPr sz="1350" b="0" i="0">
          <a:solidFill>
            <a:schemeClr val="tx1"/>
          </a:solidFill>
          <a:latin typeface="+mn-lt"/>
          <a:ea typeface="+mn-ea"/>
          <a:cs typeface="BISansNEXT" panose="02000503040000020004" pitchFamily="50" charset="0"/>
        </a:defRPr>
      </a:lvl1pPr>
      <a:lvl2pPr marL="214313" marR="0" indent="-214313" algn="l" defTabSz="6457950" rtl="0" eaLnBrk="1" fontAlgn="base" latinLnBrk="0" hangingPunct="1">
        <a:lnSpc>
          <a:spcPct val="100000"/>
        </a:lnSpc>
        <a:spcBef>
          <a:spcPts val="225"/>
        </a:spcBef>
        <a:spcAft>
          <a:spcPts val="225"/>
        </a:spcAft>
        <a:buClrTx/>
        <a:buSzPct val="140000"/>
        <a:buFont typeface="Arial"/>
        <a:buChar char="•"/>
        <a:tabLst/>
        <a:defRPr lang="en-US" sz="1350" b="0" i="0" kern="1200" dirty="0" smtClean="0">
          <a:solidFill>
            <a:schemeClr val="tx1"/>
          </a:solidFill>
          <a:latin typeface="+mn-lt"/>
          <a:ea typeface="+mn-ea"/>
          <a:cs typeface="BISansNEXT" panose="02000503040000020004" pitchFamily="50" charset="0"/>
          <a:sym typeface="Arial" charset="0"/>
        </a:defRPr>
      </a:lvl2pPr>
      <a:lvl3pPr marL="427435" marR="0" indent="-219075" algn="l" defTabSz="6457950" rtl="0" eaLnBrk="1" fontAlgn="base" latinLnBrk="0" hangingPunct="1">
        <a:lnSpc>
          <a:spcPct val="100000"/>
        </a:lnSpc>
        <a:spcBef>
          <a:spcPts val="225"/>
        </a:spcBef>
        <a:spcAft>
          <a:spcPts val="225"/>
        </a:spcAft>
        <a:buClrTx/>
        <a:buSzPct val="100000"/>
        <a:buFont typeface="Courier New"/>
        <a:buChar char="o"/>
        <a:tabLst/>
        <a:defRPr sz="1200" b="0" i="0">
          <a:solidFill>
            <a:schemeClr val="tx1"/>
          </a:solidFill>
          <a:latin typeface="+mn-lt"/>
        </a:defRPr>
      </a:lvl3pPr>
      <a:lvl4pPr marL="645319" marR="0" indent="-217885" algn="l" defTabSz="6457950" rtl="0" eaLnBrk="1" fontAlgn="base" latinLnBrk="0" hangingPunct="1">
        <a:lnSpc>
          <a:spcPct val="100000"/>
        </a:lnSpc>
        <a:spcBef>
          <a:spcPts val="225"/>
        </a:spcBef>
        <a:spcAft>
          <a:spcPts val="225"/>
        </a:spcAft>
        <a:buClrTx/>
        <a:buSzPct val="140000"/>
        <a:buFont typeface="Arial"/>
        <a:buChar char="•"/>
        <a:tabLst/>
        <a:defRPr sz="1050" b="0" i="0">
          <a:solidFill>
            <a:schemeClr val="tx1"/>
          </a:solidFill>
          <a:latin typeface="+mn-lt"/>
        </a:defRPr>
      </a:lvl4pPr>
      <a:lvl5pPr marL="814388" marR="0" indent="-216694" algn="l" defTabSz="6457950" rtl="0" eaLnBrk="1" fontAlgn="base" latinLnBrk="0" hangingPunct="1">
        <a:lnSpc>
          <a:spcPct val="100000"/>
        </a:lnSpc>
        <a:spcBef>
          <a:spcPts val="225"/>
        </a:spcBef>
        <a:spcAft>
          <a:spcPts val="225"/>
        </a:spcAft>
        <a:buClrTx/>
        <a:buSzPct val="100000"/>
        <a:buFont typeface="Courier New"/>
        <a:buChar char="o"/>
        <a:tabLst/>
        <a:defRPr sz="1050" b="0" i="0">
          <a:solidFill>
            <a:schemeClr val="tx1"/>
          </a:solidFill>
          <a:latin typeface="+mn-lt"/>
        </a:defRPr>
      </a:lvl5pPr>
      <a:lvl6pPr marL="1032272" marR="0" indent="-217885" algn="l" defTabSz="6457950" rtl="0" eaLnBrk="1" fontAlgn="base" latinLnBrk="0" hangingPunct="1">
        <a:lnSpc>
          <a:spcPct val="100000"/>
        </a:lnSpc>
        <a:spcBef>
          <a:spcPts val="225"/>
        </a:spcBef>
        <a:spcAft>
          <a:spcPts val="225"/>
        </a:spcAft>
        <a:buClrTx/>
        <a:buSzPct val="140000"/>
        <a:buFont typeface="Arial" pitchFamily="34" charset="0"/>
        <a:buChar char="•"/>
        <a:tabLst/>
        <a:defRPr sz="1050">
          <a:solidFill>
            <a:schemeClr val="tx1"/>
          </a:solidFill>
          <a:latin typeface="+mn-lt"/>
        </a:defRPr>
      </a:lvl6pPr>
      <a:lvl7pPr marL="1243013" indent="-210741" algn="l" defTabSz="6457950" rtl="0" eaLnBrk="1" fontAlgn="base" hangingPunct="1">
        <a:spcBef>
          <a:spcPct val="0"/>
        </a:spcBef>
        <a:spcAft>
          <a:spcPct val="0"/>
        </a:spcAft>
        <a:buFont typeface="Courier New" pitchFamily="49" charset="0"/>
        <a:buChar char="o"/>
        <a:defRPr sz="1050">
          <a:solidFill>
            <a:schemeClr val="tx1"/>
          </a:solidFill>
          <a:latin typeface="+mn-lt"/>
        </a:defRPr>
      </a:lvl7pPr>
      <a:lvl8pPr marL="1843088" indent="-198835" algn="l" defTabSz="6457950" rtl="0" eaLnBrk="1" fontAlgn="base" hangingPunct="1">
        <a:spcBef>
          <a:spcPct val="0"/>
        </a:spcBef>
        <a:spcAft>
          <a:spcPct val="0"/>
        </a:spcAft>
        <a:buFont typeface="BISansCond" pitchFamily="2" charset="0"/>
        <a:buChar char="–"/>
        <a:defRPr sz="1500">
          <a:solidFill>
            <a:schemeClr val="tx1"/>
          </a:solidFill>
          <a:latin typeface="+mn-lt"/>
        </a:defRPr>
      </a:lvl8pPr>
      <a:lvl9pPr marL="2185988" indent="-198835" algn="l" defTabSz="6457950" rtl="0" eaLnBrk="1" fontAlgn="base" hangingPunct="1">
        <a:spcBef>
          <a:spcPct val="0"/>
        </a:spcBef>
        <a:spcAft>
          <a:spcPct val="0"/>
        </a:spcAft>
        <a:buFont typeface="BISansCond" pitchFamily="2" charset="0"/>
        <a:buChar char="–"/>
        <a:defRPr sz="1500">
          <a:solidFill>
            <a:schemeClr val="tx1"/>
          </a:solidFill>
          <a:latin typeface="+mn-lt"/>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26" y="36709"/>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98176" y="4910708"/>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endParaRPr lang="en-GB" dirty="0"/>
          </a:p>
        </p:txBody>
      </p:sp>
      <p:sp>
        <p:nvSpPr>
          <p:cNvPr id="5" name="Fußzeilenplatzhalter 4"/>
          <p:cNvSpPr>
            <a:spLocks noGrp="1"/>
          </p:cNvSpPr>
          <p:nvPr>
            <p:ph type="ftr" sz="quarter" idx="3"/>
          </p:nvPr>
        </p:nvSpPr>
        <p:spPr>
          <a:xfrm>
            <a:off x="1351328"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a:t>#ConV2X 2018</a:t>
            </a:r>
            <a:endParaRPr lang="en-GB" dirty="0"/>
          </a:p>
        </p:txBody>
      </p:sp>
      <p:sp>
        <p:nvSpPr>
          <p:cNvPr id="6" name="Foliennummernplatzhalter 5"/>
          <p:cNvSpPr>
            <a:spLocks noGrp="1"/>
          </p:cNvSpPr>
          <p:nvPr>
            <p:ph type="sldNum" sz="quarter" idx="4"/>
          </p:nvPr>
        </p:nvSpPr>
        <p:spPr>
          <a:xfrm>
            <a:off x="8564829" y="4910708"/>
            <a:ext cx="21159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pPr/>
              <a:t>‹#›</a:t>
            </a:fld>
            <a:endParaRPr lang="en-GB" dirty="0"/>
          </a:p>
        </p:txBody>
      </p:sp>
      <p:grpSp>
        <p:nvGrpSpPr>
          <p:cNvPr id="17" name="Gruppieren 16"/>
          <p:cNvGrpSpPr/>
          <p:nvPr/>
        </p:nvGrpSpPr>
        <p:grpSpPr>
          <a:xfrm>
            <a:off x="182826" y="36709"/>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364443" y="4864131"/>
            <a:ext cx="630270" cy="190510"/>
          </a:xfrm>
          <a:prstGeom prst="rect">
            <a:avLst/>
          </a:prstGeom>
        </p:spPr>
      </p:pic>
    </p:spTree>
    <p:extLst>
      <p:ext uri="{BB962C8B-B14F-4D97-AF65-F5344CB8AC3E}">
        <p14:creationId xmlns:p14="http://schemas.microsoft.com/office/powerpoint/2010/main" val="177279435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spcBef>
          <a:spcPct val="0"/>
        </a:spcBef>
        <a:buNone/>
        <a:defRPr sz="2400" kern="1200">
          <a:solidFill>
            <a:srgbClr val="003366"/>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3276" y="340617"/>
            <a:ext cx="7937085" cy="463300"/>
          </a:xfrm>
          <a:prstGeom prst="rect">
            <a:avLst/>
          </a:prstGeom>
        </p:spPr>
        <p:txBody>
          <a:bodyPr vert="horz" lIns="91440" tIns="45720" rIns="91440" bIns="4572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01526" y="960920"/>
            <a:ext cx="8537818" cy="3689249"/>
          </a:xfrm>
          <a:prstGeom prst="rect">
            <a:avLst/>
          </a:prstGeom>
        </p:spPr>
        <p:txBody>
          <a:bodyPr vert="horz" lIns="91440" tIns="45720" rIns="91440" bIns="45720" rtlCol="0">
            <a:normAutofit/>
          </a:bodyPr>
          <a:lstStyle/>
          <a:p>
            <a:pPr lvl="0"/>
            <a:r>
              <a:rPr lang="en-US" dirty="0"/>
              <a:t>Click to edit Master text styles</a:t>
            </a:r>
          </a:p>
        </p:txBody>
      </p:sp>
    </p:spTree>
    <p:extLst>
      <p:ext uri="{BB962C8B-B14F-4D97-AF65-F5344CB8AC3E}">
        <p14:creationId xmlns:p14="http://schemas.microsoft.com/office/powerpoint/2010/main" val="2944859900"/>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2" r:id="rId6"/>
    <p:sldLayoutId id="2147483863"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ts val="2200"/>
        </a:lnSpc>
        <a:spcBef>
          <a:spcPct val="0"/>
        </a:spcBef>
        <a:buNone/>
        <a:defRPr sz="2200" b="1" kern="1200">
          <a:solidFill>
            <a:srgbClr val="0072BB"/>
          </a:solidFill>
          <a:latin typeface="+mn-lt"/>
          <a:ea typeface="+mj-ea"/>
          <a:cs typeface="Calibri" panose="020F0502020204030204" pitchFamily="34" charset="0"/>
        </a:defRPr>
      </a:lvl1pPr>
    </p:titleStyle>
    <p:bodyStyle>
      <a:lvl1pPr marL="180975" indent="-180975"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Calibri" panose="020F050202020403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solidFill>
          <a:latin typeface="BISans"/>
          <a:ea typeface="+mn-ea"/>
          <a:cs typeface="BISan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BISans"/>
          <a:ea typeface="+mn-ea"/>
          <a:cs typeface="BISan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solidFill>
          <a:latin typeface="BISans"/>
          <a:ea typeface="+mn-ea"/>
          <a:cs typeface="BISan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solidFill>
          <a:latin typeface="BISans"/>
          <a:ea typeface="+mn-ea"/>
          <a:cs typeface="BISan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2880">
          <p15:clr>
            <a:srgbClr val="F26B43"/>
          </p15:clr>
        </p15:guide>
        <p15:guide id="3" pos="431">
          <p15:clr>
            <a:srgbClr val="F26B43"/>
          </p15:clr>
        </p15:guide>
        <p15:guide id="4" orient="horz" pos="59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image" Target="../media/image48.JPG"/><Relationship Id="rId1" Type="http://schemas.openxmlformats.org/officeDocument/2006/relationships/slideLayout" Target="../slideLayouts/slideLayout158.xml"/></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13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13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3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32.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59.png"/><Relationship Id="rId7"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132.xml"/><Relationship Id="rId6" Type="http://schemas.openxmlformats.org/officeDocument/2006/relationships/image" Target="../media/image65.png"/><Relationship Id="rId5" Type="http://schemas.openxmlformats.org/officeDocument/2006/relationships/image" Target="../media/image61.jpeg"/><Relationship Id="rId4" Type="http://schemas.openxmlformats.org/officeDocument/2006/relationships/image" Target="../media/image60.png"/><Relationship Id="rId9" Type="http://schemas.openxmlformats.org/officeDocument/2006/relationships/image" Target="../media/image62.jpeg"/></Relationships>
</file>

<file path=ppt/slides/_rels/slide1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5.xml"/><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2.png"/><Relationship Id="rId2" Type="http://schemas.openxmlformats.org/officeDocument/2006/relationships/image" Target="../media/image68.jpeg"/><Relationship Id="rId1" Type="http://schemas.openxmlformats.org/officeDocument/2006/relationships/slideLayout" Target="../slideLayouts/slideLayout132.xml"/><Relationship Id="rId6" Type="http://schemas.openxmlformats.org/officeDocument/2006/relationships/image" Target="../media/image71.png"/><Relationship Id="rId5" Type="http://schemas.openxmlformats.org/officeDocument/2006/relationships/image" Target="../media/image62.jpeg"/><Relationship Id="rId4" Type="http://schemas.openxmlformats.org/officeDocument/2006/relationships/image" Target="../media/image70.jpeg"/></Relationships>
</file>

<file path=ppt/slides/_rels/slide2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7.xml"/><Relationship Id="rId1" Type="http://schemas.openxmlformats.org/officeDocument/2006/relationships/slideLayout" Target="../slideLayouts/slideLayout132.xml"/><Relationship Id="rId6" Type="http://schemas.microsoft.com/office/2007/relationships/hdphoto" Target="../media/hdphoto3.wdp"/><Relationship Id="rId5" Type="http://schemas.openxmlformats.org/officeDocument/2006/relationships/image" Target="../media/image53.png"/><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xml"/><Relationship Id="rId1" Type="http://schemas.openxmlformats.org/officeDocument/2006/relationships/slideLayout" Target="../slideLayouts/slideLayout132.xml"/><Relationship Id="rId6" Type="http://schemas.microsoft.com/office/2007/relationships/hdphoto" Target="../media/hdphoto3.wdp"/><Relationship Id="rId5" Type="http://schemas.openxmlformats.org/officeDocument/2006/relationships/image" Target="../media/image53.png"/><Relationship Id="rId4" Type="http://schemas.openxmlformats.org/officeDocument/2006/relationships/image" Target="../media/image52.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Layout" Target="../slideLayouts/slideLayout132.xml"/><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133.xml"/><Relationship Id="rId4" Type="http://schemas.openxmlformats.org/officeDocument/2006/relationships/image" Target="../media/image58.png"/></Relationships>
</file>

<file path=ppt/slides/_rels/slide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133.xml"/><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87966" y="4491878"/>
            <a:ext cx="2356922" cy="676852"/>
          </a:xfrm>
          <a:prstGeom prst="rect">
            <a:avLst/>
          </a:prstGeom>
        </p:spPr>
        <p:txBody>
          <a:bodyPr wrap="square">
            <a:spAutoFit/>
          </a:bodyPr>
          <a:lstStyle/>
          <a:p>
            <a:pPr defTabSz="308049" hangingPunct="0"/>
            <a:r>
              <a:rPr lang="en-US" sz="1266" b="1" kern="0" dirty="0">
                <a:solidFill>
                  <a:prstClr val="white">
                    <a:lumMod val="65000"/>
                  </a:prstClr>
                </a:solidFill>
                <a:latin typeface="Helvetica Neue"/>
                <a:sym typeface="Helvetica Neue"/>
              </a:rPr>
              <a:t>#Conv2X</a:t>
            </a:r>
          </a:p>
          <a:p>
            <a:pPr defTabSz="308049" hangingPunct="0"/>
            <a:r>
              <a:rPr lang="en-US" sz="844" b="1" kern="0" dirty="0">
                <a:solidFill>
                  <a:prstClr val="white">
                    <a:lumMod val="65000"/>
                  </a:prstClr>
                </a:solidFill>
                <a:latin typeface="Helvetica Neue"/>
                <a:sym typeface="Helvetica Neue"/>
              </a:rPr>
              <a:t>October 24, 2018</a:t>
            </a:r>
          </a:p>
          <a:p>
            <a:pPr defTabSz="308049" hangingPunct="0"/>
            <a:r>
              <a:rPr lang="en-US" sz="844" b="1" kern="0" dirty="0">
                <a:solidFill>
                  <a:prstClr val="white">
                    <a:lumMod val="65000"/>
                  </a:prstClr>
                </a:solidFill>
                <a:latin typeface="Helvetica Neue"/>
                <a:sym typeface="Helvetica Neue"/>
              </a:rPr>
              <a:t>Lerner Hall Columbia University, NYC, USA</a:t>
            </a:r>
          </a:p>
        </p:txBody>
      </p:sp>
      <p:sp>
        <p:nvSpPr>
          <p:cNvPr id="5" name="Rectangle 4"/>
          <p:cNvSpPr/>
          <p:nvPr/>
        </p:nvSpPr>
        <p:spPr>
          <a:xfrm>
            <a:off x="1538315" y="736673"/>
            <a:ext cx="6015636" cy="1066189"/>
          </a:xfrm>
          <a:prstGeom prst="rect">
            <a:avLst/>
          </a:prstGeom>
        </p:spPr>
        <p:txBody>
          <a:bodyPr wrap="square">
            <a:spAutoFit/>
          </a:bodyPr>
          <a:lstStyle/>
          <a:p>
            <a:pPr algn="ctr" defTabSz="308049" hangingPunct="0"/>
            <a:r>
              <a:rPr lang="en-US" sz="3164" kern="0" dirty="0">
                <a:solidFill>
                  <a:srgbClr val="C00000"/>
                </a:solidFill>
                <a:latin typeface="Avenir Next"/>
                <a:sym typeface="Helvetica Neue"/>
              </a:rPr>
              <a:t>Blockchain Technology in </a:t>
            </a:r>
          </a:p>
          <a:p>
            <a:pPr algn="ctr" defTabSz="308049" hangingPunct="0"/>
            <a:r>
              <a:rPr lang="en-US" sz="3164" kern="0" dirty="0">
                <a:solidFill>
                  <a:srgbClr val="C00000"/>
                </a:solidFill>
                <a:latin typeface="Avenir Next"/>
                <a:sym typeface="Helvetica Neue"/>
              </a:rPr>
              <a:t>Clinic Trials</a:t>
            </a:r>
            <a:endParaRPr lang="en-US" sz="3164" kern="0" dirty="0">
              <a:solidFill>
                <a:srgbClr val="C00000"/>
              </a:solidFill>
              <a:latin typeface="Helvetica Neue"/>
              <a:sym typeface="Helvetica Neue"/>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34893" y="4465687"/>
            <a:ext cx="1960519" cy="567640"/>
          </a:xfrm>
          <a:prstGeom prst="rect">
            <a:avLst/>
          </a:prstGeom>
        </p:spPr>
      </p:pic>
      <p:sp>
        <p:nvSpPr>
          <p:cNvPr id="8" name="Rectangle 7"/>
          <p:cNvSpPr/>
          <p:nvPr/>
        </p:nvSpPr>
        <p:spPr>
          <a:xfrm>
            <a:off x="3731569" y="3323568"/>
            <a:ext cx="1629127" cy="287130"/>
          </a:xfrm>
          <a:prstGeom prst="rect">
            <a:avLst/>
          </a:prstGeom>
        </p:spPr>
        <p:txBody>
          <a:bodyPr wrap="square">
            <a:spAutoFit/>
          </a:bodyPr>
          <a:lstStyle/>
          <a:p>
            <a:pPr algn="ctr" defTabSz="308049" hangingPunct="0"/>
            <a:r>
              <a:rPr lang="en-US" sz="1266" b="1" kern="0" dirty="0" err="1">
                <a:solidFill>
                  <a:srgbClr val="545454"/>
                </a:solidFill>
                <a:latin typeface="Helvetica Neue"/>
                <a:sym typeface="Helvetica Neue"/>
              </a:rPr>
              <a:t>Uli</a:t>
            </a:r>
            <a:r>
              <a:rPr lang="en-US" sz="1266" b="1" kern="0" dirty="0">
                <a:solidFill>
                  <a:srgbClr val="545454"/>
                </a:solidFill>
                <a:latin typeface="Helvetica Neue"/>
                <a:sym typeface="Helvetica Neue"/>
              </a:rPr>
              <a:t> </a:t>
            </a:r>
            <a:r>
              <a:rPr lang="en-US" sz="1266" b="1" kern="0" dirty="0" err="1">
                <a:solidFill>
                  <a:srgbClr val="545454"/>
                </a:solidFill>
                <a:latin typeface="Helvetica Neue"/>
                <a:sym typeface="Helvetica Neue"/>
              </a:rPr>
              <a:t>Broedl</a:t>
            </a:r>
            <a:endParaRPr lang="en-US" sz="1266" b="1" kern="0" dirty="0">
              <a:solidFill>
                <a:srgbClr val="545454"/>
              </a:solidFill>
              <a:latin typeface="Helvetica Neue"/>
              <a:sym typeface="Helvetica Neue"/>
            </a:endParaRPr>
          </a:p>
        </p:txBody>
      </p:sp>
      <p:pic>
        <p:nvPicPr>
          <p:cNvPr id="3" name="Picture 2">
            <a:extLst>
              <a:ext uri="{FF2B5EF4-FFF2-40B4-BE49-F238E27FC236}">
                <a16:creationId xmlns:a16="http://schemas.microsoft.com/office/drawing/2014/main" id="{5587255F-439F-2D47-A52F-1141BC71DDDD}"/>
              </a:ext>
            </a:extLst>
          </p:cNvPr>
          <p:cNvPicPr>
            <a:picLocks noChangeAspect="1"/>
          </p:cNvPicPr>
          <p:nvPr/>
        </p:nvPicPr>
        <p:blipFill>
          <a:blip r:embed="rId3"/>
          <a:stretch>
            <a:fillRect/>
          </a:stretch>
        </p:blipFill>
        <p:spPr>
          <a:xfrm>
            <a:off x="3994128" y="2205168"/>
            <a:ext cx="1104010" cy="1104010"/>
          </a:xfrm>
          <a:prstGeom prst="rect">
            <a:avLst/>
          </a:prstGeom>
        </p:spPr>
      </p:pic>
    </p:spTree>
    <p:extLst>
      <p:ext uri="{BB962C8B-B14F-4D97-AF65-F5344CB8AC3E}">
        <p14:creationId xmlns:p14="http://schemas.microsoft.com/office/powerpoint/2010/main" val="325957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3482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Flow </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3505" y="1225855"/>
            <a:ext cx="1347599" cy="839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4" name="Picture 2" descr="Image result for study eligibility criter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4371" y="1225855"/>
            <a:ext cx="1357810" cy="83951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data shar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9937" y="1225855"/>
            <a:ext cx="1362667" cy="83951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a:off x="1813640" y="1647881"/>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866364" y="2257588"/>
            <a:ext cx="1698087" cy="738664"/>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Data collection,</a:t>
            </a:r>
          </a:p>
          <a:p>
            <a:pPr algn="ctr"/>
            <a:r>
              <a:rPr lang="en-US" sz="1600" dirty="0">
                <a:latin typeface="Arial" panose="020B0604020202020204" pitchFamily="34" charset="0"/>
                <a:cs typeface="Arial" panose="020B0604020202020204" pitchFamily="34" charset="0"/>
              </a:rPr>
              <a:t>Procedures and</a:t>
            </a:r>
          </a:p>
          <a:p>
            <a:pPr algn="ctr"/>
            <a:r>
              <a:rPr lang="en-US" sz="1600" dirty="0">
                <a:latin typeface="Arial" panose="020B0604020202020204" pitchFamily="34" charset="0"/>
                <a:cs typeface="Arial" panose="020B0604020202020204" pitchFamily="34" charset="0"/>
              </a:rPr>
              <a:t>Interventions</a:t>
            </a:r>
          </a:p>
        </p:txBody>
      </p:sp>
      <p:sp>
        <p:nvSpPr>
          <p:cNvPr id="62" name="TextBox 61"/>
          <p:cNvSpPr txBox="1"/>
          <p:nvPr/>
        </p:nvSpPr>
        <p:spPr>
          <a:xfrm>
            <a:off x="2706422" y="2257965"/>
            <a:ext cx="129497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creening</a:t>
            </a:r>
          </a:p>
        </p:txBody>
      </p:sp>
      <p:sp>
        <p:nvSpPr>
          <p:cNvPr id="64" name="TextBox 63"/>
          <p:cNvSpPr txBox="1"/>
          <p:nvPr/>
        </p:nvSpPr>
        <p:spPr>
          <a:xfrm>
            <a:off x="7439937" y="2257212"/>
            <a:ext cx="1294977"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econdary                       Data Sharing</a:t>
            </a:r>
          </a:p>
        </p:txBody>
      </p:sp>
      <p:cxnSp>
        <p:nvCxnSpPr>
          <p:cNvPr id="26" name="Straight Arrow Connector 25"/>
          <p:cNvCxnSpPr/>
          <p:nvPr/>
        </p:nvCxnSpPr>
        <p:spPr>
          <a:xfrm>
            <a:off x="4189046" y="165838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564452" y="165312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2465" y="2264646"/>
            <a:ext cx="1316925"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pic>
        <p:nvPicPr>
          <p:cNvPr id="28" name="Picture 8" descr="Image result for electronic informed consent clipart"/>
          <p:cNvPicPr>
            <a:picLocks noChangeAspect="1" noChangeArrowheads="1"/>
          </p:cNvPicPr>
          <p:nvPr/>
        </p:nvPicPr>
        <p:blipFill rotWithShape="1">
          <a:blip r:embed="rId6">
            <a:extLst>
              <a:ext uri="{28A0092B-C50C-407E-A947-70E740481C1C}">
                <a14:useLocalDpi xmlns:a14="http://schemas.microsoft.com/office/drawing/2010/main" val="0"/>
              </a:ext>
            </a:extLst>
          </a:blip>
          <a:srcRect b="7944"/>
          <a:stretch/>
        </p:blipFill>
        <p:spPr bwMode="auto">
          <a:xfrm>
            <a:off x="285755" y="1233289"/>
            <a:ext cx="1353635" cy="839517"/>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90268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3482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Flow – Health Authority</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3505" y="1225855"/>
            <a:ext cx="1347599" cy="839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4" name="Picture 2" descr="Image result for study eligibility criter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4371" y="1225855"/>
            <a:ext cx="1357810" cy="83951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data shar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9937" y="1225855"/>
            <a:ext cx="1362667" cy="83951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a:off x="1813640" y="1647881"/>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866364" y="2257588"/>
            <a:ext cx="1698087" cy="738664"/>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Data collection,</a:t>
            </a:r>
          </a:p>
          <a:p>
            <a:pPr algn="ctr"/>
            <a:r>
              <a:rPr lang="en-US" sz="1600" dirty="0">
                <a:latin typeface="Arial" panose="020B0604020202020204" pitchFamily="34" charset="0"/>
                <a:cs typeface="Arial" panose="020B0604020202020204" pitchFamily="34" charset="0"/>
              </a:rPr>
              <a:t>Procedures and</a:t>
            </a:r>
          </a:p>
          <a:p>
            <a:pPr algn="ctr"/>
            <a:r>
              <a:rPr lang="en-US" sz="1600" dirty="0">
                <a:latin typeface="Arial" panose="020B0604020202020204" pitchFamily="34" charset="0"/>
                <a:cs typeface="Arial" panose="020B0604020202020204" pitchFamily="34" charset="0"/>
              </a:rPr>
              <a:t>Interventions</a:t>
            </a:r>
          </a:p>
        </p:txBody>
      </p:sp>
      <p:sp>
        <p:nvSpPr>
          <p:cNvPr id="62" name="TextBox 61"/>
          <p:cNvSpPr txBox="1"/>
          <p:nvPr/>
        </p:nvSpPr>
        <p:spPr>
          <a:xfrm>
            <a:off x="2706422" y="2257965"/>
            <a:ext cx="129497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creening</a:t>
            </a:r>
          </a:p>
        </p:txBody>
      </p:sp>
      <p:sp>
        <p:nvSpPr>
          <p:cNvPr id="64" name="TextBox 63"/>
          <p:cNvSpPr txBox="1"/>
          <p:nvPr/>
        </p:nvSpPr>
        <p:spPr>
          <a:xfrm>
            <a:off x="7439937" y="2257212"/>
            <a:ext cx="1294977"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econdary                       Data Sharing</a:t>
            </a:r>
          </a:p>
        </p:txBody>
      </p:sp>
      <p:cxnSp>
        <p:nvCxnSpPr>
          <p:cNvPr id="26" name="Straight Arrow Connector 25"/>
          <p:cNvCxnSpPr/>
          <p:nvPr/>
        </p:nvCxnSpPr>
        <p:spPr>
          <a:xfrm>
            <a:off x="4189046" y="165838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564452" y="165312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171341" y="3405421"/>
            <a:ext cx="8783473" cy="984885"/>
          </a:xfrm>
          <a:prstGeom prst="rect">
            <a:avLst/>
          </a:prstGeom>
          <a:noFill/>
        </p:spPr>
        <p:txBody>
          <a:bodyPr wrap="square" lIns="0" tIns="0" rIns="0" bIns="0" rtlCol="0">
            <a:spAutoFit/>
          </a:bodyPr>
          <a:lstStyle/>
          <a:p>
            <a:endParaRPr lang="en-US" sz="1400" dirty="0"/>
          </a:p>
          <a:p>
            <a:pPr algn="ctr"/>
            <a:r>
              <a:rPr lang="en-US" dirty="0">
                <a:latin typeface="Arial" panose="020B0604020202020204" pitchFamily="34" charset="0"/>
                <a:cs typeface="Arial" panose="020B0604020202020204" pitchFamily="34" charset="0"/>
              </a:rPr>
              <a:t>The rights, safety, and well-being of the trial subjects are the most important considerations and should prevail over interests of science and society*</a:t>
            </a:r>
          </a:p>
          <a:p>
            <a:endParaRPr lang="en-US" sz="1400" dirty="0"/>
          </a:p>
        </p:txBody>
      </p:sp>
      <p:sp>
        <p:nvSpPr>
          <p:cNvPr id="5" name="TextBox 4"/>
          <p:cNvSpPr txBox="1"/>
          <p:nvPr/>
        </p:nvSpPr>
        <p:spPr>
          <a:xfrm>
            <a:off x="591749" y="4603537"/>
            <a:ext cx="7748204" cy="153888"/>
          </a:xfrm>
          <a:prstGeom prst="rect">
            <a:avLst/>
          </a:prstGeom>
          <a:noFill/>
        </p:spPr>
        <p:txBody>
          <a:bodyPr wrap="square" lIns="0" tIns="0" rIns="0" bIns="0" rtlCol="0">
            <a:spAutoFit/>
          </a:bodyPr>
          <a:lstStyle/>
          <a:p>
            <a:r>
              <a:rPr lang="en-US" sz="1000" dirty="0">
                <a:latin typeface="Arial" panose="020B0604020202020204" pitchFamily="34" charset="0"/>
                <a:cs typeface="Arial" panose="020B0604020202020204" pitchFamily="34" charset="0"/>
              </a:rPr>
              <a:t>*E6 (R2) Good Clinical Practice: Integrated Addendum to ICH E6(R1); US HHS, FDA, CDER, CBER, 2018</a:t>
            </a:r>
          </a:p>
        </p:txBody>
      </p:sp>
      <p:sp>
        <p:nvSpPr>
          <p:cNvPr id="23" name="TextBox 22"/>
          <p:cNvSpPr txBox="1"/>
          <p:nvPr/>
        </p:nvSpPr>
        <p:spPr>
          <a:xfrm>
            <a:off x="322465" y="2264646"/>
            <a:ext cx="1316925"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pic>
        <p:nvPicPr>
          <p:cNvPr id="28" name="Picture 8" descr="Image result for electronic informed consent clipart"/>
          <p:cNvPicPr>
            <a:picLocks noChangeAspect="1" noChangeArrowheads="1"/>
          </p:cNvPicPr>
          <p:nvPr/>
        </p:nvPicPr>
        <p:blipFill rotWithShape="1">
          <a:blip r:embed="rId6">
            <a:extLst>
              <a:ext uri="{28A0092B-C50C-407E-A947-70E740481C1C}">
                <a14:useLocalDpi xmlns:a14="http://schemas.microsoft.com/office/drawing/2010/main" val="0"/>
              </a:ext>
            </a:extLst>
          </a:blip>
          <a:srcRect b="7944"/>
          <a:stretch/>
        </p:blipFill>
        <p:spPr bwMode="auto">
          <a:xfrm>
            <a:off x="285755" y="1233289"/>
            <a:ext cx="1353635" cy="839517"/>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8"/>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698594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40229"/>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Observations during GCP inspections across Canada 2015-2016</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5775" y="1476512"/>
            <a:ext cx="6703963" cy="2640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p:nvSpPr>
        <p:spPr>
          <a:xfrm>
            <a:off x="307975" y="1082420"/>
            <a:ext cx="8248195" cy="307777"/>
          </a:xfrm>
          <a:prstGeom prst="rect">
            <a:avLst/>
          </a:prstGeom>
        </p:spPr>
        <p:txBody>
          <a:bodyPr wrap="square">
            <a:spAutoFit/>
          </a:bodyPr>
          <a:lstStyle/>
          <a:p>
            <a:r>
              <a:rPr lang="en-US" sz="1400" b="1" dirty="0">
                <a:latin typeface="Arial" panose="020B0604020202020204" pitchFamily="34" charset="0"/>
                <a:cs typeface="Arial" panose="020B0604020202020204" pitchFamily="34" charset="0"/>
              </a:rPr>
              <a:t>Percentage number of observations cited during GCP inspections across Canada in 2015–2016</a:t>
            </a:r>
          </a:p>
        </p:txBody>
      </p:sp>
      <p:sp>
        <p:nvSpPr>
          <p:cNvPr id="13" name="TextBox 12"/>
          <p:cNvSpPr txBox="1"/>
          <p:nvPr/>
        </p:nvSpPr>
        <p:spPr>
          <a:xfrm>
            <a:off x="460375" y="4479256"/>
            <a:ext cx="7828008" cy="307777"/>
          </a:xfrm>
          <a:prstGeom prst="rect">
            <a:avLst/>
          </a:prstGeom>
          <a:noFill/>
        </p:spPr>
        <p:txBody>
          <a:bodyPr wrap="square" lIns="0" tIns="0" rIns="0" bIns="0" rtlCol="0">
            <a:spAutoFit/>
          </a:bodyPr>
          <a:lstStyle/>
          <a:p>
            <a:r>
              <a:rPr lang="en-US" sz="1000" dirty="0">
                <a:latin typeface="Arial" panose="020B0604020202020204" pitchFamily="34" charset="0"/>
                <a:cs typeface="Arial" panose="020B0604020202020204" pitchFamily="34" charset="0"/>
              </a:rPr>
              <a:t>Inspectorate Program Annual Inspection Summary Report 2015 – 2016 - Canada.ca</a:t>
            </a:r>
          </a:p>
          <a:p>
            <a:r>
              <a:rPr lang="en-US" sz="1000" dirty="0">
                <a:latin typeface="Arial" panose="020B0604020202020204" pitchFamily="34" charset="0"/>
                <a:cs typeface="Arial" panose="020B0604020202020204" pitchFamily="34" charset="0"/>
              </a:rPr>
              <a:t>GCP, Good Clinical Practice</a:t>
            </a:r>
          </a:p>
        </p:txBody>
      </p:sp>
      <p:sp>
        <p:nvSpPr>
          <p:cNvPr id="5" name="Footer Placeholder 4"/>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907920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3482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Flow - Sponsor</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3505" y="1225855"/>
            <a:ext cx="1347599" cy="839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4" name="Picture 2" descr="Image result for study eligibility criter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4371" y="1225855"/>
            <a:ext cx="1357810" cy="83951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data shar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9937" y="1225855"/>
            <a:ext cx="1362667" cy="83951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a:off x="1813640" y="1647881"/>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866364" y="2257588"/>
            <a:ext cx="1698087" cy="738664"/>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Data collection,</a:t>
            </a:r>
          </a:p>
          <a:p>
            <a:pPr algn="ctr"/>
            <a:r>
              <a:rPr lang="en-US" sz="1600" dirty="0">
                <a:latin typeface="Arial" panose="020B0604020202020204" pitchFamily="34" charset="0"/>
                <a:cs typeface="Arial" panose="020B0604020202020204" pitchFamily="34" charset="0"/>
              </a:rPr>
              <a:t>Procedures and</a:t>
            </a:r>
          </a:p>
          <a:p>
            <a:pPr algn="ctr"/>
            <a:r>
              <a:rPr lang="en-US" sz="1600" dirty="0">
                <a:latin typeface="Arial" panose="020B0604020202020204" pitchFamily="34" charset="0"/>
                <a:cs typeface="Arial" panose="020B0604020202020204" pitchFamily="34" charset="0"/>
              </a:rPr>
              <a:t>Interventions</a:t>
            </a:r>
          </a:p>
        </p:txBody>
      </p:sp>
      <p:sp>
        <p:nvSpPr>
          <p:cNvPr id="62" name="TextBox 61"/>
          <p:cNvSpPr txBox="1"/>
          <p:nvPr/>
        </p:nvSpPr>
        <p:spPr>
          <a:xfrm>
            <a:off x="2706422" y="2257965"/>
            <a:ext cx="129497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creening</a:t>
            </a:r>
          </a:p>
        </p:txBody>
      </p:sp>
      <p:sp>
        <p:nvSpPr>
          <p:cNvPr id="64" name="TextBox 63"/>
          <p:cNvSpPr txBox="1"/>
          <p:nvPr/>
        </p:nvSpPr>
        <p:spPr>
          <a:xfrm>
            <a:off x="7439937" y="2257212"/>
            <a:ext cx="1294977"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econdary                       Data Sharing</a:t>
            </a:r>
          </a:p>
        </p:txBody>
      </p:sp>
      <p:cxnSp>
        <p:nvCxnSpPr>
          <p:cNvPr id="26" name="Straight Arrow Connector 25"/>
          <p:cNvCxnSpPr/>
          <p:nvPr/>
        </p:nvCxnSpPr>
        <p:spPr>
          <a:xfrm>
            <a:off x="4189046" y="165838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564452" y="165312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10652" y="3405421"/>
            <a:ext cx="8563573" cy="707886"/>
          </a:xfrm>
          <a:prstGeom prst="rect">
            <a:avLst/>
          </a:prstGeom>
          <a:noFill/>
        </p:spPr>
        <p:txBody>
          <a:bodyPr wrap="square" lIns="0" tIns="0" rIns="0" bIns="0" rtlCol="0">
            <a:spAutoFit/>
          </a:bodyPr>
          <a:lstStyle/>
          <a:p>
            <a:pPr algn="ctr"/>
            <a:endParaRPr lang="en-US" sz="1400" dirty="0"/>
          </a:p>
          <a:p>
            <a:pPr algn="ctr"/>
            <a:r>
              <a:rPr lang="en-US" dirty="0">
                <a:latin typeface="Arial" panose="020B0604020202020204" pitchFamily="34" charset="0"/>
                <a:cs typeface="Arial" panose="020B0604020202020204" pitchFamily="34" charset="0"/>
              </a:rPr>
              <a:t>The sponsor ensures oversight of any trial-related duties and functions 	</a:t>
            </a:r>
          </a:p>
          <a:p>
            <a:endParaRPr lang="en-US" sz="1400" dirty="0"/>
          </a:p>
        </p:txBody>
      </p:sp>
      <p:sp>
        <p:nvSpPr>
          <p:cNvPr id="5" name="TextBox 4"/>
          <p:cNvSpPr txBox="1"/>
          <p:nvPr/>
        </p:nvSpPr>
        <p:spPr>
          <a:xfrm>
            <a:off x="591749" y="4603537"/>
            <a:ext cx="7748204" cy="153888"/>
          </a:xfrm>
          <a:prstGeom prst="rect">
            <a:avLst/>
          </a:prstGeom>
          <a:noFill/>
        </p:spPr>
        <p:txBody>
          <a:bodyPr wrap="square" lIns="0" tIns="0" rIns="0" bIns="0" rtlCol="0">
            <a:spAutoFit/>
          </a:bodyPr>
          <a:lstStyle/>
          <a:p>
            <a:r>
              <a:rPr lang="en-US" sz="1000" dirty="0">
                <a:latin typeface="Arial" panose="020B0604020202020204" pitchFamily="34" charset="0"/>
                <a:cs typeface="Arial" panose="020B0604020202020204" pitchFamily="34" charset="0"/>
              </a:rPr>
              <a:t>E6 (R2) Good Clinical Practice: Integrated Addendum to ICH E6(R1); US HHS, FDA, CDER, CBER, 2018</a:t>
            </a:r>
          </a:p>
        </p:txBody>
      </p:sp>
      <p:sp>
        <p:nvSpPr>
          <p:cNvPr id="23" name="TextBox 22"/>
          <p:cNvSpPr txBox="1"/>
          <p:nvPr/>
        </p:nvSpPr>
        <p:spPr>
          <a:xfrm>
            <a:off x="322465" y="2264646"/>
            <a:ext cx="1316925"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pic>
        <p:nvPicPr>
          <p:cNvPr id="28" name="Picture 8" descr="Image result for electronic informed consent clipart"/>
          <p:cNvPicPr>
            <a:picLocks noChangeAspect="1" noChangeArrowheads="1"/>
          </p:cNvPicPr>
          <p:nvPr/>
        </p:nvPicPr>
        <p:blipFill rotWithShape="1">
          <a:blip r:embed="rId6">
            <a:extLst>
              <a:ext uri="{28A0092B-C50C-407E-A947-70E740481C1C}">
                <a14:useLocalDpi xmlns:a14="http://schemas.microsoft.com/office/drawing/2010/main" val="0"/>
              </a:ext>
            </a:extLst>
          </a:blip>
          <a:srcRect b="7944"/>
          <a:stretch/>
        </p:blipFill>
        <p:spPr bwMode="auto">
          <a:xfrm>
            <a:off x="285755" y="1233289"/>
            <a:ext cx="1353635" cy="839517"/>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8"/>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4272307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50757"/>
            <a:ext cx="8408850"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osts of Clinical Trials</a:t>
            </a:r>
            <a:endParaRPr lang="en-US" sz="1800" dirty="0">
              <a:solidFill>
                <a:schemeClr val="tx1"/>
              </a:solidFill>
              <a:latin typeface="Arial" panose="020B0604020202020204" pitchFamily="34" charset="0"/>
              <a:cs typeface="Arial" panose="020B0604020202020204" pitchFamily="34" charset="0"/>
            </a:endParaRPr>
          </a:p>
        </p:txBody>
      </p:sp>
      <p:pic>
        <p:nvPicPr>
          <p:cNvPr id="19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9322" y="1442999"/>
            <a:ext cx="3252017" cy="2436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uppierung 37"/>
          <p:cNvGrpSpPr/>
          <p:nvPr/>
        </p:nvGrpSpPr>
        <p:grpSpPr>
          <a:xfrm>
            <a:off x="508092" y="2014233"/>
            <a:ext cx="3855222" cy="1277608"/>
            <a:chOff x="360000" y="2916000"/>
            <a:chExt cx="2320974" cy="717602"/>
          </a:xfrm>
        </p:grpSpPr>
        <p:grpSp>
          <p:nvGrpSpPr>
            <p:cNvPr id="8" name="Gruppierung 38"/>
            <p:cNvGrpSpPr>
              <a:grpSpLocks noChangeAspect="1"/>
            </p:cNvGrpSpPr>
            <p:nvPr/>
          </p:nvGrpSpPr>
          <p:grpSpPr>
            <a:xfrm>
              <a:off x="360000" y="2916000"/>
              <a:ext cx="717602" cy="717602"/>
              <a:chOff x="4152577" y="3148886"/>
              <a:chExt cx="1077604" cy="1077604"/>
            </a:xfrm>
            <a:gradFill flip="none" rotWithShape="1">
              <a:gsLst>
                <a:gs pos="0">
                  <a:schemeClr val="accent1">
                    <a:lumMod val="50000"/>
                  </a:schemeClr>
                </a:gs>
                <a:gs pos="100000">
                  <a:schemeClr val="accent2"/>
                </a:gs>
              </a:gsLst>
              <a:lin ang="0" scaled="1"/>
              <a:tileRect/>
            </a:gradFill>
          </p:grpSpPr>
          <p:grpSp>
            <p:nvGrpSpPr>
              <p:cNvPr id="10" name="Gruppierung 40"/>
              <p:cNvGrpSpPr>
                <a:grpSpLocks noChangeAspect="1"/>
              </p:cNvGrpSpPr>
              <p:nvPr/>
            </p:nvGrpSpPr>
            <p:grpSpPr>
              <a:xfrm>
                <a:off x="4419727" y="3384420"/>
                <a:ext cx="576000" cy="489238"/>
                <a:chOff x="3436938" y="1992313"/>
                <a:chExt cx="3530600" cy="2998787"/>
              </a:xfrm>
              <a:grpFill/>
            </p:grpSpPr>
            <p:sp>
              <p:nvSpPr>
                <p:cNvPr id="12" name="Freeform 1"/>
                <p:cNvSpPr>
                  <a:spLocks noChangeArrowheads="1"/>
                </p:cNvSpPr>
                <p:nvPr/>
              </p:nvSpPr>
              <p:spPr bwMode="auto">
                <a:xfrm>
                  <a:off x="3751263" y="3181350"/>
                  <a:ext cx="2894012" cy="936625"/>
                </a:xfrm>
                <a:custGeom>
                  <a:avLst/>
                  <a:gdLst>
                    <a:gd name="T0" fmla="*/ 144 w 8040"/>
                    <a:gd name="T1" fmla="*/ 2597 h 2601"/>
                    <a:gd name="T2" fmla="*/ 64 w 8040"/>
                    <a:gd name="T3" fmla="*/ 2576 h 2601"/>
                    <a:gd name="T4" fmla="*/ 35 w 8040"/>
                    <a:gd name="T5" fmla="*/ 2552 h 2601"/>
                    <a:gd name="T6" fmla="*/ 12 w 8040"/>
                    <a:gd name="T7" fmla="*/ 2507 h 2601"/>
                    <a:gd name="T8" fmla="*/ 0 w 8040"/>
                    <a:gd name="T9" fmla="*/ 2348 h 2601"/>
                    <a:gd name="T10" fmla="*/ 29 w 8040"/>
                    <a:gd name="T11" fmla="*/ 1462 h 2601"/>
                    <a:gd name="T12" fmla="*/ 64 w 8040"/>
                    <a:gd name="T13" fmla="*/ 1326 h 2601"/>
                    <a:gd name="T14" fmla="*/ 132 w 8040"/>
                    <a:gd name="T15" fmla="*/ 1205 h 2601"/>
                    <a:gd name="T16" fmla="*/ 285 w 8040"/>
                    <a:gd name="T17" fmla="*/ 1047 h 2601"/>
                    <a:gd name="T18" fmla="*/ 465 w 8040"/>
                    <a:gd name="T19" fmla="*/ 932 h 2601"/>
                    <a:gd name="T20" fmla="*/ 664 w 8040"/>
                    <a:gd name="T21" fmla="*/ 881 h 2601"/>
                    <a:gd name="T22" fmla="*/ 2794 w 8040"/>
                    <a:gd name="T23" fmla="*/ 875 h 2601"/>
                    <a:gd name="T24" fmla="*/ 2913 w 8040"/>
                    <a:gd name="T25" fmla="*/ 883 h 2601"/>
                    <a:gd name="T26" fmla="*/ 2946 w 8040"/>
                    <a:gd name="T27" fmla="*/ 898 h 2601"/>
                    <a:gd name="T28" fmla="*/ 2964 w 8040"/>
                    <a:gd name="T29" fmla="*/ 919 h 2601"/>
                    <a:gd name="T30" fmla="*/ 2978 w 8040"/>
                    <a:gd name="T31" fmla="*/ 978 h 2601"/>
                    <a:gd name="T32" fmla="*/ 2981 w 8040"/>
                    <a:gd name="T33" fmla="*/ 1623 h 2601"/>
                    <a:gd name="T34" fmla="*/ 2986 w 8040"/>
                    <a:gd name="T35" fmla="*/ 1698 h 2601"/>
                    <a:gd name="T36" fmla="*/ 2998 w 8040"/>
                    <a:gd name="T37" fmla="*/ 1736 h 2601"/>
                    <a:gd name="T38" fmla="*/ 3050 w 8040"/>
                    <a:gd name="T39" fmla="*/ 1802 h 2601"/>
                    <a:gd name="T40" fmla="*/ 3099 w 8040"/>
                    <a:gd name="T41" fmla="*/ 1841 h 2601"/>
                    <a:gd name="T42" fmla="*/ 3139 w 8040"/>
                    <a:gd name="T43" fmla="*/ 1857 h 2601"/>
                    <a:gd name="T44" fmla="*/ 3180 w 8040"/>
                    <a:gd name="T45" fmla="*/ 1852 h 2601"/>
                    <a:gd name="T46" fmla="*/ 3226 w 8040"/>
                    <a:gd name="T47" fmla="*/ 1829 h 2601"/>
                    <a:gd name="T48" fmla="*/ 3267 w 8040"/>
                    <a:gd name="T49" fmla="*/ 1795 h 2601"/>
                    <a:gd name="T50" fmla="*/ 3293 w 8040"/>
                    <a:gd name="T51" fmla="*/ 1758 h 2601"/>
                    <a:gd name="T52" fmla="*/ 3314 w 8040"/>
                    <a:gd name="T53" fmla="*/ 1614 h 2601"/>
                    <a:gd name="T54" fmla="*/ 3322 w 8040"/>
                    <a:gd name="T55" fmla="*/ 1120 h 2601"/>
                    <a:gd name="T56" fmla="*/ 3321 w 8040"/>
                    <a:gd name="T57" fmla="*/ 979 h 2601"/>
                    <a:gd name="T58" fmla="*/ 3339 w 8040"/>
                    <a:gd name="T59" fmla="*/ 924 h 2601"/>
                    <a:gd name="T60" fmla="*/ 3379 w 8040"/>
                    <a:gd name="T61" fmla="*/ 890 h 2601"/>
                    <a:gd name="T62" fmla="*/ 3442 w 8040"/>
                    <a:gd name="T63" fmla="*/ 875 h 2601"/>
                    <a:gd name="T64" fmla="*/ 3517 w 8040"/>
                    <a:gd name="T65" fmla="*/ 882 h 2601"/>
                    <a:gd name="T66" fmla="*/ 3568 w 8040"/>
                    <a:gd name="T67" fmla="*/ 909 h 2601"/>
                    <a:gd name="T68" fmla="*/ 3596 w 8040"/>
                    <a:gd name="T69" fmla="*/ 955 h 2601"/>
                    <a:gd name="T70" fmla="*/ 3607 w 8040"/>
                    <a:gd name="T71" fmla="*/ 1037 h 2601"/>
                    <a:gd name="T72" fmla="*/ 3622 w 8040"/>
                    <a:gd name="T73" fmla="*/ 1728 h 2601"/>
                    <a:gd name="T74" fmla="*/ 3668 w 8040"/>
                    <a:gd name="T75" fmla="*/ 1815 h 2601"/>
                    <a:gd name="T76" fmla="*/ 3728 w 8040"/>
                    <a:gd name="T77" fmla="*/ 1852 h 2601"/>
                    <a:gd name="T78" fmla="*/ 3893 w 8040"/>
                    <a:gd name="T79" fmla="*/ 1872 h 2601"/>
                    <a:gd name="T80" fmla="*/ 5846 w 8040"/>
                    <a:gd name="T81" fmla="*/ 1871 h 2601"/>
                    <a:gd name="T82" fmla="*/ 5937 w 8040"/>
                    <a:gd name="T83" fmla="*/ 1844 h 2601"/>
                    <a:gd name="T84" fmla="*/ 6072 w 8040"/>
                    <a:gd name="T85" fmla="*/ 1758 h 2601"/>
                    <a:gd name="T86" fmla="*/ 7653 w 8040"/>
                    <a:gd name="T87" fmla="*/ 178 h 2601"/>
                    <a:gd name="T88" fmla="*/ 7810 w 8040"/>
                    <a:gd name="T89" fmla="*/ 36 h 2601"/>
                    <a:gd name="T90" fmla="*/ 7872 w 8040"/>
                    <a:gd name="T91" fmla="*/ 12 h 2601"/>
                    <a:gd name="T92" fmla="*/ 7977 w 8040"/>
                    <a:gd name="T93" fmla="*/ 0 h 2601"/>
                    <a:gd name="T94" fmla="*/ 7986 w 8040"/>
                    <a:gd name="T95" fmla="*/ 4 h 2601"/>
                    <a:gd name="T96" fmla="*/ 8006 w 8040"/>
                    <a:gd name="T97" fmla="*/ 34 h 2601"/>
                    <a:gd name="T98" fmla="*/ 8035 w 8040"/>
                    <a:gd name="T99" fmla="*/ 128 h 2601"/>
                    <a:gd name="T100" fmla="*/ 8038 w 8040"/>
                    <a:gd name="T101" fmla="*/ 2448 h 2601"/>
                    <a:gd name="T102" fmla="*/ 8023 w 8040"/>
                    <a:gd name="T103" fmla="*/ 2541 h 2601"/>
                    <a:gd name="T104" fmla="*/ 8005 w 8040"/>
                    <a:gd name="T105" fmla="*/ 2568 h 2601"/>
                    <a:gd name="T106" fmla="*/ 7977 w 8040"/>
                    <a:gd name="T107" fmla="*/ 2584 h 2601"/>
                    <a:gd name="T108" fmla="*/ 7811 w 8040"/>
                    <a:gd name="T109" fmla="*/ 2598 h 2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40" h="2601">
                      <a:moveTo>
                        <a:pt x="4016" y="2600"/>
                      </a:moveTo>
                      <a:lnTo>
                        <a:pt x="250" y="2600"/>
                      </a:lnTo>
                      <a:lnTo>
                        <a:pt x="175" y="2599"/>
                      </a:lnTo>
                      <a:lnTo>
                        <a:pt x="144" y="2597"/>
                      </a:lnTo>
                      <a:lnTo>
                        <a:pt x="117" y="2593"/>
                      </a:lnTo>
                      <a:lnTo>
                        <a:pt x="93" y="2588"/>
                      </a:lnTo>
                      <a:lnTo>
                        <a:pt x="73" y="2580"/>
                      </a:lnTo>
                      <a:lnTo>
                        <a:pt x="64" y="2576"/>
                      </a:lnTo>
                      <a:lnTo>
                        <a:pt x="55" y="2571"/>
                      </a:lnTo>
                      <a:lnTo>
                        <a:pt x="48" y="2565"/>
                      </a:lnTo>
                      <a:lnTo>
                        <a:pt x="41" y="2559"/>
                      </a:lnTo>
                      <a:lnTo>
                        <a:pt x="35" y="2552"/>
                      </a:lnTo>
                      <a:lnTo>
                        <a:pt x="29" y="2545"/>
                      </a:lnTo>
                      <a:lnTo>
                        <a:pt x="24" y="2537"/>
                      </a:lnTo>
                      <a:lnTo>
                        <a:pt x="19" y="2527"/>
                      </a:lnTo>
                      <a:lnTo>
                        <a:pt x="12" y="2507"/>
                      </a:lnTo>
                      <a:lnTo>
                        <a:pt x="7" y="2483"/>
                      </a:lnTo>
                      <a:lnTo>
                        <a:pt x="3" y="2456"/>
                      </a:lnTo>
                      <a:lnTo>
                        <a:pt x="1" y="2424"/>
                      </a:lnTo>
                      <a:lnTo>
                        <a:pt x="0" y="2348"/>
                      </a:lnTo>
                      <a:lnTo>
                        <a:pt x="2" y="1904"/>
                      </a:lnTo>
                      <a:lnTo>
                        <a:pt x="10" y="1682"/>
                      </a:lnTo>
                      <a:lnTo>
                        <a:pt x="18" y="1572"/>
                      </a:lnTo>
                      <a:lnTo>
                        <a:pt x="29" y="1462"/>
                      </a:lnTo>
                      <a:lnTo>
                        <a:pt x="34" y="1426"/>
                      </a:lnTo>
                      <a:lnTo>
                        <a:pt x="42" y="1392"/>
                      </a:lnTo>
                      <a:lnTo>
                        <a:pt x="52" y="1358"/>
                      </a:lnTo>
                      <a:lnTo>
                        <a:pt x="64" y="1326"/>
                      </a:lnTo>
                      <a:lnTo>
                        <a:pt x="78" y="1294"/>
                      </a:lnTo>
                      <a:lnTo>
                        <a:pt x="94" y="1264"/>
                      </a:lnTo>
                      <a:lnTo>
                        <a:pt x="112" y="1234"/>
                      </a:lnTo>
                      <a:lnTo>
                        <a:pt x="132" y="1205"/>
                      </a:lnTo>
                      <a:lnTo>
                        <a:pt x="153" y="1177"/>
                      </a:lnTo>
                      <a:lnTo>
                        <a:pt x="176" y="1150"/>
                      </a:lnTo>
                      <a:lnTo>
                        <a:pt x="228" y="1097"/>
                      </a:lnTo>
                      <a:lnTo>
                        <a:pt x="285" y="1047"/>
                      </a:lnTo>
                      <a:lnTo>
                        <a:pt x="348" y="1000"/>
                      </a:lnTo>
                      <a:lnTo>
                        <a:pt x="387" y="973"/>
                      </a:lnTo>
                      <a:lnTo>
                        <a:pt x="426" y="951"/>
                      </a:lnTo>
                      <a:lnTo>
                        <a:pt x="465" y="932"/>
                      </a:lnTo>
                      <a:lnTo>
                        <a:pt x="505" y="917"/>
                      </a:lnTo>
                      <a:lnTo>
                        <a:pt x="544" y="904"/>
                      </a:lnTo>
                      <a:lnTo>
                        <a:pt x="584" y="894"/>
                      </a:lnTo>
                      <a:lnTo>
                        <a:pt x="664" y="881"/>
                      </a:lnTo>
                      <a:lnTo>
                        <a:pt x="744" y="874"/>
                      </a:lnTo>
                      <a:lnTo>
                        <a:pt x="825" y="873"/>
                      </a:lnTo>
                      <a:lnTo>
                        <a:pt x="988" y="874"/>
                      </a:lnTo>
                      <a:lnTo>
                        <a:pt x="2794" y="875"/>
                      </a:lnTo>
                      <a:lnTo>
                        <a:pt x="2851" y="875"/>
                      </a:lnTo>
                      <a:lnTo>
                        <a:pt x="2874" y="877"/>
                      </a:lnTo>
                      <a:lnTo>
                        <a:pt x="2895" y="879"/>
                      </a:lnTo>
                      <a:lnTo>
                        <a:pt x="2913" y="883"/>
                      </a:lnTo>
                      <a:lnTo>
                        <a:pt x="2928" y="888"/>
                      </a:lnTo>
                      <a:lnTo>
                        <a:pt x="2935" y="891"/>
                      </a:lnTo>
                      <a:lnTo>
                        <a:pt x="2941" y="894"/>
                      </a:lnTo>
                      <a:lnTo>
                        <a:pt x="2946" y="898"/>
                      </a:lnTo>
                      <a:lnTo>
                        <a:pt x="2951" y="903"/>
                      </a:lnTo>
                      <a:lnTo>
                        <a:pt x="2956" y="908"/>
                      </a:lnTo>
                      <a:lnTo>
                        <a:pt x="2960" y="913"/>
                      </a:lnTo>
                      <a:lnTo>
                        <a:pt x="2964" y="919"/>
                      </a:lnTo>
                      <a:lnTo>
                        <a:pt x="2967" y="925"/>
                      </a:lnTo>
                      <a:lnTo>
                        <a:pt x="2972" y="940"/>
                      </a:lnTo>
                      <a:lnTo>
                        <a:pt x="2976" y="958"/>
                      </a:lnTo>
                      <a:lnTo>
                        <a:pt x="2978" y="978"/>
                      </a:lnTo>
                      <a:lnTo>
                        <a:pt x="2980" y="1001"/>
                      </a:lnTo>
                      <a:lnTo>
                        <a:pt x="2982" y="1058"/>
                      </a:lnTo>
                      <a:lnTo>
                        <a:pt x="2982" y="1580"/>
                      </a:lnTo>
                      <a:lnTo>
                        <a:pt x="2981" y="1623"/>
                      </a:lnTo>
                      <a:lnTo>
                        <a:pt x="2981" y="1645"/>
                      </a:lnTo>
                      <a:lnTo>
                        <a:pt x="2982" y="1667"/>
                      </a:lnTo>
                      <a:lnTo>
                        <a:pt x="2984" y="1688"/>
                      </a:lnTo>
                      <a:lnTo>
                        <a:pt x="2986" y="1698"/>
                      </a:lnTo>
                      <a:lnTo>
                        <a:pt x="2988" y="1708"/>
                      </a:lnTo>
                      <a:lnTo>
                        <a:pt x="2991" y="1718"/>
                      </a:lnTo>
                      <a:lnTo>
                        <a:pt x="2994" y="1727"/>
                      </a:lnTo>
                      <a:lnTo>
                        <a:pt x="2998" y="1736"/>
                      </a:lnTo>
                      <a:lnTo>
                        <a:pt x="3003" y="1744"/>
                      </a:lnTo>
                      <a:lnTo>
                        <a:pt x="3016" y="1764"/>
                      </a:lnTo>
                      <a:lnTo>
                        <a:pt x="3032" y="1784"/>
                      </a:lnTo>
                      <a:lnTo>
                        <a:pt x="3050" y="1802"/>
                      </a:lnTo>
                      <a:lnTo>
                        <a:pt x="3069" y="1820"/>
                      </a:lnTo>
                      <a:lnTo>
                        <a:pt x="3079" y="1828"/>
                      </a:lnTo>
                      <a:lnTo>
                        <a:pt x="3089" y="1835"/>
                      </a:lnTo>
                      <a:lnTo>
                        <a:pt x="3099" y="1841"/>
                      </a:lnTo>
                      <a:lnTo>
                        <a:pt x="3109" y="1847"/>
                      </a:lnTo>
                      <a:lnTo>
                        <a:pt x="3119" y="1851"/>
                      </a:lnTo>
                      <a:lnTo>
                        <a:pt x="3129" y="1854"/>
                      </a:lnTo>
                      <a:lnTo>
                        <a:pt x="3139" y="1857"/>
                      </a:lnTo>
                      <a:lnTo>
                        <a:pt x="3149" y="1857"/>
                      </a:lnTo>
                      <a:lnTo>
                        <a:pt x="3158" y="1857"/>
                      </a:lnTo>
                      <a:lnTo>
                        <a:pt x="3169" y="1855"/>
                      </a:lnTo>
                      <a:lnTo>
                        <a:pt x="3180" y="1852"/>
                      </a:lnTo>
                      <a:lnTo>
                        <a:pt x="3191" y="1847"/>
                      </a:lnTo>
                      <a:lnTo>
                        <a:pt x="3203" y="1842"/>
                      </a:lnTo>
                      <a:lnTo>
                        <a:pt x="3215" y="1836"/>
                      </a:lnTo>
                      <a:lnTo>
                        <a:pt x="3226" y="1829"/>
                      </a:lnTo>
                      <a:lnTo>
                        <a:pt x="3237" y="1821"/>
                      </a:lnTo>
                      <a:lnTo>
                        <a:pt x="3248" y="1813"/>
                      </a:lnTo>
                      <a:lnTo>
                        <a:pt x="3258" y="1804"/>
                      </a:lnTo>
                      <a:lnTo>
                        <a:pt x="3267" y="1795"/>
                      </a:lnTo>
                      <a:lnTo>
                        <a:pt x="3275" y="1786"/>
                      </a:lnTo>
                      <a:lnTo>
                        <a:pt x="3282" y="1776"/>
                      </a:lnTo>
                      <a:lnTo>
                        <a:pt x="3288" y="1767"/>
                      </a:lnTo>
                      <a:lnTo>
                        <a:pt x="3293" y="1758"/>
                      </a:lnTo>
                      <a:lnTo>
                        <a:pt x="3296" y="1748"/>
                      </a:lnTo>
                      <a:lnTo>
                        <a:pt x="3304" y="1704"/>
                      </a:lnTo>
                      <a:lnTo>
                        <a:pt x="3310" y="1659"/>
                      </a:lnTo>
                      <a:lnTo>
                        <a:pt x="3314" y="1614"/>
                      </a:lnTo>
                      <a:lnTo>
                        <a:pt x="3316" y="1569"/>
                      </a:lnTo>
                      <a:lnTo>
                        <a:pt x="3321" y="1386"/>
                      </a:lnTo>
                      <a:lnTo>
                        <a:pt x="3323" y="1209"/>
                      </a:lnTo>
                      <a:lnTo>
                        <a:pt x="3322" y="1120"/>
                      </a:lnTo>
                      <a:lnTo>
                        <a:pt x="3319" y="1033"/>
                      </a:lnTo>
                      <a:lnTo>
                        <a:pt x="3318" y="1013"/>
                      </a:lnTo>
                      <a:lnTo>
                        <a:pt x="3319" y="996"/>
                      </a:lnTo>
                      <a:lnTo>
                        <a:pt x="3321" y="979"/>
                      </a:lnTo>
                      <a:lnTo>
                        <a:pt x="3324" y="963"/>
                      </a:lnTo>
                      <a:lnTo>
                        <a:pt x="3328" y="949"/>
                      </a:lnTo>
                      <a:lnTo>
                        <a:pt x="3333" y="936"/>
                      </a:lnTo>
                      <a:lnTo>
                        <a:pt x="3339" y="924"/>
                      </a:lnTo>
                      <a:lnTo>
                        <a:pt x="3347" y="914"/>
                      </a:lnTo>
                      <a:lnTo>
                        <a:pt x="3356" y="904"/>
                      </a:lnTo>
                      <a:lnTo>
                        <a:pt x="3367" y="896"/>
                      </a:lnTo>
                      <a:lnTo>
                        <a:pt x="3379" y="890"/>
                      </a:lnTo>
                      <a:lnTo>
                        <a:pt x="3392" y="884"/>
                      </a:lnTo>
                      <a:lnTo>
                        <a:pt x="3407" y="880"/>
                      </a:lnTo>
                      <a:lnTo>
                        <a:pt x="3424" y="877"/>
                      </a:lnTo>
                      <a:lnTo>
                        <a:pt x="3442" y="875"/>
                      </a:lnTo>
                      <a:lnTo>
                        <a:pt x="3463" y="875"/>
                      </a:lnTo>
                      <a:lnTo>
                        <a:pt x="3483" y="876"/>
                      </a:lnTo>
                      <a:lnTo>
                        <a:pt x="3501" y="878"/>
                      </a:lnTo>
                      <a:lnTo>
                        <a:pt x="3517" y="882"/>
                      </a:lnTo>
                      <a:lnTo>
                        <a:pt x="3532" y="887"/>
                      </a:lnTo>
                      <a:lnTo>
                        <a:pt x="3546" y="893"/>
                      </a:lnTo>
                      <a:lnTo>
                        <a:pt x="3558" y="900"/>
                      </a:lnTo>
                      <a:lnTo>
                        <a:pt x="3568" y="909"/>
                      </a:lnTo>
                      <a:lnTo>
                        <a:pt x="3577" y="918"/>
                      </a:lnTo>
                      <a:lnTo>
                        <a:pt x="3585" y="929"/>
                      </a:lnTo>
                      <a:lnTo>
                        <a:pt x="3591" y="941"/>
                      </a:lnTo>
                      <a:lnTo>
                        <a:pt x="3596" y="955"/>
                      </a:lnTo>
                      <a:lnTo>
                        <a:pt x="3600" y="969"/>
                      </a:lnTo>
                      <a:lnTo>
                        <a:pt x="3603" y="984"/>
                      </a:lnTo>
                      <a:lnTo>
                        <a:pt x="3605" y="1001"/>
                      </a:lnTo>
                      <a:lnTo>
                        <a:pt x="3607" y="1037"/>
                      </a:lnTo>
                      <a:lnTo>
                        <a:pt x="3608" y="1588"/>
                      </a:lnTo>
                      <a:lnTo>
                        <a:pt x="3612" y="1665"/>
                      </a:lnTo>
                      <a:lnTo>
                        <a:pt x="3616" y="1698"/>
                      </a:lnTo>
                      <a:lnTo>
                        <a:pt x="3622" y="1728"/>
                      </a:lnTo>
                      <a:lnTo>
                        <a:pt x="3630" y="1754"/>
                      </a:lnTo>
                      <a:lnTo>
                        <a:pt x="3640" y="1777"/>
                      </a:lnTo>
                      <a:lnTo>
                        <a:pt x="3653" y="1797"/>
                      </a:lnTo>
                      <a:lnTo>
                        <a:pt x="3668" y="1815"/>
                      </a:lnTo>
                      <a:lnTo>
                        <a:pt x="3676" y="1822"/>
                      </a:lnTo>
                      <a:lnTo>
                        <a:pt x="3685" y="1829"/>
                      </a:lnTo>
                      <a:lnTo>
                        <a:pt x="3705" y="1842"/>
                      </a:lnTo>
                      <a:lnTo>
                        <a:pt x="3728" y="1852"/>
                      </a:lnTo>
                      <a:lnTo>
                        <a:pt x="3754" y="1859"/>
                      </a:lnTo>
                      <a:lnTo>
                        <a:pt x="3784" y="1865"/>
                      </a:lnTo>
                      <a:lnTo>
                        <a:pt x="3817" y="1869"/>
                      </a:lnTo>
                      <a:lnTo>
                        <a:pt x="3893" y="1872"/>
                      </a:lnTo>
                      <a:lnTo>
                        <a:pt x="5770" y="1876"/>
                      </a:lnTo>
                      <a:lnTo>
                        <a:pt x="5797" y="1876"/>
                      </a:lnTo>
                      <a:lnTo>
                        <a:pt x="5822" y="1874"/>
                      </a:lnTo>
                      <a:lnTo>
                        <a:pt x="5846" y="1871"/>
                      </a:lnTo>
                      <a:lnTo>
                        <a:pt x="5870" y="1866"/>
                      </a:lnTo>
                      <a:lnTo>
                        <a:pt x="5893" y="1860"/>
                      </a:lnTo>
                      <a:lnTo>
                        <a:pt x="5916" y="1853"/>
                      </a:lnTo>
                      <a:lnTo>
                        <a:pt x="5937" y="1844"/>
                      </a:lnTo>
                      <a:lnTo>
                        <a:pt x="5958" y="1835"/>
                      </a:lnTo>
                      <a:lnTo>
                        <a:pt x="5998" y="1813"/>
                      </a:lnTo>
                      <a:lnTo>
                        <a:pt x="6036" y="1787"/>
                      </a:lnTo>
                      <a:lnTo>
                        <a:pt x="6072" y="1758"/>
                      </a:lnTo>
                      <a:lnTo>
                        <a:pt x="6106" y="1726"/>
                      </a:lnTo>
                      <a:lnTo>
                        <a:pt x="7283" y="550"/>
                      </a:lnTo>
                      <a:lnTo>
                        <a:pt x="7529" y="301"/>
                      </a:lnTo>
                      <a:lnTo>
                        <a:pt x="7653" y="178"/>
                      </a:lnTo>
                      <a:lnTo>
                        <a:pt x="7780" y="58"/>
                      </a:lnTo>
                      <a:lnTo>
                        <a:pt x="7789" y="50"/>
                      </a:lnTo>
                      <a:lnTo>
                        <a:pt x="7799" y="43"/>
                      </a:lnTo>
                      <a:lnTo>
                        <a:pt x="7810" y="36"/>
                      </a:lnTo>
                      <a:lnTo>
                        <a:pt x="7822" y="30"/>
                      </a:lnTo>
                      <a:lnTo>
                        <a:pt x="7833" y="25"/>
                      </a:lnTo>
                      <a:lnTo>
                        <a:pt x="7846" y="20"/>
                      </a:lnTo>
                      <a:lnTo>
                        <a:pt x="7872" y="12"/>
                      </a:lnTo>
                      <a:lnTo>
                        <a:pt x="7898" y="6"/>
                      </a:lnTo>
                      <a:lnTo>
                        <a:pt x="7925" y="2"/>
                      </a:lnTo>
                      <a:lnTo>
                        <a:pt x="7952" y="0"/>
                      </a:lnTo>
                      <a:lnTo>
                        <a:pt x="7977" y="0"/>
                      </a:lnTo>
                      <a:lnTo>
                        <a:pt x="7979" y="0"/>
                      </a:lnTo>
                      <a:lnTo>
                        <a:pt x="7981" y="1"/>
                      </a:lnTo>
                      <a:lnTo>
                        <a:pt x="7984" y="2"/>
                      </a:lnTo>
                      <a:lnTo>
                        <a:pt x="7986" y="4"/>
                      </a:lnTo>
                      <a:lnTo>
                        <a:pt x="7991" y="9"/>
                      </a:lnTo>
                      <a:lnTo>
                        <a:pt x="7996" y="16"/>
                      </a:lnTo>
                      <a:lnTo>
                        <a:pt x="8001" y="24"/>
                      </a:lnTo>
                      <a:lnTo>
                        <a:pt x="8006" y="34"/>
                      </a:lnTo>
                      <a:lnTo>
                        <a:pt x="8015" y="55"/>
                      </a:lnTo>
                      <a:lnTo>
                        <a:pt x="8024" y="79"/>
                      </a:lnTo>
                      <a:lnTo>
                        <a:pt x="8030" y="104"/>
                      </a:lnTo>
                      <a:lnTo>
                        <a:pt x="8035" y="128"/>
                      </a:lnTo>
                      <a:lnTo>
                        <a:pt x="8037" y="139"/>
                      </a:lnTo>
                      <a:lnTo>
                        <a:pt x="8037" y="150"/>
                      </a:lnTo>
                      <a:lnTo>
                        <a:pt x="8039" y="2378"/>
                      </a:lnTo>
                      <a:lnTo>
                        <a:pt x="8038" y="2448"/>
                      </a:lnTo>
                      <a:lnTo>
                        <a:pt x="8036" y="2477"/>
                      </a:lnTo>
                      <a:lnTo>
                        <a:pt x="8034" y="2502"/>
                      </a:lnTo>
                      <a:lnTo>
                        <a:pt x="8029" y="2523"/>
                      </a:lnTo>
                      <a:lnTo>
                        <a:pt x="8023" y="2541"/>
                      </a:lnTo>
                      <a:lnTo>
                        <a:pt x="8020" y="2549"/>
                      </a:lnTo>
                      <a:lnTo>
                        <a:pt x="8015" y="2556"/>
                      </a:lnTo>
                      <a:lnTo>
                        <a:pt x="8010" y="2562"/>
                      </a:lnTo>
                      <a:lnTo>
                        <a:pt x="8005" y="2568"/>
                      </a:lnTo>
                      <a:lnTo>
                        <a:pt x="7999" y="2573"/>
                      </a:lnTo>
                      <a:lnTo>
                        <a:pt x="7992" y="2577"/>
                      </a:lnTo>
                      <a:lnTo>
                        <a:pt x="7985" y="2581"/>
                      </a:lnTo>
                      <a:lnTo>
                        <a:pt x="7977" y="2584"/>
                      </a:lnTo>
                      <a:lnTo>
                        <a:pt x="7958" y="2590"/>
                      </a:lnTo>
                      <a:lnTo>
                        <a:pt x="7937" y="2594"/>
                      </a:lnTo>
                      <a:lnTo>
                        <a:pt x="7882" y="2598"/>
                      </a:lnTo>
                      <a:lnTo>
                        <a:pt x="7811" y="2598"/>
                      </a:lnTo>
                      <a:lnTo>
                        <a:pt x="4016" y="2598"/>
                      </a:lnTo>
                      <a:lnTo>
                        <a:pt x="4016" y="260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3" name="Freeform 2"/>
                <p:cNvSpPr>
                  <a:spLocks noChangeArrowheads="1"/>
                </p:cNvSpPr>
                <p:nvPr/>
              </p:nvSpPr>
              <p:spPr bwMode="auto">
                <a:xfrm>
                  <a:off x="3751263" y="4262438"/>
                  <a:ext cx="2894012" cy="728662"/>
                </a:xfrm>
                <a:custGeom>
                  <a:avLst/>
                  <a:gdLst>
                    <a:gd name="T0" fmla="*/ 7867 w 8041"/>
                    <a:gd name="T1" fmla="*/ 3 h 2022"/>
                    <a:gd name="T2" fmla="*/ 7947 w 8041"/>
                    <a:gd name="T3" fmla="*/ 15 h 2022"/>
                    <a:gd name="T4" fmla="*/ 7983 w 8041"/>
                    <a:gd name="T5" fmla="*/ 31 h 2022"/>
                    <a:gd name="T6" fmla="*/ 8004 w 8041"/>
                    <a:gd name="T7" fmla="*/ 49 h 2022"/>
                    <a:gd name="T8" fmla="*/ 8018 w 8041"/>
                    <a:gd name="T9" fmla="*/ 73 h 2022"/>
                    <a:gd name="T10" fmla="*/ 8035 w 8041"/>
                    <a:gd name="T11" fmla="*/ 142 h 2022"/>
                    <a:gd name="T12" fmla="*/ 8040 w 8041"/>
                    <a:gd name="T13" fmla="*/ 1781 h 2022"/>
                    <a:gd name="T14" fmla="*/ 8022 w 8041"/>
                    <a:gd name="T15" fmla="*/ 1882 h 2022"/>
                    <a:gd name="T16" fmla="*/ 7974 w 8041"/>
                    <a:gd name="T17" fmla="*/ 1959 h 2022"/>
                    <a:gd name="T18" fmla="*/ 7904 w 8041"/>
                    <a:gd name="T19" fmla="*/ 2007 h 2022"/>
                    <a:gd name="T20" fmla="*/ 7818 w 8041"/>
                    <a:gd name="T21" fmla="*/ 2021 h 2022"/>
                    <a:gd name="T22" fmla="*/ 7725 w 8041"/>
                    <a:gd name="T23" fmla="*/ 1997 h 2022"/>
                    <a:gd name="T24" fmla="*/ 7681 w 8041"/>
                    <a:gd name="T25" fmla="*/ 1969 h 2022"/>
                    <a:gd name="T26" fmla="*/ 7667 w 8041"/>
                    <a:gd name="T27" fmla="*/ 1946 h 2022"/>
                    <a:gd name="T28" fmla="*/ 7650 w 8041"/>
                    <a:gd name="T29" fmla="*/ 1896 h 2022"/>
                    <a:gd name="T30" fmla="*/ 7643 w 8041"/>
                    <a:gd name="T31" fmla="*/ 1833 h 2022"/>
                    <a:gd name="T32" fmla="*/ 7635 w 8041"/>
                    <a:gd name="T33" fmla="*/ 593 h 2022"/>
                    <a:gd name="T34" fmla="*/ 7614 w 8041"/>
                    <a:gd name="T35" fmla="*/ 508 h 2022"/>
                    <a:gd name="T36" fmla="*/ 7596 w 8041"/>
                    <a:gd name="T37" fmla="*/ 478 h 2022"/>
                    <a:gd name="T38" fmla="*/ 7570 w 8041"/>
                    <a:gd name="T39" fmla="*/ 455 h 2022"/>
                    <a:gd name="T40" fmla="*/ 7525 w 8041"/>
                    <a:gd name="T41" fmla="*/ 434 h 2022"/>
                    <a:gd name="T42" fmla="*/ 7427 w 8041"/>
                    <a:gd name="T43" fmla="*/ 420 h 2022"/>
                    <a:gd name="T44" fmla="*/ 621 w 8041"/>
                    <a:gd name="T45" fmla="*/ 424 h 2022"/>
                    <a:gd name="T46" fmla="*/ 538 w 8041"/>
                    <a:gd name="T47" fmla="*/ 438 h 2022"/>
                    <a:gd name="T48" fmla="*/ 499 w 8041"/>
                    <a:gd name="T49" fmla="*/ 456 h 2022"/>
                    <a:gd name="T50" fmla="*/ 478 w 8041"/>
                    <a:gd name="T51" fmla="*/ 477 h 2022"/>
                    <a:gd name="T52" fmla="*/ 461 w 8041"/>
                    <a:gd name="T53" fmla="*/ 503 h 2022"/>
                    <a:gd name="T54" fmla="*/ 443 w 8041"/>
                    <a:gd name="T55" fmla="*/ 578 h 2022"/>
                    <a:gd name="T56" fmla="*/ 440 w 8041"/>
                    <a:gd name="T57" fmla="*/ 1830 h 2022"/>
                    <a:gd name="T58" fmla="*/ 435 w 8041"/>
                    <a:gd name="T59" fmla="*/ 1905 h 2022"/>
                    <a:gd name="T60" fmla="*/ 420 w 8041"/>
                    <a:gd name="T61" fmla="*/ 1948 h 2022"/>
                    <a:gd name="T62" fmla="*/ 392 w 8041"/>
                    <a:gd name="T63" fmla="*/ 1980 h 2022"/>
                    <a:gd name="T64" fmla="*/ 349 w 8041"/>
                    <a:gd name="T65" fmla="*/ 2000 h 2022"/>
                    <a:gd name="T66" fmla="*/ 285 w 8041"/>
                    <a:gd name="T67" fmla="*/ 2006 h 2022"/>
                    <a:gd name="T68" fmla="*/ 110 w 8041"/>
                    <a:gd name="T69" fmla="*/ 1997 h 2022"/>
                    <a:gd name="T70" fmla="*/ 52 w 8041"/>
                    <a:gd name="T71" fmla="*/ 1979 h 2022"/>
                    <a:gd name="T72" fmla="*/ 32 w 8041"/>
                    <a:gd name="T73" fmla="*/ 1964 h 2022"/>
                    <a:gd name="T74" fmla="*/ 19 w 8041"/>
                    <a:gd name="T75" fmla="*/ 1944 h 2022"/>
                    <a:gd name="T76" fmla="*/ 5 w 8041"/>
                    <a:gd name="T77" fmla="*/ 1888 h 2022"/>
                    <a:gd name="T78" fmla="*/ 3 w 8041"/>
                    <a:gd name="T79" fmla="*/ 156 h 2022"/>
                    <a:gd name="T80" fmla="*/ 17 w 8041"/>
                    <a:gd name="T81" fmla="*/ 88 h 2022"/>
                    <a:gd name="T82" fmla="*/ 40 w 8041"/>
                    <a:gd name="T83" fmla="*/ 49 h 2022"/>
                    <a:gd name="T84" fmla="*/ 76 w 8041"/>
                    <a:gd name="T85" fmla="*/ 23 h 2022"/>
                    <a:gd name="T86" fmla="*/ 136 w 8041"/>
                    <a:gd name="T87" fmla="*/ 5 h 2022"/>
                    <a:gd name="T88" fmla="*/ 4014 w 8041"/>
                    <a:gd name="T89" fmla="*/ 0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41" h="2022">
                      <a:moveTo>
                        <a:pt x="4014" y="1"/>
                      </a:moveTo>
                      <a:lnTo>
                        <a:pt x="7795" y="1"/>
                      </a:lnTo>
                      <a:lnTo>
                        <a:pt x="7867" y="3"/>
                      </a:lnTo>
                      <a:lnTo>
                        <a:pt x="7897" y="5"/>
                      </a:lnTo>
                      <a:lnTo>
                        <a:pt x="7924" y="9"/>
                      </a:lnTo>
                      <a:lnTo>
                        <a:pt x="7947" y="15"/>
                      </a:lnTo>
                      <a:lnTo>
                        <a:pt x="7966" y="22"/>
                      </a:lnTo>
                      <a:lnTo>
                        <a:pt x="7975" y="26"/>
                      </a:lnTo>
                      <a:lnTo>
                        <a:pt x="7983" y="31"/>
                      </a:lnTo>
                      <a:lnTo>
                        <a:pt x="7991" y="36"/>
                      </a:lnTo>
                      <a:lnTo>
                        <a:pt x="7997" y="43"/>
                      </a:lnTo>
                      <a:lnTo>
                        <a:pt x="8004" y="49"/>
                      </a:lnTo>
                      <a:lnTo>
                        <a:pt x="8009" y="57"/>
                      </a:lnTo>
                      <a:lnTo>
                        <a:pt x="8014" y="65"/>
                      </a:lnTo>
                      <a:lnTo>
                        <a:pt x="8018" y="73"/>
                      </a:lnTo>
                      <a:lnTo>
                        <a:pt x="8026" y="93"/>
                      </a:lnTo>
                      <a:lnTo>
                        <a:pt x="8031" y="116"/>
                      </a:lnTo>
                      <a:lnTo>
                        <a:pt x="8035" y="142"/>
                      </a:lnTo>
                      <a:lnTo>
                        <a:pt x="8037" y="172"/>
                      </a:lnTo>
                      <a:lnTo>
                        <a:pt x="8039" y="243"/>
                      </a:lnTo>
                      <a:lnTo>
                        <a:pt x="8040" y="1781"/>
                      </a:lnTo>
                      <a:lnTo>
                        <a:pt x="8038" y="1817"/>
                      </a:lnTo>
                      <a:lnTo>
                        <a:pt x="8032" y="1851"/>
                      </a:lnTo>
                      <a:lnTo>
                        <a:pt x="8022" y="1882"/>
                      </a:lnTo>
                      <a:lnTo>
                        <a:pt x="8009" y="1911"/>
                      </a:lnTo>
                      <a:lnTo>
                        <a:pt x="7993" y="1936"/>
                      </a:lnTo>
                      <a:lnTo>
                        <a:pt x="7974" y="1959"/>
                      </a:lnTo>
                      <a:lnTo>
                        <a:pt x="7953" y="1978"/>
                      </a:lnTo>
                      <a:lnTo>
                        <a:pt x="7929" y="1994"/>
                      </a:lnTo>
                      <a:lnTo>
                        <a:pt x="7904" y="2007"/>
                      </a:lnTo>
                      <a:lnTo>
                        <a:pt x="7876" y="2015"/>
                      </a:lnTo>
                      <a:lnTo>
                        <a:pt x="7848" y="2020"/>
                      </a:lnTo>
                      <a:lnTo>
                        <a:pt x="7818" y="2021"/>
                      </a:lnTo>
                      <a:lnTo>
                        <a:pt x="7787" y="2017"/>
                      </a:lnTo>
                      <a:lnTo>
                        <a:pt x="7756" y="2009"/>
                      </a:lnTo>
                      <a:lnTo>
                        <a:pt x="7725" y="1997"/>
                      </a:lnTo>
                      <a:lnTo>
                        <a:pt x="7693" y="1979"/>
                      </a:lnTo>
                      <a:lnTo>
                        <a:pt x="7687" y="1975"/>
                      </a:lnTo>
                      <a:lnTo>
                        <a:pt x="7681" y="1969"/>
                      </a:lnTo>
                      <a:lnTo>
                        <a:pt x="7676" y="1962"/>
                      </a:lnTo>
                      <a:lnTo>
                        <a:pt x="7671" y="1954"/>
                      </a:lnTo>
                      <a:lnTo>
                        <a:pt x="7667" y="1946"/>
                      </a:lnTo>
                      <a:lnTo>
                        <a:pt x="7662" y="1937"/>
                      </a:lnTo>
                      <a:lnTo>
                        <a:pt x="7655" y="1917"/>
                      </a:lnTo>
                      <a:lnTo>
                        <a:pt x="7650" y="1896"/>
                      </a:lnTo>
                      <a:lnTo>
                        <a:pt x="7646" y="1874"/>
                      </a:lnTo>
                      <a:lnTo>
                        <a:pt x="7644" y="1853"/>
                      </a:lnTo>
                      <a:lnTo>
                        <a:pt x="7643" y="1833"/>
                      </a:lnTo>
                      <a:lnTo>
                        <a:pt x="7640" y="718"/>
                      </a:lnTo>
                      <a:lnTo>
                        <a:pt x="7638" y="630"/>
                      </a:lnTo>
                      <a:lnTo>
                        <a:pt x="7635" y="593"/>
                      </a:lnTo>
                      <a:lnTo>
                        <a:pt x="7630" y="560"/>
                      </a:lnTo>
                      <a:lnTo>
                        <a:pt x="7623" y="532"/>
                      </a:lnTo>
                      <a:lnTo>
                        <a:pt x="7614" y="508"/>
                      </a:lnTo>
                      <a:lnTo>
                        <a:pt x="7609" y="497"/>
                      </a:lnTo>
                      <a:lnTo>
                        <a:pt x="7602" y="487"/>
                      </a:lnTo>
                      <a:lnTo>
                        <a:pt x="7596" y="478"/>
                      </a:lnTo>
                      <a:lnTo>
                        <a:pt x="7588" y="469"/>
                      </a:lnTo>
                      <a:lnTo>
                        <a:pt x="7580" y="462"/>
                      </a:lnTo>
                      <a:lnTo>
                        <a:pt x="7570" y="455"/>
                      </a:lnTo>
                      <a:lnTo>
                        <a:pt x="7560" y="449"/>
                      </a:lnTo>
                      <a:lnTo>
                        <a:pt x="7550" y="443"/>
                      </a:lnTo>
                      <a:lnTo>
                        <a:pt x="7525" y="434"/>
                      </a:lnTo>
                      <a:lnTo>
                        <a:pt x="7497" y="427"/>
                      </a:lnTo>
                      <a:lnTo>
                        <a:pt x="7464" y="423"/>
                      </a:lnTo>
                      <a:lnTo>
                        <a:pt x="7427" y="420"/>
                      </a:lnTo>
                      <a:lnTo>
                        <a:pt x="7339" y="417"/>
                      </a:lnTo>
                      <a:lnTo>
                        <a:pt x="695" y="421"/>
                      </a:lnTo>
                      <a:lnTo>
                        <a:pt x="621" y="424"/>
                      </a:lnTo>
                      <a:lnTo>
                        <a:pt x="589" y="427"/>
                      </a:lnTo>
                      <a:lnTo>
                        <a:pt x="562" y="431"/>
                      </a:lnTo>
                      <a:lnTo>
                        <a:pt x="538" y="438"/>
                      </a:lnTo>
                      <a:lnTo>
                        <a:pt x="517" y="446"/>
                      </a:lnTo>
                      <a:lnTo>
                        <a:pt x="508" y="451"/>
                      </a:lnTo>
                      <a:lnTo>
                        <a:pt x="499" y="456"/>
                      </a:lnTo>
                      <a:lnTo>
                        <a:pt x="491" y="462"/>
                      </a:lnTo>
                      <a:lnTo>
                        <a:pt x="484" y="469"/>
                      </a:lnTo>
                      <a:lnTo>
                        <a:pt x="478" y="477"/>
                      </a:lnTo>
                      <a:lnTo>
                        <a:pt x="472" y="485"/>
                      </a:lnTo>
                      <a:lnTo>
                        <a:pt x="466" y="494"/>
                      </a:lnTo>
                      <a:lnTo>
                        <a:pt x="461" y="503"/>
                      </a:lnTo>
                      <a:lnTo>
                        <a:pt x="453" y="525"/>
                      </a:lnTo>
                      <a:lnTo>
                        <a:pt x="447" y="550"/>
                      </a:lnTo>
                      <a:lnTo>
                        <a:pt x="443" y="578"/>
                      </a:lnTo>
                      <a:lnTo>
                        <a:pt x="440" y="611"/>
                      </a:lnTo>
                      <a:lnTo>
                        <a:pt x="438" y="687"/>
                      </a:lnTo>
                      <a:lnTo>
                        <a:pt x="440" y="1830"/>
                      </a:lnTo>
                      <a:lnTo>
                        <a:pt x="439" y="1870"/>
                      </a:lnTo>
                      <a:lnTo>
                        <a:pt x="437" y="1888"/>
                      </a:lnTo>
                      <a:lnTo>
                        <a:pt x="435" y="1905"/>
                      </a:lnTo>
                      <a:lnTo>
                        <a:pt x="431" y="1920"/>
                      </a:lnTo>
                      <a:lnTo>
                        <a:pt x="426" y="1935"/>
                      </a:lnTo>
                      <a:lnTo>
                        <a:pt x="420" y="1948"/>
                      </a:lnTo>
                      <a:lnTo>
                        <a:pt x="412" y="1960"/>
                      </a:lnTo>
                      <a:lnTo>
                        <a:pt x="403" y="1971"/>
                      </a:lnTo>
                      <a:lnTo>
                        <a:pt x="392" y="1980"/>
                      </a:lnTo>
                      <a:lnTo>
                        <a:pt x="380" y="1988"/>
                      </a:lnTo>
                      <a:lnTo>
                        <a:pt x="365" y="1995"/>
                      </a:lnTo>
                      <a:lnTo>
                        <a:pt x="349" y="2000"/>
                      </a:lnTo>
                      <a:lnTo>
                        <a:pt x="330" y="2004"/>
                      </a:lnTo>
                      <a:lnTo>
                        <a:pt x="308" y="2006"/>
                      </a:lnTo>
                      <a:lnTo>
                        <a:pt x="285" y="2006"/>
                      </a:lnTo>
                      <a:lnTo>
                        <a:pt x="202" y="2005"/>
                      </a:lnTo>
                      <a:lnTo>
                        <a:pt x="137" y="2000"/>
                      </a:lnTo>
                      <a:lnTo>
                        <a:pt x="110" y="1997"/>
                      </a:lnTo>
                      <a:lnTo>
                        <a:pt x="87" y="1992"/>
                      </a:lnTo>
                      <a:lnTo>
                        <a:pt x="68" y="1986"/>
                      </a:lnTo>
                      <a:lnTo>
                        <a:pt x="52" y="1979"/>
                      </a:lnTo>
                      <a:lnTo>
                        <a:pt x="44" y="1974"/>
                      </a:lnTo>
                      <a:lnTo>
                        <a:pt x="38" y="1969"/>
                      </a:lnTo>
                      <a:lnTo>
                        <a:pt x="32" y="1964"/>
                      </a:lnTo>
                      <a:lnTo>
                        <a:pt x="27" y="1958"/>
                      </a:lnTo>
                      <a:lnTo>
                        <a:pt x="23" y="1951"/>
                      </a:lnTo>
                      <a:lnTo>
                        <a:pt x="19" y="1944"/>
                      </a:lnTo>
                      <a:lnTo>
                        <a:pt x="13" y="1928"/>
                      </a:lnTo>
                      <a:lnTo>
                        <a:pt x="8" y="1910"/>
                      </a:lnTo>
                      <a:lnTo>
                        <a:pt x="5" y="1888"/>
                      </a:lnTo>
                      <a:lnTo>
                        <a:pt x="3" y="1836"/>
                      </a:lnTo>
                      <a:lnTo>
                        <a:pt x="0" y="214"/>
                      </a:lnTo>
                      <a:lnTo>
                        <a:pt x="3" y="156"/>
                      </a:lnTo>
                      <a:lnTo>
                        <a:pt x="6" y="130"/>
                      </a:lnTo>
                      <a:lnTo>
                        <a:pt x="11" y="108"/>
                      </a:lnTo>
                      <a:lnTo>
                        <a:pt x="17" y="88"/>
                      </a:lnTo>
                      <a:lnTo>
                        <a:pt x="25" y="71"/>
                      </a:lnTo>
                      <a:lnTo>
                        <a:pt x="35" y="56"/>
                      </a:lnTo>
                      <a:lnTo>
                        <a:pt x="40" y="49"/>
                      </a:lnTo>
                      <a:lnTo>
                        <a:pt x="46" y="43"/>
                      </a:lnTo>
                      <a:lnTo>
                        <a:pt x="60" y="32"/>
                      </a:lnTo>
                      <a:lnTo>
                        <a:pt x="76" y="23"/>
                      </a:lnTo>
                      <a:lnTo>
                        <a:pt x="94" y="15"/>
                      </a:lnTo>
                      <a:lnTo>
                        <a:pt x="114" y="10"/>
                      </a:lnTo>
                      <a:lnTo>
                        <a:pt x="136" y="5"/>
                      </a:lnTo>
                      <a:lnTo>
                        <a:pt x="162" y="3"/>
                      </a:lnTo>
                      <a:lnTo>
                        <a:pt x="220" y="0"/>
                      </a:lnTo>
                      <a:lnTo>
                        <a:pt x="4014" y="0"/>
                      </a:lnTo>
                      <a:lnTo>
                        <a:pt x="4014" y="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4" name="Freeform 3"/>
                <p:cNvSpPr>
                  <a:spLocks noChangeArrowheads="1"/>
                </p:cNvSpPr>
                <p:nvPr/>
              </p:nvSpPr>
              <p:spPr bwMode="auto">
                <a:xfrm>
                  <a:off x="3757613" y="1992313"/>
                  <a:ext cx="1492250" cy="1119187"/>
                </a:xfrm>
                <a:custGeom>
                  <a:avLst/>
                  <a:gdLst>
                    <a:gd name="T0" fmla="*/ 458 w 4145"/>
                    <a:gd name="T1" fmla="*/ 3102 h 3111"/>
                    <a:gd name="T2" fmla="*/ 333 w 4145"/>
                    <a:gd name="T3" fmla="*/ 3068 h 3111"/>
                    <a:gd name="T4" fmla="*/ 211 w 4145"/>
                    <a:gd name="T5" fmla="*/ 3001 h 3111"/>
                    <a:gd name="T6" fmla="*/ 106 w 4145"/>
                    <a:gd name="T7" fmla="*/ 2909 h 3111"/>
                    <a:gd name="T8" fmla="*/ 33 w 4145"/>
                    <a:gd name="T9" fmla="*/ 2801 h 3111"/>
                    <a:gd name="T10" fmla="*/ 4 w 4145"/>
                    <a:gd name="T11" fmla="*/ 2685 h 3111"/>
                    <a:gd name="T12" fmla="*/ 12 w 4145"/>
                    <a:gd name="T13" fmla="*/ 341 h 3111"/>
                    <a:gd name="T14" fmla="*/ 68 w 4145"/>
                    <a:gd name="T15" fmla="*/ 231 h 3111"/>
                    <a:gd name="T16" fmla="*/ 157 w 4145"/>
                    <a:gd name="T17" fmla="*/ 134 h 3111"/>
                    <a:gd name="T18" fmla="*/ 268 w 4145"/>
                    <a:gd name="T19" fmla="*/ 58 h 3111"/>
                    <a:gd name="T20" fmla="*/ 388 w 4145"/>
                    <a:gd name="T21" fmla="*/ 13 h 3111"/>
                    <a:gd name="T22" fmla="*/ 2752 w 4145"/>
                    <a:gd name="T23" fmla="*/ 0 h 3111"/>
                    <a:gd name="T24" fmla="*/ 3669 w 4145"/>
                    <a:gd name="T25" fmla="*/ 12 h 3111"/>
                    <a:gd name="T26" fmla="*/ 3765 w 4145"/>
                    <a:gd name="T27" fmla="*/ 43 h 3111"/>
                    <a:gd name="T28" fmla="*/ 3848 w 4145"/>
                    <a:gd name="T29" fmla="*/ 95 h 3111"/>
                    <a:gd name="T30" fmla="*/ 3921 w 4145"/>
                    <a:gd name="T31" fmla="*/ 165 h 3111"/>
                    <a:gd name="T32" fmla="*/ 4021 w 4145"/>
                    <a:gd name="T33" fmla="*/ 310 h 3111"/>
                    <a:gd name="T34" fmla="*/ 4103 w 4145"/>
                    <a:gd name="T35" fmla="*/ 508 h 3111"/>
                    <a:gd name="T36" fmla="*/ 4138 w 4145"/>
                    <a:gd name="T37" fmla="*/ 708 h 3111"/>
                    <a:gd name="T38" fmla="*/ 4130 w 4145"/>
                    <a:gd name="T39" fmla="*/ 1250 h 3111"/>
                    <a:gd name="T40" fmla="*/ 4142 w 4145"/>
                    <a:gd name="T41" fmla="*/ 1935 h 3111"/>
                    <a:gd name="T42" fmla="*/ 4118 w 4145"/>
                    <a:gd name="T43" fmla="*/ 2539 h 3111"/>
                    <a:gd name="T44" fmla="*/ 4072 w 4145"/>
                    <a:gd name="T45" fmla="*/ 2706 h 3111"/>
                    <a:gd name="T46" fmla="*/ 3984 w 4145"/>
                    <a:gd name="T47" fmla="*/ 2865 h 3111"/>
                    <a:gd name="T48" fmla="*/ 3857 w 4145"/>
                    <a:gd name="T49" fmla="*/ 2997 h 3111"/>
                    <a:gd name="T50" fmla="*/ 3696 w 4145"/>
                    <a:gd name="T51" fmla="*/ 3085 h 3111"/>
                    <a:gd name="T52" fmla="*/ 3503 w 4145"/>
                    <a:gd name="T53" fmla="*/ 3110 h 3111"/>
                    <a:gd name="T54" fmla="*/ 2022 w 4145"/>
                    <a:gd name="T55" fmla="*/ 3103 h 3111"/>
                    <a:gd name="T56" fmla="*/ 2028 w 4145"/>
                    <a:gd name="T57" fmla="*/ 2839 h 3111"/>
                    <a:gd name="T58" fmla="*/ 3548 w 4145"/>
                    <a:gd name="T59" fmla="*/ 2835 h 3111"/>
                    <a:gd name="T60" fmla="*/ 3623 w 4145"/>
                    <a:gd name="T61" fmla="*/ 2819 h 3111"/>
                    <a:gd name="T62" fmla="*/ 3689 w 4145"/>
                    <a:gd name="T63" fmla="*/ 2788 h 3111"/>
                    <a:gd name="T64" fmla="*/ 3744 w 4145"/>
                    <a:gd name="T65" fmla="*/ 2738 h 3111"/>
                    <a:gd name="T66" fmla="*/ 3786 w 4145"/>
                    <a:gd name="T67" fmla="*/ 2666 h 3111"/>
                    <a:gd name="T68" fmla="*/ 3824 w 4145"/>
                    <a:gd name="T69" fmla="*/ 2554 h 3111"/>
                    <a:gd name="T70" fmla="*/ 3847 w 4145"/>
                    <a:gd name="T71" fmla="*/ 2437 h 3111"/>
                    <a:gd name="T72" fmla="*/ 3860 w 4145"/>
                    <a:gd name="T73" fmla="*/ 1472 h 3111"/>
                    <a:gd name="T74" fmla="*/ 3849 w 4145"/>
                    <a:gd name="T75" fmla="*/ 628 h 3111"/>
                    <a:gd name="T76" fmla="*/ 3828 w 4145"/>
                    <a:gd name="T77" fmla="*/ 509 h 3111"/>
                    <a:gd name="T78" fmla="*/ 3780 w 4145"/>
                    <a:gd name="T79" fmla="*/ 411 h 3111"/>
                    <a:gd name="T80" fmla="*/ 3707 w 4145"/>
                    <a:gd name="T81" fmla="*/ 338 h 3111"/>
                    <a:gd name="T82" fmla="*/ 3613 w 4145"/>
                    <a:gd name="T83" fmla="*/ 289 h 3111"/>
                    <a:gd name="T84" fmla="*/ 3499 w 4145"/>
                    <a:gd name="T85" fmla="*/ 266 h 3111"/>
                    <a:gd name="T86" fmla="*/ 569 w 4145"/>
                    <a:gd name="T87" fmla="*/ 268 h 3111"/>
                    <a:gd name="T88" fmla="*/ 462 w 4145"/>
                    <a:gd name="T89" fmla="*/ 290 h 3111"/>
                    <a:gd name="T90" fmla="*/ 378 w 4145"/>
                    <a:gd name="T91" fmla="*/ 337 h 3111"/>
                    <a:gd name="T92" fmla="*/ 316 w 4145"/>
                    <a:gd name="T93" fmla="*/ 408 h 3111"/>
                    <a:gd name="T94" fmla="*/ 278 w 4145"/>
                    <a:gd name="T95" fmla="*/ 503 h 3111"/>
                    <a:gd name="T96" fmla="*/ 266 w 4145"/>
                    <a:gd name="T97" fmla="*/ 621 h 3111"/>
                    <a:gd name="T98" fmla="*/ 267 w 4145"/>
                    <a:gd name="T99" fmla="*/ 2583 h 3111"/>
                    <a:gd name="T100" fmla="*/ 291 w 4145"/>
                    <a:gd name="T101" fmla="*/ 2686 h 3111"/>
                    <a:gd name="T102" fmla="*/ 338 w 4145"/>
                    <a:gd name="T103" fmla="*/ 2759 h 3111"/>
                    <a:gd name="T104" fmla="*/ 411 w 4145"/>
                    <a:gd name="T105" fmla="*/ 2806 h 3111"/>
                    <a:gd name="T106" fmla="*/ 516 w 4145"/>
                    <a:gd name="T107" fmla="*/ 2829 h 3111"/>
                    <a:gd name="T108" fmla="*/ 2028 w 4145"/>
                    <a:gd name="T109" fmla="*/ 2835 h 3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45" h="3111">
                      <a:moveTo>
                        <a:pt x="2022" y="3105"/>
                      </a:moveTo>
                      <a:lnTo>
                        <a:pt x="498" y="3105"/>
                      </a:lnTo>
                      <a:lnTo>
                        <a:pt x="458" y="3102"/>
                      </a:lnTo>
                      <a:lnTo>
                        <a:pt x="416" y="3095"/>
                      </a:lnTo>
                      <a:lnTo>
                        <a:pt x="375" y="3083"/>
                      </a:lnTo>
                      <a:lnTo>
                        <a:pt x="333" y="3068"/>
                      </a:lnTo>
                      <a:lnTo>
                        <a:pt x="291" y="3049"/>
                      </a:lnTo>
                      <a:lnTo>
                        <a:pt x="250" y="3026"/>
                      </a:lnTo>
                      <a:lnTo>
                        <a:pt x="211" y="3001"/>
                      </a:lnTo>
                      <a:lnTo>
                        <a:pt x="173" y="2972"/>
                      </a:lnTo>
                      <a:lnTo>
                        <a:pt x="139" y="2942"/>
                      </a:lnTo>
                      <a:lnTo>
                        <a:pt x="106" y="2909"/>
                      </a:lnTo>
                      <a:lnTo>
                        <a:pt x="78" y="2874"/>
                      </a:lnTo>
                      <a:lnTo>
                        <a:pt x="53" y="2838"/>
                      </a:lnTo>
                      <a:lnTo>
                        <a:pt x="33" y="2801"/>
                      </a:lnTo>
                      <a:lnTo>
                        <a:pt x="18" y="2762"/>
                      </a:lnTo>
                      <a:lnTo>
                        <a:pt x="8" y="2724"/>
                      </a:lnTo>
                      <a:lnTo>
                        <a:pt x="4" y="2685"/>
                      </a:lnTo>
                      <a:lnTo>
                        <a:pt x="0" y="417"/>
                      </a:lnTo>
                      <a:lnTo>
                        <a:pt x="3" y="379"/>
                      </a:lnTo>
                      <a:lnTo>
                        <a:pt x="12" y="341"/>
                      </a:lnTo>
                      <a:lnTo>
                        <a:pt x="26" y="303"/>
                      </a:lnTo>
                      <a:lnTo>
                        <a:pt x="45" y="266"/>
                      </a:lnTo>
                      <a:lnTo>
                        <a:pt x="68" y="231"/>
                      </a:lnTo>
                      <a:lnTo>
                        <a:pt x="94" y="196"/>
                      </a:lnTo>
                      <a:lnTo>
                        <a:pt x="124" y="164"/>
                      </a:lnTo>
                      <a:lnTo>
                        <a:pt x="157" y="134"/>
                      </a:lnTo>
                      <a:lnTo>
                        <a:pt x="192" y="106"/>
                      </a:lnTo>
                      <a:lnTo>
                        <a:pt x="229" y="80"/>
                      </a:lnTo>
                      <a:lnTo>
                        <a:pt x="268" y="58"/>
                      </a:lnTo>
                      <a:lnTo>
                        <a:pt x="307" y="39"/>
                      </a:lnTo>
                      <a:lnTo>
                        <a:pt x="348" y="24"/>
                      </a:lnTo>
                      <a:lnTo>
                        <a:pt x="388" y="13"/>
                      </a:lnTo>
                      <a:lnTo>
                        <a:pt x="428" y="5"/>
                      </a:lnTo>
                      <a:lnTo>
                        <a:pt x="468" y="3"/>
                      </a:lnTo>
                      <a:lnTo>
                        <a:pt x="2752" y="0"/>
                      </a:lnTo>
                      <a:lnTo>
                        <a:pt x="3598" y="5"/>
                      </a:lnTo>
                      <a:lnTo>
                        <a:pt x="3634" y="7"/>
                      </a:lnTo>
                      <a:lnTo>
                        <a:pt x="3669" y="12"/>
                      </a:lnTo>
                      <a:lnTo>
                        <a:pt x="3703" y="20"/>
                      </a:lnTo>
                      <a:lnTo>
                        <a:pt x="3735" y="30"/>
                      </a:lnTo>
                      <a:lnTo>
                        <a:pt x="3765" y="43"/>
                      </a:lnTo>
                      <a:lnTo>
                        <a:pt x="3794" y="59"/>
                      </a:lnTo>
                      <a:lnTo>
                        <a:pt x="3822" y="76"/>
                      </a:lnTo>
                      <a:lnTo>
                        <a:pt x="3848" y="95"/>
                      </a:lnTo>
                      <a:lnTo>
                        <a:pt x="3874" y="117"/>
                      </a:lnTo>
                      <a:lnTo>
                        <a:pt x="3898" y="140"/>
                      </a:lnTo>
                      <a:lnTo>
                        <a:pt x="3921" y="165"/>
                      </a:lnTo>
                      <a:lnTo>
                        <a:pt x="3943" y="191"/>
                      </a:lnTo>
                      <a:lnTo>
                        <a:pt x="3984" y="248"/>
                      </a:lnTo>
                      <a:lnTo>
                        <a:pt x="4021" y="310"/>
                      </a:lnTo>
                      <a:lnTo>
                        <a:pt x="4055" y="375"/>
                      </a:lnTo>
                      <a:lnTo>
                        <a:pt x="4082" y="441"/>
                      </a:lnTo>
                      <a:lnTo>
                        <a:pt x="4103" y="508"/>
                      </a:lnTo>
                      <a:lnTo>
                        <a:pt x="4119" y="574"/>
                      </a:lnTo>
                      <a:lnTo>
                        <a:pt x="4131" y="641"/>
                      </a:lnTo>
                      <a:lnTo>
                        <a:pt x="4138" y="708"/>
                      </a:lnTo>
                      <a:lnTo>
                        <a:pt x="4144" y="844"/>
                      </a:lnTo>
                      <a:lnTo>
                        <a:pt x="4134" y="1115"/>
                      </a:lnTo>
                      <a:lnTo>
                        <a:pt x="4130" y="1250"/>
                      </a:lnTo>
                      <a:lnTo>
                        <a:pt x="4131" y="1385"/>
                      </a:lnTo>
                      <a:lnTo>
                        <a:pt x="4141" y="1660"/>
                      </a:lnTo>
                      <a:lnTo>
                        <a:pt x="4142" y="1935"/>
                      </a:lnTo>
                      <a:lnTo>
                        <a:pt x="4136" y="2210"/>
                      </a:lnTo>
                      <a:lnTo>
                        <a:pt x="4123" y="2485"/>
                      </a:lnTo>
                      <a:lnTo>
                        <a:pt x="4118" y="2539"/>
                      </a:lnTo>
                      <a:lnTo>
                        <a:pt x="4107" y="2595"/>
                      </a:lnTo>
                      <a:lnTo>
                        <a:pt x="4092" y="2651"/>
                      </a:lnTo>
                      <a:lnTo>
                        <a:pt x="4072" y="2706"/>
                      </a:lnTo>
                      <a:lnTo>
                        <a:pt x="4047" y="2761"/>
                      </a:lnTo>
                      <a:lnTo>
                        <a:pt x="4018" y="2814"/>
                      </a:lnTo>
                      <a:lnTo>
                        <a:pt x="3984" y="2865"/>
                      </a:lnTo>
                      <a:lnTo>
                        <a:pt x="3946" y="2913"/>
                      </a:lnTo>
                      <a:lnTo>
                        <a:pt x="3904" y="2957"/>
                      </a:lnTo>
                      <a:lnTo>
                        <a:pt x="3857" y="2997"/>
                      </a:lnTo>
                      <a:lnTo>
                        <a:pt x="3807" y="3032"/>
                      </a:lnTo>
                      <a:lnTo>
                        <a:pt x="3753" y="3062"/>
                      </a:lnTo>
                      <a:lnTo>
                        <a:pt x="3696" y="3085"/>
                      </a:lnTo>
                      <a:lnTo>
                        <a:pt x="3635" y="3101"/>
                      </a:lnTo>
                      <a:lnTo>
                        <a:pt x="3570" y="3109"/>
                      </a:lnTo>
                      <a:lnTo>
                        <a:pt x="3503" y="3110"/>
                      </a:lnTo>
                      <a:lnTo>
                        <a:pt x="3133" y="3096"/>
                      </a:lnTo>
                      <a:lnTo>
                        <a:pt x="2762" y="3095"/>
                      </a:lnTo>
                      <a:lnTo>
                        <a:pt x="2022" y="3103"/>
                      </a:lnTo>
                      <a:lnTo>
                        <a:pt x="2022" y="3105"/>
                      </a:lnTo>
                      <a:close/>
                      <a:moveTo>
                        <a:pt x="2028" y="2835"/>
                      </a:moveTo>
                      <a:lnTo>
                        <a:pt x="2028" y="2839"/>
                      </a:lnTo>
                      <a:lnTo>
                        <a:pt x="3438" y="2841"/>
                      </a:lnTo>
                      <a:lnTo>
                        <a:pt x="3494" y="2840"/>
                      </a:lnTo>
                      <a:lnTo>
                        <a:pt x="3548" y="2835"/>
                      </a:lnTo>
                      <a:lnTo>
                        <a:pt x="3574" y="2831"/>
                      </a:lnTo>
                      <a:lnTo>
                        <a:pt x="3599" y="2826"/>
                      </a:lnTo>
                      <a:lnTo>
                        <a:pt x="3623" y="2819"/>
                      </a:lnTo>
                      <a:lnTo>
                        <a:pt x="3646" y="2811"/>
                      </a:lnTo>
                      <a:lnTo>
                        <a:pt x="3668" y="2800"/>
                      </a:lnTo>
                      <a:lnTo>
                        <a:pt x="3689" y="2788"/>
                      </a:lnTo>
                      <a:lnTo>
                        <a:pt x="3709" y="2774"/>
                      </a:lnTo>
                      <a:lnTo>
                        <a:pt x="3727" y="2757"/>
                      </a:lnTo>
                      <a:lnTo>
                        <a:pt x="3744" y="2738"/>
                      </a:lnTo>
                      <a:lnTo>
                        <a:pt x="3760" y="2717"/>
                      </a:lnTo>
                      <a:lnTo>
                        <a:pt x="3774" y="2693"/>
                      </a:lnTo>
                      <a:lnTo>
                        <a:pt x="3786" y="2666"/>
                      </a:lnTo>
                      <a:lnTo>
                        <a:pt x="3800" y="2629"/>
                      </a:lnTo>
                      <a:lnTo>
                        <a:pt x="3813" y="2592"/>
                      </a:lnTo>
                      <a:lnTo>
                        <a:pt x="3824" y="2554"/>
                      </a:lnTo>
                      <a:lnTo>
                        <a:pt x="3833" y="2515"/>
                      </a:lnTo>
                      <a:lnTo>
                        <a:pt x="3841" y="2476"/>
                      </a:lnTo>
                      <a:lnTo>
                        <a:pt x="3847" y="2437"/>
                      </a:lnTo>
                      <a:lnTo>
                        <a:pt x="3851" y="2398"/>
                      </a:lnTo>
                      <a:lnTo>
                        <a:pt x="3853" y="2360"/>
                      </a:lnTo>
                      <a:lnTo>
                        <a:pt x="3860" y="1472"/>
                      </a:lnTo>
                      <a:lnTo>
                        <a:pt x="3861" y="1050"/>
                      </a:lnTo>
                      <a:lnTo>
                        <a:pt x="3858" y="839"/>
                      </a:lnTo>
                      <a:lnTo>
                        <a:pt x="3849" y="628"/>
                      </a:lnTo>
                      <a:lnTo>
                        <a:pt x="3845" y="586"/>
                      </a:lnTo>
                      <a:lnTo>
                        <a:pt x="3838" y="546"/>
                      </a:lnTo>
                      <a:lnTo>
                        <a:pt x="3828" y="509"/>
                      </a:lnTo>
                      <a:lnTo>
                        <a:pt x="3815" y="474"/>
                      </a:lnTo>
                      <a:lnTo>
                        <a:pt x="3799" y="441"/>
                      </a:lnTo>
                      <a:lnTo>
                        <a:pt x="3780" y="411"/>
                      </a:lnTo>
                      <a:lnTo>
                        <a:pt x="3758" y="384"/>
                      </a:lnTo>
                      <a:lnTo>
                        <a:pt x="3734" y="360"/>
                      </a:lnTo>
                      <a:lnTo>
                        <a:pt x="3707" y="338"/>
                      </a:lnTo>
                      <a:lnTo>
                        <a:pt x="3678" y="319"/>
                      </a:lnTo>
                      <a:lnTo>
                        <a:pt x="3646" y="302"/>
                      </a:lnTo>
                      <a:lnTo>
                        <a:pt x="3613" y="289"/>
                      </a:lnTo>
                      <a:lnTo>
                        <a:pt x="3577" y="279"/>
                      </a:lnTo>
                      <a:lnTo>
                        <a:pt x="3539" y="271"/>
                      </a:lnTo>
                      <a:lnTo>
                        <a:pt x="3499" y="266"/>
                      </a:lnTo>
                      <a:lnTo>
                        <a:pt x="3458" y="265"/>
                      </a:lnTo>
                      <a:lnTo>
                        <a:pt x="610" y="267"/>
                      </a:lnTo>
                      <a:lnTo>
                        <a:pt x="569" y="268"/>
                      </a:lnTo>
                      <a:lnTo>
                        <a:pt x="531" y="273"/>
                      </a:lnTo>
                      <a:lnTo>
                        <a:pt x="496" y="280"/>
                      </a:lnTo>
                      <a:lnTo>
                        <a:pt x="462" y="290"/>
                      </a:lnTo>
                      <a:lnTo>
                        <a:pt x="432" y="303"/>
                      </a:lnTo>
                      <a:lnTo>
                        <a:pt x="403" y="318"/>
                      </a:lnTo>
                      <a:lnTo>
                        <a:pt x="378" y="337"/>
                      </a:lnTo>
                      <a:lnTo>
                        <a:pt x="354" y="358"/>
                      </a:lnTo>
                      <a:lnTo>
                        <a:pt x="334" y="382"/>
                      </a:lnTo>
                      <a:lnTo>
                        <a:pt x="316" y="408"/>
                      </a:lnTo>
                      <a:lnTo>
                        <a:pt x="301" y="437"/>
                      </a:lnTo>
                      <a:lnTo>
                        <a:pt x="288" y="469"/>
                      </a:lnTo>
                      <a:lnTo>
                        <a:pt x="278" y="503"/>
                      </a:lnTo>
                      <a:lnTo>
                        <a:pt x="271" y="540"/>
                      </a:lnTo>
                      <a:lnTo>
                        <a:pt x="267" y="579"/>
                      </a:lnTo>
                      <a:lnTo>
                        <a:pt x="266" y="621"/>
                      </a:lnTo>
                      <a:lnTo>
                        <a:pt x="263" y="2496"/>
                      </a:lnTo>
                      <a:lnTo>
                        <a:pt x="264" y="2541"/>
                      </a:lnTo>
                      <a:lnTo>
                        <a:pt x="267" y="2583"/>
                      </a:lnTo>
                      <a:lnTo>
                        <a:pt x="273" y="2620"/>
                      </a:lnTo>
                      <a:lnTo>
                        <a:pt x="280" y="2655"/>
                      </a:lnTo>
                      <a:lnTo>
                        <a:pt x="291" y="2686"/>
                      </a:lnTo>
                      <a:lnTo>
                        <a:pt x="304" y="2713"/>
                      </a:lnTo>
                      <a:lnTo>
                        <a:pt x="319" y="2737"/>
                      </a:lnTo>
                      <a:lnTo>
                        <a:pt x="338" y="2759"/>
                      </a:lnTo>
                      <a:lnTo>
                        <a:pt x="359" y="2777"/>
                      </a:lnTo>
                      <a:lnTo>
                        <a:pt x="384" y="2793"/>
                      </a:lnTo>
                      <a:lnTo>
                        <a:pt x="411" y="2806"/>
                      </a:lnTo>
                      <a:lnTo>
                        <a:pt x="443" y="2816"/>
                      </a:lnTo>
                      <a:lnTo>
                        <a:pt x="477" y="2824"/>
                      </a:lnTo>
                      <a:lnTo>
                        <a:pt x="516" y="2829"/>
                      </a:lnTo>
                      <a:lnTo>
                        <a:pt x="558" y="2832"/>
                      </a:lnTo>
                      <a:lnTo>
                        <a:pt x="604" y="2834"/>
                      </a:lnTo>
                      <a:lnTo>
                        <a:pt x="2028" y="283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5" name="Freeform 4"/>
                <p:cNvSpPr>
                  <a:spLocks noChangeArrowheads="1"/>
                </p:cNvSpPr>
                <p:nvPr/>
              </p:nvSpPr>
              <p:spPr bwMode="auto">
                <a:xfrm>
                  <a:off x="5181600" y="3009900"/>
                  <a:ext cx="1247775" cy="712788"/>
                </a:xfrm>
                <a:custGeom>
                  <a:avLst/>
                  <a:gdLst>
                    <a:gd name="T0" fmla="*/ 238 w 3467"/>
                    <a:gd name="T1" fmla="*/ 1973 h 1980"/>
                    <a:gd name="T2" fmla="*/ 179 w 3467"/>
                    <a:gd name="T3" fmla="*/ 1969 h 1980"/>
                    <a:gd name="T4" fmla="*/ 129 w 3467"/>
                    <a:gd name="T5" fmla="*/ 1958 h 1980"/>
                    <a:gd name="T6" fmla="*/ 89 w 3467"/>
                    <a:gd name="T7" fmla="*/ 1941 h 1980"/>
                    <a:gd name="T8" fmla="*/ 57 w 3467"/>
                    <a:gd name="T9" fmla="*/ 1916 h 1980"/>
                    <a:gd name="T10" fmla="*/ 32 w 3467"/>
                    <a:gd name="T11" fmla="*/ 1883 h 1980"/>
                    <a:gd name="T12" fmla="*/ 16 w 3467"/>
                    <a:gd name="T13" fmla="*/ 1841 h 1980"/>
                    <a:gd name="T14" fmla="*/ 5 w 3467"/>
                    <a:gd name="T15" fmla="*/ 1791 h 1980"/>
                    <a:gd name="T16" fmla="*/ 1 w 3467"/>
                    <a:gd name="T17" fmla="*/ 1731 h 1980"/>
                    <a:gd name="T18" fmla="*/ 4 w 3467"/>
                    <a:gd name="T19" fmla="*/ 1510 h 1980"/>
                    <a:gd name="T20" fmla="*/ 17 w 3467"/>
                    <a:gd name="T21" fmla="*/ 1443 h 1980"/>
                    <a:gd name="T22" fmla="*/ 28 w 3467"/>
                    <a:gd name="T23" fmla="*/ 1418 h 1980"/>
                    <a:gd name="T24" fmla="*/ 43 w 3467"/>
                    <a:gd name="T25" fmla="*/ 1398 h 1980"/>
                    <a:gd name="T26" fmla="*/ 63 w 3467"/>
                    <a:gd name="T27" fmla="*/ 1382 h 1980"/>
                    <a:gd name="T28" fmla="*/ 88 w 3467"/>
                    <a:gd name="T29" fmla="*/ 1371 h 1980"/>
                    <a:gd name="T30" fmla="*/ 155 w 3467"/>
                    <a:gd name="T31" fmla="*/ 1357 h 1980"/>
                    <a:gd name="T32" fmla="*/ 372 w 3467"/>
                    <a:gd name="T33" fmla="*/ 1353 h 1980"/>
                    <a:gd name="T34" fmla="*/ 796 w 3467"/>
                    <a:gd name="T35" fmla="*/ 1350 h 1980"/>
                    <a:gd name="T36" fmla="*/ 1001 w 3467"/>
                    <a:gd name="T37" fmla="*/ 1359 h 1980"/>
                    <a:gd name="T38" fmla="*/ 1091 w 3467"/>
                    <a:gd name="T39" fmla="*/ 1351 h 1980"/>
                    <a:gd name="T40" fmla="*/ 1148 w 3467"/>
                    <a:gd name="T41" fmla="*/ 1339 h 1980"/>
                    <a:gd name="T42" fmla="*/ 1203 w 3467"/>
                    <a:gd name="T43" fmla="*/ 1321 h 1980"/>
                    <a:gd name="T44" fmla="*/ 1255 w 3467"/>
                    <a:gd name="T45" fmla="*/ 1295 h 1980"/>
                    <a:gd name="T46" fmla="*/ 1306 w 3467"/>
                    <a:gd name="T47" fmla="*/ 1262 h 1980"/>
                    <a:gd name="T48" fmla="*/ 1354 w 3467"/>
                    <a:gd name="T49" fmla="*/ 1222 h 1980"/>
                    <a:gd name="T50" fmla="*/ 2183 w 3467"/>
                    <a:gd name="T51" fmla="*/ 379 h 1980"/>
                    <a:gd name="T52" fmla="*/ 2388 w 3467"/>
                    <a:gd name="T53" fmla="*/ 199 h 1980"/>
                    <a:gd name="T54" fmla="*/ 2497 w 3467"/>
                    <a:gd name="T55" fmla="*/ 127 h 1980"/>
                    <a:gd name="T56" fmla="*/ 2611 w 3467"/>
                    <a:gd name="T57" fmla="*/ 68 h 1980"/>
                    <a:gd name="T58" fmla="*/ 2731 w 3467"/>
                    <a:gd name="T59" fmla="*/ 26 h 1980"/>
                    <a:gd name="T60" fmla="*/ 2858 w 3467"/>
                    <a:gd name="T61" fmla="*/ 4 h 1980"/>
                    <a:gd name="T62" fmla="*/ 2992 w 3467"/>
                    <a:gd name="T63" fmla="*/ 2 h 1980"/>
                    <a:gd name="T64" fmla="*/ 3134 w 3467"/>
                    <a:gd name="T65" fmla="*/ 25 h 1980"/>
                    <a:gd name="T66" fmla="*/ 3219 w 3467"/>
                    <a:gd name="T67" fmla="*/ 51 h 1980"/>
                    <a:gd name="T68" fmla="*/ 3301 w 3467"/>
                    <a:gd name="T69" fmla="*/ 90 h 1980"/>
                    <a:gd name="T70" fmla="*/ 3379 w 3467"/>
                    <a:gd name="T71" fmla="*/ 138 h 1980"/>
                    <a:gd name="T72" fmla="*/ 3450 w 3467"/>
                    <a:gd name="T73" fmla="*/ 192 h 1980"/>
                    <a:gd name="T74" fmla="*/ 3455 w 3467"/>
                    <a:gd name="T75" fmla="*/ 198 h 1980"/>
                    <a:gd name="T76" fmla="*/ 3459 w 3467"/>
                    <a:gd name="T77" fmla="*/ 206 h 1980"/>
                    <a:gd name="T78" fmla="*/ 3464 w 3467"/>
                    <a:gd name="T79" fmla="*/ 228 h 1980"/>
                    <a:gd name="T80" fmla="*/ 3466 w 3467"/>
                    <a:gd name="T81" fmla="*/ 256 h 1980"/>
                    <a:gd name="T82" fmla="*/ 3463 w 3467"/>
                    <a:gd name="T83" fmla="*/ 287 h 1980"/>
                    <a:gd name="T84" fmla="*/ 3454 w 3467"/>
                    <a:gd name="T85" fmla="*/ 335 h 1980"/>
                    <a:gd name="T86" fmla="*/ 3444 w 3467"/>
                    <a:gd name="T87" fmla="*/ 363 h 1980"/>
                    <a:gd name="T88" fmla="*/ 3431 w 3467"/>
                    <a:gd name="T89" fmla="*/ 387 h 1980"/>
                    <a:gd name="T90" fmla="*/ 1966 w 3467"/>
                    <a:gd name="T91" fmla="*/ 1851 h 1980"/>
                    <a:gd name="T92" fmla="*/ 1934 w 3467"/>
                    <a:gd name="T93" fmla="*/ 1877 h 1980"/>
                    <a:gd name="T94" fmla="*/ 1898 w 3467"/>
                    <a:gd name="T95" fmla="*/ 1899 h 1980"/>
                    <a:gd name="T96" fmla="*/ 1814 w 3467"/>
                    <a:gd name="T97" fmla="*/ 1935 h 1980"/>
                    <a:gd name="T98" fmla="*/ 1723 w 3467"/>
                    <a:gd name="T99" fmla="*/ 1958 h 1980"/>
                    <a:gd name="T100" fmla="*/ 1634 w 3467"/>
                    <a:gd name="T101" fmla="*/ 1970 h 1980"/>
                    <a:gd name="T102" fmla="*/ 1297 w 3467"/>
                    <a:gd name="T103" fmla="*/ 1979 h 1980"/>
                    <a:gd name="T104" fmla="*/ 957 w 3467"/>
                    <a:gd name="T105" fmla="*/ 1974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7" h="1980">
                      <a:moveTo>
                        <a:pt x="957" y="1974"/>
                      </a:moveTo>
                      <a:lnTo>
                        <a:pt x="238" y="1973"/>
                      </a:lnTo>
                      <a:lnTo>
                        <a:pt x="207" y="1971"/>
                      </a:lnTo>
                      <a:lnTo>
                        <a:pt x="179" y="1969"/>
                      </a:lnTo>
                      <a:lnTo>
                        <a:pt x="153" y="1964"/>
                      </a:lnTo>
                      <a:lnTo>
                        <a:pt x="129" y="1958"/>
                      </a:lnTo>
                      <a:lnTo>
                        <a:pt x="108" y="1950"/>
                      </a:lnTo>
                      <a:lnTo>
                        <a:pt x="89" y="1941"/>
                      </a:lnTo>
                      <a:lnTo>
                        <a:pt x="72" y="1929"/>
                      </a:lnTo>
                      <a:lnTo>
                        <a:pt x="57" y="1916"/>
                      </a:lnTo>
                      <a:lnTo>
                        <a:pt x="44" y="1900"/>
                      </a:lnTo>
                      <a:lnTo>
                        <a:pt x="32" y="1883"/>
                      </a:lnTo>
                      <a:lnTo>
                        <a:pt x="23" y="1863"/>
                      </a:lnTo>
                      <a:lnTo>
                        <a:pt x="16" y="1841"/>
                      </a:lnTo>
                      <a:lnTo>
                        <a:pt x="10" y="1817"/>
                      </a:lnTo>
                      <a:lnTo>
                        <a:pt x="5" y="1791"/>
                      </a:lnTo>
                      <a:lnTo>
                        <a:pt x="3" y="1762"/>
                      </a:lnTo>
                      <a:lnTo>
                        <a:pt x="1" y="1731"/>
                      </a:lnTo>
                      <a:lnTo>
                        <a:pt x="0" y="1605"/>
                      </a:lnTo>
                      <a:lnTo>
                        <a:pt x="4" y="1510"/>
                      </a:lnTo>
                      <a:lnTo>
                        <a:pt x="9" y="1474"/>
                      </a:lnTo>
                      <a:lnTo>
                        <a:pt x="17" y="1443"/>
                      </a:lnTo>
                      <a:lnTo>
                        <a:pt x="22" y="1430"/>
                      </a:lnTo>
                      <a:lnTo>
                        <a:pt x="28" y="1418"/>
                      </a:lnTo>
                      <a:lnTo>
                        <a:pt x="35" y="1407"/>
                      </a:lnTo>
                      <a:lnTo>
                        <a:pt x="43" y="1398"/>
                      </a:lnTo>
                      <a:lnTo>
                        <a:pt x="53" y="1390"/>
                      </a:lnTo>
                      <a:lnTo>
                        <a:pt x="63" y="1382"/>
                      </a:lnTo>
                      <a:lnTo>
                        <a:pt x="75" y="1376"/>
                      </a:lnTo>
                      <a:lnTo>
                        <a:pt x="88" y="1371"/>
                      </a:lnTo>
                      <a:lnTo>
                        <a:pt x="118" y="1363"/>
                      </a:lnTo>
                      <a:lnTo>
                        <a:pt x="155" y="1357"/>
                      </a:lnTo>
                      <a:lnTo>
                        <a:pt x="248" y="1353"/>
                      </a:lnTo>
                      <a:lnTo>
                        <a:pt x="372" y="1353"/>
                      </a:lnTo>
                      <a:lnTo>
                        <a:pt x="655" y="1350"/>
                      </a:lnTo>
                      <a:lnTo>
                        <a:pt x="796" y="1350"/>
                      </a:lnTo>
                      <a:lnTo>
                        <a:pt x="936" y="1357"/>
                      </a:lnTo>
                      <a:lnTo>
                        <a:pt x="1001" y="1359"/>
                      </a:lnTo>
                      <a:lnTo>
                        <a:pt x="1062" y="1355"/>
                      </a:lnTo>
                      <a:lnTo>
                        <a:pt x="1091" y="1351"/>
                      </a:lnTo>
                      <a:lnTo>
                        <a:pt x="1120" y="1346"/>
                      </a:lnTo>
                      <a:lnTo>
                        <a:pt x="1148" y="1339"/>
                      </a:lnTo>
                      <a:lnTo>
                        <a:pt x="1176" y="1331"/>
                      </a:lnTo>
                      <a:lnTo>
                        <a:pt x="1203" y="1321"/>
                      </a:lnTo>
                      <a:lnTo>
                        <a:pt x="1230" y="1309"/>
                      </a:lnTo>
                      <a:lnTo>
                        <a:pt x="1255" y="1295"/>
                      </a:lnTo>
                      <a:lnTo>
                        <a:pt x="1281" y="1280"/>
                      </a:lnTo>
                      <a:lnTo>
                        <a:pt x="1306" y="1262"/>
                      </a:lnTo>
                      <a:lnTo>
                        <a:pt x="1330" y="1243"/>
                      </a:lnTo>
                      <a:lnTo>
                        <a:pt x="1354" y="1222"/>
                      </a:lnTo>
                      <a:lnTo>
                        <a:pt x="1377" y="1199"/>
                      </a:lnTo>
                      <a:lnTo>
                        <a:pt x="2183" y="379"/>
                      </a:lnTo>
                      <a:lnTo>
                        <a:pt x="2283" y="284"/>
                      </a:lnTo>
                      <a:lnTo>
                        <a:pt x="2388" y="199"/>
                      </a:lnTo>
                      <a:lnTo>
                        <a:pt x="2441" y="161"/>
                      </a:lnTo>
                      <a:lnTo>
                        <a:pt x="2497" y="127"/>
                      </a:lnTo>
                      <a:lnTo>
                        <a:pt x="2553" y="95"/>
                      </a:lnTo>
                      <a:lnTo>
                        <a:pt x="2611" y="68"/>
                      </a:lnTo>
                      <a:lnTo>
                        <a:pt x="2670" y="45"/>
                      </a:lnTo>
                      <a:lnTo>
                        <a:pt x="2731" y="26"/>
                      </a:lnTo>
                      <a:lnTo>
                        <a:pt x="2794" y="13"/>
                      </a:lnTo>
                      <a:lnTo>
                        <a:pt x="2858" y="4"/>
                      </a:lnTo>
                      <a:lnTo>
                        <a:pt x="2924" y="0"/>
                      </a:lnTo>
                      <a:lnTo>
                        <a:pt x="2992" y="2"/>
                      </a:lnTo>
                      <a:lnTo>
                        <a:pt x="3062" y="10"/>
                      </a:lnTo>
                      <a:lnTo>
                        <a:pt x="3134" y="25"/>
                      </a:lnTo>
                      <a:lnTo>
                        <a:pt x="3177" y="36"/>
                      </a:lnTo>
                      <a:lnTo>
                        <a:pt x="3219" y="51"/>
                      </a:lnTo>
                      <a:lnTo>
                        <a:pt x="3260" y="69"/>
                      </a:lnTo>
                      <a:lnTo>
                        <a:pt x="3301" y="90"/>
                      </a:lnTo>
                      <a:lnTo>
                        <a:pt x="3341" y="113"/>
                      </a:lnTo>
                      <a:lnTo>
                        <a:pt x="3379" y="138"/>
                      </a:lnTo>
                      <a:lnTo>
                        <a:pt x="3415" y="164"/>
                      </a:lnTo>
                      <a:lnTo>
                        <a:pt x="3450" y="192"/>
                      </a:lnTo>
                      <a:lnTo>
                        <a:pt x="3453" y="194"/>
                      </a:lnTo>
                      <a:lnTo>
                        <a:pt x="3455" y="198"/>
                      </a:lnTo>
                      <a:lnTo>
                        <a:pt x="3457" y="201"/>
                      </a:lnTo>
                      <a:lnTo>
                        <a:pt x="3459" y="206"/>
                      </a:lnTo>
                      <a:lnTo>
                        <a:pt x="3462" y="216"/>
                      </a:lnTo>
                      <a:lnTo>
                        <a:pt x="3464" y="228"/>
                      </a:lnTo>
                      <a:lnTo>
                        <a:pt x="3466" y="242"/>
                      </a:lnTo>
                      <a:lnTo>
                        <a:pt x="3466" y="256"/>
                      </a:lnTo>
                      <a:lnTo>
                        <a:pt x="3465" y="271"/>
                      </a:lnTo>
                      <a:lnTo>
                        <a:pt x="3463" y="287"/>
                      </a:lnTo>
                      <a:lnTo>
                        <a:pt x="3458" y="319"/>
                      </a:lnTo>
                      <a:lnTo>
                        <a:pt x="3454" y="335"/>
                      </a:lnTo>
                      <a:lnTo>
                        <a:pt x="3449" y="350"/>
                      </a:lnTo>
                      <a:lnTo>
                        <a:pt x="3444" y="363"/>
                      </a:lnTo>
                      <a:lnTo>
                        <a:pt x="3438" y="376"/>
                      </a:lnTo>
                      <a:lnTo>
                        <a:pt x="3431" y="387"/>
                      </a:lnTo>
                      <a:lnTo>
                        <a:pt x="3424" y="396"/>
                      </a:lnTo>
                      <a:lnTo>
                        <a:pt x="1966" y="1851"/>
                      </a:lnTo>
                      <a:lnTo>
                        <a:pt x="1951" y="1864"/>
                      </a:lnTo>
                      <a:lnTo>
                        <a:pt x="1934" y="1877"/>
                      </a:lnTo>
                      <a:lnTo>
                        <a:pt x="1917" y="1889"/>
                      </a:lnTo>
                      <a:lnTo>
                        <a:pt x="1898" y="1899"/>
                      </a:lnTo>
                      <a:lnTo>
                        <a:pt x="1857" y="1919"/>
                      </a:lnTo>
                      <a:lnTo>
                        <a:pt x="1814" y="1935"/>
                      </a:lnTo>
                      <a:lnTo>
                        <a:pt x="1769" y="1948"/>
                      </a:lnTo>
                      <a:lnTo>
                        <a:pt x="1723" y="1958"/>
                      </a:lnTo>
                      <a:lnTo>
                        <a:pt x="1678" y="1965"/>
                      </a:lnTo>
                      <a:lnTo>
                        <a:pt x="1634" y="1970"/>
                      </a:lnTo>
                      <a:lnTo>
                        <a:pt x="1466" y="1978"/>
                      </a:lnTo>
                      <a:lnTo>
                        <a:pt x="1297" y="1979"/>
                      </a:lnTo>
                      <a:lnTo>
                        <a:pt x="957" y="1975"/>
                      </a:lnTo>
                      <a:lnTo>
                        <a:pt x="957" y="19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6" name="Freeform 5"/>
                <p:cNvSpPr>
                  <a:spLocks noChangeArrowheads="1"/>
                </p:cNvSpPr>
                <p:nvPr/>
              </p:nvSpPr>
              <p:spPr bwMode="auto">
                <a:xfrm>
                  <a:off x="6816725" y="2930525"/>
                  <a:ext cx="150813" cy="2049463"/>
                </a:xfrm>
                <a:custGeom>
                  <a:avLst/>
                  <a:gdLst>
                    <a:gd name="T0" fmla="*/ 3 w 417"/>
                    <a:gd name="T1" fmla="*/ 268 h 5695"/>
                    <a:gd name="T2" fmla="*/ 6 w 417"/>
                    <a:gd name="T3" fmla="*/ 217 h 5695"/>
                    <a:gd name="T4" fmla="*/ 16 w 417"/>
                    <a:gd name="T5" fmla="*/ 165 h 5695"/>
                    <a:gd name="T6" fmla="*/ 33 w 417"/>
                    <a:gd name="T7" fmla="*/ 116 h 5695"/>
                    <a:gd name="T8" fmla="*/ 45 w 417"/>
                    <a:gd name="T9" fmla="*/ 95 h 5695"/>
                    <a:gd name="T10" fmla="*/ 58 w 417"/>
                    <a:gd name="T11" fmla="*/ 76 h 5695"/>
                    <a:gd name="T12" fmla="*/ 75 w 417"/>
                    <a:gd name="T13" fmla="*/ 59 h 5695"/>
                    <a:gd name="T14" fmla="*/ 96 w 417"/>
                    <a:gd name="T15" fmla="*/ 44 h 5695"/>
                    <a:gd name="T16" fmla="*/ 143 w 417"/>
                    <a:gd name="T17" fmla="*/ 17 h 5695"/>
                    <a:gd name="T18" fmla="*/ 168 w 417"/>
                    <a:gd name="T19" fmla="*/ 8 h 5695"/>
                    <a:gd name="T20" fmla="*/ 193 w 417"/>
                    <a:gd name="T21" fmla="*/ 2 h 5695"/>
                    <a:gd name="T22" fmla="*/ 215 w 417"/>
                    <a:gd name="T23" fmla="*/ 0 h 5695"/>
                    <a:gd name="T24" fmla="*/ 235 w 417"/>
                    <a:gd name="T25" fmla="*/ 3 h 5695"/>
                    <a:gd name="T26" fmla="*/ 274 w 417"/>
                    <a:gd name="T27" fmla="*/ 18 h 5695"/>
                    <a:gd name="T28" fmla="*/ 309 w 417"/>
                    <a:gd name="T29" fmla="*/ 37 h 5695"/>
                    <a:gd name="T30" fmla="*/ 340 w 417"/>
                    <a:gd name="T31" fmla="*/ 60 h 5695"/>
                    <a:gd name="T32" fmla="*/ 366 w 417"/>
                    <a:gd name="T33" fmla="*/ 88 h 5695"/>
                    <a:gd name="T34" fmla="*/ 388 w 417"/>
                    <a:gd name="T35" fmla="*/ 121 h 5695"/>
                    <a:gd name="T36" fmla="*/ 403 w 417"/>
                    <a:gd name="T37" fmla="*/ 159 h 5695"/>
                    <a:gd name="T38" fmla="*/ 413 w 417"/>
                    <a:gd name="T39" fmla="*/ 203 h 5695"/>
                    <a:gd name="T40" fmla="*/ 416 w 417"/>
                    <a:gd name="T41" fmla="*/ 253 h 5695"/>
                    <a:gd name="T42" fmla="*/ 410 w 417"/>
                    <a:gd name="T43" fmla="*/ 5500 h 5695"/>
                    <a:gd name="T44" fmla="*/ 405 w 417"/>
                    <a:gd name="T45" fmla="*/ 5554 h 5695"/>
                    <a:gd name="T46" fmla="*/ 392 w 417"/>
                    <a:gd name="T47" fmla="*/ 5611 h 5695"/>
                    <a:gd name="T48" fmla="*/ 378 w 417"/>
                    <a:gd name="T49" fmla="*/ 5648 h 5695"/>
                    <a:gd name="T50" fmla="*/ 368 w 417"/>
                    <a:gd name="T51" fmla="*/ 5666 h 5695"/>
                    <a:gd name="T52" fmla="*/ 359 w 417"/>
                    <a:gd name="T53" fmla="*/ 5675 h 5695"/>
                    <a:gd name="T54" fmla="*/ 353 w 417"/>
                    <a:gd name="T55" fmla="*/ 5679 h 5695"/>
                    <a:gd name="T56" fmla="*/ 314 w 417"/>
                    <a:gd name="T57" fmla="*/ 5687 h 5695"/>
                    <a:gd name="T58" fmla="*/ 238 w 417"/>
                    <a:gd name="T59" fmla="*/ 5694 h 5695"/>
                    <a:gd name="T60" fmla="*/ 161 w 417"/>
                    <a:gd name="T61" fmla="*/ 5692 h 5695"/>
                    <a:gd name="T62" fmla="*/ 85 w 417"/>
                    <a:gd name="T63" fmla="*/ 5682 h 5695"/>
                    <a:gd name="T64" fmla="*/ 46 w 417"/>
                    <a:gd name="T65" fmla="*/ 5674 h 5695"/>
                    <a:gd name="T66" fmla="*/ 41 w 417"/>
                    <a:gd name="T67" fmla="*/ 5671 h 5695"/>
                    <a:gd name="T68" fmla="*/ 34 w 417"/>
                    <a:gd name="T69" fmla="*/ 5663 h 5695"/>
                    <a:gd name="T70" fmla="*/ 26 w 417"/>
                    <a:gd name="T71" fmla="*/ 5647 h 5695"/>
                    <a:gd name="T72" fmla="*/ 15 w 417"/>
                    <a:gd name="T73" fmla="*/ 5614 h 5695"/>
                    <a:gd name="T74" fmla="*/ 6 w 417"/>
                    <a:gd name="T75" fmla="*/ 5562 h 5695"/>
                    <a:gd name="T76" fmla="*/ 2 w 417"/>
                    <a:gd name="T77" fmla="*/ 5514 h 5695"/>
                    <a:gd name="T78" fmla="*/ 0 w 417"/>
                    <a:gd name="T79" fmla="*/ 2876 h 5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7" h="5695">
                      <a:moveTo>
                        <a:pt x="1" y="2876"/>
                      </a:moveTo>
                      <a:lnTo>
                        <a:pt x="3" y="268"/>
                      </a:lnTo>
                      <a:lnTo>
                        <a:pt x="4" y="243"/>
                      </a:lnTo>
                      <a:lnTo>
                        <a:pt x="6" y="217"/>
                      </a:lnTo>
                      <a:lnTo>
                        <a:pt x="10" y="191"/>
                      </a:lnTo>
                      <a:lnTo>
                        <a:pt x="16" y="165"/>
                      </a:lnTo>
                      <a:lnTo>
                        <a:pt x="24" y="140"/>
                      </a:lnTo>
                      <a:lnTo>
                        <a:pt x="33" y="116"/>
                      </a:lnTo>
                      <a:lnTo>
                        <a:pt x="39" y="105"/>
                      </a:lnTo>
                      <a:lnTo>
                        <a:pt x="45" y="95"/>
                      </a:lnTo>
                      <a:lnTo>
                        <a:pt x="51" y="85"/>
                      </a:lnTo>
                      <a:lnTo>
                        <a:pt x="58" y="76"/>
                      </a:lnTo>
                      <a:lnTo>
                        <a:pt x="66" y="67"/>
                      </a:lnTo>
                      <a:lnTo>
                        <a:pt x="75" y="59"/>
                      </a:lnTo>
                      <a:lnTo>
                        <a:pt x="85" y="51"/>
                      </a:lnTo>
                      <a:lnTo>
                        <a:pt x="96" y="44"/>
                      </a:lnTo>
                      <a:lnTo>
                        <a:pt x="119" y="29"/>
                      </a:lnTo>
                      <a:lnTo>
                        <a:pt x="143" y="17"/>
                      </a:lnTo>
                      <a:lnTo>
                        <a:pt x="156" y="12"/>
                      </a:lnTo>
                      <a:lnTo>
                        <a:pt x="168" y="8"/>
                      </a:lnTo>
                      <a:lnTo>
                        <a:pt x="181" y="4"/>
                      </a:lnTo>
                      <a:lnTo>
                        <a:pt x="193" y="2"/>
                      </a:lnTo>
                      <a:lnTo>
                        <a:pt x="204" y="0"/>
                      </a:lnTo>
                      <a:lnTo>
                        <a:pt x="215" y="0"/>
                      </a:lnTo>
                      <a:lnTo>
                        <a:pt x="226" y="1"/>
                      </a:lnTo>
                      <a:lnTo>
                        <a:pt x="235" y="3"/>
                      </a:lnTo>
                      <a:lnTo>
                        <a:pt x="255" y="10"/>
                      </a:lnTo>
                      <a:lnTo>
                        <a:pt x="274" y="18"/>
                      </a:lnTo>
                      <a:lnTo>
                        <a:pt x="292" y="27"/>
                      </a:lnTo>
                      <a:lnTo>
                        <a:pt x="309" y="37"/>
                      </a:lnTo>
                      <a:lnTo>
                        <a:pt x="325" y="48"/>
                      </a:lnTo>
                      <a:lnTo>
                        <a:pt x="340" y="60"/>
                      </a:lnTo>
                      <a:lnTo>
                        <a:pt x="354" y="73"/>
                      </a:lnTo>
                      <a:lnTo>
                        <a:pt x="366" y="88"/>
                      </a:lnTo>
                      <a:lnTo>
                        <a:pt x="377" y="104"/>
                      </a:lnTo>
                      <a:lnTo>
                        <a:pt x="388" y="121"/>
                      </a:lnTo>
                      <a:lnTo>
                        <a:pt x="396" y="139"/>
                      </a:lnTo>
                      <a:lnTo>
                        <a:pt x="403" y="159"/>
                      </a:lnTo>
                      <a:lnTo>
                        <a:pt x="409" y="180"/>
                      </a:lnTo>
                      <a:lnTo>
                        <a:pt x="413" y="203"/>
                      </a:lnTo>
                      <a:lnTo>
                        <a:pt x="415" y="227"/>
                      </a:lnTo>
                      <a:lnTo>
                        <a:pt x="416" y="253"/>
                      </a:lnTo>
                      <a:lnTo>
                        <a:pt x="412" y="3638"/>
                      </a:lnTo>
                      <a:lnTo>
                        <a:pt x="410" y="5500"/>
                      </a:lnTo>
                      <a:lnTo>
                        <a:pt x="409" y="5526"/>
                      </a:lnTo>
                      <a:lnTo>
                        <a:pt x="405" y="5554"/>
                      </a:lnTo>
                      <a:lnTo>
                        <a:pt x="399" y="5583"/>
                      </a:lnTo>
                      <a:lnTo>
                        <a:pt x="392" y="5611"/>
                      </a:lnTo>
                      <a:lnTo>
                        <a:pt x="383" y="5636"/>
                      </a:lnTo>
                      <a:lnTo>
                        <a:pt x="378" y="5648"/>
                      </a:lnTo>
                      <a:lnTo>
                        <a:pt x="373" y="5658"/>
                      </a:lnTo>
                      <a:lnTo>
                        <a:pt x="368" y="5666"/>
                      </a:lnTo>
                      <a:lnTo>
                        <a:pt x="362" y="5673"/>
                      </a:lnTo>
                      <a:lnTo>
                        <a:pt x="359" y="5675"/>
                      </a:lnTo>
                      <a:lnTo>
                        <a:pt x="356" y="5678"/>
                      </a:lnTo>
                      <a:lnTo>
                        <a:pt x="353" y="5679"/>
                      </a:lnTo>
                      <a:lnTo>
                        <a:pt x="350" y="5680"/>
                      </a:lnTo>
                      <a:lnTo>
                        <a:pt x="314" y="5687"/>
                      </a:lnTo>
                      <a:lnTo>
                        <a:pt x="276" y="5692"/>
                      </a:lnTo>
                      <a:lnTo>
                        <a:pt x="238" y="5694"/>
                      </a:lnTo>
                      <a:lnTo>
                        <a:pt x="200" y="5694"/>
                      </a:lnTo>
                      <a:lnTo>
                        <a:pt x="161" y="5692"/>
                      </a:lnTo>
                      <a:lnTo>
                        <a:pt x="123" y="5688"/>
                      </a:lnTo>
                      <a:lnTo>
                        <a:pt x="85" y="5682"/>
                      </a:lnTo>
                      <a:lnTo>
                        <a:pt x="48" y="5675"/>
                      </a:lnTo>
                      <a:lnTo>
                        <a:pt x="46" y="5674"/>
                      </a:lnTo>
                      <a:lnTo>
                        <a:pt x="43" y="5673"/>
                      </a:lnTo>
                      <a:lnTo>
                        <a:pt x="41" y="5671"/>
                      </a:lnTo>
                      <a:lnTo>
                        <a:pt x="39" y="5669"/>
                      </a:lnTo>
                      <a:lnTo>
                        <a:pt x="34" y="5663"/>
                      </a:lnTo>
                      <a:lnTo>
                        <a:pt x="30" y="5655"/>
                      </a:lnTo>
                      <a:lnTo>
                        <a:pt x="26" y="5647"/>
                      </a:lnTo>
                      <a:lnTo>
                        <a:pt x="22" y="5636"/>
                      </a:lnTo>
                      <a:lnTo>
                        <a:pt x="15" y="5614"/>
                      </a:lnTo>
                      <a:lnTo>
                        <a:pt x="10" y="5588"/>
                      </a:lnTo>
                      <a:lnTo>
                        <a:pt x="6" y="5562"/>
                      </a:lnTo>
                      <a:lnTo>
                        <a:pt x="3" y="5537"/>
                      </a:lnTo>
                      <a:lnTo>
                        <a:pt x="2" y="5514"/>
                      </a:lnTo>
                      <a:lnTo>
                        <a:pt x="0" y="3511"/>
                      </a:lnTo>
                      <a:lnTo>
                        <a:pt x="0" y="2876"/>
                      </a:lnTo>
                      <a:lnTo>
                        <a:pt x="1" y="28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7" name="Freeform 6"/>
                <p:cNvSpPr>
                  <a:spLocks noChangeArrowheads="1"/>
                </p:cNvSpPr>
                <p:nvPr/>
              </p:nvSpPr>
              <p:spPr bwMode="auto">
                <a:xfrm>
                  <a:off x="3436938" y="3540125"/>
                  <a:ext cx="149225" cy="1443038"/>
                </a:xfrm>
                <a:custGeom>
                  <a:avLst/>
                  <a:gdLst>
                    <a:gd name="T0" fmla="*/ 0 w 414"/>
                    <a:gd name="T1" fmla="*/ 210 h 4010"/>
                    <a:gd name="T2" fmla="*/ 3 w 414"/>
                    <a:gd name="T3" fmla="*/ 156 h 4010"/>
                    <a:gd name="T4" fmla="*/ 12 w 414"/>
                    <a:gd name="T5" fmla="*/ 112 h 4010"/>
                    <a:gd name="T6" fmla="*/ 28 w 414"/>
                    <a:gd name="T7" fmla="*/ 75 h 4010"/>
                    <a:gd name="T8" fmla="*/ 50 w 414"/>
                    <a:gd name="T9" fmla="*/ 46 h 4010"/>
                    <a:gd name="T10" fmla="*/ 80 w 414"/>
                    <a:gd name="T11" fmla="*/ 25 h 4010"/>
                    <a:gd name="T12" fmla="*/ 117 w 414"/>
                    <a:gd name="T13" fmla="*/ 10 h 4010"/>
                    <a:gd name="T14" fmla="*/ 162 w 414"/>
                    <a:gd name="T15" fmla="*/ 2 h 4010"/>
                    <a:gd name="T16" fmla="*/ 215 w 414"/>
                    <a:gd name="T17" fmla="*/ 0 h 4010"/>
                    <a:gd name="T18" fmla="*/ 267 w 414"/>
                    <a:gd name="T19" fmla="*/ 2 h 4010"/>
                    <a:gd name="T20" fmla="*/ 309 w 414"/>
                    <a:gd name="T21" fmla="*/ 11 h 4010"/>
                    <a:gd name="T22" fmla="*/ 344 w 414"/>
                    <a:gd name="T23" fmla="*/ 25 h 4010"/>
                    <a:gd name="T24" fmla="*/ 370 w 414"/>
                    <a:gd name="T25" fmla="*/ 47 h 4010"/>
                    <a:gd name="T26" fmla="*/ 390 w 414"/>
                    <a:gd name="T27" fmla="*/ 76 h 4010"/>
                    <a:gd name="T28" fmla="*/ 403 w 414"/>
                    <a:gd name="T29" fmla="*/ 114 h 4010"/>
                    <a:gd name="T30" fmla="*/ 410 w 414"/>
                    <a:gd name="T31" fmla="*/ 162 h 4010"/>
                    <a:gd name="T32" fmla="*/ 413 w 414"/>
                    <a:gd name="T33" fmla="*/ 2816 h 4010"/>
                    <a:gd name="T34" fmla="*/ 411 w 414"/>
                    <a:gd name="T35" fmla="*/ 3851 h 4010"/>
                    <a:gd name="T36" fmla="*/ 404 w 414"/>
                    <a:gd name="T37" fmla="*/ 3931 h 4010"/>
                    <a:gd name="T38" fmla="*/ 396 w 414"/>
                    <a:gd name="T39" fmla="*/ 3958 h 4010"/>
                    <a:gd name="T40" fmla="*/ 389 w 414"/>
                    <a:gd name="T41" fmla="*/ 3972 h 4010"/>
                    <a:gd name="T42" fmla="*/ 379 w 414"/>
                    <a:gd name="T43" fmla="*/ 3983 h 4010"/>
                    <a:gd name="T44" fmla="*/ 367 w 414"/>
                    <a:gd name="T45" fmla="*/ 3992 h 4010"/>
                    <a:gd name="T46" fmla="*/ 353 w 414"/>
                    <a:gd name="T47" fmla="*/ 3998 h 4010"/>
                    <a:gd name="T48" fmla="*/ 326 w 414"/>
                    <a:gd name="T49" fmla="*/ 4005 h 4010"/>
                    <a:gd name="T50" fmla="*/ 279 w 414"/>
                    <a:gd name="T51" fmla="*/ 4009 h 4010"/>
                    <a:gd name="T52" fmla="*/ 148 w 414"/>
                    <a:gd name="T53" fmla="*/ 4008 h 4010"/>
                    <a:gd name="T54" fmla="*/ 96 w 414"/>
                    <a:gd name="T55" fmla="*/ 4004 h 4010"/>
                    <a:gd name="T56" fmla="*/ 58 w 414"/>
                    <a:gd name="T57" fmla="*/ 3993 h 4010"/>
                    <a:gd name="T58" fmla="*/ 43 w 414"/>
                    <a:gd name="T59" fmla="*/ 3985 h 4010"/>
                    <a:gd name="T60" fmla="*/ 32 w 414"/>
                    <a:gd name="T61" fmla="*/ 3975 h 4010"/>
                    <a:gd name="T62" fmla="*/ 22 w 414"/>
                    <a:gd name="T63" fmla="*/ 3961 h 4010"/>
                    <a:gd name="T64" fmla="*/ 15 w 414"/>
                    <a:gd name="T65" fmla="*/ 3945 h 4010"/>
                    <a:gd name="T66" fmla="*/ 6 w 414"/>
                    <a:gd name="T67" fmla="*/ 3902 h 4010"/>
                    <a:gd name="T68" fmla="*/ 1 w 414"/>
                    <a:gd name="T69" fmla="*/ 3764 h 4010"/>
                    <a:gd name="T70" fmla="*/ 0 w 414"/>
                    <a:gd name="T71" fmla="*/ 2001 h 4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4010">
                      <a:moveTo>
                        <a:pt x="0" y="2001"/>
                      </a:moveTo>
                      <a:lnTo>
                        <a:pt x="0" y="210"/>
                      </a:lnTo>
                      <a:lnTo>
                        <a:pt x="1" y="182"/>
                      </a:lnTo>
                      <a:lnTo>
                        <a:pt x="3" y="156"/>
                      </a:lnTo>
                      <a:lnTo>
                        <a:pt x="7" y="133"/>
                      </a:lnTo>
                      <a:lnTo>
                        <a:pt x="12" y="112"/>
                      </a:lnTo>
                      <a:lnTo>
                        <a:pt x="19" y="92"/>
                      </a:lnTo>
                      <a:lnTo>
                        <a:pt x="28" y="75"/>
                      </a:lnTo>
                      <a:lnTo>
                        <a:pt x="38" y="60"/>
                      </a:lnTo>
                      <a:lnTo>
                        <a:pt x="50" y="46"/>
                      </a:lnTo>
                      <a:lnTo>
                        <a:pt x="64" y="35"/>
                      </a:lnTo>
                      <a:lnTo>
                        <a:pt x="80" y="25"/>
                      </a:lnTo>
                      <a:lnTo>
                        <a:pt x="97" y="17"/>
                      </a:lnTo>
                      <a:lnTo>
                        <a:pt x="117" y="10"/>
                      </a:lnTo>
                      <a:lnTo>
                        <a:pt x="138" y="5"/>
                      </a:lnTo>
                      <a:lnTo>
                        <a:pt x="162" y="2"/>
                      </a:lnTo>
                      <a:lnTo>
                        <a:pt x="187" y="0"/>
                      </a:lnTo>
                      <a:lnTo>
                        <a:pt x="215" y="0"/>
                      </a:lnTo>
                      <a:lnTo>
                        <a:pt x="242" y="0"/>
                      </a:lnTo>
                      <a:lnTo>
                        <a:pt x="267" y="2"/>
                      </a:lnTo>
                      <a:lnTo>
                        <a:pt x="289" y="6"/>
                      </a:lnTo>
                      <a:lnTo>
                        <a:pt x="309" y="11"/>
                      </a:lnTo>
                      <a:lnTo>
                        <a:pt x="328" y="17"/>
                      </a:lnTo>
                      <a:lnTo>
                        <a:pt x="344" y="25"/>
                      </a:lnTo>
                      <a:lnTo>
                        <a:pt x="358" y="35"/>
                      </a:lnTo>
                      <a:lnTo>
                        <a:pt x="370" y="47"/>
                      </a:lnTo>
                      <a:lnTo>
                        <a:pt x="381" y="60"/>
                      </a:lnTo>
                      <a:lnTo>
                        <a:pt x="390" y="76"/>
                      </a:lnTo>
                      <a:lnTo>
                        <a:pt x="397" y="94"/>
                      </a:lnTo>
                      <a:lnTo>
                        <a:pt x="403" y="114"/>
                      </a:lnTo>
                      <a:lnTo>
                        <a:pt x="407" y="137"/>
                      </a:lnTo>
                      <a:lnTo>
                        <a:pt x="410" y="162"/>
                      </a:lnTo>
                      <a:lnTo>
                        <a:pt x="413" y="221"/>
                      </a:lnTo>
                      <a:lnTo>
                        <a:pt x="413" y="2816"/>
                      </a:lnTo>
                      <a:lnTo>
                        <a:pt x="412" y="3775"/>
                      </a:lnTo>
                      <a:lnTo>
                        <a:pt x="411" y="3851"/>
                      </a:lnTo>
                      <a:lnTo>
                        <a:pt x="407" y="3908"/>
                      </a:lnTo>
                      <a:lnTo>
                        <a:pt x="404" y="3931"/>
                      </a:lnTo>
                      <a:lnTo>
                        <a:pt x="399" y="3950"/>
                      </a:lnTo>
                      <a:lnTo>
                        <a:pt x="396" y="3958"/>
                      </a:lnTo>
                      <a:lnTo>
                        <a:pt x="392" y="3965"/>
                      </a:lnTo>
                      <a:lnTo>
                        <a:pt x="389" y="3972"/>
                      </a:lnTo>
                      <a:lnTo>
                        <a:pt x="384" y="3978"/>
                      </a:lnTo>
                      <a:lnTo>
                        <a:pt x="379" y="3983"/>
                      </a:lnTo>
                      <a:lnTo>
                        <a:pt x="373" y="3988"/>
                      </a:lnTo>
                      <a:lnTo>
                        <a:pt x="367" y="3992"/>
                      </a:lnTo>
                      <a:lnTo>
                        <a:pt x="360" y="3995"/>
                      </a:lnTo>
                      <a:lnTo>
                        <a:pt x="353" y="3998"/>
                      </a:lnTo>
                      <a:lnTo>
                        <a:pt x="345" y="4001"/>
                      </a:lnTo>
                      <a:lnTo>
                        <a:pt x="326" y="4005"/>
                      </a:lnTo>
                      <a:lnTo>
                        <a:pt x="304" y="4007"/>
                      </a:lnTo>
                      <a:lnTo>
                        <a:pt x="279" y="4009"/>
                      </a:lnTo>
                      <a:lnTo>
                        <a:pt x="217" y="4009"/>
                      </a:lnTo>
                      <a:lnTo>
                        <a:pt x="148" y="4008"/>
                      </a:lnTo>
                      <a:lnTo>
                        <a:pt x="120" y="4006"/>
                      </a:lnTo>
                      <a:lnTo>
                        <a:pt x="96" y="4004"/>
                      </a:lnTo>
                      <a:lnTo>
                        <a:pt x="75" y="3999"/>
                      </a:lnTo>
                      <a:lnTo>
                        <a:pt x="58" y="3993"/>
                      </a:lnTo>
                      <a:lnTo>
                        <a:pt x="50" y="3989"/>
                      </a:lnTo>
                      <a:lnTo>
                        <a:pt x="43" y="3985"/>
                      </a:lnTo>
                      <a:lnTo>
                        <a:pt x="37" y="3980"/>
                      </a:lnTo>
                      <a:lnTo>
                        <a:pt x="32" y="3975"/>
                      </a:lnTo>
                      <a:lnTo>
                        <a:pt x="27" y="3968"/>
                      </a:lnTo>
                      <a:lnTo>
                        <a:pt x="22" y="3961"/>
                      </a:lnTo>
                      <a:lnTo>
                        <a:pt x="18" y="3953"/>
                      </a:lnTo>
                      <a:lnTo>
                        <a:pt x="15" y="3945"/>
                      </a:lnTo>
                      <a:lnTo>
                        <a:pt x="10" y="3925"/>
                      </a:lnTo>
                      <a:lnTo>
                        <a:pt x="6" y="3902"/>
                      </a:lnTo>
                      <a:lnTo>
                        <a:pt x="2" y="3842"/>
                      </a:lnTo>
                      <a:lnTo>
                        <a:pt x="1" y="3764"/>
                      </a:lnTo>
                      <a:lnTo>
                        <a:pt x="1" y="2001"/>
                      </a:lnTo>
                      <a:lnTo>
                        <a:pt x="0" y="200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8" name="Freeform 7"/>
                <p:cNvSpPr>
                  <a:spLocks noChangeArrowheads="1"/>
                </p:cNvSpPr>
                <p:nvPr/>
              </p:nvSpPr>
              <p:spPr bwMode="auto">
                <a:xfrm>
                  <a:off x="6154738" y="2420938"/>
                  <a:ext cx="490537" cy="511175"/>
                </a:xfrm>
                <a:custGeom>
                  <a:avLst/>
                  <a:gdLst>
                    <a:gd name="T0" fmla="*/ 762 w 1362"/>
                    <a:gd name="T1" fmla="*/ 9 h 1418"/>
                    <a:gd name="T2" fmla="*/ 904 w 1362"/>
                    <a:gd name="T3" fmla="*/ 31 h 1418"/>
                    <a:gd name="T4" fmla="*/ 1029 w 1362"/>
                    <a:gd name="T5" fmla="*/ 74 h 1418"/>
                    <a:gd name="T6" fmla="*/ 1136 w 1362"/>
                    <a:gd name="T7" fmla="*/ 139 h 1418"/>
                    <a:gd name="T8" fmla="*/ 1223 w 1362"/>
                    <a:gd name="T9" fmla="*/ 222 h 1418"/>
                    <a:gd name="T10" fmla="*/ 1290 w 1362"/>
                    <a:gd name="T11" fmla="*/ 324 h 1418"/>
                    <a:gd name="T12" fmla="*/ 1335 w 1362"/>
                    <a:gd name="T13" fmla="*/ 444 h 1418"/>
                    <a:gd name="T14" fmla="*/ 1358 w 1362"/>
                    <a:gd name="T15" fmla="*/ 580 h 1418"/>
                    <a:gd name="T16" fmla="*/ 1358 w 1362"/>
                    <a:gd name="T17" fmla="*/ 736 h 1418"/>
                    <a:gd name="T18" fmla="*/ 1333 w 1362"/>
                    <a:gd name="T19" fmla="*/ 891 h 1418"/>
                    <a:gd name="T20" fmla="*/ 1285 w 1362"/>
                    <a:gd name="T21" fmla="*/ 1030 h 1418"/>
                    <a:gd name="T22" fmla="*/ 1216 w 1362"/>
                    <a:gd name="T23" fmla="*/ 1151 h 1418"/>
                    <a:gd name="T24" fmla="*/ 1127 w 1362"/>
                    <a:gd name="T25" fmla="*/ 1251 h 1418"/>
                    <a:gd name="T26" fmla="*/ 1021 w 1362"/>
                    <a:gd name="T27" fmla="*/ 1330 h 1418"/>
                    <a:gd name="T28" fmla="*/ 900 w 1362"/>
                    <a:gd name="T29" fmla="*/ 1384 h 1418"/>
                    <a:gd name="T30" fmla="*/ 764 w 1362"/>
                    <a:gd name="T31" fmla="*/ 1413 h 1418"/>
                    <a:gd name="T32" fmla="*/ 619 w 1362"/>
                    <a:gd name="T33" fmla="*/ 1413 h 1418"/>
                    <a:gd name="T34" fmla="*/ 483 w 1362"/>
                    <a:gd name="T35" fmla="*/ 1386 h 1418"/>
                    <a:gd name="T36" fmla="*/ 360 w 1362"/>
                    <a:gd name="T37" fmla="*/ 1334 h 1418"/>
                    <a:gd name="T38" fmla="*/ 251 w 1362"/>
                    <a:gd name="T39" fmla="*/ 1258 h 1418"/>
                    <a:gd name="T40" fmla="*/ 159 w 1362"/>
                    <a:gd name="T41" fmla="*/ 1162 h 1418"/>
                    <a:gd name="T42" fmla="*/ 86 w 1362"/>
                    <a:gd name="T43" fmla="*/ 1047 h 1418"/>
                    <a:gd name="T44" fmla="*/ 35 w 1362"/>
                    <a:gd name="T45" fmla="*/ 916 h 1418"/>
                    <a:gd name="T46" fmla="*/ 6 w 1362"/>
                    <a:gd name="T47" fmla="*/ 771 h 1418"/>
                    <a:gd name="T48" fmla="*/ 2 w 1362"/>
                    <a:gd name="T49" fmla="*/ 629 h 1418"/>
                    <a:gd name="T50" fmla="*/ 24 w 1362"/>
                    <a:gd name="T51" fmla="*/ 498 h 1418"/>
                    <a:gd name="T52" fmla="*/ 71 w 1362"/>
                    <a:gd name="T53" fmla="*/ 370 h 1418"/>
                    <a:gd name="T54" fmla="*/ 140 w 1362"/>
                    <a:gd name="T55" fmla="*/ 252 h 1418"/>
                    <a:gd name="T56" fmla="*/ 230 w 1362"/>
                    <a:gd name="T57" fmla="*/ 150 h 1418"/>
                    <a:gd name="T58" fmla="*/ 339 w 1362"/>
                    <a:gd name="T59" fmla="*/ 70 h 1418"/>
                    <a:gd name="T60" fmla="*/ 466 w 1362"/>
                    <a:gd name="T61" fmla="*/ 18 h 1418"/>
                    <a:gd name="T62" fmla="*/ 608 w 1362"/>
                    <a:gd name="T63" fmla="*/ 0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2" h="1418">
                      <a:moveTo>
                        <a:pt x="684" y="6"/>
                      </a:moveTo>
                      <a:lnTo>
                        <a:pt x="762" y="9"/>
                      </a:lnTo>
                      <a:lnTo>
                        <a:pt x="835" y="17"/>
                      </a:lnTo>
                      <a:lnTo>
                        <a:pt x="904" y="31"/>
                      </a:lnTo>
                      <a:lnTo>
                        <a:pt x="969" y="50"/>
                      </a:lnTo>
                      <a:lnTo>
                        <a:pt x="1029" y="74"/>
                      </a:lnTo>
                      <a:lnTo>
                        <a:pt x="1085" y="104"/>
                      </a:lnTo>
                      <a:lnTo>
                        <a:pt x="1136" y="139"/>
                      </a:lnTo>
                      <a:lnTo>
                        <a:pt x="1182" y="178"/>
                      </a:lnTo>
                      <a:lnTo>
                        <a:pt x="1223" y="222"/>
                      </a:lnTo>
                      <a:lnTo>
                        <a:pt x="1259" y="271"/>
                      </a:lnTo>
                      <a:lnTo>
                        <a:pt x="1290" y="324"/>
                      </a:lnTo>
                      <a:lnTo>
                        <a:pt x="1315" y="382"/>
                      </a:lnTo>
                      <a:lnTo>
                        <a:pt x="1335" y="444"/>
                      </a:lnTo>
                      <a:lnTo>
                        <a:pt x="1350" y="510"/>
                      </a:lnTo>
                      <a:lnTo>
                        <a:pt x="1358" y="580"/>
                      </a:lnTo>
                      <a:lnTo>
                        <a:pt x="1361" y="654"/>
                      </a:lnTo>
                      <a:lnTo>
                        <a:pt x="1358" y="736"/>
                      </a:lnTo>
                      <a:lnTo>
                        <a:pt x="1348" y="816"/>
                      </a:lnTo>
                      <a:lnTo>
                        <a:pt x="1333" y="891"/>
                      </a:lnTo>
                      <a:lnTo>
                        <a:pt x="1312" y="963"/>
                      </a:lnTo>
                      <a:lnTo>
                        <a:pt x="1285" y="1030"/>
                      </a:lnTo>
                      <a:lnTo>
                        <a:pt x="1253" y="1093"/>
                      </a:lnTo>
                      <a:lnTo>
                        <a:pt x="1216" y="1151"/>
                      </a:lnTo>
                      <a:lnTo>
                        <a:pt x="1174" y="1204"/>
                      </a:lnTo>
                      <a:lnTo>
                        <a:pt x="1127" y="1251"/>
                      </a:lnTo>
                      <a:lnTo>
                        <a:pt x="1077" y="1293"/>
                      </a:lnTo>
                      <a:lnTo>
                        <a:pt x="1021" y="1330"/>
                      </a:lnTo>
                      <a:lnTo>
                        <a:pt x="962" y="1360"/>
                      </a:lnTo>
                      <a:lnTo>
                        <a:pt x="900" y="1384"/>
                      </a:lnTo>
                      <a:lnTo>
                        <a:pt x="833" y="1402"/>
                      </a:lnTo>
                      <a:lnTo>
                        <a:pt x="764" y="1413"/>
                      </a:lnTo>
                      <a:lnTo>
                        <a:pt x="691" y="1417"/>
                      </a:lnTo>
                      <a:lnTo>
                        <a:pt x="619" y="1413"/>
                      </a:lnTo>
                      <a:lnTo>
                        <a:pt x="549" y="1403"/>
                      </a:lnTo>
                      <a:lnTo>
                        <a:pt x="483" y="1386"/>
                      </a:lnTo>
                      <a:lnTo>
                        <a:pt x="419" y="1363"/>
                      </a:lnTo>
                      <a:lnTo>
                        <a:pt x="360" y="1334"/>
                      </a:lnTo>
                      <a:lnTo>
                        <a:pt x="303" y="1299"/>
                      </a:lnTo>
                      <a:lnTo>
                        <a:pt x="251" y="1258"/>
                      </a:lnTo>
                      <a:lnTo>
                        <a:pt x="203" y="1212"/>
                      </a:lnTo>
                      <a:lnTo>
                        <a:pt x="159" y="1162"/>
                      </a:lnTo>
                      <a:lnTo>
                        <a:pt x="120" y="1106"/>
                      </a:lnTo>
                      <a:lnTo>
                        <a:pt x="86" y="1047"/>
                      </a:lnTo>
                      <a:lnTo>
                        <a:pt x="58" y="983"/>
                      </a:lnTo>
                      <a:lnTo>
                        <a:pt x="35" y="916"/>
                      </a:lnTo>
                      <a:lnTo>
                        <a:pt x="17" y="845"/>
                      </a:lnTo>
                      <a:lnTo>
                        <a:pt x="6" y="771"/>
                      </a:lnTo>
                      <a:lnTo>
                        <a:pt x="0" y="695"/>
                      </a:lnTo>
                      <a:lnTo>
                        <a:pt x="2" y="629"/>
                      </a:lnTo>
                      <a:lnTo>
                        <a:pt x="10" y="564"/>
                      </a:lnTo>
                      <a:lnTo>
                        <a:pt x="24" y="498"/>
                      </a:lnTo>
                      <a:lnTo>
                        <a:pt x="44" y="433"/>
                      </a:lnTo>
                      <a:lnTo>
                        <a:pt x="71" y="370"/>
                      </a:lnTo>
                      <a:lnTo>
                        <a:pt x="103" y="310"/>
                      </a:lnTo>
                      <a:lnTo>
                        <a:pt x="140" y="252"/>
                      </a:lnTo>
                      <a:lnTo>
                        <a:pt x="183" y="199"/>
                      </a:lnTo>
                      <a:lnTo>
                        <a:pt x="230" y="150"/>
                      </a:lnTo>
                      <a:lnTo>
                        <a:pt x="282" y="107"/>
                      </a:lnTo>
                      <a:lnTo>
                        <a:pt x="339" y="70"/>
                      </a:lnTo>
                      <a:lnTo>
                        <a:pt x="400" y="40"/>
                      </a:lnTo>
                      <a:lnTo>
                        <a:pt x="466" y="18"/>
                      </a:lnTo>
                      <a:lnTo>
                        <a:pt x="535" y="5"/>
                      </a:lnTo>
                      <a:lnTo>
                        <a:pt x="608" y="0"/>
                      </a:lnTo>
                      <a:lnTo>
                        <a:pt x="684" y="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9" name="Freeform 8"/>
                <p:cNvSpPr>
                  <a:spLocks noChangeArrowheads="1"/>
                </p:cNvSpPr>
                <p:nvPr/>
              </p:nvSpPr>
              <p:spPr bwMode="auto">
                <a:xfrm>
                  <a:off x="3973513" y="2211388"/>
                  <a:ext cx="1050925" cy="671512"/>
                </a:xfrm>
                <a:custGeom>
                  <a:avLst/>
                  <a:gdLst>
                    <a:gd name="T0" fmla="*/ 2706 w 2918"/>
                    <a:gd name="T1" fmla="*/ 1300 h 1867"/>
                    <a:gd name="T2" fmla="*/ 2451 w 2918"/>
                    <a:gd name="T3" fmla="*/ 1274 h 1867"/>
                    <a:gd name="T4" fmla="*/ 2273 w 2918"/>
                    <a:gd name="T5" fmla="*/ 1117 h 1867"/>
                    <a:gd name="T6" fmla="*/ 2196 w 2918"/>
                    <a:gd name="T7" fmla="*/ 1008 h 1867"/>
                    <a:gd name="T8" fmla="*/ 2149 w 2918"/>
                    <a:gd name="T9" fmla="*/ 985 h 1867"/>
                    <a:gd name="T10" fmla="*/ 2123 w 2918"/>
                    <a:gd name="T11" fmla="*/ 990 h 1867"/>
                    <a:gd name="T12" fmla="*/ 2075 w 2918"/>
                    <a:gd name="T13" fmla="*/ 1045 h 1867"/>
                    <a:gd name="T14" fmla="*/ 2065 w 2918"/>
                    <a:gd name="T15" fmla="*/ 1064 h 1867"/>
                    <a:gd name="T16" fmla="*/ 1876 w 2918"/>
                    <a:gd name="T17" fmla="*/ 1794 h 1867"/>
                    <a:gd name="T18" fmla="*/ 1827 w 2918"/>
                    <a:gd name="T19" fmla="*/ 1861 h 1867"/>
                    <a:gd name="T20" fmla="*/ 1805 w 2918"/>
                    <a:gd name="T21" fmla="*/ 1863 h 1867"/>
                    <a:gd name="T22" fmla="*/ 1667 w 2918"/>
                    <a:gd name="T23" fmla="*/ 1783 h 1867"/>
                    <a:gd name="T24" fmla="*/ 1663 w 2918"/>
                    <a:gd name="T25" fmla="*/ 1776 h 1867"/>
                    <a:gd name="T26" fmla="*/ 1415 w 2918"/>
                    <a:gd name="T27" fmla="*/ 671 h 1867"/>
                    <a:gd name="T28" fmla="*/ 1188 w 2918"/>
                    <a:gd name="T29" fmla="*/ 1059 h 1867"/>
                    <a:gd name="T30" fmla="*/ 1099 w 2918"/>
                    <a:gd name="T31" fmla="*/ 1358 h 1867"/>
                    <a:gd name="T32" fmla="*/ 1000 w 2918"/>
                    <a:gd name="T33" fmla="*/ 1564 h 1867"/>
                    <a:gd name="T34" fmla="*/ 963 w 2918"/>
                    <a:gd name="T35" fmla="*/ 1583 h 1867"/>
                    <a:gd name="T36" fmla="*/ 933 w 2918"/>
                    <a:gd name="T37" fmla="*/ 1578 h 1867"/>
                    <a:gd name="T38" fmla="*/ 804 w 2918"/>
                    <a:gd name="T39" fmla="*/ 1406 h 1867"/>
                    <a:gd name="T40" fmla="*/ 704 w 2918"/>
                    <a:gd name="T41" fmla="*/ 1226 h 1867"/>
                    <a:gd name="T42" fmla="*/ 667 w 2918"/>
                    <a:gd name="T43" fmla="*/ 1195 h 1867"/>
                    <a:gd name="T44" fmla="*/ 629 w 2918"/>
                    <a:gd name="T45" fmla="*/ 1198 h 1867"/>
                    <a:gd name="T46" fmla="*/ 511 w 2918"/>
                    <a:gd name="T47" fmla="*/ 1272 h 1867"/>
                    <a:gd name="T48" fmla="*/ 320 w 2918"/>
                    <a:gd name="T49" fmla="*/ 1319 h 1867"/>
                    <a:gd name="T50" fmla="*/ 26 w 2918"/>
                    <a:gd name="T51" fmla="*/ 1281 h 1867"/>
                    <a:gd name="T52" fmla="*/ 5 w 2918"/>
                    <a:gd name="T53" fmla="*/ 1259 h 1867"/>
                    <a:gd name="T54" fmla="*/ 1 w 2918"/>
                    <a:gd name="T55" fmla="*/ 1225 h 1867"/>
                    <a:gd name="T56" fmla="*/ 38 w 2918"/>
                    <a:gd name="T57" fmla="*/ 1162 h 1867"/>
                    <a:gd name="T58" fmla="*/ 93 w 2918"/>
                    <a:gd name="T59" fmla="*/ 1134 h 1867"/>
                    <a:gd name="T60" fmla="*/ 172 w 2918"/>
                    <a:gd name="T61" fmla="*/ 1134 h 1867"/>
                    <a:gd name="T62" fmla="*/ 333 w 2918"/>
                    <a:gd name="T63" fmla="*/ 1111 h 1867"/>
                    <a:gd name="T64" fmla="*/ 488 w 2918"/>
                    <a:gd name="T65" fmla="*/ 1009 h 1867"/>
                    <a:gd name="T66" fmla="*/ 604 w 2918"/>
                    <a:gd name="T67" fmla="*/ 907 h 1867"/>
                    <a:gd name="T68" fmla="*/ 671 w 2918"/>
                    <a:gd name="T69" fmla="*/ 897 h 1867"/>
                    <a:gd name="T70" fmla="*/ 751 w 2918"/>
                    <a:gd name="T71" fmla="*/ 953 h 1867"/>
                    <a:gd name="T72" fmla="*/ 803 w 2918"/>
                    <a:gd name="T73" fmla="*/ 1009 h 1867"/>
                    <a:gd name="T74" fmla="*/ 1156 w 2918"/>
                    <a:gd name="T75" fmla="*/ 528 h 1867"/>
                    <a:gd name="T76" fmla="*/ 1357 w 2918"/>
                    <a:gd name="T77" fmla="*/ 0 h 1867"/>
                    <a:gd name="T78" fmla="*/ 1423 w 2918"/>
                    <a:gd name="T79" fmla="*/ 30 h 1867"/>
                    <a:gd name="T80" fmla="*/ 1426 w 2918"/>
                    <a:gd name="T81" fmla="*/ 34 h 1867"/>
                    <a:gd name="T82" fmla="*/ 1587 w 2918"/>
                    <a:gd name="T83" fmla="*/ 473 h 1867"/>
                    <a:gd name="T84" fmla="*/ 1606 w 2918"/>
                    <a:gd name="T85" fmla="*/ 724 h 1867"/>
                    <a:gd name="T86" fmla="*/ 1658 w 2918"/>
                    <a:gd name="T87" fmla="*/ 906 h 1867"/>
                    <a:gd name="T88" fmla="*/ 1906 w 2918"/>
                    <a:gd name="T89" fmla="*/ 989 h 1867"/>
                    <a:gd name="T90" fmla="*/ 2025 w 2918"/>
                    <a:gd name="T91" fmla="*/ 588 h 1867"/>
                    <a:gd name="T92" fmla="*/ 2098 w 2918"/>
                    <a:gd name="T93" fmla="*/ 460 h 1867"/>
                    <a:gd name="T94" fmla="*/ 2127 w 2918"/>
                    <a:gd name="T95" fmla="*/ 449 h 1867"/>
                    <a:gd name="T96" fmla="*/ 2157 w 2918"/>
                    <a:gd name="T97" fmla="*/ 456 h 1867"/>
                    <a:gd name="T98" fmla="*/ 2209 w 2918"/>
                    <a:gd name="T99" fmla="*/ 518 h 1867"/>
                    <a:gd name="T100" fmla="*/ 2455 w 2918"/>
                    <a:gd name="T101" fmla="*/ 1008 h 1867"/>
                    <a:gd name="T102" fmla="*/ 2580 w 2918"/>
                    <a:gd name="T103" fmla="*/ 1114 h 1867"/>
                    <a:gd name="T104" fmla="*/ 2740 w 2918"/>
                    <a:gd name="T105" fmla="*/ 1147 h 1867"/>
                    <a:gd name="T106" fmla="*/ 2893 w 2918"/>
                    <a:gd name="T107" fmla="*/ 1191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18" h="1867">
                      <a:moveTo>
                        <a:pt x="2917" y="1199"/>
                      </a:moveTo>
                      <a:lnTo>
                        <a:pt x="2877" y="1229"/>
                      </a:lnTo>
                      <a:lnTo>
                        <a:pt x="2836" y="1254"/>
                      </a:lnTo>
                      <a:lnTo>
                        <a:pt x="2794" y="1274"/>
                      </a:lnTo>
                      <a:lnTo>
                        <a:pt x="2750" y="1289"/>
                      </a:lnTo>
                      <a:lnTo>
                        <a:pt x="2706" y="1300"/>
                      </a:lnTo>
                      <a:lnTo>
                        <a:pt x="2662" y="1306"/>
                      </a:lnTo>
                      <a:lnTo>
                        <a:pt x="2618" y="1308"/>
                      </a:lnTo>
                      <a:lnTo>
                        <a:pt x="2575" y="1306"/>
                      </a:lnTo>
                      <a:lnTo>
                        <a:pt x="2532" y="1299"/>
                      </a:lnTo>
                      <a:lnTo>
                        <a:pt x="2491" y="1289"/>
                      </a:lnTo>
                      <a:lnTo>
                        <a:pt x="2451" y="1274"/>
                      </a:lnTo>
                      <a:lnTo>
                        <a:pt x="2414" y="1256"/>
                      </a:lnTo>
                      <a:lnTo>
                        <a:pt x="2379" y="1234"/>
                      </a:lnTo>
                      <a:lnTo>
                        <a:pt x="2346" y="1208"/>
                      </a:lnTo>
                      <a:lnTo>
                        <a:pt x="2317" y="1179"/>
                      </a:lnTo>
                      <a:lnTo>
                        <a:pt x="2292" y="1147"/>
                      </a:lnTo>
                      <a:lnTo>
                        <a:pt x="2273" y="1117"/>
                      </a:lnTo>
                      <a:lnTo>
                        <a:pt x="2255" y="1087"/>
                      </a:lnTo>
                      <a:lnTo>
                        <a:pt x="2236" y="1057"/>
                      </a:lnTo>
                      <a:lnTo>
                        <a:pt x="2226" y="1043"/>
                      </a:lnTo>
                      <a:lnTo>
                        <a:pt x="2216" y="1029"/>
                      </a:lnTo>
                      <a:lnTo>
                        <a:pt x="2206" y="1017"/>
                      </a:lnTo>
                      <a:lnTo>
                        <a:pt x="2196" y="1008"/>
                      </a:lnTo>
                      <a:lnTo>
                        <a:pt x="2187" y="1000"/>
                      </a:lnTo>
                      <a:lnTo>
                        <a:pt x="2177" y="994"/>
                      </a:lnTo>
                      <a:lnTo>
                        <a:pt x="2168" y="989"/>
                      </a:lnTo>
                      <a:lnTo>
                        <a:pt x="2158" y="986"/>
                      </a:lnTo>
                      <a:lnTo>
                        <a:pt x="2154" y="985"/>
                      </a:lnTo>
                      <a:lnTo>
                        <a:pt x="2149" y="985"/>
                      </a:lnTo>
                      <a:lnTo>
                        <a:pt x="2145" y="985"/>
                      </a:lnTo>
                      <a:lnTo>
                        <a:pt x="2140" y="985"/>
                      </a:lnTo>
                      <a:lnTo>
                        <a:pt x="2136" y="986"/>
                      </a:lnTo>
                      <a:lnTo>
                        <a:pt x="2131" y="987"/>
                      </a:lnTo>
                      <a:lnTo>
                        <a:pt x="2127" y="988"/>
                      </a:lnTo>
                      <a:lnTo>
                        <a:pt x="2123" y="990"/>
                      </a:lnTo>
                      <a:lnTo>
                        <a:pt x="2114" y="996"/>
                      </a:lnTo>
                      <a:lnTo>
                        <a:pt x="2106" y="1002"/>
                      </a:lnTo>
                      <a:lnTo>
                        <a:pt x="2098" y="1011"/>
                      </a:lnTo>
                      <a:lnTo>
                        <a:pt x="2090" y="1020"/>
                      </a:lnTo>
                      <a:lnTo>
                        <a:pt x="2082" y="1032"/>
                      </a:lnTo>
                      <a:lnTo>
                        <a:pt x="2075" y="1045"/>
                      </a:lnTo>
                      <a:lnTo>
                        <a:pt x="2073" y="1048"/>
                      </a:lnTo>
                      <a:lnTo>
                        <a:pt x="2071" y="1051"/>
                      </a:lnTo>
                      <a:lnTo>
                        <a:pt x="2069" y="1054"/>
                      </a:lnTo>
                      <a:lnTo>
                        <a:pt x="2068" y="1057"/>
                      </a:lnTo>
                      <a:lnTo>
                        <a:pt x="2067" y="1061"/>
                      </a:lnTo>
                      <a:lnTo>
                        <a:pt x="2065" y="1064"/>
                      </a:lnTo>
                      <a:lnTo>
                        <a:pt x="2064" y="1067"/>
                      </a:lnTo>
                      <a:lnTo>
                        <a:pt x="2064" y="1071"/>
                      </a:lnTo>
                      <a:lnTo>
                        <a:pt x="1891" y="1759"/>
                      </a:lnTo>
                      <a:lnTo>
                        <a:pt x="1888" y="1767"/>
                      </a:lnTo>
                      <a:lnTo>
                        <a:pt x="1885" y="1776"/>
                      </a:lnTo>
                      <a:lnTo>
                        <a:pt x="1876" y="1794"/>
                      </a:lnTo>
                      <a:lnTo>
                        <a:pt x="1866" y="1812"/>
                      </a:lnTo>
                      <a:lnTo>
                        <a:pt x="1855" y="1829"/>
                      </a:lnTo>
                      <a:lnTo>
                        <a:pt x="1843" y="1845"/>
                      </a:lnTo>
                      <a:lnTo>
                        <a:pt x="1838" y="1851"/>
                      </a:lnTo>
                      <a:lnTo>
                        <a:pt x="1832" y="1857"/>
                      </a:lnTo>
                      <a:lnTo>
                        <a:pt x="1827" y="1861"/>
                      </a:lnTo>
                      <a:lnTo>
                        <a:pt x="1823" y="1864"/>
                      </a:lnTo>
                      <a:lnTo>
                        <a:pt x="1820" y="1865"/>
                      </a:lnTo>
                      <a:lnTo>
                        <a:pt x="1818" y="1866"/>
                      </a:lnTo>
                      <a:lnTo>
                        <a:pt x="1816" y="1866"/>
                      </a:lnTo>
                      <a:lnTo>
                        <a:pt x="1815" y="1866"/>
                      </a:lnTo>
                      <a:lnTo>
                        <a:pt x="1805" y="1863"/>
                      </a:lnTo>
                      <a:lnTo>
                        <a:pt x="1795" y="1860"/>
                      </a:lnTo>
                      <a:lnTo>
                        <a:pt x="1776" y="1853"/>
                      </a:lnTo>
                      <a:lnTo>
                        <a:pt x="1758" y="1843"/>
                      </a:lnTo>
                      <a:lnTo>
                        <a:pt x="1740" y="1832"/>
                      </a:lnTo>
                      <a:lnTo>
                        <a:pt x="1668" y="1784"/>
                      </a:lnTo>
                      <a:lnTo>
                        <a:pt x="1667" y="1783"/>
                      </a:lnTo>
                      <a:lnTo>
                        <a:pt x="1667" y="1783"/>
                      </a:lnTo>
                      <a:lnTo>
                        <a:pt x="1666" y="1782"/>
                      </a:lnTo>
                      <a:lnTo>
                        <a:pt x="1665" y="1781"/>
                      </a:lnTo>
                      <a:lnTo>
                        <a:pt x="1664" y="1779"/>
                      </a:lnTo>
                      <a:lnTo>
                        <a:pt x="1663" y="1778"/>
                      </a:lnTo>
                      <a:lnTo>
                        <a:pt x="1663" y="1776"/>
                      </a:lnTo>
                      <a:lnTo>
                        <a:pt x="1662" y="1773"/>
                      </a:lnTo>
                      <a:lnTo>
                        <a:pt x="1659" y="1758"/>
                      </a:lnTo>
                      <a:lnTo>
                        <a:pt x="1488" y="942"/>
                      </a:lnTo>
                      <a:lnTo>
                        <a:pt x="1474" y="883"/>
                      </a:lnTo>
                      <a:lnTo>
                        <a:pt x="1457" y="821"/>
                      </a:lnTo>
                      <a:lnTo>
                        <a:pt x="1415" y="671"/>
                      </a:lnTo>
                      <a:lnTo>
                        <a:pt x="1362" y="738"/>
                      </a:lnTo>
                      <a:lnTo>
                        <a:pt x="1316" y="803"/>
                      </a:lnTo>
                      <a:lnTo>
                        <a:pt x="1276" y="867"/>
                      </a:lnTo>
                      <a:lnTo>
                        <a:pt x="1242" y="931"/>
                      </a:lnTo>
                      <a:lnTo>
                        <a:pt x="1213" y="995"/>
                      </a:lnTo>
                      <a:lnTo>
                        <a:pt x="1188" y="1059"/>
                      </a:lnTo>
                      <a:lnTo>
                        <a:pt x="1168" y="1125"/>
                      </a:lnTo>
                      <a:lnTo>
                        <a:pt x="1151" y="1192"/>
                      </a:lnTo>
                      <a:lnTo>
                        <a:pt x="1140" y="1234"/>
                      </a:lnTo>
                      <a:lnTo>
                        <a:pt x="1128" y="1276"/>
                      </a:lnTo>
                      <a:lnTo>
                        <a:pt x="1114" y="1317"/>
                      </a:lnTo>
                      <a:lnTo>
                        <a:pt x="1099" y="1358"/>
                      </a:lnTo>
                      <a:lnTo>
                        <a:pt x="1066" y="1438"/>
                      </a:lnTo>
                      <a:lnTo>
                        <a:pt x="1031" y="1518"/>
                      </a:lnTo>
                      <a:lnTo>
                        <a:pt x="1024" y="1532"/>
                      </a:lnTo>
                      <a:lnTo>
                        <a:pt x="1016" y="1544"/>
                      </a:lnTo>
                      <a:lnTo>
                        <a:pt x="1008" y="1555"/>
                      </a:lnTo>
                      <a:lnTo>
                        <a:pt x="1000" y="1564"/>
                      </a:lnTo>
                      <a:lnTo>
                        <a:pt x="991" y="1572"/>
                      </a:lnTo>
                      <a:lnTo>
                        <a:pt x="982" y="1577"/>
                      </a:lnTo>
                      <a:lnTo>
                        <a:pt x="977" y="1579"/>
                      </a:lnTo>
                      <a:lnTo>
                        <a:pt x="973" y="1581"/>
                      </a:lnTo>
                      <a:lnTo>
                        <a:pt x="968" y="1582"/>
                      </a:lnTo>
                      <a:lnTo>
                        <a:pt x="963" y="1583"/>
                      </a:lnTo>
                      <a:lnTo>
                        <a:pt x="958" y="1584"/>
                      </a:lnTo>
                      <a:lnTo>
                        <a:pt x="953" y="1583"/>
                      </a:lnTo>
                      <a:lnTo>
                        <a:pt x="948" y="1583"/>
                      </a:lnTo>
                      <a:lnTo>
                        <a:pt x="943" y="1582"/>
                      </a:lnTo>
                      <a:lnTo>
                        <a:pt x="938" y="1580"/>
                      </a:lnTo>
                      <a:lnTo>
                        <a:pt x="933" y="1578"/>
                      </a:lnTo>
                      <a:lnTo>
                        <a:pt x="923" y="1572"/>
                      </a:lnTo>
                      <a:lnTo>
                        <a:pt x="913" y="1565"/>
                      </a:lnTo>
                      <a:lnTo>
                        <a:pt x="903" y="1555"/>
                      </a:lnTo>
                      <a:lnTo>
                        <a:pt x="893" y="1543"/>
                      </a:lnTo>
                      <a:lnTo>
                        <a:pt x="883" y="1529"/>
                      </a:lnTo>
                      <a:lnTo>
                        <a:pt x="804" y="1406"/>
                      </a:lnTo>
                      <a:lnTo>
                        <a:pt x="767" y="1344"/>
                      </a:lnTo>
                      <a:lnTo>
                        <a:pt x="750" y="1312"/>
                      </a:lnTo>
                      <a:lnTo>
                        <a:pt x="734" y="1280"/>
                      </a:lnTo>
                      <a:lnTo>
                        <a:pt x="719" y="1250"/>
                      </a:lnTo>
                      <a:lnTo>
                        <a:pt x="711" y="1237"/>
                      </a:lnTo>
                      <a:lnTo>
                        <a:pt x="704" y="1226"/>
                      </a:lnTo>
                      <a:lnTo>
                        <a:pt x="696" y="1216"/>
                      </a:lnTo>
                      <a:lnTo>
                        <a:pt x="688" y="1208"/>
                      </a:lnTo>
                      <a:lnTo>
                        <a:pt x="680" y="1202"/>
                      </a:lnTo>
                      <a:lnTo>
                        <a:pt x="676" y="1199"/>
                      </a:lnTo>
                      <a:lnTo>
                        <a:pt x="671" y="1197"/>
                      </a:lnTo>
                      <a:lnTo>
                        <a:pt x="667" y="1195"/>
                      </a:lnTo>
                      <a:lnTo>
                        <a:pt x="662" y="1194"/>
                      </a:lnTo>
                      <a:lnTo>
                        <a:pt x="657" y="1194"/>
                      </a:lnTo>
                      <a:lnTo>
                        <a:pt x="652" y="1194"/>
                      </a:lnTo>
                      <a:lnTo>
                        <a:pt x="646" y="1194"/>
                      </a:lnTo>
                      <a:lnTo>
                        <a:pt x="641" y="1195"/>
                      </a:lnTo>
                      <a:lnTo>
                        <a:pt x="629" y="1198"/>
                      </a:lnTo>
                      <a:lnTo>
                        <a:pt x="616" y="1203"/>
                      </a:lnTo>
                      <a:lnTo>
                        <a:pt x="602" y="1211"/>
                      </a:lnTo>
                      <a:lnTo>
                        <a:pt x="586" y="1221"/>
                      </a:lnTo>
                      <a:lnTo>
                        <a:pt x="570" y="1234"/>
                      </a:lnTo>
                      <a:lnTo>
                        <a:pt x="540" y="1255"/>
                      </a:lnTo>
                      <a:lnTo>
                        <a:pt x="511" y="1272"/>
                      </a:lnTo>
                      <a:lnTo>
                        <a:pt x="480" y="1287"/>
                      </a:lnTo>
                      <a:lnTo>
                        <a:pt x="449" y="1298"/>
                      </a:lnTo>
                      <a:lnTo>
                        <a:pt x="417" y="1307"/>
                      </a:lnTo>
                      <a:lnTo>
                        <a:pt x="385" y="1313"/>
                      </a:lnTo>
                      <a:lnTo>
                        <a:pt x="353" y="1317"/>
                      </a:lnTo>
                      <a:lnTo>
                        <a:pt x="320" y="1319"/>
                      </a:lnTo>
                      <a:lnTo>
                        <a:pt x="254" y="1318"/>
                      </a:lnTo>
                      <a:lnTo>
                        <a:pt x="188" y="1312"/>
                      </a:lnTo>
                      <a:lnTo>
                        <a:pt x="57" y="1292"/>
                      </a:lnTo>
                      <a:lnTo>
                        <a:pt x="43" y="1288"/>
                      </a:lnTo>
                      <a:lnTo>
                        <a:pt x="31" y="1284"/>
                      </a:lnTo>
                      <a:lnTo>
                        <a:pt x="26" y="1281"/>
                      </a:lnTo>
                      <a:lnTo>
                        <a:pt x="21" y="1278"/>
                      </a:lnTo>
                      <a:lnTo>
                        <a:pt x="17" y="1274"/>
                      </a:lnTo>
                      <a:lnTo>
                        <a:pt x="14" y="1271"/>
                      </a:lnTo>
                      <a:lnTo>
                        <a:pt x="10" y="1267"/>
                      </a:lnTo>
                      <a:lnTo>
                        <a:pt x="8" y="1263"/>
                      </a:lnTo>
                      <a:lnTo>
                        <a:pt x="5" y="1259"/>
                      </a:lnTo>
                      <a:lnTo>
                        <a:pt x="3" y="1254"/>
                      </a:lnTo>
                      <a:lnTo>
                        <a:pt x="2" y="1250"/>
                      </a:lnTo>
                      <a:lnTo>
                        <a:pt x="1" y="1245"/>
                      </a:lnTo>
                      <a:lnTo>
                        <a:pt x="0" y="1240"/>
                      </a:lnTo>
                      <a:lnTo>
                        <a:pt x="0" y="1235"/>
                      </a:lnTo>
                      <a:lnTo>
                        <a:pt x="1" y="1225"/>
                      </a:lnTo>
                      <a:lnTo>
                        <a:pt x="4" y="1214"/>
                      </a:lnTo>
                      <a:lnTo>
                        <a:pt x="8" y="1203"/>
                      </a:lnTo>
                      <a:lnTo>
                        <a:pt x="13" y="1193"/>
                      </a:lnTo>
                      <a:lnTo>
                        <a:pt x="20" y="1182"/>
                      </a:lnTo>
                      <a:lnTo>
                        <a:pt x="28" y="1172"/>
                      </a:lnTo>
                      <a:lnTo>
                        <a:pt x="38" y="1162"/>
                      </a:lnTo>
                      <a:lnTo>
                        <a:pt x="49" y="1153"/>
                      </a:lnTo>
                      <a:lnTo>
                        <a:pt x="53" y="1150"/>
                      </a:lnTo>
                      <a:lnTo>
                        <a:pt x="58" y="1147"/>
                      </a:lnTo>
                      <a:lnTo>
                        <a:pt x="69" y="1142"/>
                      </a:lnTo>
                      <a:lnTo>
                        <a:pt x="81" y="1137"/>
                      </a:lnTo>
                      <a:lnTo>
                        <a:pt x="93" y="1134"/>
                      </a:lnTo>
                      <a:lnTo>
                        <a:pt x="105" y="1131"/>
                      </a:lnTo>
                      <a:lnTo>
                        <a:pt x="118" y="1130"/>
                      </a:lnTo>
                      <a:lnTo>
                        <a:pt x="130" y="1130"/>
                      </a:lnTo>
                      <a:lnTo>
                        <a:pt x="136" y="1130"/>
                      </a:lnTo>
                      <a:lnTo>
                        <a:pt x="142" y="1131"/>
                      </a:lnTo>
                      <a:lnTo>
                        <a:pt x="172" y="1134"/>
                      </a:lnTo>
                      <a:lnTo>
                        <a:pt x="201" y="1135"/>
                      </a:lnTo>
                      <a:lnTo>
                        <a:pt x="229" y="1134"/>
                      </a:lnTo>
                      <a:lnTo>
                        <a:pt x="256" y="1131"/>
                      </a:lnTo>
                      <a:lnTo>
                        <a:pt x="282" y="1126"/>
                      </a:lnTo>
                      <a:lnTo>
                        <a:pt x="308" y="1119"/>
                      </a:lnTo>
                      <a:lnTo>
                        <a:pt x="333" y="1111"/>
                      </a:lnTo>
                      <a:lnTo>
                        <a:pt x="357" y="1100"/>
                      </a:lnTo>
                      <a:lnTo>
                        <a:pt x="380" y="1089"/>
                      </a:lnTo>
                      <a:lnTo>
                        <a:pt x="403" y="1076"/>
                      </a:lnTo>
                      <a:lnTo>
                        <a:pt x="425" y="1061"/>
                      </a:lnTo>
                      <a:lnTo>
                        <a:pt x="447" y="1045"/>
                      </a:lnTo>
                      <a:lnTo>
                        <a:pt x="488" y="1009"/>
                      </a:lnTo>
                      <a:lnTo>
                        <a:pt x="527" y="970"/>
                      </a:lnTo>
                      <a:lnTo>
                        <a:pt x="543" y="953"/>
                      </a:lnTo>
                      <a:lnTo>
                        <a:pt x="558" y="938"/>
                      </a:lnTo>
                      <a:lnTo>
                        <a:pt x="574" y="926"/>
                      </a:lnTo>
                      <a:lnTo>
                        <a:pt x="589" y="915"/>
                      </a:lnTo>
                      <a:lnTo>
                        <a:pt x="604" y="907"/>
                      </a:lnTo>
                      <a:lnTo>
                        <a:pt x="619" y="900"/>
                      </a:lnTo>
                      <a:lnTo>
                        <a:pt x="634" y="896"/>
                      </a:lnTo>
                      <a:lnTo>
                        <a:pt x="649" y="895"/>
                      </a:lnTo>
                      <a:lnTo>
                        <a:pt x="656" y="895"/>
                      </a:lnTo>
                      <a:lnTo>
                        <a:pt x="663" y="895"/>
                      </a:lnTo>
                      <a:lnTo>
                        <a:pt x="671" y="897"/>
                      </a:lnTo>
                      <a:lnTo>
                        <a:pt x="678" y="898"/>
                      </a:lnTo>
                      <a:lnTo>
                        <a:pt x="693" y="904"/>
                      </a:lnTo>
                      <a:lnTo>
                        <a:pt x="707" y="912"/>
                      </a:lnTo>
                      <a:lnTo>
                        <a:pt x="722" y="923"/>
                      </a:lnTo>
                      <a:lnTo>
                        <a:pt x="736" y="937"/>
                      </a:lnTo>
                      <a:lnTo>
                        <a:pt x="751" y="953"/>
                      </a:lnTo>
                      <a:lnTo>
                        <a:pt x="766" y="972"/>
                      </a:lnTo>
                      <a:lnTo>
                        <a:pt x="771" y="978"/>
                      </a:lnTo>
                      <a:lnTo>
                        <a:pt x="777" y="985"/>
                      </a:lnTo>
                      <a:lnTo>
                        <a:pt x="783" y="991"/>
                      </a:lnTo>
                      <a:lnTo>
                        <a:pt x="790" y="997"/>
                      </a:lnTo>
                      <a:lnTo>
                        <a:pt x="803" y="1009"/>
                      </a:lnTo>
                      <a:lnTo>
                        <a:pt x="818" y="1020"/>
                      </a:lnTo>
                      <a:lnTo>
                        <a:pt x="968" y="1131"/>
                      </a:lnTo>
                      <a:lnTo>
                        <a:pt x="1037" y="941"/>
                      </a:lnTo>
                      <a:lnTo>
                        <a:pt x="1127" y="651"/>
                      </a:lnTo>
                      <a:lnTo>
                        <a:pt x="1142" y="589"/>
                      </a:lnTo>
                      <a:lnTo>
                        <a:pt x="1156" y="528"/>
                      </a:lnTo>
                      <a:lnTo>
                        <a:pt x="1171" y="466"/>
                      </a:lnTo>
                      <a:lnTo>
                        <a:pt x="1180" y="436"/>
                      </a:lnTo>
                      <a:lnTo>
                        <a:pt x="1190" y="407"/>
                      </a:lnTo>
                      <a:lnTo>
                        <a:pt x="1229" y="305"/>
                      </a:lnTo>
                      <a:lnTo>
                        <a:pt x="1270" y="204"/>
                      </a:lnTo>
                      <a:lnTo>
                        <a:pt x="1357" y="0"/>
                      </a:lnTo>
                      <a:lnTo>
                        <a:pt x="1387" y="13"/>
                      </a:lnTo>
                      <a:lnTo>
                        <a:pt x="1408" y="22"/>
                      </a:lnTo>
                      <a:lnTo>
                        <a:pt x="1415" y="25"/>
                      </a:lnTo>
                      <a:lnTo>
                        <a:pt x="1418" y="27"/>
                      </a:lnTo>
                      <a:lnTo>
                        <a:pt x="1421" y="28"/>
                      </a:lnTo>
                      <a:lnTo>
                        <a:pt x="1423" y="30"/>
                      </a:lnTo>
                      <a:lnTo>
                        <a:pt x="1424" y="30"/>
                      </a:lnTo>
                      <a:lnTo>
                        <a:pt x="1424" y="31"/>
                      </a:lnTo>
                      <a:lnTo>
                        <a:pt x="1425" y="32"/>
                      </a:lnTo>
                      <a:lnTo>
                        <a:pt x="1425" y="32"/>
                      </a:lnTo>
                      <a:lnTo>
                        <a:pt x="1425" y="33"/>
                      </a:lnTo>
                      <a:lnTo>
                        <a:pt x="1426" y="34"/>
                      </a:lnTo>
                      <a:lnTo>
                        <a:pt x="1436" y="75"/>
                      </a:lnTo>
                      <a:lnTo>
                        <a:pt x="1448" y="116"/>
                      </a:lnTo>
                      <a:lnTo>
                        <a:pt x="1477" y="195"/>
                      </a:lnTo>
                      <a:lnTo>
                        <a:pt x="1544" y="353"/>
                      </a:lnTo>
                      <a:lnTo>
                        <a:pt x="1575" y="432"/>
                      </a:lnTo>
                      <a:lnTo>
                        <a:pt x="1587" y="473"/>
                      </a:lnTo>
                      <a:lnTo>
                        <a:pt x="1598" y="514"/>
                      </a:lnTo>
                      <a:lnTo>
                        <a:pt x="1606" y="556"/>
                      </a:lnTo>
                      <a:lnTo>
                        <a:pt x="1610" y="599"/>
                      </a:lnTo>
                      <a:lnTo>
                        <a:pt x="1612" y="643"/>
                      </a:lnTo>
                      <a:lnTo>
                        <a:pt x="1609" y="688"/>
                      </a:lnTo>
                      <a:lnTo>
                        <a:pt x="1606" y="724"/>
                      </a:lnTo>
                      <a:lnTo>
                        <a:pt x="1608" y="758"/>
                      </a:lnTo>
                      <a:lnTo>
                        <a:pt x="1612" y="790"/>
                      </a:lnTo>
                      <a:lnTo>
                        <a:pt x="1620" y="821"/>
                      </a:lnTo>
                      <a:lnTo>
                        <a:pt x="1631" y="850"/>
                      </a:lnTo>
                      <a:lnTo>
                        <a:pt x="1643" y="879"/>
                      </a:lnTo>
                      <a:lnTo>
                        <a:pt x="1658" y="906"/>
                      </a:lnTo>
                      <a:lnTo>
                        <a:pt x="1675" y="932"/>
                      </a:lnTo>
                      <a:lnTo>
                        <a:pt x="1713" y="983"/>
                      </a:lnTo>
                      <a:lnTo>
                        <a:pt x="1754" y="1032"/>
                      </a:lnTo>
                      <a:lnTo>
                        <a:pt x="1837" y="1129"/>
                      </a:lnTo>
                      <a:lnTo>
                        <a:pt x="1882" y="1129"/>
                      </a:lnTo>
                      <a:lnTo>
                        <a:pt x="1906" y="989"/>
                      </a:lnTo>
                      <a:lnTo>
                        <a:pt x="1920" y="920"/>
                      </a:lnTo>
                      <a:lnTo>
                        <a:pt x="1927" y="886"/>
                      </a:lnTo>
                      <a:lnTo>
                        <a:pt x="1937" y="852"/>
                      </a:lnTo>
                      <a:lnTo>
                        <a:pt x="1963" y="763"/>
                      </a:lnTo>
                      <a:lnTo>
                        <a:pt x="1993" y="675"/>
                      </a:lnTo>
                      <a:lnTo>
                        <a:pt x="2025" y="588"/>
                      </a:lnTo>
                      <a:lnTo>
                        <a:pt x="2044" y="545"/>
                      </a:lnTo>
                      <a:lnTo>
                        <a:pt x="2064" y="504"/>
                      </a:lnTo>
                      <a:lnTo>
                        <a:pt x="2072" y="490"/>
                      </a:lnTo>
                      <a:lnTo>
                        <a:pt x="2080" y="477"/>
                      </a:lnTo>
                      <a:lnTo>
                        <a:pt x="2089" y="468"/>
                      </a:lnTo>
                      <a:lnTo>
                        <a:pt x="2098" y="460"/>
                      </a:lnTo>
                      <a:lnTo>
                        <a:pt x="2103" y="457"/>
                      </a:lnTo>
                      <a:lnTo>
                        <a:pt x="2108" y="454"/>
                      </a:lnTo>
                      <a:lnTo>
                        <a:pt x="2113" y="452"/>
                      </a:lnTo>
                      <a:lnTo>
                        <a:pt x="2117" y="451"/>
                      </a:lnTo>
                      <a:lnTo>
                        <a:pt x="2122" y="449"/>
                      </a:lnTo>
                      <a:lnTo>
                        <a:pt x="2127" y="449"/>
                      </a:lnTo>
                      <a:lnTo>
                        <a:pt x="2132" y="449"/>
                      </a:lnTo>
                      <a:lnTo>
                        <a:pt x="2137" y="449"/>
                      </a:lnTo>
                      <a:lnTo>
                        <a:pt x="2142" y="450"/>
                      </a:lnTo>
                      <a:lnTo>
                        <a:pt x="2147" y="452"/>
                      </a:lnTo>
                      <a:lnTo>
                        <a:pt x="2152" y="453"/>
                      </a:lnTo>
                      <a:lnTo>
                        <a:pt x="2157" y="456"/>
                      </a:lnTo>
                      <a:lnTo>
                        <a:pt x="2166" y="462"/>
                      </a:lnTo>
                      <a:lnTo>
                        <a:pt x="2176" y="469"/>
                      </a:lnTo>
                      <a:lnTo>
                        <a:pt x="2185" y="479"/>
                      </a:lnTo>
                      <a:lnTo>
                        <a:pt x="2193" y="490"/>
                      </a:lnTo>
                      <a:lnTo>
                        <a:pt x="2201" y="503"/>
                      </a:lnTo>
                      <a:lnTo>
                        <a:pt x="2209" y="518"/>
                      </a:lnTo>
                      <a:lnTo>
                        <a:pt x="2291" y="703"/>
                      </a:lnTo>
                      <a:lnTo>
                        <a:pt x="2332" y="796"/>
                      </a:lnTo>
                      <a:lnTo>
                        <a:pt x="2378" y="887"/>
                      </a:lnTo>
                      <a:lnTo>
                        <a:pt x="2407" y="937"/>
                      </a:lnTo>
                      <a:lnTo>
                        <a:pt x="2438" y="985"/>
                      </a:lnTo>
                      <a:lnTo>
                        <a:pt x="2455" y="1008"/>
                      </a:lnTo>
                      <a:lnTo>
                        <a:pt x="2473" y="1029"/>
                      </a:lnTo>
                      <a:lnTo>
                        <a:pt x="2491" y="1050"/>
                      </a:lnTo>
                      <a:lnTo>
                        <a:pt x="2511" y="1068"/>
                      </a:lnTo>
                      <a:lnTo>
                        <a:pt x="2533" y="1086"/>
                      </a:lnTo>
                      <a:lnTo>
                        <a:pt x="2556" y="1101"/>
                      </a:lnTo>
                      <a:lnTo>
                        <a:pt x="2580" y="1114"/>
                      </a:lnTo>
                      <a:lnTo>
                        <a:pt x="2606" y="1126"/>
                      </a:lnTo>
                      <a:lnTo>
                        <a:pt x="2633" y="1135"/>
                      </a:lnTo>
                      <a:lnTo>
                        <a:pt x="2663" y="1141"/>
                      </a:lnTo>
                      <a:lnTo>
                        <a:pt x="2695" y="1145"/>
                      </a:lnTo>
                      <a:lnTo>
                        <a:pt x="2729" y="1147"/>
                      </a:lnTo>
                      <a:lnTo>
                        <a:pt x="2740" y="1147"/>
                      </a:lnTo>
                      <a:lnTo>
                        <a:pt x="2752" y="1148"/>
                      </a:lnTo>
                      <a:lnTo>
                        <a:pt x="2776" y="1152"/>
                      </a:lnTo>
                      <a:lnTo>
                        <a:pt x="2799" y="1158"/>
                      </a:lnTo>
                      <a:lnTo>
                        <a:pt x="2823" y="1166"/>
                      </a:lnTo>
                      <a:lnTo>
                        <a:pt x="2869" y="1183"/>
                      </a:lnTo>
                      <a:lnTo>
                        <a:pt x="2893" y="1191"/>
                      </a:lnTo>
                      <a:lnTo>
                        <a:pt x="2917" y="119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grpSp>
          <p:sp>
            <p:nvSpPr>
              <p:cNvPr id="11" name="Ring 41"/>
              <p:cNvSpPr/>
              <p:nvPr/>
            </p:nvSpPr>
            <p:spPr>
              <a:xfrm>
                <a:off x="4152577" y="3148886"/>
                <a:ext cx="1077604" cy="1077604"/>
              </a:xfrm>
              <a:prstGeom prst="donut">
                <a:avLst>
                  <a:gd name="adj" fmla="val 11597"/>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endParaRPr>
              </a:p>
            </p:txBody>
          </p:sp>
        </p:grpSp>
        <p:sp>
          <p:nvSpPr>
            <p:cNvPr id="9" name="Textfeld 39"/>
            <p:cNvSpPr txBox="1"/>
            <p:nvPr/>
          </p:nvSpPr>
          <p:spPr>
            <a:xfrm>
              <a:off x="1164861" y="3092336"/>
              <a:ext cx="1516113" cy="345741"/>
            </a:xfrm>
            <a:prstGeom prst="rect">
              <a:avLst/>
            </a:prstGeom>
            <a:noFill/>
          </p:spPr>
          <p:txBody>
            <a:bodyPr wrap="none" lIns="0" tIns="0" rIns="0" bIns="0" rtlCol="0">
              <a:spAutoFit/>
            </a:bodyPr>
            <a:lstStyle/>
            <a:p>
              <a:r>
                <a:rPr lang="de-DE" sz="2000" dirty="0">
                  <a:latin typeface="Arial" panose="020B0604020202020204" pitchFamily="34" charset="0"/>
                  <a:cs typeface="Arial" panose="020B0604020202020204" pitchFamily="34" charset="0"/>
                </a:rPr>
                <a:t>Median PIII trial costs:</a:t>
              </a:r>
            </a:p>
            <a:p>
              <a:r>
                <a:rPr lang="de-DE" sz="2000" dirty="0">
                  <a:latin typeface="Arial" panose="020B0604020202020204" pitchFamily="34" charset="0"/>
                  <a:cs typeface="Arial" panose="020B0604020202020204" pitchFamily="34" charset="0"/>
                </a:rPr>
                <a:t>US$ 21.4M</a:t>
              </a:r>
            </a:p>
          </p:txBody>
        </p:sp>
      </p:grpSp>
      <p:sp>
        <p:nvSpPr>
          <p:cNvPr id="2" name="TextBox 1"/>
          <p:cNvSpPr txBox="1"/>
          <p:nvPr/>
        </p:nvSpPr>
        <p:spPr>
          <a:xfrm>
            <a:off x="390525" y="4514850"/>
            <a:ext cx="6000750" cy="153888"/>
          </a:xfrm>
          <a:prstGeom prst="rect">
            <a:avLst/>
          </a:prstGeom>
          <a:noFill/>
        </p:spPr>
        <p:txBody>
          <a:bodyPr wrap="square" lIns="0" tIns="0" rIns="0" bIns="0" rtlCol="0">
            <a:spAutoFit/>
          </a:bodyPr>
          <a:lstStyle/>
          <a:p>
            <a:r>
              <a:rPr lang="en-US" sz="1000" dirty="0">
                <a:latin typeface="Arial" panose="020B0604020202020204" pitchFamily="34" charset="0"/>
                <a:cs typeface="Arial" panose="020B0604020202020204" pitchFamily="34" charset="0"/>
              </a:rPr>
              <a:t>Martin L et al, </a:t>
            </a:r>
            <a:r>
              <a:rPr lang="da-DK" sz="1000" dirty="0">
                <a:latin typeface="Arial" panose="020B0604020202020204" pitchFamily="34" charset="0"/>
                <a:cs typeface="Arial" panose="020B0604020202020204" pitchFamily="34" charset="0"/>
              </a:rPr>
              <a:t>Nat Rev Drug Discov 2017;16:381-382</a:t>
            </a:r>
            <a:endParaRPr lang="en-US" sz="1000" dirty="0">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3722211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3482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Flow - Patient</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3505" y="1225855"/>
            <a:ext cx="1347599" cy="839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4" name="Picture 2" descr="Image result for study eligibility criter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4371" y="1225855"/>
            <a:ext cx="1357810" cy="83951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data shar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9937" y="1225855"/>
            <a:ext cx="1362667" cy="83951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a:off x="1813640" y="1647881"/>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866364" y="2257588"/>
            <a:ext cx="1698087" cy="738664"/>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Data collection,</a:t>
            </a:r>
          </a:p>
          <a:p>
            <a:pPr algn="ctr"/>
            <a:r>
              <a:rPr lang="en-US" sz="1600" dirty="0">
                <a:latin typeface="Arial" panose="020B0604020202020204" pitchFamily="34" charset="0"/>
                <a:cs typeface="Arial" panose="020B0604020202020204" pitchFamily="34" charset="0"/>
              </a:rPr>
              <a:t>Procedures and</a:t>
            </a:r>
          </a:p>
          <a:p>
            <a:pPr algn="ctr"/>
            <a:r>
              <a:rPr lang="en-US" sz="1600" dirty="0">
                <a:latin typeface="Arial" panose="020B0604020202020204" pitchFamily="34" charset="0"/>
                <a:cs typeface="Arial" panose="020B0604020202020204" pitchFamily="34" charset="0"/>
              </a:rPr>
              <a:t>Interventions</a:t>
            </a:r>
          </a:p>
        </p:txBody>
      </p:sp>
      <p:sp>
        <p:nvSpPr>
          <p:cNvPr id="62" name="TextBox 61"/>
          <p:cNvSpPr txBox="1"/>
          <p:nvPr/>
        </p:nvSpPr>
        <p:spPr>
          <a:xfrm>
            <a:off x="2706422" y="2257965"/>
            <a:ext cx="129497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creening</a:t>
            </a:r>
          </a:p>
        </p:txBody>
      </p:sp>
      <p:sp>
        <p:nvSpPr>
          <p:cNvPr id="64" name="TextBox 63"/>
          <p:cNvSpPr txBox="1"/>
          <p:nvPr/>
        </p:nvSpPr>
        <p:spPr>
          <a:xfrm>
            <a:off x="7439937" y="2257212"/>
            <a:ext cx="1294977"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econdary                       Data Sharing</a:t>
            </a:r>
          </a:p>
        </p:txBody>
      </p:sp>
      <p:cxnSp>
        <p:nvCxnSpPr>
          <p:cNvPr id="26" name="Straight Arrow Connector 25"/>
          <p:cNvCxnSpPr/>
          <p:nvPr/>
        </p:nvCxnSpPr>
        <p:spPr>
          <a:xfrm>
            <a:off x="4189046" y="165838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564452" y="1653127"/>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43632" y="3405421"/>
            <a:ext cx="8563573" cy="707886"/>
          </a:xfrm>
          <a:prstGeom prst="rect">
            <a:avLst/>
          </a:prstGeom>
          <a:noFill/>
        </p:spPr>
        <p:txBody>
          <a:bodyPr wrap="square" lIns="0" tIns="0" rIns="0" bIns="0" rtlCol="0">
            <a:spAutoFit/>
          </a:bodyPr>
          <a:lstStyle/>
          <a:p>
            <a:pPr algn="ctr"/>
            <a:endParaRPr lang="en-US" sz="1400" dirty="0"/>
          </a:p>
          <a:p>
            <a:pPr algn="ctr"/>
            <a:r>
              <a:rPr lang="en-US" dirty="0">
                <a:latin typeface="Arial" panose="020B0604020202020204" pitchFamily="34" charset="0"/>
                <a:cs typeface="Arial" panose="020B0604020202020204" pitchFamily="34" charset="0"/>
              </a:rPr>
              <a:t>Patient Safety, Rights and Empowerment	</a:t>
            </a:r>
          </a:p>
          <a:p>
            <a:endParaRPr lang="en-US" sz="1400" dirty="0"/>
          </a:p>
        </p:txBody>
      </p:sp>
      <p:sp>
        <p:nvSpPr>
          <p:cNvPr id="22" name="TextBox 21"/>
          <p:cNvSpPr txBox="1"/>
          <p:nvPr/>
        </p:nvSpPr>
        <p:spPr>
          <a:xfrm>
            <a:off x="322465" y="2264646"/>
            <a:ext cx="1316925"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pic>
        <p:nvPicPr>
          <p:cNvPr id="23" name="Picture 8" descr="Image result for electronic informed consent clipart"/>
          <p:cNvPicPr>
            <a:picLocks noChangeAspect="1" noChangeArrowheads="1"/>
          </p:cNvPicPr>
          <p:nvPr/>
        </p:nvPicPr>
        <p:blipFill rotWithShape="1">
          <a:blip r:embed="rId6">
            <a:extLst>
              <a:ext uri="{28A0092B-C50C-407E-A947-70E740481C1C}">
                <a14:useLocalDpi xmlns:a14="http://schemas.microsoft.com/office/drawing/2010/main" val="0"/>
              </a:ext>
            </a:extLst>
          </a:blip>
          <a:srcRect b="7944"/>
          <a:stretch/>
        </p:blipFill>
        <p:spPr bwMode="auto">
          <a:xfrm>
            <a:off x="285755" y="1233289"/>
            <a:ext cx="1353635" cy="839517"/>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488727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3482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Flow</a:t>
            </a:r>
            <a:endParaRPr lang="en-US" sz="1800" dirty="0">
              <a:solidFill>
                <a:schemeClr val="tx1"/>
              </a:solidFill>
              <a:latin typeface="Arial" panose="020B0604020202020204" pitchFamily="34" charset="0"/>
              <a:cs typeface="Arial" panose="020B0604020202020204" pitchFamily="34" charset="0"/>
            </a:endParaRPr>
          </a:p>
        </p:txBody>
      </p:sp>
      <p:sp>
        <p:nvSpPr>
          <p:cNvPr id="3" name="AutoShape 2" descr="Image result for health canad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2" descr="Image result for e consen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Image result for e consen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Image result for e consen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9" descr="Image result for hyperledger"/>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15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1203" y="1219798"/>
            <a:ext cx="1347599" cy="839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4" name="Picture 2" descr="Image result for study eligibility criteri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2069" y="1219798"/>
            <a:ext cx="1357810" cy="839517"/>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data shar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7635" y="1219798"/>
            <a:ext cx="1362667" cy="839518"/>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p:cNvCxnSpPr/>
          <p:nvPr/>
        </p:nvCxnSpPr>
        <p:spPr>
          <a:xfrm>
            <a:off x="1791338" y="1641824"/>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844062" y="2251531"/>
            <a:ext cx="1698087" cy="738664"/>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Data collection,</a:t>
            </a:r>
          </a:p>
          <a:p>
            <a:pPr algn="ctr"/>
            <a:r>
              <a:rPr lang="en-US" sz="1600" dirty="0">
                <a:latin typeface="Arial" panose="020B0604020202020204" pitchFamily="34" charset="0"/>
                <a:cs typeface="Arial" panose="020B0604020202020204" pitchFamily="34" charset="0"/>
              </a:rPr>
              <a:t>Procedures and</a:t>
            </a:r>
          </a:p>
          <a:p>
            <a:pPr algn="ctr"/>
            <a:r>
              <a:rPr lang="en-US" sz="1600" dirty="0">
                <a:latin typeface="Arial" panose="020B0604020202020204" pitchFamily="34" charset="0"/>
                <a:cs typeface="Arial" panose="020B0604020202020204" pitchFamily="34" charset="0"/>
              </a:rPr>
              <a:t>Interventions</a:t>
            </a:r>
          </a:p>
        </p:txBody>
      </p:sp>
      <p:sp>
        <p:nvSpPr>
          <p:cNvPr id="62" name="TextBox 61"/>
          <p:cNvSpPr txBox="1"/>
          <p:nvPr/>
        </p:nvSpPr>
        <p:spPr>
          <a:xfrm>
            <a:off x="2684120" y="2251908"/>
            <a:ext cx="129497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creening</a:t>
            </a:r>
          </a:p>
        </p:txBody>
      </p:sp>
      <p:sp>
        <p:nvSpPr>
          <p:cNvPr id="64" name="TextBox 63"/>
          <p:cNvSpPr txBox="1"/>
          <p:nvPr/>
        </p:nvSpPr>
        <p:spPr>
          <a:xfrm>
            <a:off x="7417635" y="2251155"/>
            <a:ext cx="1294977"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Secondary                       Data Sharing</a:t>
            </a:r>
          </a:p>
        </p:txBody>
      </p:sp>
      <p:sp>
        <p:nvSpPr>
          <p:cNvPr id="25" name="TextBox 24"/>
          <p:cNvSpPr txBox="1"/>
          <p:nvPr/>
        </p:nvSpPr>
        <p:spPr>
          <a:xfrm>
            <a:off x="322465" y="2251155"/>
            <a:ext cx="1316925" cy="492443"/>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cxnSp>
        <p:nvCxnSpPr>
          <p:cNvPr id="26" name="Straight Arrow Connector 25"/>
          <p:cNvCxnSpPr/>
          <p:nvPr/>
        </p:nvCxnSpPr>
        <p:spPr>
          <a:xfrm>
            <a:off x="4166744" y="1652330"/>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6542150" y="1647070"/>
            <a:ext cx="677318" cy="0"/>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73333" y="3093982"/>
            <a:ext cx="0" cy="631902"/>
          </a:xfrm>
          <a:prstGeom prst="line">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318763" y="3093982"/>
            <a:ext cx="0" cy="631902"/>
          </a:xfrm>
          <a:prstGeom prst="line">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671756" y="3097708"/>
            <a:ext cx="0" cy="631902"/>
          </a:xfrm>
          <a:prstGeom prst="line">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8076529" y="3097708"/>
            <a:ext cx="0" cy="631902"/>
          </a:xfrm>
          <a:prstGeom prst="line">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pic>
        <p:nvPicPr>
          <p:cNvPr id="18438" name="Picture 6" descr="Image result for smart contrac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13934" y="1168603"/>
            <a:ext cx="652906" cy="36726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 result for smart contrac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66562" y="1168668"/>
            <a:ext cx="652906" cy="36726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Image result for smart contrac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63222" y="1168603"/>
            <a:ext cx="652906" cy="367260"/>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724182" y="3895583"/>
            <a:ext cx="7659677" cy="396419"/>
            <a:chOff x="761352" y="3968546"/>
            <a:chExt cx="7659677" cy="396419"/>
          </a:xfrm>
        </p:grpSpPr>
        <p:pic>
          <p:nvPicPr>
            <p:cNvPr id="41"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761352" y="3969846"/>
              <a:ext cx="1103857" cy="39511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1853860" y="3971417"/>
              <a:ext cx="1096261" cy="3924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2942834" y="3970524"/>
              <a:ext cx="1096261" cy="3924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4032737" y="3969845"/>
              <a:ext cx="1096261" cy="3924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5121017" y="3969844"/>
              <a:ext cx="1103857" cy="3951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6218601" y="3969843"/>
              <a:ext cx="1103857" cy="39511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Image result for blockchain clipart"/>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39000" b="64667" l="6000" r="95333"/>
                      </a14:imgEffect>
                    </a14:imgLayer>
                  </a14:imgProps>
                </a:ext>
                <a:ext uri="{28A0092B-C50C-407E-A947-70E740481C1C}">
                  <a14:useLocalDpi xmlns:a14="http://schemas.microsoft.com/office/drawing/2010/main" val="0"/>
                </a:ext>
              </a:extLst>
            </a:blip>
            <a:srcRect l="6075" t="35998" r="4523" b="32001"/>
            <a:stretch/>
          </p:blipFill>
          <p:spPr bwMode="auto">
            <a:xfrm>
              <a:off x="7317172" y="3968546"/>
              <a:ext cx="1103857" cy="395119"/>
            </a:xfrm>
            <a:prstGeom prst="rect">
              <a:avLst/>
            </a:prstGeom>
            <a:noFill/>
            <a:extLst>
              <a:ext uri="{909E8E84-426E-40DD-AFC4-6F175D3DCCD1}">
                <a14:hiddenFill xmlns:a14="http://schemas.microsoft.com/office/drawing/2010/main">
                  <a:solidFill>
                    <a:srgbClr val="FFFFFF"/>
                  </a:solidFill>
                </a14:hiddenFill>
              </a:ext>
            </a:extLst>
          </p:spPr>
        </p:pic>
      </p:grpSp>
      <p:pic>
        <p:nvPicPr>
          <p:cNvPr id="18440" name="Picture 8" descr="Image result for electronic informed consent clipart"/>
          <p:cNvPicPr>
            <a:picLocks noChangeAspect="1" noChangeArrowheads="1"/>
          </p:cNvPicPr>
          <p:nvPr/>
        </p:nvPicPr>
        <p:blipFill rotWithShape="1">
          <a:blip r:embed="rId9">
            <a:extLst>
              <a:ext uri="{28A0092B-C50C-407E-A947-70E740481C1C}">
                <a14:useLocalDpi xmlns:a14="http://schemas.microsoft.com/office/drawing/2010/main" val="0"/>
              </a:ext>
            </a:extLst>
          </a:blip>
          <a:srcRect b="7944"/>
          <a:stretch/>
        </p:blipFill>
        <p:spPr bwMode="auto">
          <a:xfrm>
            <a:off x="285755" y="1219798"/>
            <a:ext cx="1353635" cy="839517"/>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9604842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Team Sport to create Win-Win-Win Situations”</a:t>
            </a:r>
          </a:p>
        </p:txBody>
      </p:sp>
      <p:pic>
        <p:nvPicPr>
          <p:cNvPr id="20484" name="Picture 4"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27829" y="1293223"/>
            <a:ext cx="3041711" cy="304171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379925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Endpoints</a:t>
            </a:r>
          </a:p>
        </p:txBody>
      </p:sp>
      <p:sp>
        <p:nvSpPr>
          <p:cNvPr id="4" name="TextBox 3"/>
          <p:cNvSpPr txBox="1"/>
          <p:nvPr/>
        </p:nvSpPr>
        <p:spPr>
          <a:xfrm>
            <a:off x="757646" y="1208310"/>
            <a:ext cx="7393577" cy="3216265"/>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Trust</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Compliance and Safety</a:t>
            </a:r>
          </a:p>
          <a:p>
            <a:pPr marL="742950" lvl="1" indent="-285750">
              <a:buFont typeface="Wingdings" panose="05000000000000000000" pitchFamily="2" charset="2"/>
              <a:buChar char="§"/>
            </a:pPr>
            <a:r>
              <a:rPr lang="en-US" sz="1900" dirty="0">
                <a:latin typeface="Arial" panose="020B0604020202020204" pitchFamily="34" charset="0"/>
                <a:cs typeface="Arial" panose="020B0604020202020204" pitchFamily="34" charset="0"/>
              </a:rPr>
              <a:t>Number, Type and Risk Level (Patient Safety) of Observations</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Monitoring Costs and Time</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Patient Satisfaction and Empowerment</a:t>
            </a:r>
          </a:p>
        </p:txBody>
      </p:sp>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953774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Why don’t we really see </a:t>
            </a:r>
            <a:r>
              <a:rPr lang="en-US" sz="2000" dirty="0" err="1">
                <a:solidFill>
                  <a:schemeClr val="tx1"/>
                </a:solidFill>
                <a:latin typeface="Arial" panose="020B0604020202020204" pitchFamily="34" charset="0"/>
                <a:cs typeface="Arial" panose="020B0604020202020204" pitchFamily="34" charset="0"/>
              </a:rPr>
              <a:t>blockchain</a:t>
            </a:r>
            <a:r>
              <a:rPr lang="en-US" sz="2000" dirty="0">
                <a:solidFill>
                  <a:schemeClr val="tx1"/>
                </a:solidFill>
                <a:latin typeface="Arial" panose="020B0604020202020204" pitchFamily="34" charset="0"/>
                <a:cs typeface="Arial" panose="020B0604020202020204" pitchFamily="34" charset="0"/>
              </a:rPr>
              <a:t>-based clinical trials</a:t>
            </a:r>
            <a:r>
              <a:rPr lang="en-US" sz="2000" dirty="0">
                <a:latin typeface="Arial" panose="020B0604020202020204" pitchFamily="34" charset="0"/>
                <a:cs typeface="Arial" panose="020B0604020202020204" pitchFamily="34" charset="0"/>
              </a:rPr>
              <a:t>?</a:t>
            </a:r>
          </a:p>
        </p:txBody>
      </p:sp>
      <p:sp>
        <p:nvSpPr>
          <p:cNvPr id="4" name="TextBox 3"/>
          <p:cNvSpPr txBox="1"/>
          <p:nvPr/>
        </p:nvSpPr>
        <p:spPr>
          <a:xfrm>
            <a:off x="754572" y="1221373"/>
            <a:ext cx="7644845" cy="2923877"/>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Limited Understanding of </a:t>
            </a:r>
            <a:r>
              <a:rPr lang="en-US" sz="1900" dirty="0" err="1">
                <a:latin typeface="Arial" panose="020B0604020202020204" pitchFamily="34" charset="0"/>
                <a:cs typeface="Arial" panose="020B0604020202020204" pitchFamily="34" charset="0"/>
              </a:rPr>
              <a:t>Blockchain</a:t>
            </a:r>
            <a:r>
              <a:rPr lang="en-US" sz="1900" dirty="0">
                <a:latin typeface="Arial" panose="020B0604020202020204" pitchFamily="34" charset="0"/>
                <a:cs typeface="Arial" panose="020B0604020202020204" pitchFamily="34" charset="0"/>
              </a:rPr>
              <a:t> Technology’s Value Proposition</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Lack of Regulations</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Lack of Standards</a:t>
            </a: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endParaRPr lang="en-US" sz="19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en-US" sz="1900" dirty="0">
                <a:latin typeface="Arial" panose="020B0604020202020204" pitchFamily="34" charset="0"/>
                <a:cs typeface="Arial" panose="020B0604020202020204" pitchFamily="34" charset="0"/>
              </a:rPr>
              <a:t>Practical Limitations</a:t>
            </a:r>
          </a:p>
        </p:txBody>
      </p:sp>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96095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367575" y="390907"/>
            <a:ext cx="8612911" cy="1231106"/>
          </a:xfrm>
        </p:spPr>
        <p:txBody>
          <a:bodyPr/>
          <a:lstStyle/>
          <a:p>
            <a:r>
              <a:rPr lang="en-US" sz="3600" dirty="0" err="1">
                <a:solidFill>
                  <a:schemeClr val="tx1"/>
                </a:solidFill>
                <a:latin typeface="Arial" panose="020B0604020202020204" pitchFamily="34" charset="0"/>
                <a:cs typeface="Arial" panose="020B0604020202020204" pitchFamily="34" charset="0"/>
              </a:rPr>
              <a:t>Blockchain</a:t>
            </a:r>
            <a:r>
              <a:rPr lang="en-US" sz="3600" dirty="0">
                <a:solidFill>
                  <a:schemeClr val="tx1"/>
                </a:solidFill>
                <a:latin typeface="Arial" panose="020B0604020202020204" pitchFamily="34" charset="0"/>
                <a:cs typeface="Arial" panose="020B0604020202020204" pitchFamily="34" charset="0"/>
              </a:rPr>
              <a:t> Technology in Clinical Trials</a:t>
            </a:r>
            <a:br>
              <a:rPr lang="en-US" sz="3600" dirty="0">
                <a:solidFill>
                  <a:schemeClr val="tx1"/>
                </a:solidFill>
                <a:latin typeface="Arial" panose="020B0604020202020204" pitchFamily="34" charset="0"/>
                <a:cs typeface="Arial" panose="020B0604020202020204" pitchFamily="34" charset="0"/>
              </a:rPr>
            </a:br>
            <a:br>
              <a:rPr lang="en-US" sz="2000" dirty="0">
                <a:solidFill>
                  <a:schemeClr val="tx1"/>
                </a:solidFill>
                <a:latin typeface="Arial" panose="020B0604020202020204" pitchFamily="34" charset="0"/>
                <a:cs typeface="Arial" panose="020B0604020202020204" pitchFamily="34" charset="0"/>
              </a:rPr>
            </a:br>
            <a:r>
              <a:rPr lang="en-US" sz="2400" dirty="0" err="1">
                <a:solidFill>
                  <a:schemeClr val="tx1"/>
                </a:solidFill>
                <a:latin typeface="Arial" panose="020B0604020202020204" pitchFamily="34" charset="0"/>
                <a:cs typeface="Arial" panose="020B0604020202020204" pitchFamily="34" charset="0"/>
              </a:rPr>
              <a:t>Uli</a:t>
            </a:r>
            <a:r>
              <a:rPr lang="en-US" sz="2400" dirty="0">
                <a:solidFill>
                  <a:schemeClr val="tx1"/>
                </a:solidFill>
                <a:latin typeface="Arial" panose="020B0604020202020204" pitchFamily="34" charset="0"/>
                <a:cs typeface="Arial" panose="020B0604020202020204" pitchFamily="34" charset="0"/>
              </a:rPr>
              <a:t> </a:t>
            </a:r>
            <a:r>
              <a:rPr lang="en-US" sz="2400" dirty="0" err="1">
                <a:solidFill>
                  <a:schemeClr val="tx1"/>
                </a:solidFill>
                <a:latin typeface="Arial" panose="020B0604020202020204" pitchFamily="34" charset="0"/>
                <a:cs typeface="Arial" panose="020B0604020202020204" pitchFamily="34" charset="0"/>
              </a:rPr>
              <a:t>Broedl</a:t>
            </a:r>
            <a:endParaRPr lang="de-DE" sz="2400" dirty="0">
              <a:solidFill>
                <a:schemeClr val="tx1"/>
              </a:solidFill>
              <a:latin typeface="Arial" panose="020B0604020202020204" pitchFamily="34" charset="0"/>
              <a:cs typeface="Arial" panose="020B0604020202020204" pitchFamily="34" charset="0"/>
            </a:endParaRPr>
          </a:p>
        </p:txBody>
      </p:sp>
      <p:pic>
        <p:nvPicPr>
          <p:cNvPr id="17410" name="Picture 2" descr="Image result for converge2Xceler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2887" y="2093912"/>
            <a:ext cx="8694736" cy="2782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4466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Practical Limitations: On-/Off-Chain Interactions</a:t>
            </a:r>
          </a:p>
        </p:txBody>
      </p:sp>
      <p:sp>
        <p:nvSpPr>
          <p:cNvPr id="2" name="TextBox 1"/>
          <p:cNvSpPr txBox="1"/>
          <p:nvPr/>
        </p:nvSpPr>
        <p:spPr>
          <a:xfrm>
            <a:off x="3687229" y="3513011"/>
            <a:ext cx="1495655"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Human Factor”</a:t>
            </a:r>
          </a:p>
        </p:txBody>
      </p:sp>
      <p:cxnSp>
        <p:nvCxnSpPr>
          <p:cNvPr id="7" name="Straight Arrow Connector 6"/>
          <p:cNvCxnSpPr/>
          <p:nvPr/>
        </p:nvCxnSpPr>
        <p:spPr>
          <a:xfrm>
            <a:off x="2462780" y="2553316"/>
            <a:ext cx="837994"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pic>
        <p:nvPicPr>
          <p:cNvPr id="8" name="Picture 2" descr="Image result for blood tub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93604" y="2121019"/>
            <a:ext cx="1054287" cy="790716"/>
          </a:xfrm>
          <a:prstGeom prst="rect">
            <a:avLst/>
          </a:prstGeom>
          <a:noFill/>
          <a:extLst>
            <a:ext uri="{909E8E84-426E-40DD-AFC4-6F175D3DCCD1}">
              <a14:hiddenFill xmlns:a14="http://schemas.microsoft.com/office/drawing/2010/main">
                <a:solidFill>
                  <a:srgbClr val="FFFFFF"/>
                </a:solidFill>
              </a14:hiddenFill>
            </a:ext>
          </a:extLst>
        </p:spPr>
      </p:pic>
      <p:sp>
        <p:nvSpPr>
          <p:cNvPr id="10" name="AutoShape 2" descr="Image result for invasive procedure clipar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7412" name="Picture 4" descr="Image result for invasive procedure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7177" y="3232318"/>
            <a:ext cx="828858" cy="828858"/>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Image result for stethoscope clipar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8803" y="1118027"/>
            <a:ext cx="789459" cy="78945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464731" y="3509297"/>
            <a:ext cx="1703137" cy="246221"/>
          </a:xfrm>
          <a:prstGeom prst="rect">
            <a:avLst/>
          </a:prstGeom>
          <a:noFill/>
        </p:spPr>
        <p:txBody>
          <a:bodyPr wrap="square" lIns="0" tIns="0" rIns="0" bIns="0" rtlCol="0">
            <a:spAutoFit/>
          </a:bodyPr>
          <a:lstStyle/>
          <a:p>
            <a:pPr algn="ctr"/>
            <a:r>
              <a:rPr lang="en-US" sz="1600" dirty="0">
                <a:latin typeface="Arial" panose="020B0604020202020204" pitchFamily="34" charset="0"/>
                <a:cs typeface="Arial" panose="020B0604020202020204" pitchFamily="34" charset="0"/>
              </a:rPr>
              <a:t>Informed Consent </a:t>
            </a:r>
          </a:p>
        </p:txBody>
      </p:sp>
      <p:pic>
        <p:nvPicPr>
          <p:cNvPr id="16" name="Picture 8" descr="Image result for electronic informed consent clipart"/>
          <p:cNvPicPr>
            <a:picLocks noChangeAspect="1" noChangeArrowheads="1"/>
          </p:cNvPicPr>
          <p:nvPr/>
        </p:nvPicPr>
        <p:blipFill rotWithShape="1">
          <a:blip r:embed="rId5">
            <a:extLst>
              <a:ext uri="{28A0092B-C50C-407E-A947-70E740481C1C}">
                <a14:useLocalDpi xmlns:a14="http://schemas.microsoft.com/office/drawing/2010/main" val="0"/>
              </a:ext>
            </a:extLst>
          </a:blip>
          <a:srcRect b="7944"/>
          <a:stretch/>
        </p:blipFill>
        <p:spPr bwMode="auto">
          <a:xfrm>
            <a:off x="657478" y="2139124"/>
            <a:ext cx="1353635" cy="839517"/>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Arrow Connector 14"/>
          <p:cNvCxnSpPr/>
          <p:nvPr/>
        </p:nvCxnSpPr>
        <p:spPr>
          <a:xfrm>
            <a:off x="5677988" y="2549602"/>
            <a:ext cx="837994"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flipV="1">
            <a:off x="5677988" y="2024880"/>
            <a:ext cx="837994" cy="289931"/>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677988" y="2805465"/>
            <a:ext cx="837994" cy="237893"/>
          </a:xfrm>
          <a:prstGeom prst="straightConnector1">
            <a:avLst/>
          </a:prstGeom>
          <a:ln w="28575">
            <a:solidFill>
              <a:srgbClr val="003366"/>
            </a:solidFill>
            <a:tailEnd type="arrow"/>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5133275" y="1557360"/>
            <a:ext cx="1885079" cy="1904778"/>
            <a:chOff x="1476103" y="1213235"/>
            <a:chExt cx="2508141" cy="2508141"/>
          </a:xfrm>
        </p:grpSpPr>
        <p:pic>
          <p:nvPicPr>
            <p:cNvPr id="24" name="Picture 4" descr="Image result for stop sig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6103" y="1213235"/>
              <a:ext cx="2508141" cy="2508141"/>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047159" y="1395799"/>
              <a:ext cx="1397726" cy="486323"/>
            </a:xfrm>
            <a:prstGeom prst="rect">
              <a:avLst/>
            </a:prstGeom>
            <a:noFill/>
          </p:spPr>
          <p:txBody>
            <a:bodyPr wrap="square" lIns="0" tIns="0" rIns="0" bIns="0" rtlCol="0">
              <a:spAutoFit/>
            </a:bodyPr>
            <a:lstStyle/>
            <a:p>
              <a:pPr algn="ctr"/>
              <a:r>
                <a:rPr lang="en-US" sz="2400" b="1" dirty="0">
                  <a:solidFill>
                    <a:schemeClr val="bg1"/>
                  </a:solidFill>
                  <a:latin typeface="Arial" panose="020B0604020202020204" pitchFamily="34" charset="0"/>
                  <a:cs typeface="Arial" panose="020B0604020202020204" pitchFamily="34" charset="0"/>
                </a:rPr>
                <a:t>STOP</a:t>
              </a:r>
            </a:p>
          </p:txBody>
        </p:sp>
        <p:sp>
          <p:nvSpPr>
            <p:cNvPr id="26" name="Rectangle 25"/>
            <p:cNvSpPr/>
            <p:nvPr/>
          </p:nvSpPr>
          <p:spPr>
            <a:xfrm>
              <a:off x="1783116" y="1927098"/>
              <a:ext cx="1894114" cy="1094226"/>
            </a:xfrm>
            <a:prstGeom prst="rect">
              <a:avLst/>
            </a:prstGeom>
          </p:spPr>
          <p:txBody>
            <a:bodyPr wrap="square">
              <a:spAutoFit/>
            </a:bodyPr>
            <a:lstStyle/>
            <a:p>
              <a:pPr algn="ctr"/>
              <a:r>
                <a:rPr lang="en-US" sz="1600" dirty="0" err="1">
                  <a:solidFill>
                    <a:schemeClr val="bg1"/>
                  </a:solidFill>
                  <a:latin typeface="Arial" panose="020B0604020202020204" pitchFamily="34" charset="0"/>
                  <a:cs typeface="Arial" panose="020B0604020202020204" pitchFamily="34" charset="0"/>
                </a:rPr>
                <a:t>Blockchain</a:t>
              </a:r>
              <a:r>
                <a:rPr lang="en-US" sz="1600" dirty="0">
                  <a:solidFill>
                    <a:schemeClr val="bg1"/>
                  </a:solidFill>
                  <a:latin typeface="Arial" panose="020B0604020202020204" pitchFamily="34" charset="0"/>
                  <a:cs typeface="Arial" panose="020B0604020202020204" pitchFamily="34" charset="0"/>
                </a:rPr>
                <a:t> Value Proposition</a:t>
              </a:r>
              <a:endParaRPr lang="en-US" sz="1600" dirty="0">
                <a:solidFill>
                  <a:schemeClr val="bg1"/>
                </a:solidFill>
              </a:endParaRPr>
            </a:p>
          </p:txBody>
        </p:sp>
      </p:grpSp>
      <p:pic>
        <p:nvPicPr>
          <p:cNvPr id="17410" name="Picture 2" descr="Image result for human factor clipar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87229" y="1801774"/>
            <a:ext cx="1495656" cy="1495656"/>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616999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50757"/>
            <a:ext cx="8408850"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Summary</a:t>
            </a:r>
            <a:endParaRPr lang="en-US" sz="1800" dirty="0">
              <a:solidFill>
                <a:schemeClr val="tx1"/>
              </a:solidFill>
              <a:latin typeface="Arial" panose="020B0604020202020204" pitchFamily="34" charset="0"/>
              <a:cs typeface="Arial" panose="020B0604020202020204" pitchFamily="34" charset="0"/>
            </a:endParaRPr>
          </a:p>
        </p:txBody>
      </p:sp>
      <p:sp>
        <p:nvSpPr>
          <p:cNvPr id="5" name="TextBox 4"/>
          <p:cNvSpPr txBox="1"/>
          <p:nvPr/>
        </p:nvSpPr>
        <p:spPr>
          <a:xfrm>
            <a:off x="148685" y="1263820"/>
            <a:ext cx="8448907" cy="3139321"/>
          </a:xfrm>
          <a:prstGeom prst="rect">
            <a:avLst/>
          </a:prstGeom>
          <a:noFill/>
        </p:spPr>
        <p:txBody>
          <a:bodyPr wrap="square" rtlCol="0">
            <a:spAutoFit/>
          </a:bodyPr>
          <a:lstStyle/>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Does </a:t>
            </a:r>
            <a:r>
              <a:rPr lang="en-US" dirty="0" err="1">
                <a:latin typeface="Arial" panose="020B0604020202020204" pitchFamily="34" charset="0"/>
                <a:cs typeface="Arial" panose="020B0604020202020204" pitchFamily="34" charset="0"/>
              </a:rPr>
              <a:t>Blockchain</a:t>
            </a:r>
            <a:r>
              <a:rPr lang="en-US" dirty="0">
                <a:latin typeface="Arial" panose="020B0604020202020204" pitchFamily="34" charset="0"/>
                <a:cs typeface="Arial" panose="020B0604020202020204" pitchFamily="34" charset="0"/>
              </a:rPr>
              <a:t> Technology hold promise to Revolutionize Clinical Trials?</a:t>
            </a:r>
            <a:endParaRPr lang="en-US" sz="1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Is </a:t>
            </a:r>
            <a:r>
              <a:rPr lang="en-US" dirty="0" err="1">
                <a:latin typeface="Arial" panose="020B0604020202020204" pitchFamily="34" charset="0"/>
                <a:cs typeface="Arial" panose="020B0604020202020204" pitchFamily="34" charset="0"/>
              </a:rPr>
              <a:t>Blockchain</a:t>
            </a:r>
            <a:r>
              <a:rPr lang="en-US" dirty="0">
                <a:latin typeface="Arial" panose="020B0604020202020204" pitchFamily="34" charset="0"/>
                <a:cs typeface="Arial" panose="020B0604020202020204" pitchFamily="34" charset="0"/>
              </a:rPr>
              <a:t> Technology in Clinical Trials ready for Prime Time yet?</a:t>
            </a:r>
            <a:endParaRPr lang="en-US" sz="1000" dirty="0">
              <a:latin typeface="Arial" panose="020B0604020202020204" pitchFamily="34" charset="0"/>
              <a:cs typeface="Arial" panose="020B0604020202020204" pitchFamily="34" charset="0"/>
            </a:endParaRPr>
          </a:p>
          <a:p>
            <a:pPr lvl="1"/>
            <a:endParaRPr lang="en-US" dirty="0">
              <a:solidFill>
                <a:srgbClr val="FF0000"/>
              </a:solidFill>
              <a:latin typeface="Arial" panose="020B0604020202020204" pitchFamily="34" charset="0"/>
              <a:cs typeface="Arial" panose="020B0604020202020204" pitchFamily="34" charset="0"/>
            </a:endParaRPr>
          </a:p>
          <a:p>
            <a:pPr lvl="1"/>
            <a:endParaRPr lang="en-US" dirty="0">
              <a:solidFill>
                <a:srgbClr val="FF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Let’s Collaborate</a:t>
            </a:r>
          </a:p>
          <a:p>
            <a:pPr marL="342900" indent="-342900">
              <a:buFont typeface="Wingdings" panose="05000000000000000000" pitchFamily="2" charset="2"/>
              <a:buChar char="Ø"/>
            </a:pPr>
            <a:endParaRPr lang="en-US" sz="800" dirty="0">
              <a:latin typeface="Arial" panose="020B0604020202020204" pitchFamily="34" charset="0"/>
              <a:cs typeface="Arial" panose="020B0604020202020204" pitchFamily="34" charset="0"/>
            </a:endParaRP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Communication of </a:t>
            </a:r>
            <a:r>
              <a:rPr lang="en-US" sz="1600" dirty="0" err="1">
                <a:latin typeface="Arial" panose="020B0604020202020204" pitchFamily="34" charset="0"/>
                <a:cs typeface="Arial" panose="020B0604020202020204" pitchFamily="34" charset="0"/>
              </a:rPr>
              <a:t>Blockchain</a:t>
            </a:r>
            <a:r>
              <a:rPr lang="en-US" sz="1600" dirty="0">
                <a:latin typeface="Arial" panose="020B0604020202020204" pitchFamily="34" charset="0"/>
                <a:cs typeface="Arial" panose="020B0604020202020204" pitchFamily="34" charset="0"/>
              </a:rPr>
              <a:t> Technology’s Value Proposition</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Definition of Standards</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Creation of Regulatory Framework</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Digitalization of Clinical Trials</a:t>
            </a:r>
          </a:p>
        </p:txBody>
      </p:sp>
      <p:pic>
        <p:nvPicPr>
          <p:cNvPr id="19458" name="Picture 2" descr="Image result for yes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5587" y="1124649"/>
            <a:ext cx="857048" cy="57033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vote no"/>
          <p:cNvPicPr>
            <a:picLocks noChangeAspect="1" noChangeArrowheads="1"/>
          </p:cNvPicPr>
          <p:nvPr/>
        </p:nvPicPr>
        <p:blipFill rotWithShape="1">
          <a:blip r:embed="rId4">
            <a:extLst>
              <a:ext uri="{28A0092B-C50C-407E-A947-70E740481C1C}">
                <a14:useLocalDpi xmlns:a14="http://schemas.microsoft.com/office/drawing/2010/main" val="0"/>
              </a:ext>
            </a:extLst>
          </a:blip>
          <a:srcRect l="4421" t="32553" r="10145"/>
          <a:stretch/>
        </p:blipFill>
        <p:spPr bwMode="auto">
          <a:xfrm>
            <a:off x="8191373" y="2051397"/>
            <a:ext cx="891563" cy="468071"/>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Image result for collaboration clipart"/>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58463" y="2982690"/>
            <a:ext cx="1904352" cy="1428263"/>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4127205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193632"/>
            <a:ext cx="8408850" cy="369332"/>
          </a:xfrm>
        </p:spPr>
        <p:txBody>
          <a:bodyPr/>
          <a:lstStyle/>
          <a:p>
            <a:r>
              <a:rPr lang="en-US" dirty="0">
                <a:solidFill>
                  <a:schemeClr val="tx1"/>
                </a:solidFill>
                <a:latin typeface="Arial" panose="020B0604020202020204" pitchFamily="34" charset="0"/>
                <a:cs typeface="Arial" panose="020B0604020202020204" pitchFamily="34" charset="0"/>
              </a:rPr>
              <a:t>Disclosure</a:t>
            </a:r>
            <a:endParaRPr lang="en-US" sz="2000" dirty="0">
              <a:solidFill>
                <a:schemeClr val="tx1"/>
              </a:solidFill>
              <a:latin typeface="Arial" panose="020B0604020202020204" pitchFamily="34" charset="0"/>
              <a:cs typeface="Arial" panose="020B0604020202020204" pitchFamily="34" charset="0"/>
            </a:endParaRPr>
          </a:p>
        </p:txBody>
      </p:sp>
      <p:sp>
        <p:nvSpPr>
          <p:cNvPr id="5" name="TextBox 4"/>
          <p:cNvSpPr txBox="1"/>
          <p:nvPr/>
        </p:nvSpPr>
        <p:spPr>
          <a:xfrm>
            <a:off x="495300" y="966460"/>
            <a:ext cx="8191500" cy="2862322"/>
          </a:xfrm>
          <a:prstGeom prst="rect">
            <a:avLst/>
          </a:prstGeom>
          <a:noFill/>
        </p:spPr>
        <p:txBody>
          <a:bodyPr wrap="square" rtlCol="0">
            <a:spAutoFit/>
          </a:bodyPr>
          <a:lstStyle/>
          <a:p>
            <a:endParaRPr lang="en-US" sz="2000" b="1" i="1"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Ø"/>
            </a:pPr>
            <a:r>
              <a:rPr lang="en-US" sz="2000" dirty="0">
                <a:latin typeface="Arial" panose="020B0604020202020204" pitchFamily="34" charset="0"/>
                <a:cs typeface="Arial" panose="020B0604020202020204" pitchFamily="34" charset="0"/>
              </a:rPr>
              <a:t>I am employee of </a:t>
            </a:r>
            <a:r>
              <a:rPr lang="en-US" sz="2000" dirty="0" err="1">
                <a:latin typeface="Arial" panose="020B0604020202020204" pitchFamily="34" charset="0"/>
                <a:cs typeface="Arial" panose="020B0604020202020204" pitchFamily="34" charset="0"/>
              </a:rPr>
              <a:t>Boehringer</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Ingelheim</a:t>
            </a:r>
            <a:r>
              <a:rPr lang="en-US" sz="2000" dirty="0">
                <a:latin typeface="Arial" panose="020B0604020202020204" pitchFamily="34" charset="0"/>
                <a:cs typeface="Arial" panose="020B0604020202020204" pitchFamily="34" charset="0"/>
              </a:rPr>
              <a:t> Canada Ltd</a:t>
            </a: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pPr marL="457200" indent="-457200">
              <a:buFont typeface="Wingdings" panose="05000000000000000000" pitchFamily="2" charset="2"/>
              <a:buChar char="Ø"/>
            </a:pPr>
            <a:r>
              <a:rPr lang="en-US" sz="2000" dirty="0">
                <a:latin typeface="Arial" panose="020B0604020202020204" pitchFamily="34" charset="0"/>
                <a:cs typeface="Arial" panose="020B0604020202020204" pitchFamily="34" charset="0"/>
              </a:rPr>
              <a:t>The views expressed are my own and do not necessarily represent the views of </a:t>
            </a:r>
            <a:r>
              <a:rPr lang="en-US" sz="2000" dirty="0" err="1">
                <a:latin typeface="Arial" panose="020B0604020202020204" pitchFamily="34" charset="0"/>
                <a:cs typeface="Arial" panose="020B0604020202020204" pitchFamily="34" charset="0"/>
              </a:rPr>
              <a:t>Boehringer</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Ingelheim</a:t>
            </a:r>
            <a:r>
              <a:rPr lang="en-US" sz="2000" dirty="0">
                <a:latin typeface="Arial" panose="020B0604020202020204" pitchFamily="34" charset="0"/>
                <a:cs typeface="Arial" panose="020B0604020202020204" pitchFamily="34" charset="0"/>
              </a:rPr>
              <a:t> Canada Ltd</a:t>
            </a:r>
          </a:p>
          <a:p>
            <a:pPr marL="457200" indent="-457200">
              <a:buFont typeface="Wingdings" panose="05000000000000000000" pitchFamily="2" charset="2"/>
              <a:buChar char="Ø"/>
            </a:pPr>
            <a:endParaRPr lang="en-US" sz="2000" dirty="0">
              <a:solidFill>
                <a:srgbClr val="FF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Ø"/>
            </a:pPr>
            <a:endParaRPr lang="en-US" sz="2000" dirty="0">
              <a:solidFill>
                <a:srgbClr val="FF0000"/>
              </a:solidFill>
              <a:latin typeface="Arial" panose="020B0604020202020204" pitchFamily="34" charset="0"/>
              <a:cs typeface="Arial" panose="020B0604020202020204" pitchFamily="34" charset="0"/>
            </a:endParaRPr>
          </a:p>
          <a:p>
            <a:pPr marL="457200" indent="-457200">
              <a:buFont typeface="Wingdings" panose="05000000000000000000" pitchFamily="2" charset="2"/>
              <a:buChar char="Ø"/>
            </a:pPr>
            <a:r>
              <a:rPr lang="en-US" sz="2000" dirty="0">
                <a:latin typeface="Arial" panose="020B0604020202020204" pitchFamily="34" charset="0"/>
                <a:cs typeface="Arial" panose="020B0604020202020204" pitchFamily="34" charset="0"/>
              </a:rPr>
              <a:t>I am a Tech Enthusiast and Consumer but not a Tech Expert</a:t>
            </a:r>
          </a:p>
        </p:txBody>
      </p:sp>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869712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50757"/>
            <a:ext cx="8408850"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Summary</a:t>
            </a:r>
            <a:endParaRPr lang="en-US" sz="1800" dirty="0">
              <a:solidFill>
                <a:schemeClr val="tx1"/>
              </a:solidFill>
              <a:latin typeface="Arial" panose="020B0604020202020204" pitchFamily="34" charset="0"/>
              <a:cs typeface="Arial" panose="020B0604020202020204" pitchFamily="34" charset="0"/>
            </a:endParaRPr>
          </a:p>
        </p:txBody>
      </p:sp>
      <p:sp>
        <p:nvSpPr>
          <p:cNvPr id="5" name="TextBox 4"/>
          <p:cNvSpPr txBox="1"/>
          <p:nvPr/>
        </p:nvSpPr>
        <p:spPr>
          <a:xfrm>
            <a:off x="148685" y="1263820"/>
            <a:ext cx="8448907" cy="3139321"/>
          </a:xfrm>
          <a:prstGeom prst="rect">
            <a:avLst/>
          </a:prstGeom>
          <a:noFill/>
        </p:spPr>
        <p:txBody>
          <a:bodyPr wrap="square" rtlCol="0">
            <a:spAutoFit/>
          </a:bodyPr>
          <a:lstStyle/>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Does </a:t>
            </a:r>
            <a:r>
              <a:rPr lang="en-US" dirty="0" err="1">
                <a:latin typeface="Arial" panose="020B0604020202020204" pitchFamily="34" charset="0"/>
                <a:cs typeface="Arial" panose="020B0604020202020204" pitchFamily="34" charset="0"/>
              </a:rPr>
              <a:t>Blockchain</a:t>
            </a:r>
            <a:r>
              <a:rPr lang="en-US" dirty="0">
                <a:latin typeface="Arial" panose="020B0604020202020204" pitchFamily="34" charset="0"/>
                <a:cs typeface="Arial" panose="020B0604020202020204" pitchFamily="34" charset="0"/>
              </a:rPr>
              <a:t> Technology hold promise to Revolutionize Clinical Trials?</a:t>
            </a:r>
            <a:endParaRPr lang="en-US" sz="10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endParaRPr lang="en-US"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Is </a:t>
            </a:r>
            <a:r>
              <a:rPr lang="en-US" dirty="0" err="1">
                <a:latin typeface="Arial" panose="020B0604020202020204" pitchFamily="34" charset="0"/>
                <a:cs typeface="Arial" panose="020B0604020202020204" pitchFamily="34" charset="0"/>
              </a:rPr>
              <a:t>Blockchain</a:t>
            </a:r>
            <a:r>
              <a:rPr lang="en-US" dirty="0">
                <a:latin typeface="Arial" panose="020B0604020202020204" pitchFamily="34" charset="0"/>
                <a:cs typeface="Arial" panose="020B0604020202020204" pitchFamily="34" charset="0"/>
              </a:rPr>
              <a:t> Technology in Clinical Trials ready for Prime Time yet?</a:t>
            </a:r>
            <a:endParaRPr lang="en-US" sz="1000" dirty="0">
              <a:latin typeface="Arial" panose="020B0604020202020204" pitchFamily="34" charset="0"/>
              <a:cs typeface="Arial" panose="020B0604020202020204" pitchFamily="34" charset="0"/>
            </a:endParaRPr>
          </a:p>
          <a:p>
            <a:pPr lvl="1"/>
            <a:endParaRPr lang="en-US" dirty="0">
              <a:solidFill>
                <a:srgbClr val="FF0000"/>
              </a:solidFill>
              <a:latin typeface="Arial" panose="020B0604020202020204" pitchFamily="34" charset="0"/>
              <a:cs typeface="Arial" panose="020B0604020202020204" pitchFamily="34" charset="0"/>
            </a:endParaRPr>
          </a:p>
          <a:p>
            <a:pPr lvl="1"/>
            <a:endParaRPr lang="en-US" dirty="0">
              <a:solidFill>
                <a:srgbClr val="FF0000"/>
              </a:solidFill>
              <a:latin typeface="Arial" panose="020B0604020202020204" pitchFamily="34" charset="0"/>
              <a:cs typeface="Arial" panose="020B0604020202020204" pitchFamily="34" charset="0"/>
            </a:endParaRPr>
          </a:p>
          <a:p>
            <a:pPr marL="342900" indent="-342900">
              <a:buFont typeface="Wingdings" panose="05000000000000000000" pitchFamily="2" charset="2"/>
              <a:buChar char="Ø"/>
            </a:pPr>
            <a:r>
              <a:rPr lang="en-US" dirty="0">
                <a:latin typeface="Arial" panose="020B0604020202020204" pitchFamily="34" charset="0"/>
                <a:cs typeface="Arial" panose="020B0604020202020204" pitchFamily="34" charset="0"/>
              </a:rPr>
              <a:t>Let’s Collaborate</a:t>
            </a:r>
          </a:p>
          <a:p>
            <a:pPr marL="342900" indent="-342900">
              <a:buFont typeface="Wingdings" panose="05000000000000000000" pitchFamily="2" charset="2"/>
              <a:buChar char="Ø"/>
            </a:pPr>
            <a:endParaRPr lang="en-US" sz="800" dirty="0">
              <a:latin typeface="Arial" panose="020B0604020202020204" pitchFamily="34" charset="0"/>
              <a:cs typeface="Arial" panose="020B0604020202020204" pitchFamily="34" charset="0"/>
            </a:endParaRP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Communication of </a:t>
            </a:r>
            <a:r>
              <a:rPr lang="en-US" sz="1600" dirty="0" err="1">
                <a:latin typeface="Arial" panose="020B0604020202020204" pitchFamily="34" charset="0"/>
                <a:cs typeface="Arial" panose="020B0604020202020204" pitchFamily="34" charset="0"/>
              </a:rPr>
              <a:t>Blockchain</a:t>
            </a:r>
            <a:r>
              <a:rPr lang="en-US" sz="1600" dirty="0">
                <a:latin typeface="Arial" panose="020B0604020202020204" pitchFamily="34" charset="0"/>
                <a:cs typeface="Arial" panose="020B0604020202020204" pitchFamily="34" charset="0"/>
              </a:rPr>
              <a:t> Technology’s Value Proposition</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Definition of Standards</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Creation of Regulatory Framework</a:t>
            </a:r>
          </a:p>
          <a:p>
            <a:pPr marL="800100" lvl="1" indent="-342900">
              <a:buFont typeface="Wingdings" panose="05000000000000000000" pitchFamily="2" charset="2"/>
              <a:buChar char="§"/>
            </a:pPr>
            <a:r>
              <a:rPr lang="en-US" sz="1600" dirty="0">
                <a:latin typeface="Arial" panose="020B0604020202020204" pitchFamily="34" charset="0"/>
                <a:cs typeface="Arial" panose="020B0604020202020204" pitchFamily="34" charset="0"/>
              </a:rPr>
              <a:t>Digitalization of Clinical Trials</a:t>
            </a:r>
          </a:p>
        </p:txBody>
      </p:sp>
      <p:pic>
        <p:nvPicPr>
          <p:cNvPr id="19458" name="Picture 2" descr="Image result for yes clip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35587" y="1124649"/>
            <a:ext cx="857048" cy="57033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vote no"/>
          <p:cNvPicPr>
            <a:picLocks noChangeAspect="1" noChangeArrowheads="1"/>
          </p:cNvPicPr>
          <p:nvPr/>
        </p:nvPicPr>
        <p:blipFill rotWithShape="1">
          <a:blip r:embed="rId4">
            <a:extLst>
              <a:ext uri="{28A0092B-C50C-407E-A947-70E740481C1C}">
                <a14:useLocalDpi xmlns:a14="http://schemas.microsoft.com/office/drawing/2010/main" val="0"/>
              </a:ext>
            </a:extLst>
          </a:blip>
          <a:srcRect l="4421" t="32553" r="10145"/>
          <a:stretch/>
        </p:blipFill>
        <p:spPr bwMode="auto">
          <a:xfrm>
            <a:off x="8191373" y="2051397"/>
            <a:ext cx="891563" cy="468071"/>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Image result for collaboration clipart"/>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7244175" y="2982690"/>
            <a:ext cx="1904352" cy="1428263"/>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4293062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4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4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50757"/>
            <a:ext cx="8408850"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Global Clinical Trial Market Size</a:t>
            </a:r>
            <a:endParaRPr lang="en-US" sz="1800" dirty="0">
              <a:solidFill>
                <a:schemeClr val="tx1"/>
              </a:solidFill>
              <a:latin typeface="Arial" panose="020B0604020202020204" pitchFamily="34" charset="0"/>
              <a:cs typeface="Arial" panose="020B0604020202020204" pitchFamily="34" charset="0"/>
            </a:endParaRPr>
          </a:p>
        </p:txBody>
      </p:sp>
      <p:grpSp>
        <p:nvGrpSpPr>
          <p:cNvPr id="7" name="Gruppierung 37"/>
          <p:cNvGrpSpPr/>
          <p:nvPr/>
        </p:nvGrpSpPr>
        <p:grpSpPr>
          <a:xfrm>
            <a:off x="2223127" y="1415997"/>
            <a:ext cx="4982912" cy="879527"/>
            <a:chOff x="360000" y="2916000"/>
            <a:chExt cx="3698599" cy="717602"/>
          </a:xfrm>
        </p:grpSpPr>
        <p:grpSp>
          <p:nvGrpSpPr>
            <p:cNvPr id="8" name="Gruppierung 38"/>
            <p:cNvGrpSpPr>
              <a:grpSpLocks noChangeAspect="1"/>
            </p:cNvGrpSpPr>
            <p:nvPr/>
          </p:nvGrpSpPr>
          <p:grpSpPr>
            <a:xfrm>
              <a:off x="360000" y="2916000"/>
              <a:ext cx="717602" cy="717602"/>
              <a:chOff x="4152577" y="3148886"/>
              <a:chExt cx="1077604" cy="1077604"/>
            </a:xfrm>
            <a:gradFill flip="none" rotWithShape="1">
              <a:gsLst>
                <a:gs pos="0">
                  <a:schemeClr val="accent1">
                    <a:lumMod val="50000"/>
                  </a:schemeClr>
                </a:gs>
                <a:gs pos="100000">
                  <a:schemeClr val="accent2"/>
                </a:gs>
              </a:gsLst>
              <a:lin ang="0" scaled="1"/>
              <a:tileRect/>
            </a:gradFill>
          </p:grpSpPr>
          <p:grpSp>
            <p:nvGrpSpPr>
              <p:cNvPr id="10" name="Gruppierung 40"/>
              <p:cNvGrpSpPr>
                <a:grpSpLocks noChangeAspect="1"/>
              </p:cNvGrpSpPr>
              <p:nvPr/>
            </p:nvGrpSpPr>
            <p:grpSpPr>
              <a:xfrm>
                <a:off x="4419727" y="3384420"/>
                <a:ext cx="576000" cy="489238"/>
                <a:chOff x="3436938" y="1992313"/>
                <a:chExt cx="3530600" cy="2998787"/>
              </a:xfrm>
              <a:grpFill/>
            </p:grpSpPr>
            <p:sp>
              <p:nvSpPr>
                <p:cNvPr id="12" name="Freeform 1"/>
                <p:cNvSpPr>
                  <a:spLocks noChangeArrowheads="1"/>
                </p:cNvSpPr>
                <p:nvPr/>
              </p:nvSpPr>
              <p:spPr bwMode="auto">
                <a:xfrm>
                  <a:off x="3751263" y="3181350"/>
                  <a:ext cx="2894012" cy="936625"/>
                </a:xfrm>
                <a:custGeom>
                  <a:avLst/>
                  <a:gdLst>
                    <a:gd name="T0" fmla="*/ 144 w 8040"/>
                    <a:gd name="T1" fmla="*/ 2597 h 2601"/>
                    <a:gd name="T2" fmla="*/ 64 w 8040"/>
                    <a:gd name="T3" fmla="*/ 2576 h 2601"/>
                    <a:gd name="T4" fmla="*/ 35 w 8040"/>
                    <a:gd name="T5" fmla="*/ 2552 h 2601"/>
                    <a:gd name="T6" fmla="*/ 12 w 8040"/>
                    <a:gd name="T7" fmla="*/ 2507 h 2601"/>
                    <a:gd name="T8" fmla="*/ 0 w 8040"/>
                    <a:gd name="T9" fmla="*/ 2348 h 2601"/>
                    <a:gd name="T10" fmla="*/ 29 w 8040"/>
                    <a:gd name="T11" fmla="*/ 1462 h 2601"/>
                    <a:gd name="T12" fmla="*/ 64 w 8040"/>
                    <a:gd name="T13" fmla="*/ 1326 h 2601"/>
                    <a:gd name="T14" fmla="*/ 132 w 8040"/>
                    <a:gd name="T15" fmla="*/ 1205 h 2601"/>
                    <a:gd name="T16" fmla="*/ 285 w 8040"/>
                    <a:gd name="T17" fmla="*/ 1047 h 2601"/>
                    <a:gd name="T18" fmla="*/ 465 w 8040"/>
                    <a:gd name="T19" fmla="*/ 932 h 2601"/>
                    <a:gd name="T20" fmla="*/ 664 w 8040"/>
                    <a:gd name="T21" fmla="*/ 881 h 2601"/>
                    <a:gd name="T22" fmla="*/ 2794 w 8040"/>
                    <a:gd name="T23" fmla="*/ 875 h 2601"/>
                    <a:gd name="T24" fmla="*/ 2913 w 8040"/>
                    <a:gd name="T25" fmla="*/ 883 h 2601"/>
                    <a:gd name="T26" fmla="*/ 2946 w 8040"/>
                    <a:gd name="T27" fmla="*/ 898 h 2601"/>
                    <a:gd name="T28" fmla="*/ 2964 w 8040"/>
                    <a:gd name="T29" fmla="*/ 919 h 2601"/>
                    <a:gd name="T30" fmla="*/ 2978 w 8040"/>
                    <a:gd name="T31" fmla="*/ 978 h 2601"/>
                    <a:gd name="T32" fmla="*/ 2981 w 8040"/>
                    <a:gd name="T33" fmla="*/ 1623 h 2601"/>
                    <a:gd name="T34" fmla="*/ 2986 w 8040"/>
                    <a:gd name="T35" fmla="*/ 1698 h 2601"/>
                    <a:gd name="T36" fmla="*/ 2998 w 8040"/>
                    <a:gd name="T37" fmla="*/ 1736 h 2601"/>
                    <a:gd name="T38" fmla="*/ 3050 w 8040"/>
                    <a:gd name="T39" fmla="*/ 1802 h 2601"/>
                    <a:gd name="T40" fmla="*/ 3099 w 8040"/>
                    <a:gd name="T41" fmla="*/ 1841 h 2601"/>
                    <a:gd name="T42" fmla="*/ 3139 w 8040"/>
                    <a:gd name="T43" fmla="*/ 1857 h 2601"/>
                    <a:gd name="T44" fmla="*/ 3180 w 8040"/>
                    <a:gd name="T45" fmla="*/ 1852 h 2601"/>
                    <a:gd name="T46" fmla="*/ 3226 w 8040"/>
                    <a:gd name="T47" fmla="*/ 1829 h 2601"/>
                    <a:gd name="T48" fmla="*/ 3267 w 8040"/>
                    <a:gd name="T49" fmla="*/ 1795 h 2601"/>
                    <a:gd name="T50" fmla="*/ 3293 w 8040"/>
                    <a:gd name="T51" fmla="*/ 1758 h 2601"/>
                    <a:gd name="T52" fmla="*/ 3314 w 8040"/>
                    <a:gd name="T53" fmla="*/ 1614 h 2601"/>
                    <a:gd name="T54" fmla="*/ 3322 w 8040"/>
                    <a:gd name="T55" fmla="*/ 1120 h 2601"/>
                    <a:gd name="T56" fmla="*/ 3321 w 8040"/>
                    <a:gd name="T57" fmla="*/ 979 h 2601"/>
                    <a:gd name="T58" fmla="*/ 3339 w 8040"/>
                    <a:gd name="T59" fmla="*/ 924 h 2601"/>
                    <a:gd name="T60" fmla="*/ 3379 w 8040"/>
                    <a:gd name="T61" fmla="*/ 890 h 2601"/>
                    <a:gd name="T62" fmla="*/ 3442 w 8040"/>
                    <a:gd name="T63" fmla="*/ 875 h 2601"/>
                    <a:gd name="T64" fmla="*/ 3517 w 8040"/>
                    <a:gd name="T65" fmla="*/ 882 h 2601"/>
                    <a:gd name="T66" fmla="*/ 3568 w 8040"/>
                    <a:gd name="T67" fmla="*/ 909 h 2601"/>
                    <a:gd name="T68" fmla="*/ 3596 w 8040"/>
                    <a:gd name="T69" fmla="*/ 955 h 2601"/>
                    <a:gd name="T70" fmla="*/ 3607 w 8040"/>
                    <a:gd name="T71" fmla="*/ 1037 h 2601"/>
                    <a:gd name="T72" fmla="*/ 3622 w 8040"/>
                    <a:gd name="T73" fmla="*/ 1728 h 2601"/>
                    <a:gd name="T74" fmla="*/ 3668 w 8040"/>
                    <a:gd name="T75" fmla="*/ 1815 h 2601"/>
                    <a:gd name="T76" fmla="*/ 3728 w 8040"/>
                    <a:gd name="T77" fmla="*/ 1852 h 2601"/>
                    <a:gd name="T78" fmla="*/ 3893 w 8040"/>
                    <a:gd name="T79" fmla="*/ 1872 h 2601"/>
                    <a:gd name="T80" fmla="*/ 5846 w 8040"/>
                    <a:gd name="T81" fmla="*/ 1871 h 2601"/>
                    <a:gd name="T82" fmla="*/ 5937 w 8040"/>
                    <a:gd name="T83" fmla="*/ 1844 h 2601"/>
                    <a:gd name="T84" fmla="*/ 6072 w 8040"/>
                    <a:gd name="T85" fmla="*/ 1758 h 2601"/>
                    <a:gd name="T86" fmla="*/ 7653 w 8040"/>
                    <a:gd name="T87" fmla="*/ 178 h 2601"/>
                    <a:gd name="T88" fmla="*/ 7810 w 8040"/>
                    <a:gd name="T89" fmla="*/ 36 h 2601"/>
                    <a:gd name="T90" fmla="*/ 7872 w 8040"/>
                    <a:gd name="T91" fmla="*/ 12 h 2601"/>
                    <a:gd name="T92" fmla="*/ 7977 w 8040"/>
                    <a:gd name="T93" fmla="*/ 0 h 2601"/>
                    <a:gd name="T94" fmla="*/ 7986 w 8040"/>
                    <a:gd name="T95" fmla="*/ 4 h 2601"/>
                    <a:gd name="T96" fmla="*/ 8006 w 8040"/>
                    <a:gd name="T97" fmla="*/ 34 h 2601"/>
                    <a:gd name="T98" fmla="*/ 8035 w 8040"/>
                    <a:gd name="T99" fmla="*/ 128 h 2601"/>
                    <a:gd name="T100" fmla="*/ 8038 w 8040"/>
                    <a:gd name="T101" fmla="*/ 2448 h 2601"/>
                    <a:gd name="T102" fmla="*/ 8023 w 8040"/>
                    <a:gd name="T103" fmla="*/ 2541 h 2601"/>
                    <a:gd name="T104" fmla="*/ 8005 w 8040"/>
                    <a:gd name="T105" fmla="*/ 2568 h 2601"/>
                    <a:gd name="T106" fmla="*/ 7977 w 8040"/>
                    <a:gd name="T107" fmla="*/ 2584 h 2601"/>
                    <a:gd name="T108" fmla="*/ 7811 w 8040"/>
                    <a:gd name="T109" fmla="*/ 2598 h 2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40" h="2601">
                      <a:moveTo>
                        <a:pt x="4016" y="2600"/>
                      </a:moveTo>
                      <a:lnTo>
                        <a:pt x="250" y="2600"/>
                      </a:lnTo>
                      <a:lnTo>
                        <a:pt x="175" y="2599"/>
                      </a:lnTo>
                      <a:lnTo>
                        <a:pt x="144" y="2597"/>
                      </a:lnTo>
                      <a:lnTo>
                        <a:pt x="117" y="2593"/>
                      </a:lnTo>
                      <a:lnTo>
                        <a:pt x="93" y="2588"/>
                      </a:lnTo>
                      <a:lnTo>
                        <a:pt x="73" y="2580"/>
                      </a:lnTo>
                      <a:lnTo>
                        <a:pt x="64" y="2576"/>
                      </a:lnTo>
                      <a:lnTo>
                        <a:pt x="55" y="2571"/>
                      </a:lnTo>
                      <a:lnTo>
                        <a:pt x="48" y="2565"/>
                      </a:lnTo>
                      <a:lnTo>
                        <a:pt x="41" y="2559"/>
                      </a:lnTo>
                      <a:lnTo>
                        <a:pt x="35" y="2552"/>
                      </a:lnTo>
                      <a:lnTo>
                        <a:pt x="29" y="2545"/>
                      </a:lnTo>
                      <a:lnTo>
                        <a:pt x="24" y="2537"/>
                      </a:lnTo>
                      <a:lnTo>
                        <a:pt x="19" y="2527"/>
                      </a:lnTo>
                      <a:lnTo>
                        <a:pt x="12" y="2507"/>
                      </a:lnTo>
                      <a:lnTo>
                        <a:pt x="7" y="2483"/>
                      </a:lnTo>
                      <a:lnTo>
                        <a:pt x="3" y="2456"/>
                      </a:lnTo>
                      <a:lnTo>
                        <a:pt x="1" y="2424"/>
                      </a:lnTo>
                      <a:lnTo>
                        <a:pt x="0" y="2348"/>
                      </a:lnTo>
                      <a:lnTo>
                        <a:pt x="2" y="1904"/>
                      </a:lnTo>
                      <a:lnTo>
                        <a:pt x="10" y="1682"/>
                      </a:lnTo>
                      <a:lnTo>
                        <a:pt x="18" y="1572"/>
                      </a:lnTo>
                      <a:lnTo>
                        <a:pt x="29" y="1462"/>
                      </a:lnTo>
                      <a:lnTo>
                        <a:pt x="34" y="1426"/>
                      </a:lnTo>
                      <a:lnTo>
                        <a:pt x="42" y="1392"/>
                      </a:lnTo>
                      <a:lnTo>
                        <a:pt x="52" y="1358"/>
                      </a:lnTo>
                      <a:lnTo>
                        <a:pt x="64" y="1326"/>
                      </a:lnTo>
                      <a:lnTo>
                        <a:pt x="78" y="1294"/>
                      </a:lnTo>
                      <a:lnTo>
                        <a:pt x="94" y="1264"/>
                      </a:lnTo>
                      <a:lnTo>
                        <a:pt x="112" y="1234"/>
                      </a:lnTo>
                      <a:lnTo>
                        <a:pt x="132" y="1205"/>
                      </a:lnTo>
                      <a:lnTo>
                        <a:pt x="153" y="1177"/>
                      </a:lnTo>
                      <a:lnTo>
                        <a:pt x="176" y="1150"/>
                      </a:lnTo>
                      <a:lnTo>
                        <a:pt x="228" y="1097"/>
                      </a:lnTo>
                      <a:lnTo>
                        <a:pt x="285" y="1047"/>
                      </a:lnTo>
                      <a:lnTo>
                        <a:pt x="348" y="1000"/>
                      </a:lnTo>
                      <a:lnTo>
                        <a:pt x="387" y="973"/>
                      </a:lnTo>
                      <a:lnTo>
                        <a:pt x="426" y="951"/>
                      </a:lnTo>
                      <a:lnTo>
                        <a:pt x="465" y="932"/>
                      </a:lnTo>
                      <a:lnTo>
                        <a:pt x="505" y="917"/>
                      </a:lnTo>
                      <a:lnTo>
                        <a:pt x="544" y="904"/>
                      </a:lnTo>
                      <a:lnTo>
                        <a:pt x="584" y="894"/>
                      </a:lnTo>
                      <a:lnTo>
                        <a:pt x="664" y="881"/>
                      </a:lnTo>
                      <a:lnTo>
                        <a:pt x="744" y="874"/>
                      </a:lnTo>
                      <a:lnTo>
                        <a:pt x="825" y="873"/>
                      </a:lnTo>
                      <a:lnTo>
                        <a:pt x="988" y="874"/>
                      </a:lnTo>
                      <a:lnTo>
                        <a:pt x="2794" y="875"/>
                      </a:lnTo>
                      <a:lnTo>
                        <a:pt x="2851" y="875"/>
                      </a:lnTo>
                      <a:lnTo>
                        <a:pt x="2874" y="877"/>
                      </a:lnTo>
                      <a:lnTo>
                        <a:pt x="2895" y="879"/>
                      </a:lnTo>
                      <a:lnTo>
                        <a:pt x="2913" y="883"/>
                      </a:lnTo>
                      <a:lnTo>
                        <a:pt x="2928" y="888"/>
                      </a:lnTo>
                      <a:lnTo>
                        <a:pt x="2935" y="891"/>
                      </a:lnTo>
                      <a:lnTo>
                        <a:pt x="2941" y="894"/>
                      </a:lnTo>
                      <a:lnTo>
                        <a:pt x="2946" y="898"/>
                      </a:lnTo>
                      <a:lnTo>
                        <a:pt x="2951" y="903"/>
                      </a:lnTo>
                      <a:lnTo>
                        <a:pt x="2956" y="908"/>
                      </a:lnTo>
                      <a:lnTo>
                        <a:pt x="2960" y="913"/>
                      </a:lnTo>
                      <a:lnTo>
                        <a:pt x="2964" y="919"/>
                      </a:lnTo>
                      <a:lnTo>
                        <a:pt x="2967" y="925"/>
                      </a:lnTo>
                      <a:lnTo>
                        <a:pt x="2972" y="940"/>
                      </a:lnTo>
                      <a:lnTo>
                        <a:pt x="2976" y="958"/>
                      </a:lnTo>
                      <a:lnTo>
                        <a:pt x="2978" y="978"/>
                      </a:lnTo>
                      <a:lnTo>
                        <a:pt x="2980" y="1001"/>
                      </a:lnTo>
                      <a:lnTo>
                        <a:pt x="2982" y="1058"/>
                      </a:lnTo>
                      <a:lnTo>
                        <a:pt x="2982" y="1580"/>
                      </a:lnTo>
                      <a:lnTo>
                        <a:pt x="2981" y="1623"/>
                      </a:lnTo>
                      <a:lnTo>
                        <a:pt x="2981" y="1645"/>
                      </a:lnTo>
                      <a:lnTo>
                        <a:pt x="2982" y="1667"/>
                      </a:lnTo>
                      <a:lnTo>
                        <a:pt x="2984" y="1688"/>
                      </a:lnTo>
                      <a:lnTo>
                        <a:pt x="2986" y="1698"/>
                      </a:lnTo>
                      <a:lnTo>
                        <a:pt x="2988" y="1708"/>
                      </a:lnTo>
                      <a:lnTo>
                        <a:pt x="2991" y="1718"/>
                      </a:lnTo>
                      <a:lnTo>
                        <a:pt x="2994" y="1727"/>
                      </a:lnTo>
                      <a:lnTo>
                        <a:pt x="2998" y="1736"/>
                      </a:lnTo>
                      <a:lnTo>
                        <a:pt x="3003" y="1744"/>
                      </a:lnTo>
                      <a:lnTo>
                        <a:pt x="3016" y="1764"/>
                      </a:lnTo>
                      <a:lnTo>
                        <a:pt x="3032" y="1784"/>
                      </a:lnTo>
                      <a:lnTo>
                        <a:pt x="3050" y="1802"/>
                      </a:lnTo>
                      <a:lnTo>
                        <a:pt x="3069" y="1820"/>
                      </a:lnTo>
                      <a:lnTo>
                        <a:pt x="3079" y="1828"/>
                      </a:lnTo>
                      <a:lnTo>
                        <a:pt x="3089" y="1835"/>
                      </a:lnTo>
                      <a:lnTo>
                        <a:pt x="3099" y="1841"/>
                      </a:lnTo>
                      <a:lnTo>
                        <a:pt x="3109" y="1847"/>
                      </a:lnTo>
                      <a:lnTo>
                        <a:pt x="3119" y="1851"/>
                      </a:lnTo>
                      <a:lnTo>
                        <a:pt x="3129" y="1854"/>
                      </a:lnTo>
                      <a:lnTo>
                        <a:pt x="3139" y="1857"/>
                      </a:lnTo>
                      <a:lnTo>
                        <a:pt x="3149" y="1857"/>
                      </a:lnTo>
                      <a:lnTo>
                        <a:pt x="3158" y="1857"/>
                      </a:lnTo>
                      <a:lnTo>
                        <a:pt x="3169" y="1855"/>
                      </a:lnTo>
                      <a:lnTo>
                        <a:pt x="3180" y="1852"/>
                      </a:lnTo>
                      <a:lnTo>
                        <a:pt x="3191" y="1847"/>
                      </a:lnTo>
                      <a:lnTo>
                        <a:pt x="3203" y="1842"/>
                      </a:lnTo>
                      <a:lnTo>
                        <a:pt x="3215" y="1836"/>
                      </a:lnTo>
                      <a:lnTo>
                        <a:pt x="3226" y="1829"/>
                      </a:lnTo>
                      <a:lnTo>
                        <a:pt x="3237" y="1821"/>
                      </a:lnTo>
                      <a:lnTo>
                        <a:pt x="3248" y="1813"/>
                      </a:lnTo>
                      <a:lnTo>
                        <a:pt x="3258" y="1804"/>
                      </a:lnTo>
                      <a:lnTo>
                        <a:pt x="3267" y="1795"/>
                      </a:lnTo>
                      <a:lnTo>
                        <a:pt x="3275" y="1786"/>
                      </a:lnTo>
                      <a:lnTo>
                        <a:pt x="3282" y="1776"/>
                      </a:lnTo>
                      <a:lnTo>
                        <a:pt x="3288" y="1767"/>
                      </a:lnTo>
                      <a:lnTo>
                        <a:pt x="3293" y="1758"/>
                      </a:lnTo>
                      <a:lnTo>
                        <a:pt x="3296" y="1748"/>
                      </a:lnTo>
                      <a:lnTo>
                        <a:pt x="3304" y="1704"/>
                      </a:lnTo>
                      <a:lnTo>
                        <a:pt x="3310" y="1659"/>
                      </a:lnTo>
                      <a:lnTo>
                        <a:pt x="3314" y="1614"/>
                      </a:lnTo>
                      <a:lnTo>
                        <a:pt x="3316" y="1569"/>
                      </a:lnTo>
                      <a:lnTo>
                        <a:pt x="3321" y="1386"/>
                      </a:lnTo>
                      <a:lnTo>
                        <a:pt x="3323" y="1209"/>
                      </a:lnTo>
                      <a:lnTo>
                        <a:pt x="3322" y="1120"/>
                      </a:lnTo>
                      <a:lnTo>
                        <a:pt x="3319" y="1033"/>
                      </a:lnTo>
                      <a:lnTo>
                        <a:pt x="3318" y="1013"/>
                      </a:lnTo>
                      <a:lnTo>
                        <a:pt x="3319" y="996"/>
                      </a:lnTo>
                      <a:lnTo>
                        <a:pt x="3321" y="979"/>
                      </a:lnTo>
                      <a:lnTo>
                        <a:pt x="3324" y="963"/>
                      </a:lnTo>
                      <a:lnTo>
                        <a:pt x="3328" y="949"/>
                      </a:lnTo>
                      <a:lnTo>
                        <a:pt x="3333" y="936"/>
                      </a:lnTo>
                      <a:lnTo>
                        <a:pt x="3339" y="924"/>
                      </a:lnTo>
                      <a:lnTo>
                        <a:pt x="3347" y="914"/>
                      </a:lnTo>
                      <a:lnTo>
                        <a:pt x="3356" y="904"/>
                      </a:lnTo>
                      <a:lnTo>
                        <a:pt x="3367" y="896"/>
                      </a:lnTo>
                      <a:lnTo>
                        <a:pt x="3379" y="890"/>
                      </a:lnTo>
                      <a:lnTo>
                        <a:pt x="3392" y="884"/>
                      </a:lnTo>
                      <a:lnTo>
                        <a:pt x="3407" y="880"/>
                      </a:lnTo>
                      <a:lnTo>
                        <a:pt x="3424" y="877"/>
                      </a:lnTo>
                      <a:lnTo>
                        <a:pt x="3442" y="875"/>
                      </a:lnTo>
                      <a:lnTo>
                        <a:pt x="3463" y="875"/>
                      </a:lnTo>
                      <a:lnTo>
                        <a:pt x="3483" y="876"/>
                      </a:lnTo>
                      <a:lnTo>
                        <a:pt x="3501" y="878"/>
                      </a:lnTo>
                      <a:lnTo>
                        <a:pt x="3517" y="882"/>
                      </a:lnTo>
                      <a:lnTo>
                        <a:pt x="3532" y="887"/>
                      </a:lnTo>
                      <a:lnTo>
                        <a:pt x="3546" y="893"/>
                      </a:lnTo>
                      <a:lnTo>
                        <a:pt x="3558" y="900"/>
                      </a:lnTo>
                      <a:lnTo>
                        <a:pt x="3568" y="909"/>
                      </a:lnTo>
                      <a:lnTo>
                        <a:pt x="3577" y="918"/>
                      </a:lnTo>
                      <a:lnTo>
                        <a:pt x="3585" y="929"/>
                      </a:lnTo>
                      <a:lnTo>
                        <a:pt x="3591" y="941"/>
                      </a:lnTo>
                      <a:lnTo>
                        <a:pt x="3596" y="955"/>
                      </a:lnTo>
                      <a:lnTo>
                        <a:pt x="3600" y="969"/>
                      </a:lnTo>
                      <a:lnTo>
                        <a:pt x="3603" y="984"/>
                      </a:lnTo>
                      <a:lnTo>
                        <a:pt x="3605" y="1001"/>
                      </a:lnTo>
                      <a:lnTo>
                        <a:pt x="3607" y="1037"/>
                      </a:lnTo>
                      <a:lnTo>
                        <a:pt x="3608" y="1588"/>
                      </a:lnTo>
                      <a:lnTo>
                        <a:pt x="3612" y="1665"/>
                      </a:lnTo>
                      <a:lnTo>
                        <a:pt x="3616" y="1698"/>
                      </a:lnTo>
                      <a:lnTo>
                        <a:pt x="3622" y="1728"/>
                      </a:lnTo>
                      <a:lnTo>
                        <a:pt x="3630" y="1754"/>
                      </a:lnTo>
                      <a:lnTo>
                        <a:pt x="3640" y="1777"/>
                      </a:lnTo>
                      <a:lnTo>
                        <a:pt x="3653" y="1797"/>
                      </a:lnTo>
                      <a:lnTo>
                        <a:pt x="3668" y="1815"/>
                      </a:lnTo>
                      <a:lnTo>
                        <a:pt x="3676" y="1822"/>
                      </a:lnTo>
                      <a:lnTo>
                        <a:pt x="3685" y="1829"/>
                      </a:lnTo>
                      <a:lnTo>
                        <a:pt x="3705" y="1842"/>
                      </a:lnTo>
                      <a:lnTo>
                        <a:pt x="3728" y="1852"/>
                      </a:lnTo>
                      <a:lnTo>
                        <a:pt x="3754" y="1859"/>
                      </a:lnTo>
                      <a:lnTo>
                        <a:pt x="3784" y="1865"/>
                      </a:lnTo>
                      <a:lnTo>
                        <a:pt x="3817" y="1869"/>
                      </a:lnTo>
                      <a:lnTo>
                        <a:pt x="3893" y="1872"/>
                      </a:lnTo>
                      <a:lnTo>
                        <a:pt x="5770" y="1876"/>
                      </a:lnTo>
                      <a:lnTo>
                        <a:pt x="5797" y="1876"/>
                      </a:lnTo>
                      <a:lnTo>
                        <a:pt x="5822" y="1874"/>
                      </a:lnTo>
                      <a:lnTo>
                        <a:pt x="5846" y="1871"/>
                      </a:lnTo>
                      <a:lnTo>
                        <a:pt x="5870" y="1866"/>
                      </a:lnTo>
                      <a:lnTo>
                        <a:pt x="5893" y="1860"/>
                      </a:lnTo>
                      <a:lnTo>
                        <a:pt x="5916" y="1853"/>
                      </a:lnTo>
                      <a:lnTo>
                        <a:pt x="5937" y="1844"/>
                      </a:lnTo>
                      <a:lnTo>
                        <a:pt x="5958" y="1835"/>
                      </a:lnTo>
                      <a:lnTo>
                        <a:pt x="5998" y="1813"/>
                      </a:lnTo>
                      <a:lnTo>
                        <a:pt x="6036" y="1787"/>
                      </a:lnTo>
                      <a:lnTo>
                        <a:pt x="6072" y="1758"/>
                      </a:lnTo>
                      <a:lnTo>
                        <a:pt x="6106" y="1726"/>
                      </a:lnTo>
                      <a:lnTo>
                        <a:pt x="7283" y="550"/>
                      </a:lnTo>
                      <a:lnTo>
                        <a:pt x="7529" y="301"/>
                      </a:lnTo>
                      <a:lnTo>
                        <a:pt x="7653" y="178"/>
                      </a:lnTo>
                      <a:lnTo>
                        <a:pt x="7780" y="58"/>
                      </a:lnTo>
                      <a:lnTo>
                        <a:pt x="7789" y="50"/>
                      </a:lnTo>
                      <a:lnTo>
                        <a:pt x="7799" y="43"/>
                      </a:lnTo>
                      <a:lnTo>
                        <a:pt x="7810" y="36"/>
                      </a:lnTo>
                      <a:lnTo>
                        <a:pt x="7822" y="30"/>
                      </a:lnTo>
                      <a:lnTo>
                        <a:pt x="7833" y="25"/>
                      </a:lnTo>
                      <a:lnTo>
                        <a:pt x="7846" y="20"/>
                      </a:lnTo>
                      <a:lnTo>
                        <a:pt x="7872" y="12"/>
                      </a:lnTo>
                      <a:lnTo>
                        <a:pt x="7898" y="6"/>
                      </a:lnTo>
                      <a:lnTo>
                        <a:pt x="7925" y="2"/>
                      </a:lnTo>
                      <a:lnTo>
                        <a:pt x="7952" y="0"/>
                      </a:lnTo>
                      <a:lnTo>
                        <a:pt x="7977" y="0"/>
                      </a:lnTo>
                      <a:lnTo>
                        <a:pt x="7979" y="0"/>
                      </a:lnTo>
                      <a:lnTo>
                        <a:pt x="7981" y="1"/>
                      </a:lnTo>
                      <a:lnTo>
                        <a:pt x="7984" y="2"/>
                      </a:lnTo>
                      <a:lnTo>
                        <a:pt x="7986" y="4"/>
                      </a:lnTo>
                      <a:lnTo>
                        <a:pt x="7991" y="9"/>
                      </a:lnTo>
                      <a:lnTo>
                        <a:pt x="7996" y="16"/>
                      </a:lnTo>
                      <a:lnTo>
                        <a:pt x="8001" y="24"/>
                      </a:lnTo>
                      <a:lnTo>
                        <a:pt x="8006" y="34"/>
                      </a:lnTo>
                      <a:lnTo>
                        <a:pt x="8015" y="55"/>
                      </a:lnTo>
                      <a:lnTo>
                        <a:pt x="8024" y="79"/>
                      </a:lnTo>
                      <a:lnTo>
                        <a:pt x="8030" y="104"/>
                      </a:lnTo>
                      <a:lnTo>
                        <a:pt x="8035" y="128"/>
                      </a:lnTo>
                      <a:lnTo>
                        <a:pt x="8037" y="139"/>
                      </a:lnTo>
                      <a:lnTo>
                        <a:pt x="8037" y="150"/>
                      </a:lnTo>
                      <a:lnTo>
                        <a:pt x="8039" y="2378"/>
                      </a:lnTo>
                      <a:lnTo>
                        <a:pt x="8038" y="2448"/>
                      </a:lnTo>
                      <a:lnTo>
                        <a:pt x="8036" y="2477"/>
                      </a:lnTo>
                      <a:lnTo>
                        <a:pt x="8034" y="2502"/>
                      </a:lnTo>
                      <a:lnTo>
                        <a:pt x="8029" y="2523"/>
                      </a:lnTo>
                      <a:lnTo>
                        <a:pt x="8023" y="2541"/>
                      </a:lnTo>
                      <a:lnTo>
                        <a:pt x="8020" y="2549"/>
                      </a:lnTo>
                      <a:lnTo>
                        <a:pt x="8015" y="2556"/>
                      </a:lnTo>
                      <a:lnTo>
                        <a:pt x="8010" y="2562"/>
                      </a:lnTo>
                      <a:lnTo>
                        <a:pt x="8005" y="2568"/>
                      </a:lnTo>
                      <a:lnTo>
                        <a:pt x="7999" y="2573"/>
                      </a:lnTo>
                      <a:lnTo>
                        <a:pt x="7992" y="2577"/>
                      </a:lnTo>
                      <a:lnTo>
                        <a:pt x="7985" y="2581"/>
                      </a:lnTo>
                      <a:lnTo>
                        <a:pt x="7977" y="2584"/>
                      </a:lnTo>
                      <a:lnTo>
                        <a:pt x="7958" y="2590"/>
                      </a:lnTo>
                      <a:lnTo>
                        <a:pt x="7937" y="2594"/>
                      </a:lnTo>
                      <a:lnTo>
                        <a:pt x="7882" y="2598"/>
                      </a:lnTo>
                      <a:lnTo>
                        <a:pt x="7811" y="2598"/>
                      </a:lnTo>
                      <a:lnTo>
                        <a:pt x="4016" y="2598"/>
                      </a:lnTo>
                      <a:lnTo>
                        <a:pt x="4016" y="260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3" name="Freeform 2"/>
                <p:cNvSpPr>
                  <a:spLocks noChangeArrowheads="1"/>
                </p:cNvSpPr>
                <p:nvPr/>
              </p:nvSpPr>
              <p:spPr bwMode="auto">
                <a:xfrm>
                  <a:off x="3751263" y="4262438"/>
                  <a:ext cx="2894012" cy="728662"/>
                </a:xfrm>
                <a:custGeom>
                  <a:avLst/>
                  <a:gdLst>
                    <a:gd name="T0" fmla="*/ 7867 w 8041"/>
                    <a:gd name="T1" fmla="*/ 3 h 2022"/>
                    <a:gd name="T2" fmla="*/ 7947 w 8041"/>
                    <a:gd name="T3" fmla="*/ 15 h 2022"/>
                    <a:gd name="T4" fmla="*/ 7983 w 8041"/>
                    <a:gd name="T5" fmla="*/ 31 h 2022"/>
                    <a:gd name="T6" fmla="*/ 8004 w 8041"/>
                    <a:gd name="T7" fmla="*/ 49 h 2022"/>
                    <a:gd name="T8" fmla="*/ 8018 w 8041"/>
                    <a:gd name="T9" fmla="*/ 73 h 2022"/>
                    <a:gd name="T10" fmla="*/ 8035 w 8041"/>
                    <a:gd name="T11" fmla="*/ 142 h 2022"/>
                    <a:gd name="T12" fmla="*/ 8040 w 8041"/>
                    <a:gd name="T13" fmla="*/ 1781 h 2022"/>
                    <a:gd name="T14" fmla="*/ 8022 w 8041"/>
                    <a:gd name="T15" fmla="*/ 1882 h 2022"/>
                    <a:gd name="T16" fmla="*/ 7974 w 8041"/>
                    <a:gd name="T17" fmla="*/ 1959 h 2022"/>
                    <a:gd name="T18" fmla="*/ 7904 w 8041"/>
                    <a:gd name="T19" fmla="*/ 2007 h 2022"/>
                    <a:gd name="T20" fmla="*/ 7818 w 8041"/>
                    <a:gd name="T21" fmla="*/ 2021 h 2022"/>
                    <a:gd name="T22" fmla="*/ 7725 w 8041"/>
                    <a:gd name="T23" fmla="*/ 1997 h 2022"/>
                    <a:gd name="T24" fmla="*/ 7681 w 8041"/>
                    <a:gd name="T25" fmla="*/ 1969 h 2022"/>
                    <a:gd name="T26" fmla="*/ 7667 w 8041"/>
                    <a:gd name="T27" fmla="*/ 1946 h 2022"/>
                    <a:gd name="T28" fmla="*/ 7650 w 8041"/>
                    <a:gd name="T29" fmla="*/ 1896 h 2022"/>
                    <a:gd name="T30" fmla="*/ 7643 w 8041"/>
                    <a:gd name="T31" fmla="*/ 1833 h 2022"/>
                    <a:gd name="T32" fmla="*/ 7635 w 8041"/>
                    <a:gd name="T33" fmla="*/ 593 h 2022"/>
                    <a:gd name="T34" fmla="*/ 7614 w 8041"/>
                    <a:gd name="T35" fmla="*/ 508 h 2022"/>
                    <a:gd name="T36" fmla="*/ 7596 w 8041"/>
                    <a:gd name="T37" fmla="*/ 478 h 2022"/>
                    <a:gd name="T38" fmla="*/ 7570 w 8041"/>
                    <a:gd name="T39" fmla="*/ 455 h 2022"/>
                    <a:gd name="T40" fmla="*/ 7525 w 8041"/>
                    <a:gd name="T41" fmla="*/ 434 h 2022"/>
                    <a:gd name="T42" fmla="*/ 7427 w 8041"/>
                    <a:gd name="T43" fmla="*/ 420 h 2022"/>
                    <a:gd name="T44" fmla="*/ 621 w 8041"/>
                    <a:gd name="T45" fmla="*/ 424 h 2022"/>
                    <a:gd name="T46" fmla="*/ 538 w 8041"/>
                    <a:gd name="T47" fmla="*/ 438 h 2022"/>
                    <a:gd name="T48" fmla="*/ 499 w 8041"/>
                    <a:gd name="T49" fmla="*/ 456 h 2022"/>
                    <a:gd name="T50" fmla="*/ 478 w 8041"/>
                    <a:gd name="T51" fmla="*/ 477 h 2022"/>
                    <a:gd name="T52" fmla="*/ 461 w 8041"/>
                    <a:gd name="T53" fmla="*/ 503 h 2022"/>
                    <a:gd name="T54" fmla="*/ 443 w 8041"/>
                    <a:gd name="T55" fmla="*/ 578 h 2022"/>
                    <a:gd name="T56" fmla="*/ 440 w 8041"/>
                    <a:gd name="T57" fmla="*/ 1830 h 2022"/>
                    <a:gd name="T58" fmla="*/ 435 w 8041"/>
                    <a:gd name="T59" fmla="*/ 1905 h 2022"/>
                    <a:gd name="T60" fmla="*/ 420 w 8041"/>
                    <a:gd name="T61" fmla="*/ 1948 h 2022"/>
                    <a:gd name="T62" fmla="*/ 392 w 8041"/>
                    <a:gd name="T63" fmla="*/ 1980 h 2022"/>
                    <a:gd name="T64" fmla="*/ 349 w 8041"/>
                    <a:gd name="T65" fmla="*/ 2000 h 2022"/>
                    <a:gd name="T66" fmla="*/ 285 w 8041"/>
                    <a:gd name="T67" fmla="*/ 2006 h 2022"/>
                    <a:gd name="T68" fmla="*/ 110 w 8041"/>
                    <a:gd name="T69" fmla="*/ 1997 h 2022"/>
                    <a:gd name="T70" fmla="*/ 52 w 8041"/>
                    <a:gd name="T71" fmla="*/ 1979 h 2022"/>
                    <a:gd name="T72" fmla="*/ 32 w 8041"/>
                    <a:gd name="T73" fmla="*/ 1964 h 2022"/>
                    <a:gd name="T74" fmla="*/ 19 w 8041"/>
                    <a:gd name="T75" fmla="*/ 1944 h 2022"/>
                    <a:gd name="T76" fmla="*/ 5 w 8041"/>
                    <a:gd name="T77" fmla="*/ 1888 h 2022"/>
                    <a:gd name="T78" fmla="*/ 3 w 8041"/>
                    <a:gd name="T79" fmla="*/ 156 h 2022"/>
                    <a:gd name="T80" fmla="*/ 17 w 8041"/>
                    <a:gd name="T81" fmla="*/ 88 h 2022"/>
                    <a:gd name="T82" fmla="*/ 40 w 8041"/>
                    <a:gd name="T83" fmla="*/ 49 h 2022"/>
                    <a:gd name="T84" fmla="*/ 76 w 8041"/>
                    <a:gd name="T85" fmla="*/ 23 h 2022"/>
                    <a:gd name="T86" fmla="*/ 136 w 8041"/>
                    <a:gd name="T87" fmla="*/ 5 h 2022"/>
                    <a:gd name="T88" fmla="*/ 4014 w 8041"/>
                    <a:gd name="T89" fmla="*/ 0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41" h="2022">
                      <a:moveTo>
                        <a:pt x="4014" y="1"/>
                      </a:moveTo>
                      <a:lnTo>
                        <a:pt x="7795" y="1"/>
                      </a:lnTo>
                      <a:lnTo>
                        <a:pt x="7867" y="3"/>
                      </a:lnTo>
                      <a:lnTo>
                        <a:pt x="7897" y="5"/>
                      </a:lnTo>
                      <a:lnTo>
                        <a:pt x="7924" y="9"/>
                      </a:lnTo>
                      <a:lnTo>
                        <a:pt x="7947" y="15"/>
                      </a:lnTo>
                      <a:lnTo>
                        <a:pt x="7966" y="22"/>
                      </a:lnTo>
                      <a:lnTo>
                        <a:pt x="7975" y="26"/>
                      </a:lnTo>
                      <a:lnTo>
                        <a:pt x="7983" y="31"/>
                      </a:lnTo>
                      <a:lnTo>
                        <a:pt x="7991" y="36"/>
                      </a:lnTo>
                      <a:lnTo>
                        <a:pt x="7997" y="43"/>
                      </a:lnTo>
                      <a:lnTo>
                        <a:pt x="8004" y="49"/>
                      </a:lnTo>
                      <a:lnTo>
                        <a:pt x="8009" y="57"/>
                      </a:lnTo>
                      <a:lnTo>
                        <a:pt x="8014" y="65"/>
                      </a:lnTo>
                      <a:lnTo>
                        <a:pt x="8018" y="73"/>
                      </a:lnTo>
                      <a:lnTo>
                        <a:pt x="8026" y="93"/>
                      </a:lnTo>
                      <a:lnTo>
                        <a:pt x="8031" y="116"/>
                      </a:lnTo>
                      <a:lnTo>
                        <a:pt x="8035" y="142"/>
                      </a:lnTo>
                      <a:lnTo>
                        <a:pt x="8037" y="172"/>
                      </a:lnTo>
                      <a:lnTo>
                        <a:pt x="8039" y="243"/>
                      </a:lnTo>
                      <a:lnTo>
                        <a:pt x="8040" y="1781"/>
                      </a:lnTo>
                      <a:lnTo>
                        <a:pt x="8038" y="1817"/>
                      </a:lnTo>
                      <a:lnTo>
                        <a:pt x="8032" y="1851"/>
                      </a:lnTo>
                      <a:lnTo>
                        <a:pt x="8022" y="1882"/>
                      </a:lnTo>
                      <a:lnTo>
                        <a:pt x="8009" y="1911"/>
                      </a:lnTo>
                      <a:lnTo>
                        <a:pt x="7993" y="1936"/>
                      </a:lnTo>
                      <a:lnTo>
                        <a:pt x="7974" y="1959"/>
                      </a:lnTo>
                      <a:lnTo>
                        <a:pt x="7953" y="1978"/>
                      </a:lnTo>
                      <a:lnTo>
                        <a:pt x="7929" y="1994"/>
                      </a:lnTo>
                      <a:lnTo>
                        <a:pt x="7904" y="2007"/>
                      </a:lnTo>
                      <a:lnTo>
                        <a:pt x="7876" y="2015"/>
                      </a:lnTo>
                      <a:lnTo>
                        <a:pt x="7848" y="2020"/>
                      </a:lnTo>
                      <a:lnTo>
                        <a:pt x="7818" y="2021"/>
                      </a:lnTo>
                      <a:lnTo>
                        <a:pt x="7787" y="2017"/>
                      </a:lnTo>
                      <a:lnTo>
                        <a:pt x="7756" y="2009"/>
                      </a:lnTo>
                      <a:lnTo>
                        <a:pt x="7725" y="1997"/>
                      </a:lnTo>
                      <a:lnTo>
                        <a:pt x="7693" y="1979"/>
                      </a:lnTo>
                      <a:lnTo>
                        <a:pt x="7687" y="1975"/>
                      </a:lnTo>
                      <a:lnTo>
                        <a:pt x="7681" y="1969"/>
                      </a:lnTo>
                      <a:lnTo>
                        <a:pt x="7676" y="1962"/>
                      </a:lnTo>
                      <a:lnTo>
                        <a:pt x="7671" y="1954"/>
                      </a:lnTo>
                      <a:lnTo>
                        <a:pt x="7667" y="1946"/>
                      </a:lnTo>
                      <a:lnTo>
                        <a:pt x="7662" y="1937"/>
                      </a:lnTo>
                      <a:lnTo>
                        <a:pt x="7655" y="1917"/>
                      </a:lnTo>
                      <a:lnTo>
                        <a:pt x="7650" y="1896"/>
                      </a:lnTo>
                      <a:lnTo>
                        <a:pt x="7646" y="1874"/>
                      </a:lnTo>
                      <a:lnTo>
                        <a:pt x="7644" y="1853"/>
                      </a:lnTo>
                      <a:lnTo>
                        <a:pt x="7643" y="1833"/>
                      </a:lnTo>
                      <a:lnTo>
                        <a:pt x="7640" y="718"/>
                      </a:lnTo>
                      <a:lnTo>
                        <a:pt x="7638" y="630"/>
                      </a:lnTo>
                      <a:lnTo>
                        <a:pt x="7635" y="593"/>
                      </a:lnTo>
                      <a:lnTo>
                        <a:pt x="7630" y="560"/>
                      </a:lnTo>
                      <a:lnTo>
                        <a:pt x="7623" y="532"/>
                      </a:lnTo>
                      <a:lnTo>
                        <a:pt x="7614" y="508"/>
                      </a:lnTo>
                      <a:lnTo>
                        <a:pt x="7609" y="497"/>
                      </a:lnTo>
                      <a:lnTo>
                        <a:pt x="7602" y="487"/>
                      </a:lnTo>
                      <a:lnTo>
                        <a:pt x="7596" y="478"/>
                      </a:lnTo>
                      <a:lnTo>
                        <a:pt x="7588" y="469"/>
                      </a:lnTo>
                      <a:lnTo>
                        <a:pt x="7580" y="462"/>
                      </a:lnTo>
                      <a:lnTo>
                        <a:pt x="7570" y="455"/>
                      </a:lnTo>
                      <a:lnTo>
                        <a:pt x="7560" y="449"/>
                      </a:lnTo>
                      <a:lnTo>
                        <a:pt x="7550" y="443"/>
                      </a:lnTo>
                      <a:lnTo>
                        <a:pt x="7525" y="434"/>
                      </a:lnTo>
                      <a:lnTo>
                        <a:pt x="7497" y="427"/>
                      </a:lnTo>
                      <a:lnTo>
                        <a:pt x="7464" y="423"/>
                      </a:lnTo>
                      <a:lnTo>
                        <a:pt x="7427" y="420"/>
                      </a:lnTo>
                      <a:lnTo>
                        <a:pt x="7339" y="417"/>
                      </a:lnTo>
                      <a:lnTo>
                        <a:pt x="695" y="421"/>
                      </a:lnTo>
                      <a:lnTo>
                        <a:pt x="621" y="424"/>
                      </a:lnTo>
                      <a:lnTo>
                        <a:pt x="589" y="427"/>
                      </a:lnTo>
                      <a:lnTo>
                        <a:pt x="562" y="431"/>
                      </a:lnTo>
                      <a:lnTo>
                        <a:pt x="538" y="438"/>
                      </a:lnTo>
                      <a:lnTo>
                        <a:pt x="517" y="446"/>
                      </a:lnTo>
                      <a:lnTo>
                        <a:pt x="508" y="451"/>
                      </a:lnTo>
                      <a:lnTo>
                        <a:pt x="499" y="456"/>
                      </a:lnTo>
                      <a:lnTo>
                        <a:pt x="491" y="462"/>
                      </a:lnTo>
                      <a:lnTo>
                        <a:pt x="484" y="469"/>
                      </a:lnTo>
                      <a:lnTo>
                        <a:pt x="478" y="477"/>
                      </a:lnTo>
                      <a:lnTo>
                        <a:pt x="472" y="485"/>
                      </a:lnTo>
                      <a:lnTo>
                        <a:pt x="466" y="494"/>
                      </a:lnTo>
                      <a:lnTo>
                        <a:pt x="461" y="503"/>
                      </a:lnTo>
                      <a:lnTo>
                        <a:pt x="453" y="525"/>
                      </a:lnTo>
                      <a:lnTo>
                        <a:pt x="447" y="550"/>
                      </a:lnTo>
                      <a:lnTo>
                        <a:pt x="443" y="578"/>
                      </a:lnTo>
                      <a:lnTo>
                        <a:pt x="440" y="611"/>
                      </a:lnTo>
                      <a:lnTo>
                        <a:pt x="438" y="687"/>
                      </a:lnTo>
                      <a:lnTo>
                        <a:pt x="440" y="1830"/>
                      </a:lnTo>
                      <a:lnTo>
                        <a:pt x="439" y="1870"/>
                      </a:lnTo>
                      <a:lnTo>
                        <a:pt x="437" y="1888"/>
                      </a:lnTo>
                      <a:lnTo>
                        <a:pt x="435" y="1905"/>
                      </a:lnTo>
                      <a:lnTo>
                        <a:pt x="431" y="1920"/>
                      </a:lnTo>
                      <a:lnTo>
                        <a:pt x="426" y="1935"/>
                      </a:lnTo>
                      <a:lnTo>
                        <a:pt x="420" y="1948"/>
                      </a:lnTo>
                      <a:lnTo>
                        <a:pt x="412" y="1960"/>
                      </a:lnTo>
                      <a:lnTo>
                        <a:pt x="403" y="1971"/>
                      </a:lnTo>
                      <a:lnTo>
                        <a:pt x="392" y="1980"/>
                      </a:lnTo>
                      <a:lnTo>
                        <a:pt x="380" y="1988"/>
                      </a:lnTo>
                      <a:lnTo>
                        <a:pt x="365" y="1995"/>
                      </a:lnTo>
                      <a:lnTo>
                        <a:pt x="349" y="2000"/>
                      </a:lnTo>
                      <a:lnTo>
                        <a:pt x="330" y="2004"/>
                      </a:lnTo>
                      <a:lnTo>
                        <a:pt x="308" y="2006"/>
                      </a:lnTo>
                      <a:lnTo>
                        <a:pt x="285" y="2006"/>
                      </a:lnTo>
                      <a:lnTo>
                        <a:pt x="202" y="2005"/>
                      </a:lnTo>
                      <a:lnTo>
                        <a:pt x="137" y="2000"/>
                      </a:lnTo>
                      <a:lnTo>
                        <a:pt x="110" y="1997"/>
                      </a:lnTo>
                      <a:lnTo>
                        <a:pt x="87" y="1992"/>
                      </a:lnTo>
                      <a:lnTo>
                        <a:pt x="68" y="1986"/>
                      </a:lnTo>
                      <a:lnTo>
                        <a:pt x="52" y="1979"/>
                      </a:lnTo>
                      <a:lnTo>
                        <a:pt x="44" y="1974"/>
                      </a:lnTo>
                      <a:lnTo>
                        <a:pt x="38" y="1969"/>
                      </a:lnTo>
                      <a:lnTo>
                        <a:pt x="32" y="1964"/>
                      </a:lnTo>
                      <a:lnTo>
                        <a:pt x="27" y="1958"/>
                      </a:lnTo>
                      <a:lnTo>
                        <a:pt x="23" y="1951"/>
                      </a:lnTo>
                      <a:lnTo>
                        <a:pt x="19" y="1944"/>
                      </a:lnTo>
                      <a:lnTo>
                        <a:pt x="13" y="1928"/>
                      </a:lnTo>
                      <a:lnTo>
                        <a:pt x="8" y="1910"/>
                      </a:lnTo>
                      <a:lnTo>
                        <a:pt x="5" y="1888"/>
                      </a:lnTo>
                      <a:lnTo>
                        <a:pt x="3" y="1836"/>
                      </a:lnTo>
                      <a:lnTo>
                        <a:pt x="0" y="214"/>
                      </a:lnTo>
                      <a:lnTo>
                        <a:pt x="3" y="156"/>
                      </a:lnTo>
                      <a:lnTo>
                        <a:pt x="6" y="130"/>
                      </a:lnTo>
                      <a:lnTo>
                        <a:pt x="11" y="108"/>
                      </a:lnTo>
                      <a:lnTo>
                        <a:pt x="17" y="88"/>
                      </a:lnTo>
                      <a:lnTo>
                        <a:pt x="25" y="71"/>
                      </a:lnTo>
                      <a:lnTo>
                        <a:pt x="35" y="56"/>
                      </a:lnTo>
                      <a:lnTo>
                        <a:pt x="40" y="49"/>
                      </a:lnTo>
                      <a:lnTo>
                        <a:pt x="46" y="43"/>
                      </a:lnTo>
                      <a:lnTo>
                        <a:pt x="60" y="32"/>
                      </a:lnTo>
                      <a:lnTo>
                        <a:pt x="76" y="23"/>
                      </a:lnTo>
                      <a:lnTo>
                        <a:pt x="94" y="15"/>
                      </a:lnTo>
                      <a:lnTo>
                        <a:pt x="114" y="10"/>
                      </a:lnTo>
                      <a:lnTo>
                        <a:pt x="136" y="5"/>
                      </a:lnTo>
                      <a:lnTo>
                        <a:pt x="162" y="3"/>
                      </a:lnTo>
                      <a:lnTo>
                        <a:pt x="220" y="0"/>
                      </a:lnTo>
                      <a:lnTo>
                        <a:pt x="4014" y="0"/>
                      </a:lnTo>
                      <a:lnTo>
                        <a:pt x="4014" y="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4" name="Freeform 3"/>
                <p:cNvSpPr>
                  <a:spLocks noChangeArrowheads="1"/>
                </p:cNvSpPr>
                <p:nvPr/>
              </p:nvSpPr>
              <p:spPr bwMode="auto">
                <a:xfrm>
                  <a:off x="3757613" y="1992313"/>
                  <a:ext cx="1492250" cy="1119187"/>
                </a:xfrm>
                <a:custGeom>
                  <a:avLst/>
                  <a:gdLst>
                    <a:gd name="T0" fmla="*/ 458 w 4145"/>
                    <a:gd name="T1" fmla="*/ 3102 h 3111"/>
                    <a:gd name="T2" fmla="*/ 333 w 4145"/>
                    <a:gd name="T3" fmla="*/ 3068 h 3111"/>
                    <a:gd name="T4" fmla="*/ 211 w 4145"/>
                    <a:gd name="T5" fmla="*/ 3001 h 3111"/>
                    <a:gd name="T6" fmla="*/ 106 w 4145"/>
                    <a:gd name="T7" fmla="*/ 2909 h 3111"/>
                    <a:gd name="T8" fmla="*/ 33 w 4145"/>
                    <a:gd name="T9" fmla="*/ 2801 h 3111"/>
                    <a:gd name="T10" fmla="*/ 4 w 4145"/>
                    <a:gd name="T11" fmla="*/ 2685 h 3111"/>
                    <a:gd name="T12" fmla="*/ 12 w 4145"/>
                    <a:gd name="T13" fmla="*/ 341 h 3111"/>
                    <a:gd name="T14" fmla="*/ 68 w 4145"/>
                    <a:gd name="T15" fmla="*/ 231 h 3111"/>
                    <a:gd name="T16" fmla="*/ 157 w 4145"/>
                    <a:gd name="T17" fmla="*/ 134 h 3111"/>
                    <a:gd name="T18" fmla="*/ 268 w 4145"/>
                    <a:gd name="T19" fmla="*/ 58 h 3111"/>
                    <a:gd name="T20" fmla="*/ 388 w 4145"/>
                    <a:gd name="T21" fmla="*/ 13 h 3111"/>
                    <a:gd name="T22" fmla="*/ 2752 w 4145"/>
                    <a:gd name="T23" fmla="*/ 0 h 3111"/>
                    <a:gd name="T24" fmla="*/ 3669 w 4145"/>
                    <a:gd name="T25" fmla="*/ 12 h 3111"/>
                    <a:gd name="T26" fmla="*/ 3765 w 4145"/>
                    <a:gd name="T27" fmla="*/ 43 h 3111"/>
                    <a:gd name="T28" fmla="*/ 3848 w 4145"/>
                    <a:gd name="T29" fmla="*/ 95 h 3111"/>
                    <a:gd name="T30" fmla="*/ 3921 w 4145"/>
                    <a:gd name="T31" fmla="*/ 165 h 3111"/>
                    <a:gd name="T32" fmla="*/ 4021 w 4145"/>
                    <a:gd name="T33" fmla="*/ 310 h 3111"/>
                    <a:gd name="T34" fmla="*/ 4103 w 4145"/>
                    <a:gd name="T35" fmla="*/ 508 h 3111"/>
                    <a:gd name="T36" fmla="*/ 4138 w 4145"/>
                    <a:gd name="T37" fmla="*/ 708 h 3111"/>
                    <a:gd name="T38" fmla="*/ 4130 w 4145"/>
                    <a:gd name="T39" fmla="*/ 1250 h 3111"/>
                    <a:gd name="T40" fmla="*/ 4142 w 4145"/>
                    <a:gd name="T41" fmla="*/ 1935 h 3111"/>
                    <a:gd name="T42" fmla="*/ 4118 w 4145"/>
                    <a:gd name="T43" fmla="*/ 2539 h 3111"/>
                    <a:gd name="T44" fmla="*/ 4072 w 4145"/>
                    <a:gd name="T45" fmla="*/ 2706 h 3111"/>
                    <a:gd name="T46" fmla="*/ 3984 w 4145"/>
                    <a:gd name="T47" fmla="*/ 2865 h 3111"/>
                    <a:gd name="T48" fmla="*/ 3857 w 4145"/>
                    <a:gd name="T49" fmla="*/ 2997 h 3111"/>
                    <a:gd name="T50" fmla="*/ 3696 w 4145"/>
                    <a:gd name="T51" fmla="*/ 3085 h 3111"/>
                    <a:gd name="T52" fmla="*/ 3503 w 4145"/>
                    <a:gd name="T53" fmla="*/ 3110 h 3111"/>
                    <a:gd name="T54" fmla="*/ 2022 w 4145"/>
                    <a:gd name="T55" fmla="*/ 3103 h 3111"/>
                    <a:gd name="T56" fmla="*/ 2028 w 4145"/>
                    <a:gd name="T57" fmla="*/ 2839 h 3111"/>
                    <a:gd name="T58" fmla="*/ 3548 w 4145"/>
                    <a:gd name="T59" fmla="*/ 2835 h 3111"/>
                    <a:gd name="T60" fmla="*/ 3623 w 4145"/>
                    <a:gd name="T61" fmla="*/ 2819 h 3111"/>
                    <a:gd name="T62" fmla="*/ 3689 w 4145"/>
                    <a:gd name="T63" fmla="*/ 2788 h 3111"/>
                    <a:gd name="T64" fmla="*/ 3744 w 4145"/>
                    <a:gd name="T65" fmla="*/ 2738 h 3111"/>
                    <a:gd name="T66" fmla="*/ 3786 w 4145"/>
                    <a:gd name="T67" fmla="*/ 2666 h 3111"/>
                    <a:gd name="T68" fmla="*/ 3824 w 4145"/>
                    <a:gd name="T69" fmla="*/ 2554 h 3111"/>
                    <a:gd name="T70" fmla="*/ 3847 w 4145"/>
                    <a:gd name="T71" fmla="*/ 2437 h 3111"/>
                    <a:gd name="T72" fmla="*/ 3860 w 4145"/>
                    <a:gd name="T73" fmla="*/ 1472 h 3111"/>
                    <a:gd name="T74" fmla="*/ 3849 w 4145"/>
                    <a:gd name="T75" fmla="*/ 628 h 3111"/>
                    <a:gd name="T76" fmla="*/ 3828 w 4145"/>
                    <a:gd name="T77" fmla="*/ 509 h 3111"/>
                    <a:gd name="T78" fmla="*/ 3780 w 4145"/>
                    <a:gd name="T79" fmla="*/ 411 h 3111"/>
                    <a:gd name="T80" fmla="*/ 3707 w 4145"/>
                    <a:gd name="T81" fmla="*/ 338 h 3111"/>
                    <a:gd name="T82" fmla="*/ 3613 w 4145"/>
                    <a:gd name="T83" fmla="*/ 289 h 3111"/>
                    <a:gd name="T84" fmla="*/ 3499 w 4145"/>
                    <a:gd name="T85" fmla="*/ 266 h 3111"/>
                    <a:gd name="T86" fmla="*/ 569 w 4145"/>
                    <a:gd name="T87" fmla="*/ 268 h 3111"/>
                    <a:gd name="T88" fmla="*/ 462 w 4145"/>
                    <a:gd name="T89" fmla="*/ 290 h 3111"/>
                    <a:gd name="T90" fmla="*/ 378 w 4145"/>
                    <a:gd name="T91" fmla="*/ 337 h 3111"/>
                    <a:gd name="T92" fmla="*/ 316 w 4145"/>
                    <a:gd name="T93" fmla="*/ 408 h 3111"/>
                    <a:gd name="T94" fmla="*/ 278 w 4145"/>
                    <a:gd name="T95" fmla="*/ 503 h 3111"/>
                    <a:gd name="T96" fmla="*/ 266 w 4145"/>
                    <a:gd name="T97" fmla="*/ 621 h 3111"/>
                    <a:gd name="T98" fmla="*/ 267 w 4145"/>
                    <a:gd name="T99" fmla="*/ 2583 h 3111"/>
                    <a:gd name="T100" fmla="*/ 291 w 4145"/>
                    <a:gd name="T101" fmla="*/ 2686 h 3111"/>
                    <a:gd name="T102" fmla="*/ 338 w 4145"/>
                    <a:gd name="T103" fmla="*/ 2759 h 3111"/>
                    <a:gd name="T104" fmla="*/ 411 w 4145"/>
                    <a:gd name="T105" fmla="*/ 2806 h 3111"/>
                    <a:gd name="T106" fmla="*/ 516 w 4145"/>
                    <a:gd name="T107" fmla="*/ 2829 h 3111"/>
                    <a:gd name="T108" fmla="*/ 2028 w 4145"/>
                    <a:gd name="T109" fmla="*/ 2835 h 3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45" h="3111">
                      <a:moveTo>
                        <a:pt x="2022" y="3105"/>
                      </a:moveTo>
                      <a:lnTo>
                        <a:pt x="498" y="3105"/>
                      </a:lnTo>
                      <a:lnTo>
                        <a:pt x="458" y="3102"/>
                      </a:lnTo>
                      <a:lnTo>
                        <a:pt x="416" y="3095"/>
                      </a:lnTo>
                      <a:lnTo>
                        <a:pt x="375" y="3083"/>
                      </a:lnTo>
                      <a:lnTo>
                        <a:pt x="333" y="3068"/>
                      </a:lnTo>
                      <a:lnTo>
                        <a:pt x="291" y="3049"/>
                      </a:lnTo>
                      <a:lnTo>
                        <a:pt x="250" y="3026"/>
                      </a:lnTo>
                      <a:lnTo>
                        <a:pt x="211" y="3001"/>
                      </a:lnTo>
                      <a:lnTo>
                        <a:pt x="173" y="2972"/>
                      </a:lnTo>
                      <a:lnTo>
                        <a:pt x="139" y="2942"/>
                      </a:lnTo>
                      <a:lnTo>
                        <a:pt x="106" y="2909"/>
                      </a:lnTo>
                      <a:lnTo>
                        <a:pt x="78" y="2874"/>
                      </a:lnTo>
                      <a:lnTo>
                        <a:pt x="53" y="2838"/>
                      </a:lnTo>
                      <a:lnTo>
                        <a:pt x="33" y="2801"/>
                      </a:lnTo>
                      <a:lnTo>
                        <a:pt x="18" y="2762"/>
                      </a:lnTo>
                      <a:lnTo>
                        <a:pt x="8" y="2724"/>
                      </a:lnTo>
                      <a:lnTo>
                        <a:pt x="4" y="2685"/>
                      </a:lnTo>
                      <a:lnTo>
                        <a:pt x="0" y="417"/>
                      </a:lnTo>
                      <a:lnTo>
                        <a:pt x="3" y="379"/>
                      </a:lnTo>
                      <a:lnTo>
                        <a:pt x="12" y="341"/>
                      </a:lnTo>
                      <a:lnTo>
                        <a:pt x="26" y="303"/>
                      </a:lnTo>
                      <a:lnTo>
                        <a:pt x="45" y="266"/>
                      </a:lnTo>
                      <a:lnTo>
                        <a:pt x="68" y="231"/>
                      </a:lnTo>
                      <a:lnTo>
                        <a:pt x="94" y="196"/>
                      </a:lnTo>
                      <a:lnTo>
                        <a:pt x="124" y="164"/>
                      </a:lnTo>
                      <a:lnTo>
                        <a:pt x="157" y="134"/>
                      </a:lnTo>
                      <a:lnTo>
                        <a:pt x="192" y="106"/>
                      </a:lnTo>
                      <a:lnTo>
                        <a:pt x="229" y="80"/>
                      </a:lnTo>
                      <a:lnTo>
                        <a:pt x="268" y="58"/>
                      </a:lnTo>
                      <a:lnTo>
                        <a:pt x="307" y="39"/>
                      </a:lnTo>
                      <a:lnTo>
                        <a:pt x="348" y="24"/>
                      </a:lnTo>
                      <a:lnTo>
                        <a:pt x="388" y="13"/>
                      </a:lnTo>
                      <a:lnTo>
                        <a:pt x="428" y="5"/>
                      </a:lnTo>
                      <a:lnTo>
                        <a:pt x="468" y="3"/>
                      </a:lnTo>
                      <a:lnTo>
                        <a:pt x="2752" y="0"/>
                      </a:lnTo>
                      <a:lnTo>
                        <a:pt x="3598" y="5"/>
                      </a:lnTo>
                      <a:lnTo>
                        <a:pt x="3634" y="7"/>
                      </a:lnTo>
                      <a:lnTo>
                        <a:pt x="3669" y="12"/>
                      </a:lnTo>
                      <a:lnTo>
                        <a:pt x="3703" y="20"/>
                      </a:lnTo>
                      <a:lnTo>
                        <a:pt x="3735" y="30"/>
                      </a:lnTo>
                      <a:lnTo>
                        <a:pt x="3765" y="43"/>
                      </a:lnTo>
                      <a:lnTo>
                        <a:pt x="3794" y="59"/>
                      </a:lnTo>
                      <a:lnTo>
                        <a:pt x="3822" y="76"/>
                      </a:lnTo>
                      <a:lnTo>
                        <a:pt x="3848" y="95"/>
                      </a:lnTo>
                      <a:lnTo>
                        <a:pt x="3874" y="117"/>
                      </a:lnTo>
                      <a:lnTo>
                        <a:pt x="3898" y="140"/>
                      </a:lnTo>
                      <a:lnTo>
                        <a:pt x="3921" y="165"/>
                      </a:lnTo>
                      <a:lnTo>
                        <a:pt x="3943" y="191"/>
                      </a:lnTo>
                      <a:lnTo>
                        <a:pt x="3984" y="248"/>
                      </a:lnTo>
                      <a:lnTo>
                        <a:pt x="4021" y="310"/>
                      </a:lnTo>
                      <a:lnTo>
                        <a:pt x="4055" y="375"/>
                      </a:lnTo>
                      <a:lnTo>
                        <a:pt x="4082" y="441"/>
                      </a:lnTo>
                      <a:lnTo>
                        <a:pt x="4103" y="508"/>
                      </a:lnTo>
                      <a:lnTo>
                        <a:pt x="4119" y="574"/>
                      </a:lnTo>
                      <a:lnTo>
                        <a:pt x="4131" y="641"/>
                      </a:lnTo>
                      <a:lnTo>
                        <a:pt x="4138" y="708"/>
                      </a:lnTo>
                      <a:lnTo>
                        <a:pt x="4144" y="844"/>
                      </a:lnTo>
                      <a:lnTo>
                        <a:pt x="4134" y="1115"/>
                      </a:lnTo>
                      <a:lnTo>
                        <a:pt x="4130" y="1250"/>
                      </a:lnTo>
                      <a:lnTo>
                        <a:pt x="4131" y="1385"/>
                      </a:lnTo>
                      <a:lnTo>
                        <a:pt x="4141" y="1660"/>
                      </a:lnTo>
                      <a:lnTo>
                        <a:pt x="4142" y="1935"/>
                      </a:lnTo>
                      <a:lnTo>
                        <a:pt x="4136" y="2210"/>
                      </a:lnTo>
                      <a:lnTo>
                        <a:pt x="4123" y="2485"/>
                      </a:lnTo>
                      <a:lnTo>
                        <a:pt x="4118" y="2539"/>
                      </a:lnTo>
                      <a:lnTo>
                        <a:pt x="4107" y="2595"/>
                      </a:lnTo>
                      <a:lnTo>
                        <a:pt x="4092" y="2651"/>
                      </a:lnTo>
                      <a:lnTo>
                        <a:pt x="4072" y="2706"/>
                      </a:lnTo>
                      <a:lnTo>
                        <a:pt x="4047" y="2761"/>
                      </a:lnTo>
                      <a:lnTo>
                        <a:pt x="4018" y="2814"/>
                      </a:lnTo>
                      <a:lnTo>
                        <a:pt x="3984" y="2865"/>
                      </a:lnTo>
                      <a:lnTo>
                        <a:pt x="3946" y="2913"/>
                      </a:lnTo>
                      <a:lnTo>
                        <a:pt x="3904" y="2957"/>
                      </a:lnTo>
                      <a:lnTo>
                        <a:pt x="3857" y="2997"/>
                      </a:lnTo>
                      <a:lnTo>
                        <a:pt x="3807" y="3032"/>
                      </a:lnTo>
                      <a:lnTo>
                        <a:pt x="3753" y="3062"/>
                      </a:lnTo>
                      <a:lnTo>
                        <a:pt x="3696" y="3085"/>
                      </a:lnTo>
                      <a:lnTo>
                        <a:pt x="3635" y="3101"/>
                      </a:lnTo>
                      <a:lnTo>
                        <a:pt x="3570" y="3109"/>
                      </a:lnTo>
                      <a:lnTo>
                        <a:pt x="3503" y="3110"/>
                      </a:lnTo>
                      <a:lnTo>
                        <a:pt x="3133" y="3096"/>
                      </a:lnTo>
                      <a:lnTo>
                        <a:pt x="2762" y="3095"/>
                      </a:lnTo>
                      <a:lnTo>
                        <a:pt x="2022" y="3103"/>
                      </a:lnTo>
                      <a:lnTo>
                        <a:pt x="2022" y="3105"/>
                      </a:lnTo>
                      <a:close/>
                      <a:moveTo>
                        <a:pt x="2028" y="2835"/>
                      </a:moveTo>
                      <a:lnTo>
                        <a:pt x="2028" y="2839"/>
                      </a:lnTo>
                      <a:lnTo>
                        <a:pt x="3438" y="2841"/>
                      </a:lnTo>
                      <a:lnTo>
                        <a:pt x="3494" y="2840"/>
                      </a:lnTo>
                      <a:lnTo>
                        <a:pt x="3548" y="2835"/>
                      </a:lnTo>
                      <a:lnTo>
                        <a:pt x="3574" y="2831"/>
                      </a:lnTo>
                      <a:lnTo>
                        <a:pt x="3599" y="2826"/>
                      </a:lnTo>
                      <a:lnTo>
                        <a:pt x="3623" y="2819"/>
                      </a:lnTo>
                      <a:lnTo>
                        <a:pt x="3646" y="2811"/>
                      </a:lnTo>
                      <a:lnTo>
                        <a:pt x="3668" y="2800"/>
                      </a:lnTo>
                      <a:lnTo>
                        <a:pt x="3689" y="2788"/>
                      </a:lnTo>
                      <a:lnTo>
                        <a:pt x="3709" y="2774"/>
                      </a:lnTo>
                      <a:lnTo>
                        <a:pt x="3727" y="2757"/>
                      </a:lnTo>
                      <a:lnTo>
                        <a:pt x="3744" y="2738"/>
                      </a:lnTo>
                      <a:lnTo>
                        <a:pt x="3760" y="2717"/>
                      </a:lnTo>
                      <a:lnTo>
                        <a:pt x="3774" y="2693"/>
                      </a:lnTo>
                      <a:lnTo>
                        <a:pt x="3786" y="2666"/>
                      </a:lnTo>
                      <a:lnTo>
                        <a:pt x="3800" y="2629"/>
                      </a:lnTo>
                      <a:lnTo>
                        <a:pt x="3813" y="2592"/>
                      </a:lnTo>
                      <a:lnTo>
                        <a:pt x="3824" y="2554"/>
                      </a:lnTo>
                      <a:lnTo>
                        <a:pt x="3833" y="2515"/>
                      </a:lnTo>
                      <a:lnTo>
                        <a:pt x="3841" y="2476"/>
                      </a:lnTo>
                      <a:lnTo>
                        <a:pt x="3847" y="2437"/>
                      </a:lnTo>
                      <a:lnTo>
                        <a:pt x="3851" y="2398"/>
                      </a:lnTo>
                      <a:lnTo>
                        <a:pt x="3853" y="2360"/>
                      </a:lnTo>
                      <a:lnTo>
                        <a:pt x="3860" y="1472"/>
                      </a:lnTo>
                      <a:lnTo>
                        <a:pt x="3861" y="1050"/>
                      </a:lnTo>
                      <a:lnTo>
                        <a:pt x="3858" y="839"/>
                      </a:lnTo>
                      <a:lnTo>
                        <a:pt x="3849" y="628"/>
                      </a:lnTo>
                      <a:lnTo>
                        <a:pt x="3845" y="586"/>
                      </a:lnTo>
                      <a:lnTo>
                        <a:pt x="3838" y="546"/>
                      </a:lnTo>
                      <a:lnTo>
                        <a:pt x="3828" y="509"/>
                      </a:lnTo>
                      <a:lnTo>
                        <a:pt x="3815" y="474"/>
                      </a:lnTo>
                      <a:lnTo>
                        <a:pt x="3799" y="441"/>
                      </a:lnTo>
                      <a:lnTo>
                        <a:pt x="3780" y="411"/>
                      </a:lnTo>
                      <a:lnTo>
                        <a:pt x="3758" y="384"/>
                      </a:lnTo>
                      <a:lnTo>
                        <a:pt x="3734" y="360"/>
                      </a:lnTo>
                      <a:lnTo>
                        <a:pt x="3707" y="338"/>
                      </a:lnTo>
                      <a:lnTo>
                        <a:pt x="3678" y="319"/>
                      </a:lnTo>
                      <a:lnTo>
                        <a:pt x="3646" y="302"/>
                      </a:lnTo>
                      <a:lnTo>
                        <a:pt x="3613" y="289"/>
                      </a:lnTo>
                      <a:lnTo>
                        <a:pt x="3577" y="279"/>
                      </a:lnTo>
                      <a:lnTo>
                        <a:pt x="3539" y="271"/>
                      </a:lnTo>
                      <a:lnTo>
                        <a:pt x="3499" y="266"/>
                      </a:lnTo>
                      <a:lnTo>
                        <a:pt x="3458" y="265"/>
                      </a:lnTo>
                      <a:lnTo>
                        <a:pt x="610" y="267"/>
                      </a:lnTo>
                      <a:lnTo>
                        <a:pt x="569" y="268"/>
                      </a:lnTo>
                      <a:lnTo>
                        <a:pt x="531" y="273"/>
                      </a:lnTo>
                      <a:lnTo>
                        <a:pt x="496" y="280"/>
                      </a:lnTo>
                      <a:lnTo>
                        <a:pt x="462" y="290"/>
                      </a:lnTo>
                      <a:lnTo>
                        <a:pt x="432" y="303"/>
                      </a:lnTo>
                      <a:lnTo>
                        <a:pt x="403" y="318"/>
                      </a:lnTo>
                      <a:lnTo>
                        <a:pt x="378" y="337"/>
                      </a:lnTo>
                      <a:lnTo>
                        <a:pt x="354" y="358"/>
                      </a:lnTo>
                      <a:lnTo>
                        <a:pt x="334" y="382"/>
                      </a:lnTo>
                      <a:lnTo>
                        <a:pt x="316" y="408"/>
                      </a:lnTo>
                      <a:lnTo>
                        <a:pt x="301" y="437"/>
                      </a:lnTo>
                      <a:lnTo>
                        <a:pt x="288" y="469"/>
                      </a:lnTo>
                      <a:lnTo>
                        <a:pt x="278" y="503"/>
                      </a:lnTo>
                      <a:lnTo>
                        <a:pt x="271" y="540"/>
                      </a:lnTo>
                      <a:lnTo>
                        <a:pt x="267" y="579"/>
                      </a:lnTo>
                      <a:lnTo>
                        <a:pt x="266" y="621"/>
                      </a:lnTo>
                      <a:lnTo>
                        <a:pt x="263" y="2496"/>
                      </a:lnTo>
                      <a:lnTo>
                        <a:pt x="264" y="2541"/>
                      </a:lnTo>
                      <a:lnTo>
                        <a:pt x="267" y="2583"/>
                      </a:lnTo>
                      <a:lnTo>
                        <a:pt x="273" y="2620"/>
                      </a:lnTo>
                      <a:lnTo>
                        <a:pt x="280" y="2655"/>
                      </a:lnTo>
                      <a:lnTo>
                        <a:pt x="291" y="2686"/>
                      </a:lnTo>
                      <a:lnTo>
                        <a:pt x="304" y="2713"/>
                      </a:lnTo>
                      <a:lnTo>
                        <a:pt x="319" y="2737"/>
                      </a:lnTo>
                      <a:lnTo>
                        <a:pt x="338" y="2759"/>
                      </a:lnTo>
                      <a:lnTo>
                        <a:pt x="359" y="2777"/>
                      </a:lnTo>
                      <a:lnTo>
                        <a:pt x="384" y="2793"/>
                      </a:lnTo>
                      <a:lnTo>
                        <a:pt x="411" y="2806"/>
                      </a:lnTo>
                      <a:lnTo>
                        <a:pt x="443" y="2816"/>
                      </a:lnTo>
                      <a:lnTo>
                        <a:pt x="477" y="2824"/>
                      </a:lnTo>
                      <a:lnTo>
                        <a:pt x="516" y="2829"/>
                      </a:lnTo>
                      <a:lnTo>
                        <a:pt x="558" y="2832"/>
                      </a:lnTo>
                      <a:lnTo>
                        <a:pt x="604" y="2834"/>
                      </a:lnTo>
                      <a:lnTo>
                        <a:pt x="2028" y="283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5" name="Freeform 4"/>
                <p:cNvSpPr>
                  <a:spLocks noChangeArrowheads="1"/>
                </p:cNvSpPr>
                <p:nvPr/>
              </p:nvSpPr>
              <p:spPr bwMode="auto">
                <a:xfrm>
                  <a:off x="5181600" y="3009900"/>
                  <a:ext cx="1247775" cy="712788"/>
                </a:xfrm>
                <a:custGeom>
                  <a:avLst/>
                  <a:gdLst>
                    <a:gd name="T0" fmla="*/ 238 w 3467"/>
                    <a:gd name="T1" fmla="*/ 1973 h 1980"/>
                    <a:gd name="T2" fmla="*/ 179 w 3467"/>
                    <a:gd name="T3" fmla="*/ 1969 h 1980"/>
                    <a:gd name="T4" fmla="*/ 129 w 3467"/>
                    <a:gd name="T5" fmla="*/ 1958 h 1980"/>
                    <a:gd name="T6" fmla="*/ 89 w 3467"/>
                    <a:gd name="T7" fmla="*/ 1941 h 1980"/>
                    <a:gd name="T8" fmla="*/ 57 w 3467"/>
                    <a:gd name="T9" fmla="*/ 1916 h 1980"/>
                    <a:gd name="T10" fmla="*/ 32 w 3467"/>
                    <a:gd name="T11" fmla="*/ 1883 h 1980"/>
                    <a:gd name="T12" fmla="*/ 16 w 3467"/>
                    <a:gd name="T13" fmla="*/ 1841 h 1980"/>
                    <a:gd name="T14" fmla="*/ 5 w 3467"/>
                    <a:gd name="T15" fmla="*/ 1791 h 1980"/>
                    <a:gd name="T16" fmla="*/ 1 w 3467"/>
                    <a:gd name="T17" fmla="*/ 1731 h 1980"/>
                    <a:gd name="T18" fmla="*/ 4 w 3467"/>
                    <a:gd name="T19" fmla="*/ 1510 h 1980"/>
                    <a:gd name="T20" fmla="*/ 17 w 3467"/>
                    <a:gd name="T21" fmla="*/ 1443 h 1980"/>
                    <a:gd name="T22" fmla="*/ 28 w 3467"/>
                    <a:gd name="T23" fmla="*/ 1418 h 1980"/>
                    <a:gd name="T24" fmla="*/ 43 w 3467"/>
                    <a:gd name="T25" fmla="*/ 1398 h 1980"/>
                    <a:gd name="T26" fmla="*/ 63 w 3467"/>
                    <a:gd name="T27" fmla="*/ 1382 h 1980"/>
                    <a:gd name="T28" fmla="*/ 88 w 3467"/>
                    <a:gd name="T29" fmla="*/ 1371 h 1980"/>
                    <a:gd name="T30" fmla="*/ 155 w 3467"/>
                    <a:gd name="T31" fmla="*/ 1357 h 1980"/>
                    <a:gd name="T32" fmla="*/ 372 w 3467"/>
                    <a:gd name="T33" fmla="*/ 1353 h 1980"/>
                    <a:gd name="T34" fmla="*/ 796 w 3467"/>
                    <a:gd name="T35" fmla="*/ 1350 h 1980"/>
                    <a:gd name="T36" fmla="*/ 1001 w 3467"/>
                    <a:gd name="T37" fmla="*/ 1359 h 1980"/>
                    <a:gd name="T38" fmla="*/ 1091 w 3467"/>
                    <a:gd name="T39" fmla="*/ 1351 h 1980"/>
                    <a:gd name="T40" fmla="*/ 1148 w 3467"/>
                    <a:gd name="T41" fmla="*/ 1339 h 1980"/>
                    <a:gd name="T42" fmla="*/ 1203 w 3467"/>
                    <a:gd name="T43" fmla="*/ 1321 h 1980"/>
                    <a:gd name="T44" fmla="*/ 1255 w 3467"/>
                    <a:gd name="T45" fmla="*/ 1295 h 1980"/>
                    <a:gd name="T46" fmla="*/ 1306 w 3467"/>
                    <a:gd name="T47" fmla="*/ 1262 h 1980"/>
                    <a:gd name="T48" fmla="*/ 1354 w 3467"/>
                    <a:gd name="T49" fmla="*/ 1222 h 1980"/>
                    <a:gd name="T50" fmla="*/ 2183 w 3467"/>
                    <a:gd name="T51" fmla="*/ 379 h 1980"/>
                    <a:gd name="T52" fmla="*/ 2388 w 3467"/>
                    <a:gd name="T53" fmla="*/ 199 h 1980"/>
                    <a:gd name="T54" fmla="*/ 2497 w 3467"/>
                    <a:gd name="T55" fmla="*/ 127 h 1980"/>
                    <a:gd name="T56" fmla="*/ 2611 w 3467"/>
                    <a:gd name="T57" fmla="*/ 68 h 1980"/>
                    <a:gd name="T58" fmla="*/ 2731 w 3467"/>
                    <a:gd name="T59" fmla="*/ 26 h 1980"/>
                    <a:gd name="T60" fmla="*/ 2858 w 3467"/>
                    <a:gd name="T61" fmla="*/ 4 h 1980"/>
                    <a:gd name="T62" fmla="*/ 2992 w 3467"/>
                    <a:gd name="T63" fmla="*/ 2 h 1980"/>
                    <a:gd name="T64" fmla="*/ 3134 w 3467"/>
                    <a:gd name="T65" fmla="*/ 25 h 1980"/>
                    <a:gd name="T66" fmla="*/ 3219 w 3467"/>
                    <a:gd name="T67" fmla="*/ 51 h 1980"/>
                    <a:gd name="T68" fmla="*/ 3301 w 3467"/>
                    <a:gd name="T69" fmla="*/ 90 h 1980"/>
                    <a:gd name="T70" fmla="*/ 3379 w 3467"/>
                    <a:gd name="T71" fmla="*/ 138 h 1980"/>
                    <a:gd name="T72" fmla="*/ 3450 w 3467"/>
                    <a:gd name="T73" fmla="*/ 192 h 1980"/>
                    <a:gd name="T74" fmla="*/ 3455 w 3467"/>
                    <a:gd name="T75" fmla="*/ 198 h 1980"/>
                    <a:gd name="T76" fmla="*/ 3459 w 3467"/>
                    <a:gd name="T77" fmla="*/ 206 h 1980"/>
                    <a:gd name="T78" fmla="*/ 3464 w 3467"/>
                    <a:gd name="T79" fmla="*/ 228 h 1980"/>
                    <a:gd name="T80" fmla="*/ 3466 w 3467"/>
                    <a:gd name="T81" fmla="*/ 256 h 1980"/>
                    <a:gd name="T82" fmla="*/ 3463 w 3467"/>
                    <a:gd name="T83" fmla="*/ 287 h 1980"/>
                    <a:gd name="T84" fmla="*/ 3454 w 3467"/>
                    <a:gd name="T85" fmla="*/ 335 h 1980"/>
                    <a:gd name="T86" fmla="*/ 3444 w 3467"/>
                    <a:gd name="T87" fmla="*/ 363 h 1980"/>
                    <a:gd name="T88" fmla="*/ 3431 w 3467"/>
                    <a:gd name="T89" fmla="*/ 387 h 1980"/>
                    <a:gd name="T90" fmla="*/ 1966 w 3467"/>
                    <a:gd name="T91" fmla="*/ 1851 h 1980"/>
                    <a:gd name="T92" fmla="*/ 1934 w 3467"/>
                    <a:gd name="T93" fmla="*/ 1877 h 1980"/>
                    <a:gd name="T94" fmla="*/ 1898 w 3467"/>
                    <a:gd name="T95" fmla="*/ 1899 h 1980"/>
                    <a:gd name="T96" fmla="*/ 1814 w 3467"/>
                    <a:gd name="T97" fmla="*/ 1935 h 1980"/>
                    <a:gd name="T98" fmla="*/ 1723 w 3467"/>
                    <a:gd name="T99" fmla="*/ 1958 h 1980"/>
                    <a:gd name="T100" fmla="*/ 1634 w 3467"/>
                    <a:gd name="T101" fmla="*/ 1970 h 1980"/>
                    <a:gd name="T102" fmla="*/ 1297 w 3467"/>
                    <a:gd name="T103" fmla="*/ 1979 h 1980"/>
                    <a:gd name="T104" fmla="*/ 957 w 3467"/>
                    <a:gd name="T105" fmla="*/ 1974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7" h="1980">
                      <a:moveTo>
                        <a:pt x="957" y="1974"/>
                      </a:moveTo>
                      <a:lnTo>
                        <a:pt x="238" y="1973"/>
                      </a:lnTo>
                      <a:lnTo>
                        <a:pt x="207" y="1971"/>
                      </a:lnTo>
                      <a:lnTo>
                        <a:pt x="179" y="1969"/>
                      </a:lnTo>
                      <a:lnTo>
                        <a:pt x="153" y="1964"/>
                      </a:lnTo>
                      <a:lnTo>
                        <a:pt x="129" y="1958"/>
                      </a:lnTo>
                      <a:lnTo>
                        <a:pt x="108" y="1950"/>
                      </a:lnTo>
                      <a:lnTo>
                        <a:pt x="89" y="1941"/>
                      </a:lnTo>
                      <a:lnTo>
                        <a:pt x="72" y="1929"/>
                      </a:lnTo>
                      <a:lnTo>
                        <a:pt x="57" y="1916"/>
                      </a:lnTo>
                      <a:lnTo>
                        <a:pt x="44" y="1900"/>
                      </a:lnTo>
                      <a:lnTo>
                        <a:pt x="32" y="1883"/>
                      </a:lnTo>
                      <a:lnTo>
                        <a:pt x="23" y="1863"/>
                      </a:lnTo>
                      <a:lnTo>
                        <a:pt x="16" y="1841"/>
                      </a:lnTo>
                      <a:lnTo>
                        <a:pt x="10" y="1817"/>
                      </a:lnTo>
                      <a:lnTo>
                        <a:pt x="5" y="1791"/>
                      </a:lnTo>
                      <a:lnTo>
                        <a:pt x="3" y="1762"/>
                      </a:lnTo>
                      <a:lnTo>
                        <a:pt x="1" y="1731"/>
                      </a:lnTo>
                      <a:lnTo>
                        <a:pt x="0" y="1605"/>
                      </a:lnTo>
                      <a:lnTo>
                        <a:pt x="4" y="1510"/>
                      </a:lnTo>
                      <a:lnTo>
                        <a:pt x="9" y="1474"/>
                      </a:lnTo>
                      <a:lnTo>
                        <a:pt x="17" y="1443"/>
                      </a:lnTo>
                      <a:lnTo>
                        <a:pt x="22" y="1430"/>
                      </a:lnTo>
                      <a:lnTo>
                        <a:pt x="28" y="1418"/>
                      </a:lnTo>
                      <a:lnTo>
                        <a:pt x="35" y="1407"/>
                      </a:lnTo>
                      <a:lnTo>
                        <a:pt x="43" y="1398"/>
                      </a:lnTo>
                      <a:lnTo>
                        <a:pt x="53" y="1390"/>
                      </a:lnTo>
                      <a:lnTo>
                        <a:pt x="63" y="1382"/>
                      </a:lnTo>
                      <a:lnTo>
                        <a:pt x="75" y="1376"/>
                      </a:lnTo>
                      <a:lnTo>
                        <a:pt x="88" y="1371"/>
                      </a:lnTo>
                      <a:lnTo>
                        <a:pt x="118" y="1363"/>
                      </a:lnTo>
                      <a:lnTo>
                        <a:pt x="155" y="1357"/>
                      </a:lnTo>
                      <a:lnTo>
                        <a:pt x="248" y="1353"/>
                      </a:lnTo>
                      <a:lnTo>
                        <a:pt x="372" y="1353"/>
                      </a:lnTo>
                      <a:lnTo>
                        <a:pt x="655" y="1350"/>
                      </a:lnTo>
                      <a:lnTo>
                        <a:pt x="796" y="1350"/>
                      </a:lnTo>
                      <a:lnTo>
                        <a:pt x="936" y="1357"/>
                      </a:lnTo>
                      <a:lnTo>
                        <a:pt x="1001" y="1359"/>
                      </a:lnTo>
                      <a:lnTo>
                        <a:pt x="1062" y="1355"/>
                      </a:lnTo>
                      <a:lnTo>
                        <a:pt x="1091" y="1351"/>
                      </a:lnTo>
                      <a:lnTo>
                        <a:pt x="1120" y="1346"/>
                      </a:lnTo>
                      <a:lnTo>
                        <a:pt x="1148" y="1339"/>
                      </a:lnTo>
                      <a:lnTo>
                        <a:pt x="1176" y="1331"/>
                      </a:lnTo>
                      <a:lnTo>
                        <a:pt x="1203" y="1321"/>
                      </a:lnTo>
                      <a:lnTo>
                        <a:pt x="1230" y="1309"/>
                      </a:lnTo>
                      <a:lnTo>
                        <a:pt x="1255" y="1295"/>
                      </a:lnTo>
                      <a:lnTo>
                        <a:pt x="1281" y="1280"/>
                      </a:lnTo>
                      <a:lnTo>
                        <a:pt x="1306" y="1262"/>
                      </a:lnTo>
                      <a:lnTo>
                        <a:pt x="1330" y="1243"/>
                      </a:lnTo>
                      <a:lnTo>
                        <a:pt x="1354" y="1222"/>
                      </a:lnTo>
                      <a:lnTo>
                        <a:pt x="1377" y="1199"/>
                      </a:lnTo>
                      <a:lnTo>
                        <a:pt x="2183" y="379"/>
                      </a:lnTo>
                      <a:lnTo>
                        <a:pt x="2283" y="284"/>
                      </a:lnTo>
                      <a:lnTo>
                        <a:pt x="2388" y="199"/>
                      </a:lnTo>
                      <a:lnTo>
                        <a:pt x="2441" y="161"/>
                      </a:lnTo>
                      <a:lnTo>
                        <a:pt x="2497" y="127"/>
                      </a:lnTo>
                      <a:lnTo>
                        <a:pt x="2553" y="95"/>
                      </a:lnTo>
                      <a:lnTo>
                        <a:pt x="2611" y="68"/>
                      </a:lnTo>
                      <a:lnTo>
                        <a:pt x="2670" y="45"/>
                      </a:lnTo>
                      <a:lnTo>
                        <a:pt x="2731" y="26"/>
                      </a:lnTo>
                      <a:lnTo>
                        <a:pt x="2794" y="13"/>
                      </a:lnTo>
                      <a:lnTo>
                        <a:pt x="2858" y="4"/>
                      </a:lnTo>
                      <a:lnTo>
                        <a:pt x="2924" y="0"/>
                      </a:lnTo>
                      <a:lnTo>
                        <a:pt x="2992" y="2"/>
                      </a:lnTo>
                      <a:lnTo>
                        <a:pt x="3062" y="10"/>
                      </a:lnTo>
                      <a:lnTo>
                        <a:pt x="3134" y="25"/>
                      </a:lnTo>
                      <a:lnTo>
                        <a:pt x="3177" y="36"/>
                      </a:lnTo>
                      <a:lnTo>
                        <a:pt x="3219" y="51"/>
                      </a:lnTo>
                      <a:lnTo>
                        <a:pt x="3260" y="69"/>
                      </a:lnTo>
                      <a:lnTo>
                        <a:pt x="3301" y="90"/>
                      </a:lnTo>
                      <a:lnTo>
                        <a:pt x="3341" y="113"/>
                      </a:lnTo>
                      <a:lnTo>
                        <a:pt x="3379" y="138"/>
                      </a:lnTo>
                      <a:lnTo>
                        <a:pt x="3415" y="164"/>
                      </a:lnTo>
                      <a:lnTo>
                        <a:pt x="3450" y="192"/>
                      </a:lnTo>
                      <a:lnTo>
                        <a:pt x="3453" y="194"/>
                      </a:lnTo>
                      <a:lnTo>
                        <a:pt x="3455" y="198"/>
                      </a:lnTo>
                      <a:lnTo>
                        <a:pt x="3457" y="201"/>
                      </a:lnTo>
                      <a:lnTo>
                        <a:pt x="3459" y="206"/>
                      </a:lnTo>
                      <a:lnTo>
                        <a:pt x="3462" y="216"/>
                      </a:lnTo>
                      <a:lnTo>
                        <a:pt x="3464" y="228"/>
                      </a:lnTo>
                      <a:lnTo>
                        <a:pt x="3466" y="242"/>
                      </a:lnTo>
                      <a:lnTo>
                        <a:pt x="3466" y="256"/>
                      </a:lnTo>
                      <a:lnTo>
                        <a:pt x="3465" y="271"/>
                      </a:lnTo>
                      <a:lnTo>
                        <a:pt x="3463" y="287"/>
                      </a:lnTo>
                      <a:lnTo>
                        <a:pt x="3458" y="319"/>
                      </a:lnTo>
                      <a:lnTo>
                        <a:pt x="3454" y="335"/>
                      </a:lnTo>
                      <a:lnTo>
                        <a:pt x="3449" y="350"/>
                      </a:lnTo>
                      <a:lnTo>
                        <a:pt x="3444" y="363"/>
                      </a:lnTo>
                      <a:lnTo>
                        <a:pt x="3438" y="376"/>
                      </a:lnTo>
                      <a:lnTo>
                        <a:pt x="3431" y="387"/>
                      </a:lnTo>
                      <a:lnTo>
                        <a:pt x="3424" y="396"/>
                      </a:lnTo>
                      <a:lnTo>
                        <a:pt x="1966" y="1851"/>
                      </a:lnTo>
                      <a:lnTo>
                        <a:pt x="1951" y="1864"/>
                      </a:lnTo>
                      <a:lnTo>
                        <a:pt x="1934" y="1877"/>
                      </a:lnTo>
                      <a:lnTo>
                        <a:pt x="1917" y="1889"/>
                      </a:lnTo>
                      <a:lnTo>
                        <a:pt x="1898" y="1899"/>
                      </a:lnTo>
                      <a:lnTo>
                        <a:pt x="1857" y="1919"/>
                      </a:lnTo>
                      <a:lnTo>
                        <a:pt x="1814" y="1935"/>
                      </a:lnTo>
                      <a:lnTo>
                        <a:pt x="1769" y="1948"/>
                      </a:lnTo>
                      <a:lnTo>
                        <a:pt x="1723" y="1958"/>
                      </a:lnTo>
                      <a:lnTo>
                        <a:pt x="1678" y="1965"/>
                      </a:lnTo>
                      <a:lnTo>
                        <a:pt x="1634" y="1970"/>
                      </a:lnTo>
                      <a:lnTo>
                        <a:pt x="1466" y="1978"/>
                      </a:lnTo>
                      <a:lnTo>
                        <a:pt x="1297" y="1979"/>
                      </a:lnTo>
                      <a:lnTo>
                        <a:pt x="957" y="1975"/>
                      </a:lnTo>
                      <a:lnTo>
                        <a:pt x="957" y="19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6" name="Freeform 5"/>
                <p:cNvSpPr>
                  <a:spLocks noChangeArrowheads="1"/>
                </p:cNvSpPr>
                <p:nvPr/>
              </p:nvSpPr>
              <p:spPr bwMode="auto">
                <a:xfrm>
                  <a:off x="6816725" y="2930525"/>
                  <a:ext cx="150813" cy="2049463"/>
                </a:xfrm>
                <a:custGeom>
                  <a:avLst/>
                  <a:gdLst>
                    <a:gd name="T0" fmla="*/ 3 w 417"/>
                    <a:gd name="T1" fmla="*/ 268 h 5695"/>
                    <a:gd name="T2" fmla="*/ 6 w 417"/>
                    <a:gd name="T3" fmla="*/ 217 h 5695"/>
                    <a:gd name="T4" fmla="*/ 16 w 417"/>
                    <a:gd name="T5" fmla="*/ 165 h 5695"/>
                    <a:gd name="T6" fmla="*/ 33 w 417"/>
                    <a:gd name="T7" fmla="*/ 116 h 5695"/>
                    <a:gd name="T8" fmla="*/ 45 w 417"/>
                    <a:gd name="T9" fmla="*/ 95 h 5695"/>
                    <a:gd name="T10" fmla="*/ 58 w 417"/>
                    <a:gd name="T11" fmla="*/ 76 h 5695"/>
                    <a:gd name="T12" fmla="*/ 75 w 417"/>
                    <a:gd name="T13" fmla="*/ 59 h 5695"/>
                    <a:gd name="T14" fmla="*/ 96 w 417"/>
                    <a:gd name="T15" fmla="*/ 44 h 5695"/>
                    <a:gd name="T16" fmla="*/ 143 w 417"/>
                    <a:gd name="T17" fmla="*/ 17 h 5695"/>
                    <a:gd name="T18" fmla="*/ 168 w 417"/>
                    <a:gd name="T19" fmla="*/ 8 h 5695"/>
                    <a:gd name="T20" fmla="*/ 193 w 417"/>
                    <a:gd name="T21" fmla="*/ 2 h 5695"/>
                    <a:gd name="T22" fmla="*/ 215 w 417"/>
                    <a:gd name="T23" fmla="*/ 0 h 5695"/>
                    <a:gd name="T24" fmla="*/ 235 w 417"/>
                    <a:gd name="T25" fmla="*/ 3 h 5695"/>
                    <a:gd name="T26" fmla="*/ 274 w 417"/>
                    <a:gd name="T27" fmla="*/ 18 h 5695"/>
                    <a:gd name="T28" fmla="*/ 309 w 417"/>
                    <a:gd name="T29" fmla="*/ 37 h 5695"/>
                    <a:gd name="T30" fmla="*/ 340 w 417"/>
                    <a:gd name="T31" fmla="*/ 60 h 5695"/>
                    <a:gd name="T32" fmla="*/ 366 w 417"/>
                    <a:gd name="T33" fmla="*/ 88 h 5695"/>
                    <a:gd name="T34" fmla="*/ 388 w 417"/>
                    <a:gd name="T35" fmla="*/ 121 h 5695"/>
                    <a:gd name="T36" fmla="*/ 403 w 417"/>
                    <a:gd name="T37" fmla="*/ 159 h 5695"/>
                    <a:gd name="T38" fmla="*/ 413 w 417"/>
                    <a:gd name="T39" fmla="*/ 203 h 5695"/>
                    <a:gd name="T40" fmla="*/ 416 w 417"/>
                    <a:gd name="T41" fmla="*/ 253 h 5695"/>
                    <a:gd name="T42" fmla="*/ 410 w 417"/>
                    <a:gd name="T43" fmla="*/ 5500 h 5695"/>
                    <a:gd name="T44" fmla="*/ 405 w 417"/>
                    <a:gd name="T45" fmla="*/ 5554 h 5695"/>
                    <a:gd name="T46" fmla="*/ 392 w 417"/>
                    <a:gd name="T47" fmla="*/ 5611 h 5695"/>
                    <a:gd name="T48" fmla="*/ 378 w 417"/>
                    <a:gd name="T49" fmla="*/ 5648 h 5695"/>
                    <a:gd name="T50" fmla="*/ 368 w 417"/>
                    <a:gd name="T51" fmla="*/ 5666 h 5695"/>
                    <a:gd name="T52" fmla="*/ 359 w 417"/>
                    <a:gd name="T53" fmla="*/ 5675 h 5695"/>
                    <a:gd name="T54" fmla="*/ 353 w 417"/>
                    <a:gd name="T55" fmla="*/ 5679 h 5695"/>
                    <a:gd name="T56" fmla="*/ 314 w 417"/>
                    <a:gd name="T57" fmla="*/ 5687 h 5695"/>
                    <a:gd name="T58" fmla="*/ 238 w 417"/>
                    <a:gd name="T59" fmla="*/ 5694 h 5695"/>
                    <a:gd name="T60" fmla="*/ 161 w 417"/>
                    <a:gd name="T61" fmla="*/ 5692 h 5695"/>
                    <a:gd name="T62" fmla="*/ 85 w 417"/>
                    <a:gd name="T63" fmla="*/ 5682 h 5695"/>
                    <a:gd name="T64" fmla="*/ 46 w 417"/>
                    <a:gd name="T65" fmla="*/ 5674 h 5695"/>
                    <a:gd name="T66" fmla="*/ 41 w 417"/>
                    <a:gd name="T67" fmla="*/ 5671 h 5695"/>
                    <a:gd name="T68" fmla="*/ 34 w 417"/>
                    <a:gd name="T69" fmla="*/ 5663 h 5695"/>
                    <a:gd name="T70" fmla="*/ 26 w 417"/>
                    <a:gd name="T71" fmla="*/ 5647 h 5695"/>
                    <a:gd name="T72" fmla="*/ 15 w 417"/>
                    <a:gd name="T73" fmla="*/ 5614 h 5695"/>
                    <a:gd name="T74" fmla="*/ 6 w 417"/>
                    <a:gd name="T75" fmla="*/ 5562 h 5695"/>
                    <a:gd name="T76" fmla="*/ 2 w 417"/>
                    <a:gd name="T77" fmla="*/ 5514 h 5695"/>
                    <a:gd name="T78" fmla="*/ 0 w 417"/>
                    <a:gd name="T79" fmla="*/ 2876 h 5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7" h="5695">
                      <a:moveTo>
                        <a:pt x="1" y="2876"/>
                      </a:moveTo>
                      <a:lnTo>
                        <a:pt x="3" y="268"/>
                      </a:lnTo>
                      <a:lnTo>
                        <a:pt x="4" y="243"/>
                      </a:lnTo>
                      <a:lnTo>
                        <a:pt x="6" y="217"/>
                      </a:lnTo>
                      <a:lnTo>
                        <a:pt x="10" y="191"/>
                      </a:lnTo>
                      <a:lnTo>
                        <a:pt x="16" y="165"/>
                      </a:lnTo>
                      <a:lnTo>
                        <a:pt x="24" y="140"/>
                      </a:lnTo>
                      <a:lnTo>
                        <a:pt x="33" y="116"/>
                      </a:lnTo>
                      <a:lnTo>
                        <a:pt x="39" y="105"/>
                      </a:lnTo>
                      <a:lnTo>
                        <a:pt x="45" y="95"/>
                      </a:lnTo>
                      <a:lnTo>
                        <a:pt x="51" y="85"/>
                      </a:lnTo>
                      <a:lnTo>
                        <a:pt x="58" y="76"/>
                      </a:lnTo>
                      <a:lnTo>
                        <a:pt x="66" y="67"/>
                      </a:lnTo>
                      <a:lnTo>
                        <a:pt x="75" y="59"/>
                      </a:lnTo>
                      <a:lnTo>
                        <a:pt x="85" y="51"/>
                      </a:lnTo>
                      <a:lnTo>
                        <a:pt x="96" y="44"/>
                      </a:lnTo>
                      <a:lnTo>
                        <a:pt x="119" y="29"/>
                      </a:lnTo>
                      <a:lnTo>
                        <a:pt x="143" y="17"/>
                      </a:lnTo>
                      <a:lnTo>
                        <a:pt x="156" y="12"/>
                      </a:lnTo>
                      <a:lnTo>
                        <a:pt x="168" y="8"/>
                      </a:lnTo>
                      <a:lnTo>
                        <a:pt x="181" y="4"/>
                      </a:lnTo>
                      <a:lnTo>
                        <a:pt x="193" y="2"/>
                      </a:lnTo>
                      <a:lnTo>
                        <a:pt x="204" y="0"/>
                      </a:lnTo>
                      <a:lnTo>
                        <a:pt x="215" y="0"/>
                      </a:lnTo>
                      <a:lnTo>
                        <a:pt x="226" y="1"/>
                      </a:lnTo>
                      <a:lnTo>
                        <a:pt x="235" y="3"/>
                      </a:lnTo>
                      <a:lnTo>
                        <a:pt x="255" y="10"/>
                      </a:lnTo>
                      <a:lnTo>
                        <a:pt x="274" y="18"/>
                      </a:lnTo>
                      <a:lnTo>
                        <a:pt x="292" y="27"/>
                      </a:lnTo>
                      <a:lnTo>
                        <a:pt x="309" y="37"/>
                      </a:lnTo>
                      <a:lnTo>
                        <a:pt x="325" y="48"/>
                      </a:lnTo>
                      <a:lnTo>
                        <a:pt x="340" y="60"/>
                      </a:lnTo>
                      <a:lnTo>
                        <a:pt x="354" y="73"/>
                      </a:lnTo>
                      <a:lnTo>
                        <a:pt x="366" y="88"/>
                      </a:lnTo>
                      <a:lnTo>
                        <a:pt x="377" y="104"/>
                      </a:lnTo>
                      <a:lnTo>
                        <a:pt x="388" y="121"/>
                      </a:lnTo>
                      <a:lnTo>
                        <a:pt x="396" y="139"/>
                      </a:lnTo>
                      <a:lnTo>
                        <a:pt x="403" y="159"/>
                      </a:lnTo>
                      <a:lnTo>
                        <a:pt x="409" y="180"/>
                      </a:lnTo>
                      <a:lnTo>
                        <a:pt x="413" y="203"/>
                      </a:lnTo>
                      <a:lnTo>
                        <a:pt x="415" y="227"/>
                      </a:lnTo>
                      <a:lnTo>
                        <a:pt x="416" y="253"/>
                      </a:lnTo>
                      <a:lnTo>
                        <a:pt x="412" y="3638"/>
                      </a:lnTo>
                      <a:lnTo>
                        <a:pt x="410" y="5500"/>
                      </a:lnTo>
                      <a:lnTo>
                        <a:pt x="409" y="5526"/>
                      </a:lnTo>
                      <a:lnTo>
                        <a:pt x="405" y="5554"/>
                      </a:lnTo>
                      <a:lnTo>
                        <a:pt x="399" y="5583"/>
                      </a:lnTo>
                      <a:lnTo>
                        <a:pt x="392" y="5611"/>
                      </a:lnTo>
                      <a:lnTo>
                        <a:pt x="383" y="5636"/>
                      </a:lnTo>
                      <a:lnTo>
                        <a:pt x="378" y="5648"/>
                      </a:lnTo>
                      <a:lnTo>
                        <a:pt x="373" y="5658"/>
                      </a:lnTo>
                      <a:lnTo>
                        <a:pt x="368" y="5666"/>
                      </a:lnTo>
                      <a:lnTo>
                        <a:pt x="362" y="5673"/>
                      </a:lnTo>
                      <a:lnTo>
                        <a:pt x="359" y="5675"/>
                      </a:lnTo>
                      <a:lnTo>
                        <a:pt x="356" y="5678"/>
                      </a:lnTo>
                      <a:lnTo>
                        <a:pt x="353" y="5679"/>
                      </a:lnTo>
                      <a:lnTo>
                        <a:pt x="350" y="5680"/>
                      </a:lnTo>
                      <a:lnTo>
                        <a:pt x="314" y="5687"/>
                      </a:lnTo>
                      <a:lnTo>
                        <a:pt x="276" y="5692"/>
                      </a:lnTo>
                      <a:lnTo>
                        <a:pt x="238" y="5694"/>
                      </a:lnTo>
                      <a:lnTo>
                        <a:pt x="200" y="5694"/>
                      </a:lnTo>
                      <a:lnTo>
                        <a:pt x="161" y="5692"/>
                      </a:lnTo>
                      <a:lnTo>
                        <a:pt x="123" y="5688"/>
                      </a:lnTo>
                      <a:lnTo>
                        <a:pt x="85" y="5682"/>
                      </a:lnTo>
                      <a:lnTo>
                        <a:pt x="48" y="5675"/>
                      </a:lnTo>
                      <a:lnTo>
                        <a:pt x="46" y="5674"/>
                      </a:lnTo>
                      <a:lnTo>
                        <a:pt x="43" y="5673"/>
                      </a:lnTo>
                      <a:lnTo>
                        <a:pt x="41" y="5671"/>
                      </a:lnTo>
                      <a:lnTo>
                        <a:pt x="39" y="5669"/>
                      </a:lnTo>
                      <a:lnTo>
                        <a:pt x="34" y="5663"/>
                      </a:lnTo>
                      <a:lnTo>
                        <a:pt x="30" y="5655"/>
                      </a:lnTo>
                      <a:lnTo>
                        <a:pt x="26" y="5647"/>
                      </a:lnTo>
                      <a:lnTo>
                        <a:pt x="22" y="5636"/>
                      </a:lnTo>
                      <a:lnTo>
                        <a:pt x="15" y="5614"/>
                      </a:lnTo>
                      <a:lnTo>
                        <a:pt x="10" y="5588"/>
                      </a:lnTo>
                      <a:lnTo>
                        <a:pt x="6" y="5562"/>
                      </a:lnTo>
                      <a:lnTo>
                        <a:pt x="3" y="5537"/>
                      </a:lnTo>
                      <a:lnTo>
                        <a:pt x="2" y="5514"/>
                      </a:lnTo>
                      <a:lnTo>
                        <a:pt x="0" y="3511"/>
                      </a:lnTo>
                      <a:lnTo>
                        <a:pt x="0" y="2876"/>
                      </a:lnTo>
                      <a:lnTo>
                        <a:pt x="1" y="28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7" name="Freeform 6"/>
                <p:cNvSpPr>
                  <a:spLocks noChangeArrowheads="1"/>
                </p:cNvSpPr>
                <p:nvPr/>
              </p:nvSpPr>
              <p:spPr bwMode="auto">
                <a:xfrm>
                  <a:off x="3436938" y="3540125"/>
                  <a:ext cx="149225" cy="1443038"/>
                </a:xfrm>
                <a:custGeom>
                  <a:avLst/>
                  <a:gdLst>
                    <a:gd name="T0" fmla="*/ 0 w 414"/>
                    <a:gd name="T1" fmla="*/ 210 h 4010"/>
                    <a:gd name="T2" fmla="*/ 3 w 414"/>
                    <a:gd name="T3" fmla="*/ 156 h 4010"/>
                    <a:gd name="T4" fmla="*/ 12 w 414"/>
                    <a:gd name="T5" fmla="*/ 112 h 4010"/>
                    <a:gd name="T6" fmla="*/ 28 w 414"/>
                    <a:gd name="T7" fmla="*/ 75 h 4010"/>
                    <a:gd name="T8" fmla="*/ 50 w 414"/>
                    <a:gd name="T9" fmla="*/ 46 h 4010"/>
                    <a:gd name="T10" fmla="*/ 80 w 414"/>
                    <a:gd name="T11" fmla="*/ 25 h 4010"/>
                    <a:gd name="T12" fmla="*/ 117 w 414"/>
                    <a:gd name="T13" fmla="*/ 10 h 4010"/>
                    <a:gd name="T14" fmla="*/ 162 w 414"/>
                    <a:gd name="T15" fmla="*/ 2 h 4010"/>
                    <a:gd name="T16" fmla="*/ 215 w 414"/>
                    <a:gd name="T17" fmla="*/ 0 h 4010"/>
                    <a:gd name="T18" fmla="*/ 267 w 414"/>
                    <a:gd name="T19" fmla="*/ 2 h 4010"/>
                    <a:gd name="T20" fmla="*/ 309 w 414"/>
                    <a:gd name="T21" fmla="*/ 11 h 4010"/>
                    <a:gd name="T22" fmla="*/ 344 w 414"/>
                    <a:gd name="T23" fmla="*/ 25 h 4010"/>
                    <a:gd name="T24" fmla="*/ 370 w 414"/>
                    <a:gd name="T25" fmla="*/ 47 h 4010"/>
                    <a:gd name="T26" fmla="*/ 390 w 414"/>
                    <a:gd name="T27" fmla="*/ 76 h 4010"/>
                    <a:gd name="T28" fmla="*/ 403 w 414"/>
                    <a:gd name="T29" fmla="*/ 114 h 4010"/>
                    <a:gd name="T30" fmla="*/ 410 w 414"/>
                    <a:gd name="T31" fmla="*/ 162 h 4010"/>
                    <a:gd name="T32" fmla="*/ 413 w 414"/>
                    <a:gd name="T33" fmla="*/ 2816 h 4010"/>
                    <a:gd name="T34" fmla="*/ 411 w 414"/>
                    <a:gd name="T35" fmla="*/ 3851 h 4010"/>
                    <a:gd name="T36" fmla="*/ 404 w 414"/>
                    <a:gd name="T37" fmla="*/ 3931 h 4010"/>
                    <a:gd name="T38" fmla="*/ 396 w 414"/>
                    <a:gd name="T39" fmla="*/ 3958 h 4010"/>
                    <a:gd name="T40" fmla="*/ 389 w 414"/>
                    <a:gd name="T41" fmla="*/ 3972 h 4010"/>
                    <a:gd name="T42" fmla="*/ 379 w 414"/>
                    <a:gd name="T43" fmla="*/ 3983 h 4010"/>
                    <a:gd name="T44" fmla="*/ 367 w 414"/>
                    <a:gd name="T45" fmla="*/ 3992 h 4010"/>
                    <a:gd name="T46" fmla="*/ 353 w 414"/>
                    <a:gd name="T47" fmla="*/ 3998 h 4010"/>
                    <a:gd name="T48" fmla="*/ 326 w 414"/>
                    <a:gd name="T49" fmla="*/ 4005 h 4010"/>
                    <a:gd name="T50" fmla="*/ 279 w 414"/>
                    <a:gd name="T51" fmla="*/ 4009 h 4010"/>
                    <a:gd name="T52" fmla="*/ 148 w 414"/>
                    <a:gd name="T53" fmla="*/ 4008 h 4010"/>
                    <a:gd name="T54" fmla="*/ 96 w 414"/>
                    <a:gd name="T55" fmla="*/ 4004 h 4010"/>
                    <a:gd name="T56" fmla="*/ 58 w 414"/>
                    <a:gd name="T57" fmla="*/ 3993 h 4010"/>
                    <a:gd name="T58" fmla="*/ 43 w 414"/>
                    <a:gd name="T59" fmla="*/ 3985 h 4010"/>
                    <a:gd name="T60" fmla="*/ 32 w 414"/>
                    <a:gd name="T61" fmla="*/ 3975 h 4010"/>
                    <a:gd name="T62" fmla="*/ 22 w 414"/>
                    <a:gd name="T63" fmla="*/ 3961 h 4010"/>
                    <a:gd name="T64" fmla="*/ 15 w 414"/>
                    <a:gd name="T65" fmla="*/ 3945 h 4010"/>
                    <a:gd name="T66" fmla="*/ 6 w 414"/>
                    <a:gd name="T67" fmla="*/ 3902 h 4010"/>
                    <a:gd name="T68" fmla="*/ 1 w 414"/>
                    <a:gd name="T69" fmla="*/ 3764 h 4010"/>
                    <a:gd name="T70" fmla="*/ 0 w 414"/>
                    <a:gd name="T71" fmla="*/ 2001 h 4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4010">
                      <a:moveTo>
                        <a:pt x="0" y="2001"/>
                      </a:moveTo>
                      <a:lnTo>
                        <a:pt x="0" y="210"/>
                      </a:lnTo>
                      <a:lnTo>
                        <a:pt x="1" y="182"/>
                      </a:lnTo>
                      <a:lnTo>
                        <a:pt x="3" y="156"/>
                      </a:lnTo>
                      <a:lnTo>
                        <a:pt x="7" y="133"/>
                      </a:lnTo>
                      <a:lnTo>
                        <a:pt x="12" y="112"/>
                      </a:lnTo>
                      <a:lnTo>
                        <a:pt x="19" y="92"/>
                      </a:lnTo>
                      <a:lnTo>
                        <a:pt x="28" y="75"/>
                      </a:lnTo>
                      <a:lnTo>
                        <a:pt x="38" y="60"/>
                      </a:lnTo>
                      <a:lnTo>
                        <a:pt x="50" y="46"/>
                      </a:lnTo>
                      <a:lnTo>
                        <a:pt x="64" y="35"/>
                      </a:lnTo>
                      <a:lnTo>
                        <a:pt x="80" y="25"/>
                      </a:lnTo>
                      <a:lnTo>
                        <a:pt x="97" y="17"/>
                      </a:lnTo>
                      <a:lnTo>
                        <a:pt x="117" y="10"/>
                      </a:lnTo>
                      <a:lnTo>
                        <a:pt x="138" y="5"/>
                      </a:lnTo>
                      <a:lnTo>
                        <a:pt x="162" y="2"/>
                      </a:lnTo>
                      <a:lnTo>
                        <a:pt x="187" y="0"/>
                      </a:lnTo>
                      <a:lnTo>
                        <a:pt x="215" y="0"/>
                      </a:lnTo>
                      <a:lnTo>
                        <a:pt x="242" y="0"/>
                      </a:lnTo>
                      <a:lnTo>
                        <a:pt x="267" y="2"/>
                      </a:lnTo>
                      <a:lnTo>
                        <a:pt x="289" y="6"/>
                      </a:lnTo>
                      <a:lnTo>
                        <a:pt x="309" y="11"/>
                      </a:lnTo>
                      <a:lnTo>
                        <a:pt x="328" y="17"/>
                      </a:lnTo>
                      <a:lnTo>
                        <a:pt x="344" y="25"/>
                      </a:lnTo>
                      <a:lnTo>
                        <a:pt x="358" y="35"/>
                      </a:lnTo>
                      <a:lnTo>
                        <a:pt x="370" y="47"/>
                      </a:lnTo>
                      <a:lnTo>
                        <a:pt x="381" y="60"/>
                      </a:lnTo>
                      <a:lnTo>
                        <a:pt x="390" y="76"/>
                      </a:lnTo>
                      <a:lnTo>
                        <a:pt x="397" y="94"/>
                      </a:lnTo>
                      <a:lnTo>
                        <a:pt x="403" y="114"/>
                      </a:lnTo>
                      <a:lnTo>
                        <a:pt x="407" y="137"/>
                      </a:lnTo>
                      <a:lnTo>
                        <a:pt x="410" y="162"/>
                      </a:lnTo>
                      <a:lnTo>
                        <a:pt x="413" y="221"/>
                      </a:lnTo>
                      <a:lnTo>
                        <a:pt x="413" y="2816"/>
                      </a:lnTo>
                      <a:lnTo>
                        <a:pt x="412" y="3775"/>
                      </a:lnTo>
                      <a:lnTo>
                        <a:pt x="411" y="3851"/>
                      </a:lnTo>
                      <a:lnTo>
                        <a:pt x="407" y="3908"/>
                      </a:lnTo>
                      <a:lnTo>
                        <a:pt x="404" y="3931"/>
                      </a:lnTo>
                      <a:lnTo>
                        <a:pt x="399" y="3950"/>
                      </a:lnTo>
                      <a:lnTo>
                        <a:pt x="396" y="3958"/>
                      </a:lnTo>
                      <a:lnTo>
                        <a:pt x="392" y="3965"/>
                      </a:lnTo>
                      <a:lnTo>
                        <a:pt x="389" y="3972"/>
                      </a:lnTo>
                      <a:lnTo>
                        <a:pt x="384" y="3978"/>
                      </a:lnTo>
                      <a:lnTo>
                        <a:pt x="379" y="3983"/>
                      </a:lnTo>
                      <a:lnTo>
                        <a:pt x="373" y="3988"/>
                      </a:lnTo>
                      <a:lnTo>
                        <a:pt x="367" y="3992"/>
                      </a:lnTo>
                      <a:lnTo>
                        <a:pt x="360" y="3995"/>
                      </a:lnTo>
                      <a:lnTo>
                        <a:pt x="353" y="3998"/>
                      </a:lnTo>
                      <a:lnTo>
                        <a:pt x="345" y="4001"/>
                      </a:lnTo>
                      <a:lnTo>
                        <a:pt x="326" y="4005"/>
                      </a:lnTo>
                      <a:lnTo>
                        <a:pt x="304" y="4007"/>
                      </a:lnTo>
                      <a:lnTo>
                        <a:pt x="279" y="4009"/>
                      </a:lnTo>
                      <a:lnTo>
                        <a:pt x="217" y="4009"/>
                      </a:lnTo>
                      <a:lnTo>
                        <a:pt x="148" y="4008"/>
                      </a:lnTo>
                      <a:lnTo>
                        <a:pt x="120" y="4006"/>
                      </a:lnTo>
                      <a:lnTo>
                        <a:pt x="96" y="4004"/>
                      </a:lnTo>
                      <a:lnTo>
                        <a:pt x="75" y="3999"/>
                      </a:lnTo>
                      <a:lnTo>
                        <a:pt x="58" y="3993"/>
                      </a:lnTo>
                      <a:lnTo>
                        <a:pt x="50" y="3989"/>
                      </a:lnTo>
                      <a:lnTo>
                        <a:pt x="43" y="3985"/>
                      </a:lnTo>
                      <a:lnTo>
                        <a:pt x="37" y="3980"/>
                      </a:lnTo>
                      <a:lnTo>
                        <a:pt x="32" y="3975"/>
                      </a:lnTo>
                      <a:lnTo>
                        <a:pt x="27" y="3968"/>
                      </a:lnTo>
                      <a:lnTo>
                        <a:pt x="22" y="3961"/>
                      </a:lnTo>
                      <a:lnTo>
                        <a:pt x="18" y="3953"/>
                      </a:lnTo>
                      <a:lnTo>
                        <a:pt x="15" y="3945"/>
                      </a:lnTo>
                      <a:lnTo>
                        <a:pt x="10" y="3925"/>
                      </a:lnTo>
                      <a:lnTo>
                        <a:pt x="6" y="3902"/>
                      </a:lnTo>
                      <a:lnTo>
                        <a:pt x="2" y="3842"/>
                      </a:lnTo>
                      <a:lnTo>
                        <a:pt x="1" y="3764"/>
                      </a:lnTo>
                      <a:lnTo>
                        <a:pt x="1" y="2001"/>
                      </a:lnTo>
                      <a:lnTo>
                        <a:pt x="0" y="200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8" name="Freeform 7"/>
                <p:cNvSpPr>
                  <a:spLocks noChangeArrowheads="1"/>
                </p:cNvSpPr>
                <p:nvPr/>
              </p:nvSpPr>
              <p:spPr bwMode="auto">
                <a:xfrm>
                  <a:off x="6154738" y="2420938"/>
                  <a:ext cx="490537" cy="511175"/>
                </a:xfrm>
                <a:custGeom>
                  <a:avLst/>
                  <a:gdLst>
                    <a:gd name="T0" fmla="*/ 762 w 1362"/>
                    <a:gd name="T1" fmla="*/ 9 h 1418"/>
                    <a:gd name="T2" fmla="*/ 904 w 1362"/>
                    <a:gd name="T3" fmla="*/ 31 h 1418"/>
                    <a:gd name="T4" fmla="*/ 1029 w 1362"/>
                    <a:gd name="T5" fmla="*/ 74 h 1418"/>
                    <a:gd name="T6" fmla="*/ 1136 w 1362"/>
                    <a:gd name="T7" fmla="*/ 139 h 1418"/>
                    <a:gd name="T8" fmla="*/ 1223 w 1362"/>
                    <a:gd name="T9" fmla="*/ 222 h 1418"/>
                    <a:gd name="T10" fmla="*/ 1290 w 1362"/>
                    <a:gd name="T11" fmla="*/ 324 h 1418"/>
                    <a:gd name="T12" fmla="*/ 1335 w 1362"/>
                    <a:gd name="T13" fmla="*/ 444 h 1418"/>
                    <a:gd name="T14" fmla="*/ 1358 w 1362"/>
                    <a:gd name="T15" fmla="*/ 580 h 1418"/>
                    <a:gd name="T16" fmla="*/ 1358 w 1362"/>
                    <a:gd name="T17" fmla="*/ 736 h 1418"/>
                    <a:gd name="T18" fmla="*/ 1333 w 1362"/>
                    <a:gd name="T19" fmla="*/ 891 h 1418"/>
                    <a:gd name="T20" fmla="*/ 1285 w 1362"/>
                    <a:gd name="T21" fmla="*/ 1030 h 1418"/>
                    <a:gd name="T22" fmla="*/ 1216 w 1362"/>
                    <a:gd name="T23" fmla="*/ 1151 h 1418"/>
                    <a:gd name="T24" fmla="*/ 1127 w 1362"/>
                    <a:gd name="T25" fmla="*/ 1251 h 1418"/>
                    <a:gd name="T26" fmla="*/ 1021 w 1362"/>
                    <a:gd name="T27" fmla="*/ 1330 h 1418"/>
                    <a:gd name="T28" fmla="*/ 900 w 1362"/>
                    <a:gd name="T29" fmla="*/ 1384 h 1418"/>
                    <a:gd name="T30" fmla="*/ 764 w 1362"/>
                    <a:gd name="T31" fmla="*/ 1413 h 1418"/>
                    <a:gd name="T32" fmla="*/ 619 w 1362"/>
                    <a:gd name="T33" fmla="*/ 1413 h 1418"/>
                    <a:gd name="T34" fmla="*/ 483 w 1362"/>
                    <a:gd name="T35" fmla="*/ 1386 h 1418"/>
                    <a:gd name="T36" fmla="*/ 360 w 1362"/>
                    <a:gd name="T37" fmla="*/ 1334 h 1418"/>
                    <a:gd name="T38" fmla="*/ 251 w 1362"/>
                    <a:gd name="T39" fmla="*/ 1258 h 1418"/>
                    <a:gd name="T40" fmla="*/ 159 w 1362"/>
                    <a:gd name="T41" fmla="*/ 1162 h 1418"/>
                    <a:gd name="T42" fmla="*/ 86 w 1362"/>
                    <a:gd name="T43" fmla="*/ 1047 h 1418"/>
                    <a:gd name="T44" fmla="*/ 35 w 1362"/>
                    <a:gd name="T45" fmla="*/ 916 h 1418"/>
                    <a:gd name="T46" fmla="*/ 6 w 1362"/>
                    <a:gd name="T47" fmla="*/ 771 h 1418"/>
                    <a:gd name="T48" fmla="*/ 2 w 1362"/>
                    <a:gd name="T49" fmla="*/ 629 h 1418"/>
                    <a:gd name="T50" fmla="*/ 24 w 1362"/>
                    <a:gd name="T51" fmla="*/ 498 h 1418"/>
                    <a:gd name="T52" fmla="*/ 71 w 1362"/>
                    <a:gd name="T53" fmla="*/ 370 h 1418"/>
                    <a:gd name="T54" fmla="*/ 140 w 1362"/>
                    <a:gd name="T55" fmla="*/ 252 h 1418"/>
                    <a:gd name="T56" fmla="*/ 230 w 1362"/>
                    <a:gd name="T57" fmla="*/ 150 h 1418"/>
                    <a:gd name="T58" fmla="*/ 339 w 1362"/>
                    <a:gd name="T59" fmla="*/ 70 h 1418"/>
                    <a:gd name="T60" fmla="*/ 466 w 1362"/>
                    <a:gd name="T61" fmla="*/ 18 h 1418"/>
                    <a:gd name="T62" fmla="*/ 608 w 1362"/>
                    <a:gd name="T63" fmla="*/ 0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2" h="1418">
                      <a:moveTo>
                        <a:pt x="684" y="6"/>
                      </a:moveTo>
                      <a:lnTo>
                        <a:pt x="762" y="9"/>
                      </a:lnTo>
                      <a:lnTo>
                        <a:pt x="835" y="17"/>
                      </a:lnTo>
                      <a:lnTo>
                        <a:pt x="904" y="31"/>
                      </a:lnTo>
                      <a:lnTo>
                        <a:pt x="969" y="50"/>
                      </a:lnTo>
                      <a:lnTo>
                        <a:pt x="1029" y="74"/>
                      </a:lnTo>
                      <a:lnTo>
                        <a:pt x="1085" y="104"/>
                      </a:lnTo>
                      <a:lnTo>
                        <a:pt x="1136" y="139"/>
                      </a:lnTo>
                      <a:lnTo>
                        <a:pt x="1182" y="178"/>
                      </a:lnTo>
                      <a:lnTo>
                        <a:pt x="1223" y="222"/>
                      </a:lnTo>
                      <a:lnTo>
                        <a:pt x="1259" y="271"/>
                      </a:lnTo>
                      <a:lnTo>
                        <a:pt x="1290" y="324"/>
                      </a:lnTo>
                      <a:lnTo>
                        <a:pt x="1315" y="382"/>
                      </a:lnTo>
                      <a:lnTo>
                        <a:pt x="1335" y="444"/>
                      </a:lnTo>
                      <a:lnTo>
                        <a:pt x="1350" y="510"/>
                      </a:lnTo>
                      <a:lnTo>
                        <a:pt x="1358" y="580"/>
                      </a:lnTo>
                      <a:lnTo>
                        <a:pt x="1361" y="654"/>
                      </a:lnTo>
                      <a:lnTo>
                        <a:pt x="1358" y="736"/>
                      </a:lnTo>
                      <a:lnTo>
                        <a:pt x="1348" y="816"/>
                      </a:lnTo>
                      <a:lnTo>
                        <a:pt x="1333" y="891"/>
                      </a:lnTo>
                      <a:lnTo>
                        <a:pt x="1312" y="963"/>
                      </a:lnTo>
                      <a:lnTo>
                        <a:pt x="1285" y="1030"/>
                      </a:lnTo>
                      <a:lnTo>
                        <a:pt x="1253" y="1093"/>
                      </a:lnTo>
                      <a:lnTo>
                        <a:pt x="1216" y="1151"/>
                      </a:lnTo>
                      <a:lnTo>
                        <a:pt x="1174" y="1204"/>
                      </a:lnTo>
                      <a:lnTo>
                        <a:pt x="1127" y="1251"/>
                      </a:lnTo>
                      <a:lnTo>
                        <a:pt x="1077" y="1293"/>
                      </a:lnTo>
                      <a:lnTo>
                        <a:pt x="1021" y="1330"/>
                      </a:lnTo>
                      <a:lnTo>
                        <a:pt x="962" y="1360"/>
                      </a:lnTo>
                      <a:lnTo>
                        <a:pt x="900" y="1384"/>
                      </a:lnTo>
                      <a:lnTo>
                        <a:pt x="833" y="1402"/>
                      </a:lnTo>
                      <a:lnTo>
                        <a:pt x="764" y="1413"/>
                      </a:lnTo>
                      <a:lnTo>
                        <a:pt x="691" y="1417"/>
                      </a:lnTo>
                      <a:lnTo>
                        <a:pt x="619" y="1413"/>
                      </a:lnTo>
                      <a:lnTo>
                        <a:pt x="549" y="1403"/>
                      </a:lnTo>
                      <a:lnTo>
                        <a:pt x="483" y="1386"/>
                      </a:lnTo>
                      <a:lnTo>
                        <a:pt x="419" y="1363"/>
                      </a:lnTo>
                      <a:lnTo>
                        <a:pt x="360" y="1334"/>
                      </a:lnTo>
                      <a:lnTo>
                        <a:pt x="303" y="1299"/>
                      </a:lnTo>
                      <a:lnTo>
                        <a:pt x="251" y="1258"/>
                      </a:lnTo>
                      <a:lnTo>
                        <a:pt x="203" y="1212"/>
                      </a:lnTo>
                      <a:lnTo>
                        <a:pt x="159" y="1162"/>
                      </a:lnTo>
                      <a:lnTo>
                        <a:pt x="120" y="1106"/>
                      </a:lnTo>
                      <a:lnTo>
                        <a:pt x="86" y="1047"/>
                      </a:lnTo>
                      <a:lnTo>
                        <a:pt x="58" y="983"/>
                      </a:lnTo>
                      <a:lnTo>
                        <a:pt x="35" y="916"/>
                      </a:lnTo>
                      <a:lnTo>
                        <a:pt x="17" y="845"/>
                      </a:lnTo>
                      <a:lnTo>
                        <a:pt x="6" y="771"/>
                      </a:lnTo>
                      <a:lnTo>
                        <a:pt x="0" y="695"/>
                      </a:lnTo>
                      <a:lnTo>
                        <a:pt x="2" y="629"/>
                      </a:lnTo>
                      <a:lnTo>
                        <a:pt x="10" y="564"/>
                      </a:lnTo>
                      <a:lnTo>
                        <a:pt x="24" y="498"/>
                      </a:lnTo>
                      <a:lnTo>
                        <a:pt x="44" y="433"/>
                      </a:lnTo>
                      <a:lnTo>
                        <a:pt x="71" y="370"/>
                      </a:lnTo>
                      <a:lnTo>
                        <a:pt x="103" y="310"/>
                      </a:lnTo>
                      <a:lnTo>
                        <a:pt x="140" y="252"/>
                      </a:lnTo>
                      <a:lnTo>
                        <a:pt x="183" y="199"/>
                      </a:lnTo>
                      <a:lnTo>
                        <a:pt x="230" y="150"/>
                      </a:lnTo>
                      <a:lnTo>
                        <a:pt x="282" y="107"/>
                      </a:lnTo>
                      <a:lnTo>
                        <a:pt x="339" y="70"/>
                      </a:lnTo>
                      <a:lnTo>
                        <a:pt x="400" y="40"/>
                      </a:lnTo>
                      <a:lnTo>
                        <a:pt x="466" y="18"/>
                      </a:lnTo>
                      <a:lnTo>
                        <a:pt x="535" y="5"/>
                      </a:lnTo>
                      <a:lnTo>
                        <a:pt x="608" y="0"/>
                      </a:lnTo>
                      <a:lnTo>
                        <a:pt x="684" y="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19" name="Freeform 8"/>
                <p:cNvSpPr>
                  <a:spLocks noChangeArrowheads="1"/>
                </p:cNvSpPr>
                <p:nvPr/>
              </p:nvSpPr>
              <p:spPr bwMode="auto">
                <a:xfrm>
                  <a:off x="3973513" y="2211388"/>
                  <a:ext cx="1050925" cy="671512"/>
                </a:xfrm>
                <a:custGeom>
                  <a:avLst/>
                  <a:gdLst>
                    <a:gd name="T0" fmla="*/ 2706 w 2918"/>
                    <a:gd name="T1" fmla="*/ 1300 h 1867"/>
                    <a:gd name="T2" fmla="*/ 2451 w 2918"/>
                    <a:gd name="T3" fmla="*/ 1274 h 1867"/>
                    <a:gd name="T4" fmla="*/ 2273 w 2918"/>
                    <a:gd name="T5" fmla="*/ 1117 h 1867"/>
                    <a:gd name="T6" fmla="*/ 2196 w 2918"/>
                    <a:gd name="T7" fmla="*/ 1008 h 1867"/>
                    <a:gd name="T8" fmla="*/ 2149 w 2918"/>
                    <a:gd name="T9" fmla="*/ 985 h 1867"/>
                    <a:gd name="T10" fmla="*/ 2123 w 2918"/>
                    <a:gd name="T11" fmla="*/ 990 h 1867"/>
                    <a:gd name="T12" fmla="*/ 2075 w 2918"/>
                    <a:gd name="T13" fmla="*/ 1045 h 1867"/>
                    <a:gd name="T14" fmla="*/ 2065 w 2918"/>
                    <a:gd name="T15" fmla="*/ 1064 h 1867"/>
                    <a:gd name="T16" fmla="*/ 1876 w 2918"/>
                    <a:gd name="T17" fmla="*/ 1794 h 1867"/>
                    <a:gd name="T18" fmla="*/ 1827 w 2918"/>
                    <a:gd name="T19" fmla="*/ 1861 h 1867"/>
                    <a:gd name="T20" fmla="*/ 1805 w 2918"/>
                    <a:gd name="T21" fmla="*/ 1863 h 1867"/>
                    <a:gd name="T22" fmla="*/ 1667 w 2918"/>
                    <a:gd name="T23" fmla="*/ 1783 h 1867"/>
                    <a:gd name="T24" fmla="*/ 1663 w 2918"/>
                    <a:gd name="T25" fmla="*/ 1776 h 1867"/>
                    <a:gd name="T26" fmla="*/ 1415 w 2918"/>
                    <a:gd name="T27" fmla="*/ 671 h 1867"/>
                    <a:gd name="T28" fmla="*/ 1188 w 2918"/>
                    <a:gd name="T29" fmla="*/ 1059 h 1867"/>
                    <a:gd name="T30" fmla="*/ 1099 w 2918"/>
                    <a:gd name="T31" fmla="*/ 1358 h 1867"/>
                    <a:gd name="T32" fmla="*/ 1000 w 2918"/>
                    <a:gd name="T33" fmla="*/ 1564 h 1867"/>
                    <a:gd name="T34" fmla="*/ 963 w 2918"/>
                    <a:gd name="T35" fmla="*/ 1583 h 1867"/>
                    <a:gd name="T36" fmla="*/ 933 w 2918"/>
                    <a:gd name="T37" fmla="*/ 1578 h 1867"/>
                    <a:gd name="T38" fmla="*/ 804 w 2918"/>
                    <a:gd name="T39" fmla="*/ 1406 h 1867"/>
                    <a:gd name="T40" fmla="*/ 704 w 2918"/>
                    <a:gd name="T41" fmla="*/ 1226 h 1867"/>
                    <a:gd name="T42" fmla="*/ 667 w 2918"/>
                    <a:gd name="T43" fmla="*/ 1195 h 1867"/>
                    <a:gd name="T44" fmla="*/ 629 w 2918"/>
                    <a:gd name="T45" fmla="*/ 1198 h 1867"/>
                    <a:gd name="T46" fmla="*/ 511 w 2918"/>
                    <a:gd name="T47" fmla="*/ 1272 h 1867"/>
                    <a:gd name="T48" fmla="*/ 320 w 2918"/>
                    <a:gd name="T49" fmla="*/ 1319 h 1867"/>
                    <a:gd name="T50" fmla="*/ 26 w 2918"/>
                    <a:gd name="T51" fmla="*/ 1281 h 1867"/>
                    <a:gd name="T52" fmla="*/ 5 w 2918"/>
                    <a:gd name="T53" fmla="*/ 1259 h 1867"/>
                    <a:gd name="T54" fmla="*/ 1 w 2918"/>
                    <a:gd name="T55" fmla="*/ 1225 h 1867"/>
                    <a:gd name="T56" fmla="*/ 38 w 2918"/>
                    <a:gd name="T57" fmla="*/ 1162 h 1867"/>
                    <a:gd name="T58" fmla="*/ 93 w 2918"/>
                    <a:gd name="T59" fmla="*/ 1134 h 1867"/>
                    <a:gd name="T60" fmla="*/ 172 w 2918"/>
                    <a:gd name="T61" fmla="*/ 1134 h 1867"/>
                    <a:gd name="T62" fmla="*/ 333 w 2918"/>
                    <a:gd name="T63" fmla="*/ 1111 h 1867"/>
                    <a:gd name="T64" fmla="*/ 488 w 2918"/>
                    <a:gd name="T65" fmla="*/ 1009 h 1867"/>
                    <a:gd name="T66" fmla="*/ 604 w 2918"/>
                    <a:gd name="T67" fmla="*/ 907 h 1867"/>
                    <a:gd name="T68" fmla="*/ 671 w 2918"/>
                    <a:gd name="T69" fmla="*/ 897 h 1867"/>
                    <a:gd name="T70" fmla="*/ 751 w 2918"/>
                    <a:gd name="T71" fmla="*/ 953 h 1867"/>
                    <a:gd name="T72" fmla="*/ 803 w 2918"/>
                    <a:gd name="T73" fmla="*/ 1009 h 1867"/>
                    <a:gd name="T74" fmla="*/ 1156 w 2918"/>
                    <a:gd name="T75" fmla="*/ 528 h 1867"/>
                    <a:gd name="T76" fmla="*/ 1357 w 2918"/>
                    <a:gd name="T77" fmla="*/ 0 h 1867"/>
                    <a:gd name="T78" fmla="*/ 1423 w 2918"/>
                    <a:gd name="T79" fmla="*/ 30 h 1867"/>
                    <a:gd name="T80" fmla="*/ 1426 w 2918"/>
                    <a:gd name="T81" fmla="*/ 34 h 1867"/>
                    <a:gd name="T82" fmla="*/ 1587 w 2918"/>
                    <a:gd name="T83" fmla="*/ 473 h 1867"/>
                    <a:gd name="T84" fmla="*/ 1606 w 2918"/>
                    <a:gd name="T85" fmla="*/ 724 h 1867"/>
                    <a:gd name="T86" fmla="*/ 1658 w 2918"/>
                    <a:gd name="T87" fmla="*/ 906 h 1867"/>
                    <a:gd name="T88" fmla="*/ 1906 w 2918"/>
                    <a:gd name="T89" fmla="*/ 989 h 1867"/>
                    <a:gd name="T90" fmla="*/ 2025 w 2918"/>
                    <a:gd name="T91" fmla="*/ 588 h 1867"/>
                    <a:gd name="T92" fmla="*/ 2098 w 2918"/>
                    <a:gd name="T93" fmla="*/ 460 h 1867"/>
                    <a:gd name="T94" fmla="*/ 2127 w 2918"/>
                    <a:gd name="T95" fmla="*/ 449 h 1867"/>
                    <a:gd name="T96" fmla="*/ 2157 w 2918"/>
                    <a:gd name="T97" fmla="*/ 456 h 1867"/>
                    <a:gd name="T98" fmla="*/ 2209 w 2918"/>
                    <a:gd name="T99" fmla="*/ 518 h 1867"/>
                    <a:gd name="T100" fmla="*/ 2455 w 2918"/>
                    <a:gd name="T101" fmla="*/ 1008 h 1867"/>
                    <a:gd name="T102" fmla="*/ 2580 w 2918"/>
                    <a:gd name="T103" fmla="*/ 1114 h 1867"/>
                    <a:gd name="T104" fmla="*/ 2740 w 2918"/>
                    <a:gd name="T105" fmla="*/ 1147 h 1867"/>
                    <a:gd name="T106" fmla="*/ 2893 w 2918"/>
                    <a:gd name="T107" fmla="*/ 1191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18" h="1867">
                      <a:moveTo>
                        <a:pt x="2917" y="1199"/>
                      </a:moveTo>
                      <a:lnTo>
                        <a:pt x="2877" y="1229"/>
                      </a:lnTo>
                      <a:lnTo>
                        <a:pt x="2836" y="1254"/>
                      </a:lnTo>
                      <a:lnTo>
                        <a:pt x="2794" y="1274"/>
                      </a:lnTo>
                      <a:lnTo>
                        <a:pt x="2750" y="1289"/>
                      </a:lnTo>
                      <a:lnTo>
                        <a:pt x="2706" y="1300"/>
                      </a:lnTo>
                      <a:lnTo>
                        <a:pt x="2662" y="1306"/>
                      </a:lnTo>
                      <a:lnTo>
                        <a:pt x="2618" y="1308"/>
                      </a:lnTo>
                      <a:lnTo>
                        <a:pt x="2575" y="1306"/>
                      </a:lnTo>
                      <a:lnTo>
                        <a:pt x="2532" y="1299"/>
                      </a:lnTo>
                      <a:lnTo>
                        <a:pt x="2491" y="1289"/>
                      </a:lnTo>
                      <a:lnTo>
                        <a:pt x="2451" y="1274"/>
                      </a:lnTo>
                      <a:lnTo>
                        <a:pt x="2414" y="1256"/>
                      </a:lnTo>
                      <a:lnTo>
                        <a:pt x="2379" y="1234"/>
                      </a:lnTo>
                      <a:lnTo>
                        <a:pt x="2346" y="1208"/>
                      </a:lnTo>
                      <a:lnTo>
                        <a:pt x="2317" y="1179"/>
                      </a:lnTo>
                      <a:lnTo>
                        <a:pt x="2292" y="1147"/>
                      </a:lnTo>
                      <a:lnTo>
                        <a:pt x="2273" y="1117"/>
                      </a:lnTo>
                      <a:lnTo>
                        <a:pt x="2255" y="1087"/>
                      </a:lnTo>
                      <a:lnTo>
                        <a:pt x="2236" y="1057"/>
                      </a:lnTo>
                      <a:lnTo>
                        <a:pt x="2226" y="1043"/>
                      </a:lnTo>
                      <a:lnTo>
                        <a:pt x="2216" y="1029"/>
                      </a:lnTo>
                      <a:lnTo>
                        <a:pt x="2206" y="1017"/>
                      </a:lnTo>
                      <a:lnTo>
                        <a:pt x="2196" y="1008"/>
                      </a:lnTo>
                      <a:lnTo>
                        <a:pt x="2187" y="1000"/>
                      </a:lnTo>
                      <a:lnTo>
                        <a:pt x="2177" y="994"/>
                      </a:lnTo>
                      <a:lnTo>
                        <a:pt x="2168" y="989"/>
                      </a:lnTo>
                      <a:lnTo>
                        <a:pt x="2158" y="986"/>
                      </a:lnTo>
                      <a:lnTo>
                        <a:pt x="2154" y="985"/>
                      </a:lnTo>
                      <a:lnTo>
                        <a:pt x="2149" y="985"/>
                      </a:lnTo>
                      <a:lnTo>
                        <a:pt x="2145" y="985"/>
                      </a:lnTo>
                      <a:lnTo>
                        <a:pt x="2140" y="985"/>
                      </a:lnTo>
                      <a:lnTo>
                        <a:pt x="2136" y="986"/>
                      </a:lnTo>
                      <a:lnTo>
                        <a:pt x="2131" y="987"/>
                      </a:lnTo>
                      <a:lnTo>
                        <a:pt x="2127" y="988"/>
                      </a:lnTo>
                      <a:lnTo>
                        <a:pt x="2123" y="990"/>
                      </a:lnTo>
                      <a:lnTo>
                        <a:pt x="2114" y="996"/>
                      </a:lnTo>
                      <a:lnTo>
                        <a:pt x="2106" y="1002"/>
                      </a:lnTo>
                      <a:lnTo>
                        <a:pt x="2098" y="1011"/>
                      </a:lnTo>
                      <a:lnTo>
                        <a:pt x="2090" y="1020"/>
                      </a:lnTo>
                      <a:lnTo>
                        <a:pt x="2082" y="1032"/>
                      </a:lnTo>
                      <a:lnTo>
                        <a:pt x="2075" y="1045"/>
                      </a:lnTo>
                      <a:lnTo>
                        <a:pt x="2073" y="1048"/>
                      </a:lnTo>
                      <a:lnTo>
                        <a:pt x="2071" y="1051"/>
                      </a:lnTo>
                      <a:lnTo>
                        <a:pt x="2069" y="1054"/>
                      </a:lnTo>
                      <a:lnTo>
                        <a:pt x="2068" y="1057"/>
                      </a:lnTo>
                      <a:lnTo>
                        <a:pt x="2067" y="1061"/>
                      </a:lnTo>
                      <a:lnTo>
                        <a:pt x="2065" y="1064"/>
                      </a:lnTo>
                      <a:lnTo>
                        <a:pt x="2064" y="1067"/>
                      </a:lnTo>
                      <a:lnTo>
                        <a:pt x="2064" y="1071"/>
                      </a:lnTo>
                      <a:lnTo>
                        <a:pt x="1891" y="1759"/>
                      </a:lnTo>
                      <a:lnTo>
                        <a:pt x="1888" y="1767"/>
                      </a:lnTo>
                      <a:lnTo>
                        <a:pt x="1885" y="1776"/>
                      </a:lnTo>
                      <a:lnTo>
                        <a:pt x="1876" y="1794"/>
                      </a:lnTo>
                      <a:lnTo>
                        <a:pt x="1866" y="1812"/>
                      </a:lnTo>
                      <a:lnTo>
                        <a:pt x="1855" y="1829"/>
                      </a:lnTo>
                      <a:lnTo>
                        <a:pt x="1843" y="1845"/>
                      </a:lnTo>
                      <a:lnTo>
                        <a:pt x="1838" y="1851"/>
                      </a:lnTo>
                      <a:lnTo>
                        <a:pt x="1832" y="1857"/>
                      </a:lnTo>
                      <a:lnTo>
                        <a:pt x="1827" y="1861"/>
                      </a:lnTo>
                      <a:lnTo>
                        <a:pt x="1823" y="1864"/>
                      </a:lnTo>
                      <a:lnTo>
                        <a:pt x="1820" y="1865"/>
                      </a:lnTo>
                      <a:lnTo>
                        <a:pt x="1818" y="1866"/>
                      </a:lnTo>
                      <a:lnTo>
                        <a:pt x="1816" y="1866"/>
                      </a:lnTo>
                      <a:lnTo>
                        <a:pt x="1815" y="1866"/>
                      </a:lnTo>
                      <a:lnTo>
                        <a:pt x="1805" y="1863"/>
                      </a:lnTo>
                      <a:lnTo>
                        <a:pt x="1795" y="1860"/>
                      </a:lnTo>
                      <a:lnTo>
                        <a:pt x="1776" y="1853"/>
                      </a:lnTo>
                      <a:lnTo>
                        <a:pt x="1758" y="1843"/>
                      </a:lnTo>
                      <a:lnTo>
                        <a:pt x="1740" y="1832"/>
                      </a:lnTo>
                      <a:lnTo>
                        <a:pt x="1668" y="1784"/>
                      </a:lnTo>
                      <a:lnTo>
                        <a:pt x="1667" y="1783"/>
                      </a:lnTo>
                      <a:lnTo>
                        <a:pt x="1667" y="1783"/>
                      </a:lnTo>
                      <a:lnTo>
                        <a:pt x="1666" y="1782"/>
                      </a:lnTo>
                      <a:lnTo>
                        <a:pt x="1665" y="1781"/>
                      </a:lnTo>
                      <a:lnTo>
                        <a:pt x="1664" y="1779"/>
                      </a:lnTo>
                      <a:lnTo>
                        <a:pt x="1663" y="1778"/>
                      </a:lnTo>
                      <a:lnTo>
                        <a:pt x="1663" y="1776"/>
                      </a:lnTo>
                      <a:lnTo>
                        <a:pt x="1662" y="1773"/>
                      </a:lnTo>
                      <a:lnTo>
                        <a:pt x="1659" y="1758"/>
                      </a:lnTo>
                      <a:lnTo>
                        <a:pt x="1488" y="942"/>
                      </a:lnTo>
                      <a:lnTo>
                        <a:pt x="1474" y="883"/>
                      </a:lnTo>
                      <a:lnTo>
                        <a:pt x="1457" y="821"/>
                      </a:lnTo>
                      <a:lnTo>
                        <a:pt x="1415" y="671"/>
                      </a:lnTo>
                      <a:lnTo>
                        <a:pt x="1362" y="738"/>
                      </a:lnTo>
                      <a:lnTo>
                        <a:pt x="1316" y="803"/>
                      </a:lnTo>
                      <a:lnTo>
                        <a:pt x="1276" y="867"/>
                      </a:lnTo>
                      <a:lnTo>
                        <a:pt x="1242" y="931"/>
                      </a:lnTo>
                      <a:lnTo>
                        <a:pt x="1213" y="995"/>
                      </a:lnTo>
                      <a:lnTo>
                        <a:pt x="1188" y="1059"/>
                      </a:lnTo>
                      <a:lnTo>
                        <a:pt x="1168" y="1125"/>
                      </a:lnTo>
                      <a:lnTo>
                        <a:pt x="1151" y="1192"/>
                      </a:lnTo>
                      <a:lnTo>
                        <a:pt x="1140" y="1234"/>
                      </a:lnTo>
                      <a:lnTo>
                        <a:pt x="1128" y="1276"/>
                      </a:lnTo>
                      <a:lnTo>
                        <a:pt x="1114" y="1317"/>
                      </a:lnTo>
                      <a:lnTo>
                        <a:pt x="1099" y="1358"/>
                      </a:lnTo>
                      <a:lnTo>
                        <a:pt x="1066" y="1438"/>
                      </a:lnTo>
                      <a:lnTo>
                        <a:pt x="1031" y="1518"/>
                      </a:lnTo>
                      <a:lnTo>
                        <a:pt x="1024" y="1532"/>
                      </a:lnTo>
                      <a:lnTo>
                        <a:pt x="1016" y="1544"/>
                      </a:lnTo>
                      <a:lnTo>
                        <a:pt x="1008" y="1555"/>
                      </a:lnTo>
                      <a:lnTo>
                        <a:pt x="1000" y="1564"/>
                      </a:lnTo>
                      <a:lnTo>
                        <a:pt x="991" y="1572"/>
                      </a:lnTo>
                      <a:lnTo>
                        <a:pt x="982" y="1577"/>
                      </a:lnTo>
                      <a:lnTo>
                        <a:pt x="977" y="1579"/>
                      </a:lnTo>
                      <a:lnTo>
                        <a:pt x="973" y="1581"/>
                      </a:lnTo>
                      <a:lnTo>
                        <a:pt x="968" y="1582"/>
                      </a:lnTo>
                      <a:lnTo>
                        <a:pt x="963" y="1583"/>
                      </a:lnTo>
                      <a:lnTo>
                        <a:pt x="958" y="1584"/>
                      </a:lnTo>
                      <a:lnTo>
                        <a:pt x="953" y="1583"/>
                      </a:lnTo>
                      <a:lnTo>
                        <a:pt x="948" y="1583"/>
                      </a:lnTo>
                      <a:lnTo>
                        <a:pt x="943" y="1582"/>
                      </a:lnTo>
                      <a:lnTo>
                        <a:pt x="938" y="1580"/>
                      </a:lnTo>
                      <a:lnTo>
                        <a:pt x="933" y="1578"/>
                      </a:lnTo>
                      <a:lnTo>
                        <a:pt x="923" y="1572"/>
                      </a:lnTo>
                      <a:lnTo>
                        <a:pt x="913" y="1565"/>
                      </a:lnTo>
                      <a:lnTo>
                        <a:pt x="903" y="1555"/>
                      </a:lnTo>
                      <a:lnTo>
                        <a:pt x="893" y="1543"/>
                      </a:lnTo>
                      <a:lnTo>
                        <a:pt x="883" y="1529"/>
                      </a:lnTo>
                      <a:lnTo>
                        <a:pt x="804" y="1406"/>
                      </a:lnTo>
                      <a:lnTo>
                        <a:pt x="767" y="1344"/>
                      </a:lnTo>
                      <a:lnTo>
                        <a:pt x="750" y="1312"/>
                      </a:lnTo>
                      <a:lnTo>
                        <a:pt x="734" y="1280"/>
                      </a:lnTo>
                      <a:lnTo>
                        <a:pt x="719" y="1250"/>
                      </a:lnTo>
                      <a:lnTo>
                        <a:pt x="711" y="1237"/>
                      </a:lnTo>
                      <a:lnTo>
                        <a:pt x="704" y="1226"/>
                      </a:lnTo>
                      <a:lnTo>
                        <a:pt x="696" y="1216"/>
                      </a:lnTo>
                      <a:lnTo>
                        <a:pt x="688" y="1208"/>
                      </a:lnTo>
                      <a:lnTo>
                        <a:pt x="680" y="1202"/>
                      </a:lnTo>
                      <a:lnTo>
                        <a:pt x="676" y="1199"/>
                      </a:lnTo>
                      <a:lnTo>
                        <a:pt x="671" y="1197"/>
                      </a:lnTo>
                      <a:lnTo>
                        <a:pt x="667" y="1195"/>
                      </a:lnTo>
                      <a:lnTo>
                        <a:pt x="662" y="1194"/>
                      </a:lnTo>
                      <a:lnTo>
                        <a:pt x="657" y="1194"/>
                      </a:lnTo>
                      <a:lnTo>
                        <a:pt x="652" y="1194"/>
                      </a:lnTo>
                      <a:lnTo>
                        <a:pt x="646" y="1194"/>
                      </a:lnTo>
                      <a:lnTo>
                        <a:pt x="641" y="1195"/>
                      </a:lnTo>
                      <a:lnTo>
                        <a:pt x="629" y="1198"/>
                      </a:lnTo>
                      <a:lnTo>
                        <a:pt x="616" y="1203"/>
                      </a:lnTo>
                      <a:lnTo>
                        <a:pt x="602" y="1211"/>
                      </a:lnTo>
                      <a:lnTo>
                        <a:pt x="586" y="1221"/>
                      </a:lnTo>
                      <a:lnTo>
                        <a:pt x="570" y="1234"/>
                      </a:lnTo>
                      <a:lnTo>
                        <a:pt x="540" y="1255"/>
                      </a:lnTo>
                      <a:lnTo>
                        <a:pt x="511" y="1272"/>
                      </a:lnTo>
                      <a:lnTo>
                        <a:pt x="480" y="1287"/>
                      </a:lnTo>
                      <a:lnTo>
                        <a:pt x="449" y="1298"/>
                      </a:lnTo>
                      <a:lnTo>
                        <a:pt x="417" y="1307"/>
                      </a:lnTo>
                      <a:lnTo>
                        <a:pt x="385" y="1313"/>
                      </a:lnTo>
                      <a:lnTo>
                        <a:pt x="353" y="1317"/>
                      </a:lnTo>
                      <a:lnTo>
                        <a:pt x="320" y="1319"/>
                      </a:lnTo>
                      <a:lnTo>
                        <a:pt x="254" y="1318"/>
                      </a:lnTo>
                      <a:lnTo>
                        <a:pt x="188" y="1312"/>
                      </a:lnTo>
                      <a:lnTo>
                        <a:pt x="57" y="1292"/>
                      </a:lnTo>
                      <a:lnTo>
                        <a:pt x="43" y="1288"/>
                      </a:lnTo>
                      <a:lnTo>
                        <a:pt x="31" y="1284"/>
                      </a:lnTo>
                      <a:lnTo>
                        <a:pt x="26" y="1281"/>
                      </a:lnTo>
                      <a:lnTo>
                        <a:pt x="21" y="1278"/>
                      </a:lnTo>
                      <a:lnTo>
                        <a:pt x="17" y="1274"/>
                      </a:lnTo>
                      <a:lnTo>
                        <a:pt x="14" y="1271"/>
                      </a:lnTo>
                      <a:lnTo>
                        <a:pt x="10" y="1267"/>
                      </a:lnTo>
                      <a:lnTo>
                        <a:pt x="8" y="1263"/>
                      </a:lnTo>
                      <a:lnTo>
                        <a:pt x="5" y="1259"/>
                      </a:lnTo>
                      <a:lnTo>
                        <a:pt x="3" y="1254"/>
                      </a:lnTo>
                      <a:lnTo>
                        <a:pt x="2" y="1250"/>
                      </a:lnTo>
                      <a:lnTo>
                        <a:pt x="1" y="1245"/>
                      </a:lnTo>
                      <a:lnTo>
                        <a:pt x="0" y="1240"/>
                      </a:lnTo>
                      <a:lnTo>
                        <a:pt x="0" y="1235"/>
                      </a:lnTo>
                      <a:lnTo>
                        <a:pt x="1" y="1225"/>
                      </a:lnTo>
                      <a:lnTo>
                        <a:pt x="4" y="1214"/>
                      </a:lnTo>
                      <a:lnTo>
                        <a:pt x="8" y="1203"/>
                      </a:lnTo>
                      <a:lnTo>
                        <a:pt x="13" y="1193"/>
                      </a:lnTo>
                      <a:lnTo>
                        <a:pt x="20" y="1182"/>
                      </a:lnTo>
                      <a:lnTo>
                        <a:pt x="28" y="1172"/>
                      </a:lnTo>
                      <a:lnTo>
                        <a:pt x="38" y="1162"/>
                      </a:lnTo>
                      <a:lnTo>
                        <a:pt x="49" y="1153"/>
                      </a:lnTo>
                      <a:lnTo>
                        <a:pt x="53" y="1150"/>
                      </a:lnTo>
                      <a:lnTo>
                        <a:pt x="58" y="1147"/>
                      </a:lnTo>
                      <a:lnTo>
                        <a:pt x="69" y="1142"/>
                      </a:lnTo>
                      <a:lnTo>
                        <a:pt x="81" y="1137"/>
                      </a:lnTo>
                      <a:lnTo>
                        <a:pt x="93" y="1134"/>
                      </a:lnTo>
                      <a:lnTo>
                        <a:pt x="105" y="1131"/>
                      </a:lnTo>
                      <a:lnTo>
                        <a:pt x="118" y="1130"/>
                      </a:lnTo>
                      <a:lnTo>
                        <a:pt x="130" y="1130"/>
                      </a:lnTo>
                      <a:lnTo>
                        <a:pt x="136" y="1130"/>
                      </a:lnTo>
                      <a:lnTo>
                        <a:pt x="142" y="1131"/>
                      </a:lnTo>
                      <a:lnTo>
                        <a:pt x="172" y="1134"/>
                      </a:lnTo>
                      <a:lnTo>
                        <a:pt x="201" y="1135"/>
                      </a:lnTo>
                      <a:lnTo>
                        <a:pt x="229" y="1134"/>
                      </a:lnTo>
                      <a:lnTo>
                        <a:pt x="256" y="1131"/>
                      </a:lnTo>
                      <a:lnTo>
                        <a:pt x="282" y="1126"/>
                      </a:lnTo>
                      <a:lnTo>
                        <a:pt x="308" y="1119"/>
                      </a:lnTo>
                      <a:lnTo>
                        <a:pt x="333" y="1111"/>
                      </a:lnTo>
                      <a:lnTo>
                        <a:pt x="357" y="1100"/>
                      </a:lnTo>
                      <a:lnTo>
                        <a:pt x="380" y="1089"/>
                      </a:lnTo>
                      <a:lnTo>
                        <a:pt x="403" y="1076"/>
                      </a:lnTo>
                      <a:lnTo>
                        <a:pt x="425" y="1061"/>
                      </a:lnTo>
                      <a:lnTo>
                        <a:pt x="447" y="1045"/>
                      </a:lnTo>
                      <a:lnTo>
                        <a:pt x="488" y="1009"/>
                      </a:lnTo>
                      <a:lnTo>
                        <a:pt x="527" y="970"/>
                      </a:lnTo>
                      <a:lnTo>
                        <a:pt x="543" y="953"/>
                      </a:lnTo>
                      <a:lnTo>
                        <a:pt x="558" y="938"/>
                      </a:lnTo>
                      <a:lnTo>
                        <a:pt x="574" y="926"/>
                      </a:lnTo>
                      <a:lnTo>
                        <a:pt x="589" y="915"/>
                      </a:lnTo>
                      <a:lnTo>
                        <a:pt x="604" y="907"/>
                      </a:lnTo>
                      <a:lnTo>
                        <a:pt x="619" y="900"/>
                      </a:lnTo>
                      <a:lnTo>
                        <a:pt x="634" y="896"/>
                      </a:lnTo>
                      <a:lnTo>
                        <a:pt x="649" y="895"/>
                      </a:lnTo>
                      <a:lnTo>
                        <a:pt x="656" y="895"/>
                      </a:lnTo>
                      <a:lnTo>
                        <a:pt x="663" y="895"/>
                      </a:lnTo>
                      <a:lnTo>
                        <a:pt x="671" y="897"/>
                      </a:lnTo>
                      <a:lnTo>
                        <a:pt x="678" y="898"/>
                      </a:lnTo>
                      <a:lnTo>
                        <a:pt x="693" y="904"/>
                      </a:lnTo>
                      <a:lnTo>
                        <a:pt x="707" y="912"/>
                      </a:lnTo>
                      <a:lnTo>
                        <a:pt x="722" y="923"/>
                      </a:lnTo>
                      <a:lnTo>
                        <a:pt x="736" y="937"/>
                      </a:lnTo>
                      <a:lnTo>
                        <a:pt x="751" y="953"/>
                      </a:lnTo>
                      <a:lnTo>
                        <a:pt x="766" y="972"/>
                      </a:lnTo>
                      <a:lnTo>
                        <a:pt x="771" y="978"/>
                      </a:lnTo>
                      <a:lnTo>
                        <a:pt x="777" y="985"/>
                      </a:lnTo>
                      <a:lnTo>
                        <a:pt x="783" y="991"/>
                      </a:lnTo>
                      <a:lnTo>
                        <a:pt x="790" y="997"/>
                      </a:lnTo>
                      <a:lnTo>
                        <a:pt x="803" y="1009"/>
                      </a:lnTo>
                      <a:lnTo>
                        <a:pt x="818" y="1020"/>
                      </a:lnTo>
                      <a:lnTo>
                        <a:pt x="968" y="1131"/>
                      </a:lnTo>
                      <a:lnTo>
                        <a:pt x="1037" y="941"/>
                      </a:lnTo>
                      <a:lnTo>
                        <a:pt x="1127" y="651"/>
                      </a:lnTo>
                      <a:lnTo>
                        <a:pt x="1142" y="589"/>
                      </a:lnTo>
                      <a:lnTo>
                        <a:pt x="1156" y="528"/>
                      </a:lnTo>
                      <a:lnTo>
                        <a:pt x="1171" y="466"/>
                      </a:lnTo>
                      <a:lnTo>
                        <a:pt x="1180" y="436"/>
                      </a:lnTo>
                      <a:lnTo>
                        <a:pt x="1190" y="407"/>
                      </a:lnTo>
                      <a:lnTo>
                        <a:pt x="1229" y="305"/>
                      </a:lnTo>
                      <a:lnTo>
                        <a:pt x="1270" y="204"/>
                      </a:lnTo>
                      <a:lnTo>
                        <a:pt x="1357" y="0"/>
                      </a:lnTo>
                      <a:lnTo>
                        <a:pt x="1387" y="13"/>
                      </a:lnTo>
                      <a:lnTo>
                        <a:pt x="1408" y="22"/>
                      </a:lnTo>
                      <a:lnTo>
                        <a:pt x="1415" y="25"/>
                      </a:lnTo>
                      <a:lnTo>
                        <a:pt x="1418" y="27"/>
                      </a:lnTo>
                      <a:lnTo>
                        <a:pt x="1421" y="28"/>
                      </a:lnTo>
                      <a:lnTo>
                        <a:pt x="1423" y="30"/>
                      </a:lnTo>
                      <a:lnTo>
                        <a:pt x="1424" y="30"/>
                      </a:lnTo>
                      <a:lnTo>
                        <a:pt x="1424" y="31"/>
                      </a:lnTo>
                      <a:lnTo>
                        <a:pt x="1425" y="32"/>
                      </a:lnTo>
                      <a:lnTo>
                        <a:pt x="1425" y="32"/>
                      </a:lnTo>
                      <a:lnTo>
                        <a:pt x="1425" y="33"/>
                      </a:lnTo>
                      <a:lnTo>
                        <a:pt x="1426" y="34"/>
                      </a:lnTo>
                      <a:lnTo>
                        <a:pt x="1436" y="75"/>
                      </a:lnTo>
                      <a:lnTo>
                        <a:pt x="1448" y="116"/>
                      </a:lnTo>
                      <a:lnTo>
                        <a:pt x="1477" y="195"/>
                      </a:lnTo>
                      <a:lnTo>
                        <a:pt x="1544" y="353"/>
                      </a:lnTo>
                      <a:lnTo>
                        <a:pt x="1575" y="432"/>
                      </a:lnTo>
                      <a:lnTo>
                        <a:pt x="1587" y="473"/>
                      </a:lnTo>
                      <a:lnTo>
                        <a:pt x="1598" y="514"/>
                      </a:lnTo>
                      <a:lnTo>
                        <a:pt x="1606" y="556"/>
                      </a:lnTo>
                      <a:lnTo>
                        <a:pt x="1610" y="599"/>
                      </a:lnTo>
                      <a:lnTo>
                        <a:pt x="1612" y="643"/>
                      </a:lnTo>
                      <a:lnTo>
                        <a:pt x="1609" y="688"/>
                      </a:lnTo>
                      <a:lnTo>
                        <a:pt x="1606" y="724"/>
                      </a:lnTo>
                      <a:lnTo>
                        <a:pt x="1608" y="758"/>
                      </a:lnTo>
                      <a:lnTo>
                        <a:pt x="1612" y="790"/>
                      </a:lnTo>
                      <a:lnTo>
                        <a:pt x="1620" y="821"/>
                      </a:lnTo>
                      <a:lnTo>
                        <a:pt x="1631" y="850"/>
                      </a:lnTo>
                      <a:lnTo>
                        <a:pt x="1643" y="879"/>
                      </a:lnTo>
                      <a:lnTo>
                        <a:pt x="1658" y="906"/>
                      </a:lnTo>
                      <a:lnTo>
                        <a:pt x="1675" y="932"/>
                      </a:lnTo>
                      <a:lnTo>
                        <a:pt x="1713" y="983"/>
                      </a:lnTo>
                      <a:lnTo>
                        <a:pt x="1754" y="1032"/>
                      </a:lnTo>
                      <a:lnTo>
                        <a:pt x="1837" y="1129"/>
                      </a:lnTo>
                      <a:lnTo>
                        <a:pt x="1882" y="1129"/>
                      </a:lnTo>
                      <a:lnTo>
                        <a:pt x="1906" y="989"/>
                      </a:lnTo>
                      <a:lnTo>
                        <a:pt x="1920" y="920"/>
                      </a:lnTo>
                      <a:lnTo>
                        <a:pt x="1927" y="886"/>
                      </a:lnTo>
                      <a:lnTo>
                        <a:pt x="1937" y="852"/>
                      </a:lnTo>
                      <a:lnTo>
                        <a:pt x="1963" y="763"/>
                      </a:lnTo>
                      <a:lnTo>
                        <a:pt x="1993" y="675"/>
                      </a:lnTo>
                      <a:lnTo>
                        <a:pt x="2025" y="588"/>
                      </a:lnTo>
                      <a:lnTo>
                        <a:pt x="2044" y="545"/>
                      </a:lnTo>
                      <a:lnTo>
                        <a:pt x="2064" y="504"/>
                      </a:lnTo>
                      <a:lnTo>
                        <a:pt x="2072" y="490"/>
                      </a:lnTo>
                      <a:lnTo>
                        <a:pt x="2080" y="477"/>
                      </a:lnTo>
                      <a:lnTo>
                        <a:pt x="2089" y="468"/>
                      </a:lnTo>
                      <a:lnTo>
                        <a:pt x="2098" y="460"/>
                      </a:lnTo>
                      <a:lnTo>
                        <a:pt x="2103" y="457"/>
                      </a:lnTo>
                      <a:lnTo>
                        <a:pt x="2108" y="454"/>
                      </a:lnTo>
                      <a:lnTo>
                        <a:pt x="2113" y="452"/>
                      </a:lnTo>
                      <a:lnTo>
                        <a:pt x="2117" y="451"/>
                      </a:lnTo>
                      <a:lnTo>
                        <a:pt x="2122" y="449"/>
                      </a:lnTo>
                      <a:lnTo>
                        <a:pt x="2127" y="449"/>
                      </a:lnTo>
                      <a:lnTo>
                        <a:pt x="2132" y="449"/>
                      </a:lnTo>
                      <a:lnTo>
                        <a:pt x="2137" y="449"/>
                      </a:lnTo>
                      <a:lnTo>
                        <a:pt x="2142" y="450"/>
                      </a:lnTo>
                      <a:lnTo>
                        <a:pt x="2147" y="452"/>
                      </a:lnTo>
                      <a:lnTo>
                        <a:pt x="2152" y="453"/>
                      </a:lnTo>
                      <a:lnTo>
                        <a:pt x="2157" y="456"/>
                      </a:lnTo>
                      <a:lnTo>
                        <a:pt x="2166" y="462"/>
                      </a:lnTo>
                      <a:lnTo>
                        <a:pt x="2176" y="469"/>
                      </a:lnTo>
                      <a:lnTo>
                        <a:pt x="2185" y="479"/>
                      </a:lnTo>
                      <a:lnTo>
                        <a:pt x="2193" y="490"/>
                      </a:lnTo>
                      <a:lnTo>
                        <a:pt x="2201" y="503"/>
                      </a:lnTo>
                      <a:lnTo>
                        <a:pt x="2209" y="518"/>
                      </a:lnTo>
                      <a:lnTo>
                        <a:pt x="2291" y="703"/>
                      </a:lnTo>
                      <a:lnTo>
                        <a:pt x="2332" y="796"/>
                      </a:lnTo>
                      <a:lnTo>
                        <a:pt x="2378" y="887"/>
                      </a:lnTo>
                      <a:lnTo>
                        <a:pt x="2407" y="937"/>
                      </a:lnTo>
                      <a:lnTo>
                        <a:pt x="2438" y="985"/>
                      </a:lnTo>
                      <a:lnTo>
                        <a:pt x="2455" y="1008"/>
                      </a:lnTo>
                      <a:lnTo>
                        <a:pt x="2473" y="1029"/>
                      </a:lnTo>
                      <a:lnTo>
                        <a:pt x="2491" y="1050"/>
                      </a:lnTo>
                      <a:lnTo>
                        <a:pt x="2511" y="1068"/>
                      </a:lnTo>
                      <a:lnTo>
                        <a:pt x="2533" y="1086"/>
                      </a:lnTo>
                      <a:lnTo>
                        <a:pt x="2556" y="1101"/>
                      </a:lnTo>
                      <a:lnTo>
                        <a:pt x="2580" y="1114"/>
                      </a:lnTo>
                      <a:lnTo>
                        <a:pt x="2606" y="1126"/>
                      </a:lnTo>
                      <a:lnTo>
                        <a:pt x="2633" y="1135"/>
                      </a:lnTo>
                      <a:lnTo>
                        <a:pt x="2663" y="1141"/>
                      </a:lnTo>
                      <a:lnTo>
                        <a:pt x="2695" y="1145"/>
                      </a:lnTo>
                      <a:lnTo>
                        <a:pt x="2729" y="1147"/>
                      </a:lnTo>
                      <a:lnTo>
                        <a:pt x="2740" y="1147"/>
                      </a:lnTo>
                      <a:lnTo>
                        <a:pt x="2752" y="1148"/>
                      </a:lnTo>
                      <a:lnTo>
                        <a:pt x="2776" y="1152"/>
                      </a:lnTo>
                      <a:lnTo>
                        <a:pt x="2799" y="1158"/>
                      </a:lnTo>
                      <a:lnTo>
                        <a:pt x="2823" y="1166"/>
                      </a:lnTo>
                      <a:lnTo>
                        <a:pt x="2869" y="1183"/>
                      </a:lnTo>
                      <a:lnTo>
                        <a:pt x="2893" y="1191"/>
                      </a:lnTo>
                      <a:lnTo>
                        <a:pt x="2917" y="119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grpSp>
          <p:sp>
            <p:nvSpPr>
              <p:cNvPr id="11" name="Ring 41"/>
              <p:cNvSpPr/>
              <p:nvPr/>
            </p:nvSpPr>
            <p:spPr>
              <a:xfrm>
                <a:off x="4152577" y="3148886"/>
                <a:ext cx="1077604" cy="1077604"/>
              </a:xfrm>
              <a:prstGeom prst="donut">
                <a:avLst>
                  <a:gd name="adj" fmla="val 11597"/>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endParaRPr>
              </a:p>
            </p:txBody>
          </p:sp>
        </p:grpSp>
        <p:sp>
          <p:nvSpPr>
            <p:cNvPr id="9" name="Textfeld 39"/>
            <p:cNvSpPr txBox="1"/>
            <p:nvPr/>
          </p:nvSpPr>
          <p:spPr>
            <a:xfrm>
              <a:off x="1164861" y="3055494"/>
              <a:ext cx="2893738" cy="452004"/>
            </a:xfrm>
            <a:prstGeom prst="rect">
              <a:avLst/>
            </a:prstGeom>
            <a:noFill/>
          </p:spPr>
          <p:txBody>
            <a:bodyPr wrap="none" lIns="0" tIns="0" rIns="0" bIns="0" rtlCol="0">
              <a:spAutoFit/>
            </a:bodyPr>
            <a:lstStyle/>
            <a:p>
              <a:r>
                <a:rPr lang="de-DE" dirty="0">
                  <a:latin typeface="Arial" panose="020B0604020202020204" pitchFamily="34" charset="0"/>
                  <a:cs typeface="Arial" panose="020B0604020202020204" pitchFamily="34" charset="0"/>
                </a:rPr>
                <a:t>Global Clinical Trial Market Size 2016:</a:t>
              </a:r>
            </a:p>
            <a:p>
              <a:r>
                <a:rPr lang="de-DE" dirty="0">
                  <a:latin typeface="Arial" panose="020B0604020202020204" pitchFamily="34" charset="0"/>
                  <a:cs typeface="Arial" panose="020B0604020202020204" pitchFamily="34" charset="0"/>
                </a:rPr>
                <a:t>USD 40 Billion</a:t>
              </a:r>
            </a:p>
          </p:txBody>
        </p:sp>
      </p:grpSp>
      <p:sp>
        <p:nvSpPr>
          <p:cNvPr id="2" name="TextBox 1"/>
          <p:cNvSpPr txBox="1"/>
          <p:nvPr/>
        </p:nvSpPr>
        <p:spPr>
          <a:xfrm>
            <a:off x="390525" y="4514850"/>
            <a:ext cx="6000750" cy="153888"/>
          </a:xfrm>
          <a:prstGeom prst="rect">
            <a:avLst/>
          </a:prstGeom>
          <a:noFill/>
        </p:spPr>
        <p:txBody>
          <a:bodyPr wrap="square" lIns="0" tIns="0" rIns="0" bIns="0" rtlCol="0">
            <a:spAutoFit/>
          </a:bodyPr>
          <a:lstStyle/>
          <a:p>
            <a:r>
              <a:rPr lang="en-US" sz="1000" dirty="0">
                <a:latin typeface="Arial" panose="020B0604020202020204" pitchFamily="34" charset="0"/>
                <a:cs typeface="Arial" panose="020B0604020202020204" pitchFamily="34" charset="0"/>
              </a:rPr>
              <a:t>Grand View Research Inc. 2017</a:t>
            </a:r>
          </a:p>
        </p:txBody>
      </p:sp>
      <p:grpSp>
        <p:nvGrpSpPr>
          <p:cNvPr id="20" name="Gruppierung 37"/>
          <p:cNvGrpSpPr/>
          <p:nvPr/>
        </p:nvGrpSpPr>
        <p:grpSpPr>
          <a:xfrm>
            <a:off x="2223127" y="2820759"/>
            <a:ext cx="4982912" cy="879527"/>
            <a:chOff x="360000" y="2916000"/>
            <a:chExt cx="3698599" cy="717602"/>
          </a:xfrm>
        </p:grpSpPr>
        <p:grpSp>
          <p:nvGrpSpPr>
            <p:cNvPr id="21" name="Gruppierung 38"/>
            <p:cNvGrpSpPr>
              <a:grpSpLocks noChangeAspect="1"/>
            </p:cNvGrpSpPr>
            <p:nvPr/>
          </p:nvGrpSpPr>
          <p:grpSpPr>
            <a:xfrm>
              <a:off x="360000" y="2916000"/>
              <a:ext cx="717602" cy="717602"/>
              <a:chOff x="4152577" y="3148886"/>
              <a:chExt cx="1077604" cy="1077604"/>
            </a:xfrm>
            <a:gradFill flip="none" rotWithShape="1">
              <a:gsLst>
                <a:gs pos="0">
                  <a:schemeClr val="accent1">
                    <a:lumMod val="50000"/>
                  </a:schemeClr>
                </a:gs>
                <a:gs pos="100000">
                  <a:schemeClr val="accent2"/>
                </a:gs>
              </a:gsLst>
              <a:lin ang="0" scaled="1"/>
              <a:tileRect/>
            </a:gradFill>
          </p:grpSpPr>
          <p:grpSp>
            <p:nvGrpSpPr>
              <p:cNvPr id="23" name="Gruppierung 40"/>
              <p:cNvGrpSpPr>
                <a:grpSpLocks noChangeAspect="1"/>
              </p:cNvGrpSpPr>
              <p:nvPr/>
            </p:nvGrpSpPr>
            <p:grpSpPr>
              <a:xfrm>
                <a:off x="4419727" y="3384420"/>
                <a:ext cx="576000" cy="489238"/>
                <a:chOff x="3436938" y="1992313"/>
                <a:chExt cx="3530600" cy="2998787"/>
              </a:xfrm>
              <a:grpFill/>
            </p:grpSpPr>
            <p:sp>
              <p:nvSpPr>
                <p:cNvPr id="25" name="Freeform 1"/>
                <p:cNvSpPr>
                  <a:spLocks noChangeArrowheads="1"/>
                </p:cNvSpPr>
                <p:nvPr/>
              </p:nvSpPr>
              <p:spPr bwMode="auto">
                <a:xfrm>
                  <a:off x="3751263" y="3181350"/>
                  <a:ext cx="2894012" cy="936625"/>
                </a:xfrm>
                <a:custGeom>
                  <a:avLst/>
                  <a:gdLst>
                    <a:gd name="T0" fmla="*/ 144 w 8040"/>
                    <a:gd name="T1" fmla="*/ 2597 h 2601"/>
                    <a:gd name="T2" fmla="*/ 64 w 8040"/>
                    <a:gd name="T3" fmla="*/ 2576 h 2601"/>
                    <a:gd name="T4" fmla="*/ 35 w 8040"/>
                    <a:gd name="T5" fmla="*/ 2552 h 2601"/>
                    <a:gd name="T6" fmla="*/ 12 w 8040"/>
                    <a:gd name="T7" fmla="*/ 2507 h 2601"/>
                    <a:gd name="T8" fmla="*/ 0 w 8040"/>
                    <a:gd name="T9" fmla="*/ 2348 h 2601"/>
                    <a:gd name="T10" fmla="*/ 29 w 8040"/>
                    <a:gd name="T11" fmla="*/ 1462 h 2601"/>
                    <a:gd name="T12" fmla="*/ 64 w 8040"/>
                    <a:gd name="T13" fmla="*/ 1326 h 2601"/>
                    <a:gd name="T14" fmla="*/ 132 w 8040"/>
                    <a:gd name="T15" fmla="*/ 1205 h 2601"/>
                    <a:gd name="T16" fmla="*/ 285 w 8040"/>
                    <a:gd name="T17" fmla="*/ 1047 h 2601"/>
                    <a:gd name="T18" fmla="*/ 465 w 8040"/>
                    <a:gd name="T19" fmla="*/ 932 h 2601"/>
                    <a:gd name="T20" fmla="*/ 664 w 8040"/>
                    <a:gd name="T21" fmla="*/ 881 h 2601"/>
                    <a:gd name="T22" fmla="*/ 2794 w 8040"/>
                    <a:gd name="T23" fmla="*/ 875 h 2601"/>
                    <a:gd name="T24" fmla="*/ 2913 w 8040"/>
                    <a:gd name="T25" fmla="*/ 883 h 2601"/>
                    <a:gd name="T26" fmla="*/ 2946 w 8040"/>
                    <a:gd name="T27" fmla="*/ 898 h 2601"/>
                    <a:gd name="T28" fmla="*/ 2964 w 8040"/>
                    <a:gd name="T29" fmla="*/ 919 h 2601"/>
                    <a:gd name="T30" fmla="*/ 2978 w 8040"/>
                    <a:gd name="T31" fmla="*/ 978 h 2601"/>
                    <a:gd name="T32" fmla="*/ 2981 w 8040"/>
                    <a:gd name="T33" fmla="*/ 1623 h 2601"/>
                    <a:gd name="T34" fmla="*/ 2986 w 8040"/>
                    <a:gd name="T35" fmla="*/ 1698 h 2601"/>
                    <a:gd name="T36" fmla="*/ 2998 w 8040"/>
                    <a:gd name="T37" fmla="*/ 1736 h 2601"/>
                    <a:gd name="T38" fmla="*/ 3050 w 8040"/>
                    <a:gd name="T39" fmla="*/ 1802 h 2601"/>
                    <a:gd name="T40" fmla="*/ 3099 w 8040"/>
                    <a:gd name="T41" fmla="*/ 1841 h 2601"/>
                    <a:gd name="T42" fmla="*/ 3139 w 8040"/>
                    <a:gd name="T43" fmla="*/ 1857 h 2601"/>
                    <a:gd name="T44" fmla="*/ 3180 w 8040"/>
                    <a:gd name="T45" fmla="*/ 1852 h 2601"/>
                    <a:gd name="T46" fmla="*/ 3226 w 8040"/>
                    <a:gd name="T47" fmla="*/ 1829 h 2601"/>
                    <a:gd name="T48" fmla="*/ 3267 w 8040"/>
                    <a:gd name="T49" fmla="*/ 1795 h 2601"/>
                    <a:gd name="T50" fmla="*/ 3293 w 8040"/>
                    <a:gd name="T51" fmla="*/ 1758 h 2601"/>
                    <a:gd name="T52" fmla="*/ 3314 w 8040"/>
                    <a:gd name="T53" fmla="*/ 1614 h 2601"/>
                    <a:gd name="T54" fmla="*/ 3322 w 8040"/>
                    <a:gd name="T55" fmla="*/ 1120 h 2601"/>
                    <a:gd name="T56" fmla="*/ 3321 w 8040"/>
                    <a:gd name="T57" fmla="*/ 979 h 2601"/>
                    <a:gd name="T58" fmla="*/ 3339 w 8040"/>
                    <a:gd name="T59" fmla="*/ 924 h 2601"/>
                    <a:gd name="T60" fmla="*/ 3379 w 8040"/>
                    <a:gd name="T61" fmla="*/ 890 h 2601"/>
                    <a:gd name="T62" fmla="*/ 3442 w 8040"/>
                    <a:gd name="T63" fmla="*/ 875 h 2601"/>
                    <a:gd name="T64" fmla="*/ 3517 w 8040"/>
                    <a:gd name="T65" fmla="*/ 882 h 2601"/>
                    <a:gd name="T66" fmla="*/ 3568 w 8040"/>
                    <a:gd name="T67" fmla="*/ 909 h 2601"/>
                    <a:gd name="T68" fmla="*/ 3596 w 8040"/>
                    <a:gd name="T69" fmla="*/ 955 h 2601"/>
                    <a:gd name="T70" fmla="*/ 3607 w 8040"/>
                    <a:gd name="T71" fmla="*/ 1037 h 2601"/>
                    <a:gd name="T72" fmla="*/ 3622 w 8040"/>
                    <a:gd name="T73" fmla="*/ 1728 h 2601"/>
                    <a:gd name="T74" fmla="*/ 3668 w 8040"/>
                    <a:gd name="T75" fmla="*/ 1815 h 2601"/>
                    <a:gd name="T76" fmla="*/ 3728 w 8040"/>
                    <a:gd name="T77" fmla="*/ 1852 h 2601"/>
                    <a:gd name="T78" fmla="*/ 3893 w 8040"/>
                    <a:gd name="T79" fmla="*/ 1872 h 2601"/>
                    <a:gd name="T80" fmla="*/ 5846 w 8040"/>
                    <a:gd name="T81" fmla="*/ 1871 h 2601"/>
                    <a:gd name="T82" fmla="*/ 5937 w 8040"/>
                    <a:gd name="T83" fmla="*/ 1844 h 2601"/>
                    <a:gd name="T84" fmla="*/ 6072 w 8040"/>
                    <a:gd name="T85" fmla="*/ 1758 h 2601"/>
                    <a:gd name="T86" fmla="*/ 7653 w 8040"/>
                    <a:gd name="T87" fmla="*/ 178 h 2601"/>
                    <a:gd name="T88" fmla="*/ 7810 w 8040"/>
                    <a:gd name="T89" fmla="*/ 36 h 2601"/>
                    <a:gd name="T90" fmla="*/ 7872 w 8040"/>
                    <a:gd name="T91" fmla="*/ 12 h 2601"/>
                    <a:gd name="T92" fmla="*/ 7977 w 8040"/>
                    <a:gd name="T93" fmla="*/ 0 h 2601"/>
                    <a:gd name="T94" fmla="*/ 7986 w 8040"/>
                    <a:gd name="T95" fmla="*/ 4 h 2601"/>
                    <a:gd name="T96" fmla="*/ 8006 w 8040"/>
                    <a:gd name="T97" fmla="*/ 34 h 2601"/>
                    <a:gd name="T98" fmla="*/ 8035 w 8040"/>
                    <a:gd name="T99" fmla="*/ 128 h 2601"/>
                    <a:gd name="T100" fmla="*/ 8038 w 8040"/>
                    <a:gd name="T101" fmla="*/ 2448 h 2601"/>
                    <a:gd name="T102" fmla="*/ 8023 w 8040"/>
                    <a:gd name="T103" fmla="*/ 2541 h 2601"/>
                    <a:gd name="T104" fmla="*/ 8005 w 8040"/>
                    <a:gd name="T105" fmla="*/ 2568 h 2601"/>
                    <a:gd name="T106" fmla="*/ 7977 w 8040"/>
                    <a:gd name="T107" fmla="*/ 2584 h 2601"/>
                    <a:gd name="T108" fmla="*/ 7811 w 8040"/>
                    <a:gd name="T109" fmla="*/ 2598 h 2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40" h="2601">
                      <a:moveTo>
                        <a:pt x="4016" y="2600"/>
                      </a:moveTo>
                      <a:lnTo>
                        <a:pt x="250" y="2600"/>
                      </a:lnTo>
                      <a:lnTo>
                        <a:pt x="175" y="2599"/>
                      </a:lnTo>
                      <a:lnTo>
                        <a:pt x="144" y="2597"/>
                      </a:lnTo>
                      <a:lnTo>
                        <a:pt x="117" y="2593"/>
                      </a:lnTo>
                      <a:lnTo>
                        <a:pt x="93" y="2588"/>
                      </a:lnTo>
                      <a:lnTo>
                        <a:pt x="73" y="2580"/>
                      </a:lnTo>
                      <a:lnTo>
                        <a:pt x="64" y="2576"/>
                      </a:lnTo>
                      <a:lnTo>
                        <a:pt x="55" y="2571"/>
                      </a:lnTo>
                      <a:lnTo>
                        <a:pt x="48" y="2565"/>
                      </a:lnTo>
                      <a:lnTo>
                        <a:pt x="41" y="2559"/>
                      </a:lnTo>
                      <a:lnTo>
                        <a:pt x="35" y="2552"/>
                      </a:lnTo>
                      <a:lnTo>
                        <a:pt x="29" y="2545"/>
                      </a:lnTo>
                      <a:lnTo>
                        <a:pt x="24" y="2537"/>
                      </a:lnTo>
                      <a:lnTo>
                        <a:pt x="19" y="2527"/>
                      </a:lnTo>
                      <a:lnTo>
                        <a:pt x="12" y="2507"/>
                      </a:lnTo>
                      <a:lnTo>
                        <a:pt x="7" y="2483"/>
                      </a:lnTo>
                      <a:lnTo>
                        <a:pt x="3" y="2456"/>
                      </a:lnTo>
                      <a:lnTo>
                        <a:pt x="1" y="2424"/>
                      </a:lnTo>
                      <a:lnTo>
                        <a:pt x="0" y="2348"/>
                      </a:lnTo>
                      <a:lnTo>
                        <a:pt x="2" y="1904"/>
                      </a:lnTo>
                      <a:lnTo>
                        <a:pt x="10" y="1682"/>
                      </a:lnTo>
                      <a:lnTo>
                        <a:pt x="18" y="1572"/>
                      </a:lnTo>
                      <a:lnTo>
                        <a:pt x="29" y="1462"/>
                      </a:lnTo>
                      <a:lnTo>
                        <a:pt x="34" y="1426"/>
                      </a:lnTo>
                      <a:lnTo>
                        <a:pt x="42" y="1392"/>
                      </a:lnTo>
                      <a:lnTo>
                        <a:pt x="52" y="1358"/>
                      </a:lnTo>
                      <a:lnTo>
                        <a:pt x="64" y="1326"/>
                      </a:lnTo>
                      <a:lnTo>
                        <a:pt x="78" y="1294"/>
                      </a:lnTo>
                      <a:lnTo>
                        <a:pt x="94" y="1264"/>
                      </a:lnTo>
                      <a:lnTo>
                        <a:pt x="112" y="1234"/>
                      </a:lnTo>
                      <a:lnTo>
                        <a:pt x="132" y="1205"/>
                      </a:lnTo>
                      <a:lnTo>
                        <a:pt x="153" y="1177"/>
                      </a:lnTo>
                      <a:lnTo>
                        <a:pt x="176" y="1150"/>
                      </a:lnTo>
                      <a:lnTo>
                        <a:pt x="228" y="1097"/>
                      </a:lnTo>
                      <a:lnTo>
                        <a:pt x="285" y="1047"/>
                      </a:lnTo>
                      <a:lnTo>
                        <a:pt x="348" y="1000"/>
                      </a:lnTo>
                      <a:lnTo>
                        <a:pt x="387" y="973"/>
                      </a:lnTo>
                      <a:lnTo>
                        <a:pt x="426" y="951"/>
                      </a:lnTo>
                      <a:lnTo>
                        <a:pt x="465" y="932"/>
                      </a:lnTo>
                      <a:lnTo>
                        <a:pt x="505" y="917"/>
                      </a:lnTo>
                      <a:lnTo>
                        <a:pt x="544" y="904"/>
                      </a:lnTo>
                      <a:lnTo>
                        <a:pt x="584" y="894"/>
                      </a:lnTo>
                      <a:lnTo>
                        <a:pt x="664" y="881"/>
                      </a:lnTo>
                      <a:lnTo>
                        <a:pt x="744" y="874"/>
                      </a:lnTo>
                      <a:lnTo>
                        <a:pt x="825" y="873"/>
                      </a:lnTo>
                      <a:lnTo>
                        <a:pt x="988" y="874"/>
                      </a:lnTo>
                      <a:lnTo>
                        <a:pt x="2794" y="875"/>
                      </a:lnTo>
                      <a:lnTo>
                        <a:pt x="2851" y="875"/>
                      </a:lnTo>
                      <a:lnTo>
                        <a:pt x="2874" y="877"/>
                      </a:lnTo>
                      <a:lnTo>
                        <a:pt x="2895" y="879"/>
                      </a:lnTo>
                      <a:lnTo>
                        <a:pt x="2913" y="883"/>
                      </a:lnTo>
                      <a:lnTo>
                        <a:pt x="2928" y="888"/>
                      </a:lnTo>
                      <a:lnTo>
                        <a:pt x="2935" y="891"/>
                      </a:lnTo>
                      <a:lnTo>
                        <a:pt x="2941" y="894"/>
                      </a:lnTo>
                      <a:lnTo>
                        <a:pt x="2946" y="898"/>
                      </a:lnTo>
                      <a:lnTo>
                        <a:pt x="2951" y="903"/>
                      </a:lnTo>
                      <a:lnTo>
                        <a:pt x="2956" y="908"/>
                      </a:lnTo>
                      <a:lnTo>
                        <a:pt x="2960" y="913"/>
                      </a:lnTo>
                      <a:lnTo>
                        <a:pt x="2964" y="919"/>
                      </a:lnTo>
                      <a:lnTo>
                        <a:pt x="2967" y="925"/>
                      </a:lnTo>
                      <a:lnTo>
                        <a:pt x="2972" y="940"/>
                      </a:lnTo>
                      <a:lnTo>
                        <a:pt x="2976" y="958"/>
                      </a:lnTo>
                      <a:lnTo>
                        <a:pt x="2978" y="978"/>
                      </a:lnTo>
                      <a:lnTo>
                        <a:pt x="2980" y="1001"/>
                      </a:lnTo>
                      <a:lnTo>
                        <a:pt x="2982" y="1058"/>
                      </a:lnTo>
                      <a:lnTo>
                        <a:pt x="2982" y="1580"/>
                      </a:lnTo>
                      <a:lnTo>
                        <a:pt x="2981" y="1623"/>
                      </a:lnTo>
                      <a:lnTo>
                        <a:pt x="2981" y="1645"/>
                      </a:lnTo>
                      <a:lnTo>
                        <a:pt x="2982" y="1667"/>
                      </a:lnTo>
                      <a:lnTo>
                        <a:pt x="2984" y="1688"/>
                      </a:lnTo>
                      <a:lnTo>
                        <a:pt x="2986" y="1698"/>
                      </a:lnTo>
                      <a:lnTo>
                        <a:pt x="2988" y="1708"/>
                      </a:lnTo>
                      <a:lnTo>
                        <a:pt x="2991" y="1718"/>
                      </a:lnTo>
                      <a:lnTo>
                        <a:pt x="2994" y="1727"/>
                      </a:lnTo>
                      <a:lnTo>
                        <a:pt x="2998" y="1736"/>
                      </a:lnTo>
                      <a:lnTo>
                        <a:pt x="3003" y="1744"/>
                      </a:lnTo>
                      <a:lnTo>
                        <a:pt x="3016" y="1764"/>
                      </a:lnTo>
                      <a:lnTo>
                        <a:pt x="3032" y="1784"/>
                      </a:lnTo>
                      <a:lnTo>
                        <a:pt x="3050" y="1802"/>
                      </a:lnTo>
                      <a:lnTo>
                        <a:pt x="3069" y="1820"/>
                      </a:lnTo>
                      <a:lnTo>
                        <a:pt x="3079" y="1828"/>
                      </a:lnTo>
                      <a:lnTo>
                        <a:pt x="3089" y="1835"/>
                      </a:lnTo>
                      <a:lnTo>
                        <a:pt x="3099" y="1841"/>
                      </a:lnTo>
                      <a:lnTo>
                        <a:pt x="3109" y="1847"/>
                      </a:lnTo>
                      <a:lnTo>
                        <a:pt x="3119" y="1851"/>
                      </a:lnTo>
                      <a:lnTo>
                        <a:pt x="3129" y="1854"/>
                      </a:lnTo>
                      <a:lnTo>
                        <a:pt x="3139" y="1857"/>
                      </a:lnTo>
                      <a:lnTo>
                        <a:pt x="3149" y="1857"/>
                      </a:lnTo>
                      <a:lnTo>
                        <a:pt x="3158" y="1857"/>
                      </a:lnTo>
                      <a:lnTo>
                        <a:pt x="3169" y="1855"/>
                      </a:lnTo>
                      <a:lnTo>
                        <a:pt x="3180" y="1852"/>
                      </a:lnTo>
                      <a:lnTo>
                        <a:pt x="3191" y="1847"/>
                      </a:lnTo>
                      <a:lnTo>
                        <a:pt x="3203" y="1842"/>
                      </a:lnTo>
                      <a:lnTo>
                        <a:pt x="3215" y="1836"/>
                      </a:lnTo>
                      <a:lnTo>
                        <a:pt x="3226" y="1829"/>
                      </a:lnTo>
                      <a:lnTo>
                        <a:pt x="3237" y="1821"/>
                      </a:lnTo>
                      <a:lnTo>
                        <a:pt x="3248" y="1813"/>
                      </a:lnTo>
                      <a:lnTo>
                        <a:pt x="3258" y="1804"/>
                      </a:lnTo>
                      <a:lnTo>
                        <a:pt x="3267" y="1795"/>
                      </a:lnTo>
                      <a:lnTo>
                        <a:pt x="3275" y="1786"/>
                      </a:lnTo>
                      <a:lnTo>
                        <a:pt x="3282" y="1776"/>
                      </a:lnTo>
                      <a:lnTo>
                        <a:pt x="3288" y="1767"/>
                      </a:lnTo>
                      <a:lnTo>
                        <a:pt x="3293" y="1758"/>
                      </a:lnTo>
                      <a:lnTo>
                        <a:pt x="3296" y="1748"/>
                      </a:lnTo>
                      <a:lnTo>
                        <a:pt x="3304" y="1704"/>
                      </a:lnTo>
                      <a:lnTo>
                        <a:pt x="3310" y="1659"/>
                      </a:lnTo>
                      <a:lnTo>
                        <a:pt x="3314" y="1614"/>
                      </a:lnTo>
                      <a:lnTo>
                        <a:pt x="3316" y="1569"/>
                      </a:lnTo>
                      <a:lnTo>
                        <a:pt x="3321" y="1386"/>
                      </a:lnTo>
                      <a:lnTo>
                        <a:pt x="3323" y="1209"/>
                      </a:lnTo>
                      <a:lnTo>
                        <a:pt x="3322" y="1120"/>
                      </a:lnTo>
                      <a:lnTo>
                        <a:pt x="3319" y="1033"/>
                      </a:lnTo>
                      <a:lnTo>
                        <a:pt x="3318" y="1013"/>
                      </a:lnTo>
                      <a:lnTo>
                        <a:pt x="3319" y="996"/>
                      </a:lnTo>
                      <a:lnTo>
                        <a:pt x="3321" y="979"/>
                      </a:lnTo>
                      <a:lnTo>
                        <a:pt x="3324" y="963"/>
                      </a:lnTo>
                      <a:lnTo>
                        <a:pt x="3328" y="949"/>
                      </a:lnTo>
                      <a:lnTo>
                        <a:pt x="3333" y="936"/>
                      </a:lnTo>
                      <a:lnTo>
                        <a:pt x="3339" y="924"/>
                      </a:lnTo>
                      <a:lnTo>
                        <a:pt x="3347" y="914"/>
                      </a:lnTo>
                      <a:lnTo>
                        <a:pt x="3356" y="904"/>
                      </a:lnTo>
                      <a:lnTo>
                        <a:pt x="3367" y="896"/>
                      </a:lnTo>
                      <a:lnTo>
                        <a:pt x="3379" y="890"/>
                      </a:lnTo>
                      <a:lnTo>
                        <a:pt x="3392" y="884"/>
                      </a:lnTo>
                      <a:lnTo>
                        <a:pt x="3407" y="880"/>
                      </a:lnTo>
                      <a:lnTo>
                        <a:pt x="3424" y="877"/>
                      </a:lnTo>
                      <a:lnTo>
                        <a:pt x="3442" y="875"/>
                      </a:lnTo>
                      <a:lnTo>
                        <a:pt x="3463" y="875"/>
                      </a:lnTo>
                      <a:lnTo>
                        <a:pt x="3483" y="876"/>
                      </a:lnTo>
                      <a:lnTo>
                        <a:pt x="3501" y="878"/>
                      </a:lnTo>
                      <a:lnTo>
                        <a:pt x="3517" y="882"/>
                      </a:lnTo>
                      <a:lnTo>
                        <a:pt x="3532" y="887"/>
                      </a:lnTo>
                      <a:lnTo>
                        <a:pt x="3546" y="893"/>
                      </a:lnTo>
                      <a:lnTo>
                        <a:pt x="3558" y="900"/>
                      </a:lnTo>
                      <a:lnTo>
                        <a:pt x="3568" y="909"/>
                      </a:lnTo>
                      <a:lnTo>
                        <a:pt x="3577" y="918"/>
                      </a:lnTo>
                      <a:lnTo>
                        <a:pt x="3585" y="929"/>
                      </a:lnTo>
                      <a:lnTo>
                        <a:pt x="3591" y="941"/>
                      </a:lnTo>
                      <a:lnTo>
                        <a:pt x="3596" y="955"/>
                      </a:lnTo>
                      <a:lnTo>
                        <a:pt x="3600" y="969"/>
                      </a:lnTo>
                      <a:lnTo>
                        <a:pt x="3603" y="984"/>
                      </a:lnTo>
                      <a:lnTo>
                        <a:pt x="3605" y="1001"/>
                      </a:lnTo>
                      <a:lnTo>
                        <a:pt x="3607" y="1037"/>
                      </a:lnTo>
                      <a:lnTo>
                        <a:pt x="3608" y="1588"/>
                      </a:lnTo>
                      <a:lnTo>
                        <a:pt x="3612" y="1665"/>
                      </a:lnTo>
                      <a:lnTo>
                        <a:pt x="3616" y="1698"/>
                      </a:lnTo>
                      <a:lnTo>
                        <a:pt x="3622" y="1728"/>
                      </a:lnTo>
                      <a:lnTo>
                        <a:pt x="3630" y="1754"/>
                      </a:lnTo>
                      <a:lnTo>
                        <a:pt x="3640" y="1777"/>
                      </a:lnTo>
                      <a:lnTo>
                        <a:pt x="3653" y="1797"/>
                      </a:lnTo>
                      <a:lnTo>
                        <a:pt x="3668" y="1815"/>
                      </a:lnTo>
                      <a:lnTo>
                        <a:pt x="3676" y="1822"/>
                      </a:lnTo>
                      <a:lnTo>
                        <a:pt x="3685" y="1829"/>
                      </a:lnTo>
                      <a:lnTo>
                        <a:pt x="3705" y="1842"/>
                      </a:lnTo>
                      <a:lnTo>
                        <a:pt x="3728" y="1852"/>
                      </a:lnTo>
                      <a:lnTo>
                        <a:pt x="3754" y="1859"/>
                      </a:lnTo>
                      <a:lnTo>
                        <a:pt x="3784" y="1865"/>
                      </a:lnTo>
                      <a:lnTo>
                        <a:pt x="3817" y="1869"/>
                      </a:lnTo>
                      <a:lnTo>
                        <a:pt x="3893" y="1872"/>
                      </a:lnTo>
                      <a:lnTo>
                        <a:pt x="5770" y="1876"/>
                      </a:lnTo>
                      <a:lnTo>
                        <a:pt x="5797" y="1876"/>
                      </a:lnTo>
                      <a:lnTo>
                        <a:pt x="5822" y="1874"/>
                      </a:lnTo>
                      <a:lnTo>
                        <a:pt x="5846" y="1871"/>
                      </a:lnTo>
                      <a:lnTo>
                        <a:pt x="5870" y="1866"/>
                      </a:lnTo>
                      <a:lnTo>
                        <a:pt x="5893" y="1860"/>
                      </a:lnTo>
                      <a:lnTo>
                        <a:pt x="5916" y="1853"/>
                      </a:lnTo>
                      <a:lnTo>
                        <a:pt x="5937" y="1844"/>
                      </a:lnTo>
                      <a:lnTo>
                        <a:pt x="5958" y="1835"/>
                      </a:lnTo>
                      <a:lnTo>
                        <a:pt x="5998" y="1813"/>
                      </a:lnTo>
                      <a:lnTo>
                        <a:pt x="6036" y="1787"/>
                      </a:lnTo>
                      <a:lnTo>
                        <a:pt x="6072" y="1758"/>
                      </a:lnTo>
                      <a:lnTo>
                        <a:pt x="6106" y="1726"/>
                      </a:lnTo>
                      <a:lnTo>
                        <a:pt x="7283" y="550"/>
                      </a:lnTo>
                      <a:lnTo>
                        <a:pt x="7529" y="301"/>
                      </a:lnTo>
                      <a:lnTo>
                        <a:pt x="7653" y="178"/>
                      </a:lnTo>
                      <a:lnTo>
                        <a:pt x="7780" y="58"/>
                      </a:lnTo>
                      <a:lnTo>
                        <a:pt x="7789" y="50"/>
                      </a:lnTo>
                      <a:lnTo>
                        <a:pt x="7799" y="43"/>
                      </a:lnTo>
                      <a:lnTo>
                        <a:pt x="7810" y="36"/>
                      </a:lnTo>
                      <a:lnTo>
                        <a:pt x="7822" y="30"/>
                      </a:lnTo>
                      <a:lnTo>
                        <a:pt x="7833" y="25"/>
                      </a:lnTo>
                      <a:lnTo>
                        <a:pt x="7846" y="20"/>
                      </a:lnTo>
                      <a:lnTo>
                        <a:pt x="7872" y="12"/>
                      </a:lnTo>
                      <a:lnTo>
                        <a:pt x="7898" y="6"/>
                      </a:lnTo>
                      <a:lnTo>
                        <a:pt x="7925" y="2"/>
                      </a:lnTo>
                      <a:lnTo>
                        <a:pt x="7952" y="0"/>
                      </a:lnTo>
                      <a:lnTo>
                        <a:pt x="7977" y="0"/>
                      </a:lnTo>
                      <a:lnTo>
                        <a:pt x="7979" y="0"/>
                      </a:lnTo>
                      <a:lnTo>
                        <a:pt x="7981" y="1"/>
                      </a:lnTo>
                      <a:lnTo>
                        <a:pt x="7984" y="2"/>
                      </a:lnTo>
                      <a:lnTo>
                        <a:pt x="7986" y="4"/>
                      </a:lnTo>
                      <a:lnTo>
                        <a:pt x="7991" y="9"/>
                      </a:lnTo>
                      <a:lnTo>
                        <a:pt x="7996" y="16"/>
                      </a:lnTo>
                      <a:lnTo>
                        <a:pt x="8001" y="24"/>
                      </a:lnTo>
                      <a:lnTo>
                        <a:pt x="8006" y="34"/>
                      </a:lnTo>
                      <a:lnTo>
                        <a:pt x="8015" y="55"/>
                      </a:lnTo>
                      <a:lnTo>
                        <a:pt x="8024" y="79"/>
                      </a:lnTo>
                      <a:lnTo>
                        <a:pt x="8030" y="104"/>
                      </a:lnTo>
                      <a:lnTo>
                        <a:pt x="8035" y="128"/>
                      </a:lnTo>
                      <a:lnTo>
                        <a:pt x="8037" y="139"/>
                      </a:lnTo>
                      <a:lnTo>
                        <a:pt x="8037" y="150"/>
                      </a:lnTo>
                      <a:lnTo>
                        <a:pt x="8039" y="2378"/>
                      </a:lnTo>
                      <a:lnTo>
                        <a:pt x="8038" y="2448"/>
                      </a:lnTo>
                      <a:lnTo>
                        <a:pt x="8036" y="2477"/>
                      </a:lnTo>
                      <a:lnTo>
                        <a:pt x="8034" y="2502"/>
                      </a:lnTo>
                      <a:lnTo>
                        <a:pt x="8029" y="2523"/>
                      </a:lnTo>
                      <a:lnTo>
                        <a:pt x="8023" y="2541"/>
                      </a:lnTo>
                      <a:lnTo>
                        <a:pt x="8020" y="2549"/>
                      </a:lnTo>
                      <a:lnTo>
                        <a:pt x="8015" y="2556"/>
                      </a:lnTo>
                      <a:lnTo>
                        <a:pt x="8010" y="2562"/>
                      </a:lnTo>
                      <a:lnTo>
                        <a:pt x="8005" y="2568"/>
                      </a:lnTo>
                      <a:lnTo>
                        <a:pt x="7999" y="2573"/>
                      </a:lnTo>
                      <a:lnTo>
                        <a:pt x="7992" y="2577"/>
                      </a:lnTo>
                      <a:lnTo>
                        <a:pt x="7985" y="2581"/>
                      </a:lnTo>
                      <a:lnTo>
                        <a:pt x="7977" y="2584"/>
                      </a:lnTo>
                      <a:lnTo>
                        <a:pt x="7958" y="2590"/>
                      </a:lnTo>
                      <a:lnTo>
                        <a:pt x="7937" y="2594"/>
                      </a:lnTo>
                      <a:lnTo>
                        <a:pt x="7882" y="2598"/>
                      </a:lnTo>
                      <a:lnTo>
                        <a:pt x="7811" y="2598"/>
                      </a:lnTo>
                      <a:lnTo>
                        <a:pt x="4016" y="2598"/>
                      </a:lnTo>
                      <a:lnTo>
                        <a:pt x="4016" y="260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26" name="Freeform 2"/>
                <p:cNvSpPr>
                  <a:spLocks noChangeArrowheads="1"/>
                </p:cNvSpPr>
                <p:nvPr/>
              </p:nvSpPr>
              <p:spPr bwMode="auto">
                <a:xfrm>
                  <a:off x="3751263" y="4262438"/>
                  <a:ext cx="2894012" cy="728662"/>
                </a:xfrm>
                <a:custGeom>
                  <a:avLst/>
                  <a:gdLst>
                    <a:gd name="T0" fmla="*/ 7867 w 8041"/>
                    <a:gd name="T1" fmla="*/ 3 h 2022"/>
                    <a:gd name="T2" fmla="*/ 7947 w 8041"/>
                    <a:gd name="T3" fmla="*/ 15 h 2022"/>
                    <a:gd name="T4" fmla="*/ 7983 w 8041"/>
                    <a:gd name="T5" fmla="*/ 31 h 2022"/>
                    <a:gd name="T6" fmla="*/ 8004 w 8041"/>
                    <a:gd name="T7" fmla="*/ 49 h 2022"/>
                    <a:gd name="T8" fmla="*/ 8018 w 8041"/>
                    <a:gd name="T9" fmla="*/ 73 h 2022"/>
                    <a:gd name="T10" fmla="*/ 8035 w 8041"/>
                    <a:gd name="T11" fmla="*/ 142 h 2022"/>
                    <a:gd name="T12" fmla="*/ 8040 w 8041"/>
                    <a:gd name="T13" fmla="*/ 1781 h 2022"/>
                    <a:gd name="T14" fmla="*/ 8022 w 8041"/>
                    <a:gd name="T15" fmla="*/ 1882 h 2022"/>
                    <a:gd name="T16" fmla="*/ 7974 w 8041"/>
                    <a:gd name="T17" fmla="*/ 1959 h 2022"/>
                    <a:gd name="T18" fmla="*/ 7904 w 8041"/>
                    <a:gd name="T19" fmla="*/ 2007 h 2022"/>
                    <a:gd name="T20" fmla="*/ 7818 w 8041"/>
                    <a:gd name="T21" fmla="*/ 2021 h 2022"/>
                    <a:gd name="T22" fmla="*/ 7725 w 8041"/>
                    <a:gd name="T23" fmla="*/ 1997 h 2022"/>
                    <a:gd name="T24" fmla="*/ 7681 w 8041"/>
                    <a:gd name="T25" fmla="*/ 1969 h 2022"/>
                    <a:gd name="T26" fmla="*/ 7667 w 8041"/>
                    <a:gd name="T27" fmla="*/ 1946 h 2022"/>
                    <a:gd name="T28" fmla="*/ 7650 w 8041"/>
                    <a:gd name="T29" fmla="*/ 1896 h 2022"/>
                    <a:gd name="T30" fmla="*/ 7643 w 8041"/>
                    <a:gd name="T31" fmla="*/ 1833 h 2022"/>
                    <a:gd name="T32" fmla="*/ 7635 w 8041"/>
                    <a:gd name="T33" fmla="*/ 593 h 2022"/>
                    <a:gd name="T34" fmla="*/ 7614 w 8041"/>
                    <a:gd name="T35" fmla="*/ 508 h 2022"/>
                    <a:gd name="T36" fmla="*/ 7596 w 8041"/>
                    <a:gd name="T37" fmla="*/ 478 h 2022"/>
                    <a:gd name="T38" fmla="*/ 7570 w 8041"/>
                    <a:gd name="T39" fmla="*/ 455 h 2022"/>
                    <a:gd name="T40" fmla="*/ 7525 w 8041"/>
                    <a:gd name="T41" fmla="*/ 434 h 2022"/>
                    <a:gd name="T42" fmla="*/ 7427 w 8041"/>
                    <a:gd name="T43" fmla="*/ 420 h 2022"/>
                    <a:gd name="T44" fmla="*/ 621 w 8041"/>
                    <a:gd name="T45" fmla="*/ 424 h 2022"/>
                    <a:gd name="T46" fmla="*/ 538 w 8041"/>
                    <a:gd name="T47" fmla="*/ 438 h 2022"/>
                    <a:gd name="T48" fmla="*/ 499 w 8041"/>
                    <a:gd name="T49" fmla="*/ 456 h 2022"/>
                    <a:gd name="T50" fmla="*/ 478 w 8041"/>
                    <a:gd name="T51" fmla="*/ 477 h 2022"/>
                    <a:gd name="T52" fmla="*/ 461 w 8041"/>
                    <a:gd name="T53" fmla="*/ 503 h 2022"/>
                    <a:gd name="T54" fmla="*/ 443 w 8041"/>
                    <a:gd name="T55" fmla="*/ 578 h 2022"/>
                    <a:gd name="T56" fmla="*/ 440 w 8041"/>
                    <a:gd name="T57" fmla="*/ 1830 h 2022"/>
                    <a:gd name="T58" fmla="*/ 435 w 8041"/>
                    <a:gd name="T59" fmla="*/ 1905 h 2022"/>
                    <a:gd name="T60" fmla="*/ 420 w 8041"/>
                    <a:gd name="T61" fmla="*/ 1948 h 2022"/>
                    <a:gd name="T62" fmla="*/ 392 w 8041"/>
                    <a:gd name="T63" fmla="*/ 1980 h 2022"/>
                    <a:gd name="T64" fmla="*/ 349 w 8041"/>
                    <a:gd name="T65" fmla="*/ 2000 h 2022"/>
                    <a:gd name="T66" fmla="*/ 285 w 8041"/>
                    <a:gd name="T67" fmla="*/ 2006 h 2022"/>
                    <a:gd name="T68" fmla="*/ 110 w 8041"/>
                    <a:gd name="T69" fmla="*/ 1997 h 2022"/>
                    <a:gd name="T70" fmla="*/ 52 w 8041"/>
                    <a:gd name="T71" fmla="*/ 1979 h 2022"/>
                    <a:gd name="T72" fmla="*/ 32 w 8041"/>
                    <a:gd name="T73" fmla="*/ 1964 h 2022"/>
                    <a:gd name="T74" fmla="*/ 19 w 8041"/>
                    <a:gd name="T75" fmla="*/ 1944 h 2022"/>
                    <a:gd name="T76" fmla="*/ 5 w 8041"/>
                    <a:gd name="T77" fmla="*/ 1888 h 2022"/>
                    <a:gd name="T78" fmla="*/ 3 w 8041"/>
                    <a:gd name="T79" fmla="*/ 156 h 2022"/>
                    <a:gd name="T80" fmla="*/ 17 w 8041"/>
                    <a:gd name="T81" fmla="*/ 88 h 2022"/>
                    <a:gd name="T82" fmla="*/ 40 w 8041"/>
                    <a:gd name="T83" fmla="*/ 49 h 2022"/>
                    <a:gd name="T84" fmla="*/ 76 w 8041"/>
                    <a:gd name="T85" fmla="*/ 23 h 2022"/>
                    <a:gd name="T86" fmla="*/ 136 w 8041"/>
                    <a:gd name="T87" fmla="*/ 5 h 2022"/>
                    <a:gd name="T88" fmla="*/ 4014 w 8041"/>
                    <a:gd name="T89" fmla="*/ 0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41" h="2022">
                      <a:moveTo>
                        <a:pt x="4014" y="1"/>
                      </a:moveTo>
                      <a:lnTo>
                        <a:pt x="7795" y="1"/>
                      </a:lnTo>
                      <a:lnTo>
                        <a:pt x="7867" y="3"/>
                      </a:lnTo>
                      <a:lnTo>
                        <a:pt x="7897" y="5"/>
                      </a:lnTo>
                      <a:lnTo>
                        <a:pt x="7924" y="9"/>
                      </a:lnTo>
                      <a:lnTo>
                        <a:pt x="7947" y="15"/>
                      </a:lnTo>
                      <a:lnTo>
                        <a:pt x="7966" y="22"/>
                      </a:lnTo>
                      <a:lnTo>
                        <a:pt x="7975" y="26"/>
                      </a:lnTo>
                      <a:lnTo>
                        <a:pt x="7983" y="31"/>
                      </a:lnTo>
                      <a:lnTo>
                        <a:pt x="7991" y="36"/>
                      </a:lnTo>
                      <a:lnTo>
                        <a:pt x="7997" y="43"/>
                      </a:lnTo>
                      <a:lnTo>
                        <a:pt x="8004" y="49"/>
                      </a:lnTo>
                      <a:lnTo>
                        <a:pt x="8009" y="57"/>
                      </a:lnTo>
                      <a:lnTo>
                        <a:pt x="8014" y="65"/>
                      </a:lnTo>
                      <a:lnTo>
                        <a:pt x="8018" y="73"/>
                      </a:lnTo>
                      <a:lnTo>
                        <a:pt x="8026" y="93"/>
                      </a:lnTo>
                      <a:lnTo>
                        <a:pt x="8031" y="116"/>
                      </a:lnTo>
                      <a:lnTo>
                        <a:pt x="8035" y="142"/>
                      </a:lnTo>
                      <a:lnTo>
                        <a:pt x="8037" y="172"/>
                      </a:lnTo>
                      <a:lnTo>
                        <a:pt x="8039" y="243"/>
                      </a:lnTo>
                      <a:lnTo>
                        <a:pt x="8040" y="1781"/>
                      </a:lnTo>
                      <a:lnTo>
                        <a:pt x="8038" y="1817"/>
                      </a:lnTo>
                      <a:lnTo>
                        <a:pt x="8032" y="1851"/>
                      </a:lnTo>
                      <a:lnTo>
                        <a:pt x="8022" y="1882"/>
                      </a:lnTo>
                      <a:lnTo>
                        <a:pt x="8009" y="1911"/>
                      </a:lnTo>
                      <a:lnTo>
                        <a:pt x="7993" y="1936"/>
                      </a:lnTo>
                      <a:lnTo>
                        <a:pt x="7974" y="1959"/>
                      </a:lnTo>
                      <a:lnTo>
                        <a:pt x="7953" y="1978"/>
                      </a:lnTo>
                      <a:lnTo>
                        <a:pt x="7929" y="1994"/>
                      </a:lnTo>
                      <a:lnTo>
                        <a:pt x="7904" y="2007"/>
                      </a:lnTo>
                      <a:lnTo>
                        <a:pt x="7876" y="2015"/>
                      </a:lnTo>
                      <a:lnTo>
                        <a:pt x="7848" y="2020"/>
                      </a:lnTo>
                      <a:lnTo>
                        <a:pt x="7818" y="2021"/>
                      </a:lnTo>
                      <a:lnTo>
                        <a:pt x="7787" y="2017"/>
                      </a:lnTo>
                      <a:lnTo>
                        <a:pt x="7756" y="2009"/>
                      </a:lnTo>
                      <a:lnTo>
                        <a:pt x="7725" y="1997"/>
                      </a:lnTo>
                      <a:lnTo>
                        <a:pt x="7693" y="1979"/>
                      </a:lnTo>
                      <a:lnTo>
                        <a:pt x="7687" y="1975"/>
                      </a:lnTo>
                      <a:lnTo>
                        <a:pt x="7681" y="1969"/>
                      </a:lnTo>
                      <a:lnTo>
                        <a:pt x="7676" y="1962"/>
                      </a:lnTo>
                      <a:lnTo>
                        <a:pt x="7671" y="1954"/>
                      </a:lnTo>
                      <a:lnTo>
                        <a:pt x="7667" y="1946"/>
                      </a:lnTo>
                      <a:lnTo>
                        <a:pt x="7662" y="1937"/>
                      </a:lnTo>
                      <a:lnTo>
                        <a:pt x="7655" y="1917"/>
                      </a:lnTo>
                      <a:lnTo>
                        <a:pt x="7650" y="1896"/>
                      </a:lnTo>
                      <a:lnTo>
                        <a:pt x="7646" y="1874"/>
                      </a:lnTo>
                      <a:lnTo>
                        <a:pt x="7644" y="1853"/>
                      </a:lnTo>
                      <a:lnTo>
                        <a:pt x="7643" y="1833"/>
                      </a:lnTo>
                      <a:lnTo>
                        <a:pt x="7640" y="718"/>
                      </a:lnTo>
                      <a:lnTo>
                        <a:pt x="7638" y="630"/>
                      </a:lnTo>
                      <a:lnTo>
                        <a:pt x="7635" y="593"/>
                      </a:lnTo>
                      <a:lnTo>
                        <a:pt x="7630" y="560"/>
                      </a:lnTo>
                      <a:lnTo>
                        <a:pt x="7623" y="532"/>
                      </a:lnTo>
                      <a:lnTo>
                        <a:pt x="7614" y="508"/>
                      </a:lnTo>
                      <a:lnTo>
                        <a:pt x="7609" y="497"/>
                      </a:lnTo>
                      <a:lnTo>
                        <a:pt x="7602" y="487"/>
                      </a:lnTo>
                      <a:lnTo>
                        <a:pt x="7596" y="478"/>
                      </a:lnTo>
                      <a:lnTo>
                        <a:pt x="7588" y="469"/>
                      </a:lnTo>
                      <a:lnTo>
                        <a:pt x="7580" y="462"/>
                      </a:lnTo>
                      <a:lnTo>
                        <a:pt x="7570" y="455"/>
                      </a:lnTo>
                      <a:lnTo>
                        <a:pt x="7560" y="449"/>
                      </a:lnTo>
                      <a:lnTo>
                        <a:pt x="7550" y="443"/>
                      </a:lnTo>
                      <a:lnTo>
                        <a:pt x="7525" y="434"/>
                      </a:lnTo>
                      <a:lnTo>
                        <a:pt x="7497" y="427"/>
                      </a:lnTo>
                      <a:lnTo>
                        <a:pt x="7464" y="423"/>
                      </a:lnTo>
                      <a:lnTo>
                        <a:pt x="7427" y="420"/>
                      </a:lnTo>
                      <a:lnTo>
                        <a:pt x="7339" y="417"/>
                      </a:lnTo>
                      <a:lnTo>
                        <a:pt x="695" y="421"/>
                      </a:lnTo>
                      <a:lnTo>
                        <a:pt x="621" y="424"/>
                      </a:lnTo>
                      <a:lnTo>
                        <a:pt x="589" y="427"/>
                      </a:lnTo>
                      <a:lnTo>
                        <a:pt x="562" y="431"/>
                      </a:lnTo>
                      <a:lnTo>
                        <a:pt x="538" y="438"/>
                      </a:lnTo>
                      <a:lnTo>
                        <a:pt x="517" y="446"/>
                      </a:lnTo>
                      <a:lnTo>
                        <a:pt x="508" y="451"/>
                      </a:lnTo>
                      <a:lnTo>
                        <a:pt x="499" y="456"/>
                      </a:lnTo>
                      <a:lnTo>
                        <a:pt x="491" y="462"/>
                      </a:lnTo>
                      <a:lnTo>
                        <a:pt x="484" y="469"/>
                      </a:lnTo>
                      <a:lnTo>
                        <a:pt x="478" y="477"/>
                      </a:lnTo>
                      <a:lnTo>
                        <a:pt x="472" y="485"/>
                      </a:lnTo>
                      <a:lnTo>
                        <a:pt x="466" y="494"/>
                      </a:lnTo>
                      <a:lnTo>
                        <a:pt x="461" y="503"/>
                      </a:lnTo>
                      <a:lnTo>
                        <a:pt x="453" y="525"/>
                      </a:lnTo>
                      <a:lnTo>
                        <a:pt x="447" y="550"/>
                      </a:lnTo>
                      <a:lnTo>
                        <a:pt x="443" y="578"/>
                      </a:lnTo>
                      <a:lnTo>
                        <a:pt x="440" y="611"/>
                      </a:lnTo>
                      <a:lnTo>
                        <a:pt x="438" y="687"/>
                      </a:lnTo>
                      <a:lnTo>
                        <a:pt x="440" y="1830"/>
                      </a:lnTo>
                      <a:lnTo>
                        <a:pt x="439" y="1870"/>
                      </a:lnTo>
                      <a:lnTo>
                        <a:pt x="437" y="1888"/>
                      </a:lnTo>
                      <a:lnTo>
                        <a:pt x="435" y="1905"/>
                      </a:lnTo>
                      <a:lnTo>
                        <a:pt x="431" y="1920"/>
                      </a:lnTo>
                      <a:lnTo>
                        <a:pt x="426" y="1935"/>
                      </a:lnTo>
                      <a:lnTo>
                        <a:pt x="420" y="1948"/>
                      </a:lnTo>
                      <a:lnTo>
                        <a:pt x="412" y="1960"/>
                      </a:lnTo>
                      <a:lnTo>
                        <a:pt x="403" y="1971"/>
                      </a:lnTo>
                      <a:lnTo>
                        <a:pt x="392" y="1980"/>
                      </a:lnTo>
                      <a:lnTo>
                        <a:pt x="380" y="1988"/>
                      </a:lnTo>
                      <a:lnTo>
                        <a:pt x="365" y="1995"/>
                      </a:lnTo>
                      <a:lnTo>
                        <a:pt x="349" y="2000"/>
                      </a:lnTo>
                      <a:lnTo>
                        <a:pt x="330" y="2004"/>
                      </a:lnTo>
                      <a:lnTo>
                        <a:pt x="308" y="2006"/>
                      </a:lnTo>
                      <a:lnTo>
                        <a:pt x="285" y="2006"/>
                      </a:lnTo>
                      <a:lnTo>
                        <a:pt x="202" y="2005"/>
                      </a:lnTo>
                      <a:lnTo>
                        <a:pt x="137" y="2000"/>
                      </a:lnTo>
                      <a:lnTo>
                        <a:pt x="110" y="1997"/>
                      </a:lnTo>
                      <a:lnTo>
                        <a:pt x="87" y="1992"/>
                      </a:lnTo>
                      <a:lnTo>
                        <a:pt x="68" y="1986"/>
                      </a:lnTo>
                      <a:lnTo>
                        <a:pt x="52" y="1979"/>
                      </a:lnTo>
                      <a:lnTo>
                        <a:pt x="44" y="1974"/>
                      </a:lnTo>
                      <a:lnTo>
                        <a:pt x="38" y="1969"/>
                      </a:lnTo>
                      <a:lnTo>
                        <a:pt x="32" y="1964"/>
                      </a:lnTo>
                      <a:lnTo>
                        <a:pt x="27" y="1958"/>
                      </a:lnTo>
                      <a:lnTo>
                        <a:pt x="23" y="1951"/>
                      </a:lnTo>
                      <a:lnTo>
                        <a:pt x="19" y="1944"/>
                      </a:lnTo>
                      <a:lnTo>
                        <a:pt x="13" y="1928"/>
                      </a:lnTo>
                      <a:lnTo>
                        <a:pt x="8" y="1910"/>
                      </a:lnTo>
                      <a:lnTo>
                        <a:pt x="5" y="1888"/>
                      </a:lnTo>
                      <a:lnTo>
                        <a:pt x="3" y="1836"/>
                      </a:lnTo>
                      <a:lnTo>
                        <a:pt x="0" y="214"/>
                      </a:lnTo>
                      <a:lnTo>
                        <a:pt x="3" y="156"/>
                      </a:lnTo>
                      <a:lnTo>
                        <a:pt x="6" y="130"/>
                      </a:lnTo>
                      <a:lnTo>
                        <a:pt x="11" y="108"/>
                      </a:lnTo>
                      <a:lnTo>
                        <a:pt x="17" y="88"/>
                      </a:lnTo>
                      <a:lnTo>
                        <a:pt x="25" y="71"/>
                      </a:lnTo>
                      <a:lnTo>
                        <a:pt x="35" y="56"/>
                      </a:lnTo>
                      <a:lnTo>
                        <a:pt x="40" y="49"/>
                      </a:lnTo>
                      <a:lnTo>
                        <a:pt x="46" y="43"/>
                      </a:lnTo>
                      <a:lnTo>
                        <a:pt x="60" y="32"/>
                      </a:lnTo>
                      <a:lnTo>
                        <a:pt x="76" y="23"/>
                      </a:lnTo>
                      <a:lnTo>
                        <a:pt x="94" y="15"/>
                      </a:lnTo>
                      <a:lnTo>
                        <a:pt x="114" y="10"/>
                      </a:lnTo>
                      <a:lnTo>
                        <a:pt x="136" y="5"/>
                      </a:lnTo>
                      <a:lnTo>
                        <a:pt x="162" y="3"/>
                      </a:lnTo>
                      <a:lnTo>
                        <a:pt x="220" y="0"/>
                      </a:lnTo>
                      <a:lnTo>
                        <a:pt x="4014" y="0"/>
                      </a:lnTo>
                      <a:lnTo>
                        <a:pt x="4014" y="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27" name="Freeform 3"/>
                <p:cNvSpPr>
                  <a:spLocks noChangeArrowheads="1"/>
                </p:cNvSpPr>
                <p:nvPr/>
              </p:nvSpPr>
              <p:spPr bwMode="auto">
                <a:xfrm>
                  <a:off x="3757613" y="1992313"/>
                  <a:ext cx="1492250" cy="1119187"/>
                </a:xfrm>
                <a:custGeom>
                  <a:avLst/>
                  <a:gdLst>
                    <a:gd name="T0" fmla="*/ 458 w 4145"/>
                    <a:gd name="T1" fmla="*/ 3102 h 3111"/>
                    <a:gd name="T2" fmla="*/ 333 w 4145"/>
                    <a:gd name="T3" fmla="*/ 3068 h 3111"/>
                    <a:gd name="T4" fmla="*/ 211 w 4145"/>
                    <a:gd name="T5" fmla="*/ 3001 h 3111"/>
                    <a:gd name="T6" fmla="*/ 106 w 4145"/>
                    <a:gd name="T7" fmla="*/ 2909 h 3111"/>
                    <a:gd name="T8" fmla="*/ 33 w 4145"/>
                    <a:gd name="T9" fmla="*/ 2801 h 3111"/>
                    <a:gd name="T10" fmla="*/ 4 w 4145"/>
                    <a:gd name="T11" fmla="*/ 2685 h 3111"/>
                    <a:gd name="T12" fmla="*/ 12 w 4145"/>
                    <a:gd name="T13" fmla="*/ 341 h 3111"/>
                    <a:gd name="T14" fmla="*/ 68 w 4145"/>
                    <a:gd name="T15" fmla="*/ 231 h 3111"/>
                    <a:gd name="T16" fmla="*/ 157 w 4145"/>
                    <a:gd name="T17" fmla="*/ 134 h 3111"/>
                    <a:gd name="T18" fmla="*/ 268 w 4145"/>
                    <a:gd name="T19" fmla="*/ 58 h 3111"/>
                    <a:gd name="T20" fmla="*/ 388 w 4145"/>
                    <a:gd name="T21" fmla="*/ 13 h 3111"/>
                    <a:gd name="T22" fmla="*/ 2752 w 4145"/>
                    <a:gd name="T23" fmla="*/ 0 h 3111"/>
                    <a:gd name="T24" fmla="*/ 3669 w 4145"/>
                    <a:gd name="T25" fmla="*/ 12 h 3111"/>
                    <a:gd name="T26" fmla="*/ 3765 w 4145"/>
                    <a:gd name="T27" fmla="*/ 43 h 3111"/>
                    <a:gd name="T28" fmla="*/ 3848 w 4145"/>
                    <a:gd name="T29" fmla="*/ 95 h 3111"/>
                    <a:gd name="T30" fmla="*/ 3921 w 4145"/>
                    <a:gd name="T31" fmla="*/ 165 h 3111"/>
                    <a:gd name="T32" fmla="*/ 4021 w 4145"/>
                    <a:gd name="T33" fmla="*/ 310 h 3111"/>
                    <a:gd name="T34" fmla="*/ 4103 w 4145"/>
                    <a:gd name="T35" fmla="*/ 508 h 3111"/>
                    <a:gd name="T36" fmla="*/ 4138 w 4145"/>
                    <a:gd name="T37" fmla="*/ 708 h 3111"/>
                    <a:gd name="T38" fmla="*/ 4130 w 4145"/>
                    <a:gd name="T39" fmla="*/ 1250 h 3111"/>
                    <a:gd name="T40" fmla="*/ 4142 w 4145"/>
                    <a:gd name="T41" fmla="*/ 1935 h 3111"/>
                    <a:gd name="T42" fmla="*/ 4118 w 4145"/>
                    <a:gd name="T43" fmla="*/ 2539 h 3111"/>
                    <a:gd name="T44" fmla="*/ 4072 w 4145"/>
                    <a:gd name="T45" fmla="*/ 2706 h 3111"/>
                    <a:gd name="T46" fmla="*/ 3984 w 4145"/>
                    <a:gd name="T47" fmla="*/ 2865 h 3111"/>
                    <a:gd name="T48" fmla="*/ 3857 w 4145"/>
                    <a:gd name="T49" fmla="*/ 2997 h 3111"/>
                    <a:gd name="T50" fmla="*/ 3696 w 4145"/>
                    <a:gd name="T51" fmla="*/ 3085 h 3111"/>
                    <a:gd name="T52" fmla="*/ 3503 w 4145"/>
                    <a:gd name="T53" fmla="*/ 3110 h 3111"/>
                    <a:gd name="T54" fmla="*/ 2022 w 4145"/>
                    <a:gd name="T55" fmla="*/ 3103 h 3111"/>
                    <a:gd name="T56" fmla="*/ 2028 w 4145"/>
                    <a:gd name="T57" fmla="*/ 2839 h 3111"/>
                    <a:gd name="T58" fmla="*/ 3548 w 4145"/>
                    <a:gd name="T59" fmla="*/ 2835 h 3111"/>
                    <a:gd name="T60" fmla="*/ 3623 w 4145"/>
                    <a:gd name="T61" fmla="*/ 2819 h 3111"/>
                    <a:gd name="T62" fmla="*/ 3689 w 4145"/>
                    <a:gd name="T63" fmla="*/ 2788 h 3111"/>
                    <a:gd name="T64" fmla="*/ 3744 w 4145"/>
                    <a:gd name="T65" fmla="*/ 2738 h 3111"/>
                    <a:gd name="T66" fmla="*/ 3786 w 4145"/>
                    <a:gd name="T67" fmla="*/ 2666 h 3111"/>
                    <a:gd name="T68" fmla="*/ 3824 w 4145"/>
                    <a:gd name="T69" fmla="*/ 2554 h 3111"/>
                    <a:gd name="T70" fmla="*/ 3847 w 4145"/>
                    <a:gd name="T71" fmla="*/ 2437 h 3111"/>
                    <a:gd name="T72" fmla="*/ 3860 w 4145"/>
                    <a:gd name="T73" fmla="*/ 1472 h 3111"/>
                    <a:gd name="T74" fmla="*/ 3849 w 4145"/>
                    <a:gd name="T75" fmla="*/ 628 h 3111"/>
                    <a:gd name="T76" fmla="*/ 3828 w 4145"/>
                    <a:gd name="T77" fmla="*/ 509 h 3111"/>
                    <a:gd name="T78" fmla="*/ 3780 w 4145"/>
                    <a:gd name="T79" fmla="*/ 411 h 3111"/>
                    <a:gd name="T80" fmla="*/ 3707 w 4145"/>
                    <a:gd name="T81" fmla="*/ 338 h 3111"/>
                    <a:gd name="T82" fmla="*/ 3613 w 4145"/>
                    <a:gd name="T83" fmla="*/ 289 h 3111"/>
                    <a:gd name="T84" fmla="*/ 3499 w 4145"/>
                    <a:gd name="T85" fmla="*/ 266 h 3111"/>
                    <a:gd name="T86" fmla="*/ 569 w 4145"/>
                    <a:gd name="T87" fmla="*/ 268 h 3111"/>
                    <a:gd name="T88" fmla="*/ 462 w 4145"/>
                    <a:gd name="T89" fmla="*/ 290 h 3111"/>
                    <a:gd name="T90" fmla="*/ 378 w 4145"/>
                    <a:gd name="T91" fmla="*/ 337 h 3111"/>
                    <a:gd name="T92" fmla="*/ 316 w 4145"/>
                    <a:gd name="T93" fmla="*/ 408 h 3111"/>
                    <a:gd name="T94" fmla="*/ 278 w 4145"/>
                    <a:gd name="T95" fmla="*/ 503 h 3111"/>
                    <a:gd name="T96" fmla="*/ 266 w 4145"/>
                    <a:gd name="T97" fmla="*/ 621 h 3111"/>
                    <a:gd name="T98" fmla="*/ 267 w 4145"/>
                    <a:gd name="T99" fmla="*/ 2583 h 3111"/>
                    <a:gd name="T100" fmla="*/ 291 w 4145"/>
                    <a:gd name="T101" fmla="*/ 2686 h 3111"/>
                    <a:gd name="T102" fmla="*/ 338 w 4145"/>
                    <a:gd name="T103" fmla="*/ 2759 h 3111"/>
                    <a:gd name="T104" fmla="*/ 411 w 4145"/>
                    <a:gd name="T105" fmla="*/ 2806 h 3111"/>
                    <a:gd name="T106" fmla="*/ 516 w 4145"/>
                    <a:gd name="T107" fmla="*/ 2829 h 3111"/>
                    <a:gd name="T108" fmla="*/ 2028 w 4145"/>
                    <a:gd name="T109" fmla="*/ 2835 h 3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45" h="3111">
                      <a:moveTo>
                        <a:pt x="2022" y="3105"/>
                      </a:moveTo>
                      <a:lnTo>
                        <a:pt x="498" y="3105"/>
                      </a:lnTo>
                      <a:lnTo>
                        <a:pt x="458" y="3102"/>
                      </a:lnTo>
                      <a:lnTo>
                        <a:pt x="416" y="3095"/>
                      </a:lnTo>
                      <a:lnTo>
                        <a:pt x="375" y="3083"/>
                      </a:lnTo>
                      <a:lnTo>
                        <a:pt x="333" y="3068"/>
                      </a:lnTo>
                      <a:lnTo>
                        <a:pt x="291" y="3049"/>
                      </a:lnTo>
                      <a:lnTo>
                        <a:pt x="250" y="3026"/>
                      </a:lnTo>
                      <a:lnTo>
                        <a:pt x="211" y="3001"/>
                      </a:lnTo>
                      <a:lnTo>
                        <a:pt x="173" y="2972"/>
                      </a:lnTo>
                      <a:lnTo>
                        <a:pt x="139" y="2942"/>
                      </a:lnTo>
                      <a:lnTo>
                        <a:pt x="106" y="2909"/>
                      </a:lnTo>
                      <a:lnTo>
                        <a:pt x="78" y="2874"/>
                      </a:lnTo>
                      <a:lnTo>
                        <a:pt x="53" y="2838"/>
                      </a:lnTo>
                      <a:lnTo>
                        <a:pt x="33" y="2801"/>
                      </a:lnTo>
                      <a:lnTo>
                        <a:pt x="18" y="2762"/>
                      </a:lnTo>
                      <a:lnTo>
                        <a:pt x="8" y="2724"/>
                      </a:lnTo>
                      <a:lnTo>
                        <a:pt x="4" y="2685"/>
                      </a:lnTo>
                      <a:lnTo>
                        <a:pt x="0" y="417"/>
                      </a:lnTo>
                      <a:lnTo>
                        <a:pt x="3" y="379"/>
                      </a:lnTo>
                      <a:lnTo>
                        <a:pt x="12" y="341"/>
                      </a:lnTo>
                      <a:lnTo>
                        <a:pt x="26" y="303"/>
                      </a:lnTo>
                      <a:lnTo>
                        <a:pt x="45" y="266"/>
                      </a:lnTo>
                      <a:lnTo>
                        <a:pt x="68" y="231"/>
                      </a:lnTo>
                      <a:lnTo>
                        <a:pt x="94" y="196"/>
                      </a:lnTo>
                      <a:lnTo>
                        <a:pt x="124" y="164"/>
                      </a:lnTo>
                      <a:lnTo>
                        <a:pt x="157" y="134"/>
                      </a:lnTo>
                      <a:lnTo>
                        <a:pt x="192" y="106"/>
                      </a:lnTo>
                      <a:lnTo>
                        <a:pt x="229" y="80"/>
                      </a:lnTo>
                      <a:lnTo>
                        <a:pt x="268" y="58"/>
                      </a:lnTo>
                      <a:lnTo>
                        <a:pt x="307" y="39"/>
                      </a:lnTo>
                      <a:lnTo>
                        <a:pt x="348" y="24"/>
                      </a:lnTo>
                      <a:lnTo>
                        <a:pt x="388" y="13"/>
                      </a:lnTo>
                      <a:lnTo>
                        <a:pt x="428" y="5"/>
                      </a:lnTo>
                      <a:lnTo>
                        <a:pt x="468" y="3"/>
                      </a:lnTo>
                      <a:lnTo>
                        <a:pt x="2752" y="0"/>
                      </a:lnTo>
                      <a:lnTo>
                        <a:pt x="3598" y="5"/>
                      </a:lnTo>
                      <a:lnTo>
                        <a:pt x="3634" y="7"/>
                      </a:lnTo>
                      <a:lnTo>
                        <a:pt x="3669" y="12"/>
                      </a:lnTo>
                      <a:lnTo>
                        <a:pt x="3703" y="20"/>
                      </a:lnTo>
                      <a:lnTo>
                        <a:pt x="3735" y="30"/>
                      </a:lnTo>
                      <a:lnTo>
                        <a:pt x="3765" y="43"/>
                      </a:lnTo>
                      <a:lnTo>
                        <a:pt x="3794" y="59"/>
                      </a:lnTo>
                      <a:lnTo>
                        <a:pt x="3822" y="76"/>
                      </a:lnTo>
                      <a:lnTo>
                        <a:pt x="3848" y="95"/>
                      </a:lnTo>
                      <a:lnTo>
                        <a:pt x="3874" y="117"/>
                      </a:lnTo>
                      <a:lnTo>
                        <a:pt x="3898" y="140"/>
                      </a:lnTo>
                      <a:lnTo>
                        <a:pt x="3921" y="165"/>
                      </a:lnTo>
                      <a:lnTo>
                        <a:pt x="3943" y="191"/>
                      </a:lnTo>
                      <a:lnTo>
                        <a:pt x="3984" y="248"/>
                      </a:lnTo>
                      <a:lnTo>
                        <a:pt x="4021" y="310"/>
                      </a:lnTo>
                      <a:lnTo>
                        <a:pt x="4055" y="375"/>
                      </a:lnTo>
                      <a:lnTo>
                        <a:pt x="4082" y="441"/>
                      </a:lnTo>
                      <a:lnTo>
                        <a:pt x="4103" y="508"/>
                      </a:lnTo>
                      <a:lnTo>
                        <a:pt x="4119" y="574"/>
                      </a:lnTo>
                      <a:lnTo>
                        <a:pt x="4131" y="641"/>
                      </a:lnTo>
                      <a:lnTo>
                        <a:pt x="4138" y="708"/>
                      </a:lnTo>
                      <a:lnTo>
                        <a:pt x="4144" y="844"/>
                      </a:lnTo>
                      <a:lnTo>
                        <a:pt x="4134" y="1115"/>
                      </a:lnTo>
                      <a:lnTo>
                        <a:pt x="4130" y="1250"/>
                      </a:lnTo>
                      <a:lnTo>
                        <a:pt x="4131" y="1385"/>
                      </a:lnTo>
                      <a:lnTo>
                        <a:pt x="4141" y="1660"/>
                      </a:lnTo>
                      <a:lnTo>
                        <a:pt x="4142" y="1935"/>
                      </a:lnTo>
                      <a:lnTo>
                        <a:pt x="4136" y="2210"/>
                      </a:lnTo>
                      <a:lnTo>
                        <a:pt x="4123" y="2485"/>
                      </a:lnTo>
                      <a:lnTo>
                        <a:pt x="4118" y="2539"/>
                      </a:lnTo>
                      <a:lnTo>
                        <a:pt x="4107" y="2595"/>
                      </a:lnTo>
                      <a:lnTo>
                        <a:pt x="4092" y="2651"/>
                      </a:lnTo>
                      <a:lnTo>
                        <a:pt x="4072" y="2706"/>
                      </a:lnTo>
                      <a:lnTo>
                        <a:pt x="4047" y="2761"/>
                      </a:lnTo>
                      <a:lnTo>
                        <a:pt x="4018" y="2814"/>
                      </a:lnTo>
                      <a:lnTo>
                        <a:pt x="3984" y="2865"/>
                      </a:lnTo>
                      <a:lnTo>
                        <a:pt x="3946" y="2913"/>
                      </a:lnTo>
                      <a:lnTo>
                        <a:pt x="3904" y="2957"/>
                      </a:lnTo>
                      <a:lnTo>
                        <a:pt x="3857" y="2997"/>
                      </a:lnTo>
                      <a:lnTo>
                        <a:pt x="3807" y="3032"/>
                      </a:lnTo>
                      <a:lnTo>
                        <a:pt x="3753" y="3062"/>
                      </a:lnTo>
                      <a:lnTo>
                        <a:pt x="3696" y="3085"/>
                      </a:lnTo>
                      <a:lnTo>
                        <a:pt x="3635" y="3101"/>
                      </a:lnTo>
                      <a:lnTo>
                        <a:pt x="3570" y="3109"/>
                      </a:lnTo>
                      <a:lnTo>
                        <a:pt x="3503" y="3110"/>
                      </a:lnTo>
                      <a:lnTo>
                        <a:pt x="3133" y="3096"/>
                      </a:lnTo>
                      <a:lnTo>
                        <a:pt x="2762" y="3095"/>
                      </a:lnTo>
                      <a:lnTo>
                        <a:pt x="2022" y="3103"/>
                      </a:lnTo>
                      <a:lnTo>
                        <a:pt x="2022" y="3105"/>
                      </a:lnTo>
                      <a:close/>
                      <a:moveTo>
                        <a:pt x="2028" y="2835"/>
                      </a:moveTo>
                      <a:lnTo>
                        <a:pt x="2028" y="2839"/>
                      </a:lnTo>
                      <a:lnTo>
                        <a:pt x="3438" y="2841"/>
                      </a:lnTo>
                      <a:lnTo>
                        <a:pt x="3494" y="2840"/>
                      </a:lnTo>
                      <a:lnTo>
                        <a:pt x="3548" y="2835"/>
                      </a:lnTo>
                      <a:lnTo>
                        <a:pt x="3574" y="2831"/>
                      </a:lnTo>
                      <a:lnTo>
                        <a:pt x="3599" y="2826"/>
                      </a:lnTo>
                      <a:lnTo>
                        <a:pt x="3623" y="2819"/>
                      </a:lnTo>
                      <a:lnTo>
                        <a:pt x="3646" y="2811"/>
                      </a:lnTo>
                      <a:lnTo>
                        <a:pt x="3668" y="2800"/>
                      </a:lnTo>
                      <a:lnTo>
                        <a:pt x="3689" y="2788"/>
                      </a:lnTo>
                      <a:lnTo>
                        <a:pt x="3709" y="2774"/>
                      </a:lnTo>
                      <a:lnTo>
                        <a:pt x="3727" y="2757"/>
                      </a:lnTo>
                      <a:lnTo>
                        <a:pt x="3744" y="2738"/>
                      </a:lnTo>
                      <a:lnTo>
                        <a:pt x="3760" y="2717"/>
                      </a:lnTo>
                      <a:lnTo>
                        <a:pt x="3774" y="2693"/>
                      </a:lnTo>
                      <a:lnTo>
                        <a:pt x="3786" y="2666"/>
                      </a:lnTo>
                      <a:lnTo>
                        <a:pt x="3800" y="2629"/>
                      </a:lnTo>
                      <a:lnTo>
                        <a:pt x="3813" y="2592"/>
                      </a:lnTo>
                      <a:lnTo>
                        <a:pt x="3824" y="2554"/>
                      </a:lnTo>
                      <a:lnTo>
                        <a:pt x="3833" y="2515"/>
                      </a:lnTo>
                      <a:lnTo>
                        <a:pt x="3841" y="2476"/>
                      </a:lnTo>
                      <a:lnTo>
                        <a:pt x="3847" y="2437"/>
                      </a:lnTo>
                      <a:lnTo>
                        <a:pt x="3851" y="2398"/>
                      </a:lnTo>
                      <a:lnTo>
                        <a:pt x="3853" y="2360"/>
                      </a:lnTo>
                      <a:lnTo>
                        <a:pt x="3860" y="1472"/>
                      </a:lnTo>
                      <a:lnTo>
                        <a:pt x="3861" y="1050"/>
                      </a:lnTo>
                      <a:lnTo>
                        <a:pt x="3858" y="839"/>
                      </a:lnTo>
                      <a:lnTo>
                        <a:pt x="3849" y="628"/>
                      </a:lnTo>
                      <a:lnTo>
                        <a:pt x="3845" y="586"/>
                      </a:lnTo>
                      <a:lnTo>
                        <a:pt x="3838" y="546"/>
                      </a:lnTo>
                      <a:lnTo>
                        <a:pt x="3828" y="509"/>
                      </a:lnTo>
                      <a:lnTo>
                        <a:pt x="3815" y="474"/>
                      </a:lnTo>
                      <a:lnTo>
                        <a:pt x="3799" y="441"/>
                      </a:lnTo>
                      <a:lnTo>
                        <a:pt x="3780" y="411"/>
                      </a:lnTo>
                      <a:lnTo>
                        <a:pt x="3758" y="384"/>
                      </a:lnTo>
                      <a:lnTo>
                        <a:pt x="3734" y="360"/>
                      </a:lnTo>
                      <a:lnTo>
                        <a:pt x="3707" y="338"/>
                      </a:lnTo>
                      <a:lnTo>
                        <a:pt x="3678" y="319"/>
                      </a:lnTo>
                      <a:lnTo>
                        <a:pt x="3646" y="302"/>
                      </a:lnTo>
                      <a:lnTo>
                        <a:pt x="3613" y="289"/>
                      </a:lnTo>
                      <a:lnTo>
                        <a:pt x="3577" y="279"/>
                      </a:lnTo>
                      <a:lnTo>
                        <a:pt x="3539" y="271"/>
                      </a:lnTo>
                      <a:lnTo>
                        <a:pt x="3499" y="266"/>
                      </a:lnTo>
                      <a:lnTo>
                        <a:pt x="3458" y="265"/>
                      </a:lnTo>
                      <a:lnTo>
                        <a:pt x="610" y="267"/>
                      </a:lnTo>
                      <a:lnTo>
                        <a:pt x="569" y="268"/>
                      </a:lnTo>
                      <a:lnTo>
                        <a:pt x="531" y="273"/>
                      </a:lnTo>
                      <a:lnTo>
                        <a:pt x="496" y="280"/>
                      </a:lnTo>
                      <a:lnTo>
                        <a:pt x="462" y="290"/>
                      </a:lnTo>
                      <a:lnTo>
                        <a:pt x="432" y="303"/>
                      </a:lnTo>
                      <a:lnTo>
                        <a:pt x="403" y="318"/>
                      </a:lnTo>
                      <a:lnTo>
                        <a:pt x="378" y="337"/>
                      </a:lnTo>
                      <a:lnTo>
                        <a:pt x="354" y="358"/>
                      </a:lnTo>
                      <a:lnTo>
                        <a:pt x="334" y="382"/>
                      </a:lnTo>
                      <a:lnTo>
                        <a:pt x="316" y="408"/>
                      </a:lnTo>
                      <a:lnTo>
                        <a:pt x="301" y="437"/>
                      </a:lnTo>
                      <a:lnTo>
                        <a:pt x="288" y="469"/>
                      </a:lnTo>
                      <a:lnTo>
                        <a:pt x="278" y="503"/>
                      </a:lnTo>
                      <a:lnTo>
                        <a:pt x="271" y="540"/>
                      </a:lnTo>
                      <a:lnTo>
                        <a:pt x="267" y="579"/>
                      </a:lnTo>
                      <a:lnTo>
                        <a:pt x="266" y="621"/>
                      </a:lnTo>
                      <a:lnTo>
                        <a:pt x="263" y="2496"/>
                      </a:lnTo>
                      <a:lnTo>
                        <a:pt x="264" y="2541"/>
                      </a:lnTo>
                      <a:lnTo>
                        <a:pt x="267" y="2583"/>
                      </a:lnTo>
                      <a:lnTo>
                        <a:pt x="273" y="2620"/>
                      </a:lnTo>
                      <a:lnTo>
                        <a:pt x="280" y="2655"/>
                      </a:lnTo>
                      <a:lnTo>
                        <a:pt x="291" y="2686"/>
                      </a:lnTo>
                      <a:lnTo>
                        <a:pt x="304" y="2713"/>
                      </a:lnTo>
                      <a:lnTo>
                        <a:pt x="319" y="2737"/>
                      </a:lnTo>
                      <a:lnTo>
                        <a:pt x="338" y="2759"/>
                      </a:lnTo>
                      <a:lnTo>
                        <a:pt x="359" y="2777"/>
                      </a:lnTo>
                      <a:lnTo>
                        <a:pt x="384" y="2793"/>
                      </a:lnTo>
                      <a:lnTo>
                        <a:pt x="411" y="2806"/>
                      </a:lnTo>
                      <a:lnTo>
                        <a:pt x="443" y="2816"/>
                      </a:lnTo>
                      <a:lnTo>
                        <a:pt x="477" y="2824"/>
                      </a:lnTo>
                      <a:lnTo>
                        <a:pt x="516" y="2829"/>
                      </a:lnTo>
                      <a:lnTo>
                        <a:pt x="558" y="2832"/>
                      </a:lnTo>
                      <a:lnTo>
                        <a:pt x="604" y="2834"/>
                      </a:lnTo>
                      <a:lnTo>
                        <a:pt x="2028" y="283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28" name="Freeform 4"/>
                <p:cNvSpPr>
                  <a:spLocks noChangeArrowheads="1"/>
                </p:cNvSpPr>
                <p:nvPr/>
              </p:nvSpPr>
              <p:spPr bwMode="auto">
                <a:xfrm>
                  <a:off x="5181600" y="3009900"/>
                  <a:ext cx="1247775" cy="712788"/>
                </a:xfrm>
                <a:custGeom>
                  <a:avLst/>
                  <a:gdLst>
                    <a:gd name="T0" fmla="*/ 238 w 3467"/>
                    <a:gd name="T1" fmla="*/ 1973 h 1980"/>
                    <a:gd name="T2" fmla="*/ 179 w 3467"/>
                    <a:gd name="T3" fmla="*/ 1969 h 1980"/>
                    <a:gd name="T4" fmla="*/ 129 w 3467"/>
                    <a:gd name="T5" fmla="*/ 1958 h 1980"/>
                    <a:gd name="T6" fmla="*/ 89 w 3467"/>
                    <a:gd name="T7" fmla="*/ 1941 h 1980"/>
                    <a:gd name="T8" fmla="*/ 57 w 3467"/>
                    <a:gd name="T9" fmla="*/ 1916 h 1980"/>
                    <a:gd name="T10" fmla="*/ 32 w 3467"/>
                    <a:gd name="T11" fmla="*/ 1883 h 1980"/>
                    <a:gd name="T12" fmla="*/ 16 w 3467"/>
                    <a:gd name="T13" fmla="*/ 1841 h 1980"/>
                    <a:gd name="T14" fmla="*/ 5 w 3467"/>
                    <a:gd name="T15" fmla="*/ 1791 h 1980"/>
                    <a:gd name="T16" fmla="*/ 1 w 3467"/>
                    <a:gd name="T17" fmla="*/ 1731 h 1980"/>
                    <a:gd name="T18" fmla="*/ 4 w 3467"/>
                    <a:gd name="T19" fmla="*/ 1510 h 1980"/>
                    <a:gd name="T20" fmla="*/ 17 w 3467"/>
                    <a:gd name="T21" fmla="*/ 1443 h 1980"/>
                    <a:gd name="T22" fmla="*/ 28 w 3467"/>
                    <a:gd name="T23" fmla="*/ 1418 h 1980"/>
                    <a:gd name="T24" fmla="*/ 43 w 3467"/>
                    <a:gd name="T25" fmla="*/ 1398 h 1980"/>
                    <a:gd name="T26" fmla="*/ 63 w 3467"/>
                    <a:gd name="T27" fmla="*/ 1382 h 1980"/>
                    <a:gd name="T28" fmla="*/ 88 w 3467"/>
                    <a:gd name="T29" fmla="*/ 1371 h 1980"/>
                    <a:gd name="T30" fmla="*/ 155 w 3467"/>
                    <a:gd name="T31" fmla="*/ 1357 h 1980"/>
                    <a:gd name="T32" fmla="*/ 372 w 3467"/>
                    <a:gd name="T33" fmla="*/ 1353 h 1980"/>
                    <a:gd name="T34" fmla="*/ 796 w 3467"/>
                    <a:gd name="T35" fmla="*/ 1350 h 1980"/>
                    <a:gd name="T36" fmla="*/ 1001 w 3467"/>
                    <a:gd name="T37" fmla="*/ 1359 h 1980"/>
                    <a:gd name="T38" fmla="*/ 1091 w 3467"/>
                    <a:gd name="T39" fmla="*/ 1351 h 1980"/>
                    <a:gd name="T40" fmla="*/ 1148 w 3467"/>
                    <a:gd name="T41" fmla="*/ 1339 h 1980"/>
                    <a:gd name="T42" fmla="*/ 1203 w 3467"/>
                    <a:gd name="T43" fmla="*/ 1321 h 1980"/>
                    <a:gd name="T44" fmla="*/ 1255 w 3467"/>
                    <a:gd name="T45" fmla="*/ 1295 h 1980"/>
                    <a:gd name="T46" fmla="*/ 1306 w 3467"/>
                    <a:gd name="T47" fmla="*/ 1262 h 1980"/>
                    <a:gd name="T48" fmla="*/ 1354 w 3467"/>
                    <a:gd name="T49" fmla="*/ 1222 h 1980"/>
                    <a:gd name="T50" fmla="*/ 2183 w 3467"/>
                    <a:gd name="T51" fmla="*/ 379 h 1980"/>
                    <a:gd name="T52" fmla="*/ 2388 w 3467"/>
                    <a:gd name="T53" fmla="*/ 199 h 1980"/>
                    <a:gd name="T54" fmla="*/ 2497 w 3467"/>
                    <a:gd name="T55" fmla="*/ 127 h 1980"/>
                    <a:gd name="T56" fmla="*/ 2611 w 3467"/>
                    <a:gd name="T57" fmla="*/ 68 h 1980"/>
                    <a:gd name="T58" fmla="*/ 2731 w 3467"/>
                    <a:gd name="T59" fmla="*/ 26 h 1980"/>
                    <a:gd name="T60" fmla="*/ 2858 w 3467"/>
                    <a:gd name="T61" fmla="*/ 4 h 1980"/>
                    <a:gd name="T62" fmla="*/ 2992 w 3467"/>
                    <a:gd name="T63" fmla="*/ 2 h 1980"/>
                    <a:gd name="T64" fmla="*/ 3134 w 3467"/>
                    <a:gd name="T65" fmla="*/ 25 h 1980"/>
                    <a:gd name="T66" fmla="*/ 3219 w 3467"/>
                    <a:gd name="T67" fmla="*/ 51 h 1980"/>
                    <a:gd name="T68" fmla="*/ 3301 w 3467"/>
                    <a:gd name="T69" fmla="*/ 90 h 1980"/>
                    <a:gd name="T70" fmla="*/ 3379 w 3467"/>
                    <a:gd name="T71" fmla="*/ 138 h 1980"/>
                    <a:gd name="T72" fmla="*/ 3450 w 3467"/>
                    <a:gd name="T73" fmla="*/ 192 h 1980"/>
                    <a:gd name="T74" fmla="*/ 3455 w 3467"/>
                    <a:gd name="T75" fmla="*/ 198 h 1980"/>
                    <a:gd name="T76" fmla="*/ 3459 w 3467"/>
                    <a:gd name="T77" fmla="*/ 206 h 1980"/>
                    <a:gd name="T78" fmla="*/ 3464 w 3467"/>
                    <a:gd name="T79" fmla="*/ 228 h 1980"/>
                    <a:gd name="T80" fmla="*/ 3466 w 3467"/>
                    <a:gd name="T81" fmla="*/ 256 h 1980"/>
                    <a:gd name="T82" fmla="*/ 3463 w 3467"/>
                    <a:gd name="T83" fmla="*/ 287 h 1980"/>
                    <a:gd name="T84" fmla="*/ 3454 w 3467"/>
                    <a:gd name="T85" fmla="*/ 335 h 1980"/>
                    <a:gd name="T86" fmla="*/ 3444 w 3467"/>
                    <a:gd name="T87" fmla="*/ 363 h 1980"/>
                    <a:gd name="T88" fmla="*/ 3431 w 3467"/>
                    <a:gd name="T89" fmla="*/ 387 h 1980"/>
                    <a:gd name="T90" fmla="*/ 1966 w 3467"/>
                    <a:gd name="T91" fmla="*/ 1851 h 1980"/>
                    <a:gd name="T92" fmla="*/ 1934 w 3467"/>
                    <a:gd name="T93" fmla="*/ 1877 h 1980"/>
                    <a:gd name="T94" fmla="*/ 1898 w 3467"/>
                    <a:gd name="T95" fmla="*/ 1899 h 1980"/>
                    <a:gd name="T96" fmla="*/ 1814 w 3467"/>
                    <a:gd name="T97" fmla="*/ 1935 h 1980"/>
                    <a:gd name="T98" fmla="*/ 1723 w 3467"/>
                    <a:gd name="T99" fmla="*/ 1958 h 1980"/>
                    <a:gd name="T100" fmla="*/ 1634 w 3467"/>
                    <a:gd name="T101" fmla="*/ 1970 h 1980"/>
                    <a:gd name="T102" fmla="*/ 1297 w 3467"/>
                    <a:gd name="T103" fmla="*/ 1979 h 1980"/>
                    <a:gd name="T104" fmla="*/ 957 w 3467"/>
                    <a:gd name="T105" fmla="*/ 1974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67" h="1980">
                      <a:moveTo>
                        <a:pt x="957" y="1974"/>
                      </a:moveTo>
                      <a:lnTo>
                        <a:pt x="238" y="1973"/>
                      </a:lnTo>
                      <a:lnTo>
                        <a:pt x="207" y="1971"/>
                      </a:lnTo>
                      <a:lnTo>
                        <a:pt x="179" y="1969"/>
                      </a:lnTo>
                      <a:lnTo>
                        <a:pt x="153" y="1964"/>
                      </a:lnTo>
                      <a:lnTo>
                        <a:pt x="129" y="1958"/>
                      </a:lnTo>
                      <a:lnTo>
                        <a:pt x="108" y="1950"/>
                      </a:lnTo>
                      <a:lnTo>
                        <a:pt x="89" y="1941"/>
                      </a:lnTo>
                      <a:lnTo>
                        <a:pt x="72" y="1929"/>
                      </a:lnTo>
                      <a:lnTo>
                        <a:pt x="57" y="1916"/>
                      </a:lnTo>
                      <a:lnTo>
                        <a:pt x="44" y="1900"/>
                      </a:lnTo>
                      <a:lnTo>
                        <a:pt x="32" y="1883"/>
                      </a:lnTo>
                      <a:lnTo>
                        <a:pt x="23" y="1863"/>
                      </a:lnTo>
                      <a:lnTo>
                        <a:pt x="16" y="1841"/>
                      </a:lnTo>
                      <a:lnTo>
                        <a:pt x="10" y="1817"/>
                      </a:lnTo>
                      <a:lnTo>
                        <a:pt x="5" y="1791"/>
                      </a:lnTo>
                      <a:lnTo>
                        <a:pt x="3" y="1762"/>
                      </a:lnTo>
                      <a:lnTo>
                        <a:pt x="1" y="1731"/>
                      </a:lnTo>
                      <a:lnTo>
                        <a:pt x="0" y="1605"/>
                      </a:lnTo>
                      <a:lnTo>
                        <a:pt x="4" y="1510"/>
                      </a:lnTo>
                      <a:lnTo>
                        <a:pt x="9" y="1474"/>
                      </a:lnTo>
                      <a:lnTo>
                        <a:pt x="17" y="1443"/>
                      </a:lnTo>
                      <a:lnTo>
                        <a:pt x="22" y="1430"/>
                      </a:lnTo>
                      <a:lnTo>
                        <a:pt x="28" y="1418"/>
                      </a:lnTo>
                      <a:lnTo>
                        <a:pt x="35" y="1407"/>
                      </a:lnTo>
                      <a:lnTo>
                        <a:pt x="43" y="1398"/>
                      </a:lnTo>
                      <a:lnTo>
                        <a:pt x="53" y="1390"/>
                      </a:lnTo>
                      <a:lnTo>
                        <a:pt x="63" y="1382"/>
                      </a:lnTo>
                      <a:lnTo>
                        <a:pt x="75" y="1376"/>
                      </a:lnTo>
                      <a:lnTo>
                        <a:pt x="88" y="1371"/>
                      </a:lnTo>
                      <a:lnTo>
                        <a:pt x="118" y="1363"/>
                      </a:lnTo>
                      <a:lnTo>
                        <a:pt x="155" y="1357"/>
                      </a:lnTo>
                      <a:lnTo>
                        <a:pt x="248" y="1353"/>
                      </a:lnTo>
                      <a:lnTo>
                        <a:pt x="372" y="1353"/>
                      </a:lnTo>
                      <a:lnTo>
                        <a:pt x="655" y="1350"/>
                      </a:lnTo>
                      <a:lnTo>
                        <a:pt x="796" y="1350"/>
                      </a:lnTo>
                      <a:lnTo>
                        <a:pt x="936" y="1357"/>
                      </a:lnTo>
                      <a:lnTo>
                        <a:pt x="1001" y="1359"/>
                      </a:lnTo>
                      <a:lnTo>
                        <a:pt x="1062" y="1355"/>
                      </a:lnTo>
                      <a:lnTo>
                        <a:pt x="1091" y="1351"/>
                      </a:lnTo>
                      <a:lnTo>
                        <a:pt x="1120" y="1346"/>
                      </a:lnTo>
                      <a:lnTo>
                        <a:pt x="1148" y="1339"/>
                      </a:lnTo>
                      <a:lnTo>
                        <a:pt x="1176" y="1331"/>
                      </a:lnTo>
                      <a:lnTo>
                        <a:pt x="1203" y="1321"/>
                      </a:lnTo>
                      <a:lnTo>
                        <a:pt x="1230" y="1309"/>
                      </a:lnTo>
                      <a:lnTo>
                        <a:pt x="1255" y="1295"/>
                      </a:lnTo>
                      <a:lnTo>
                        <a:pt x="1281" y="1280"/>
                      </a:lnTo>
                      <a:lnTo>
                        <a:pt x="1306" y="1262"/>
                      </a:lnTo>
                      <a:lnTo>
                        <a:pt x="1330" y="1243"/>
                      </a:lnTo>
                      <a:lnTo>
                        <a:pt x="1354" y="1222"/>
                      </a:lnTo>
                      <a:lnTo>
                        <a:pt x="1377" y="1199"/>
                      </a:lnTo>
                      <a:lnTo>
                        <a:pt x="2183" y="379"/>
                      </a:lnTo>
                      <a:lnTo>
                        <a:pt x="2283" y="284"/>
                      </a:lnTo>
                      <a:lnTo>
                        <a:pt x="2388" y="199"/>
                      </a:lnTo>
                      <a:lnTo>
                        <a:pt x="2441" y="161"/>
                      </a:lnTo>
                      <a:lnTo>
                        <a:pt x="2497" y="127"/>
                      </a:lnTo>
                      <a:lnTo>
                        <a:pt x="2553" y="95"/>
                      </a:lnTo>
                      <a:lnTo>
                        <a:pt x="2611" y="68"/>
                      </a:lnTo>
                      <a:lnTo>
                        <a:pt x="2670" y="45"/>
                      </a:lnTo>
                      <a:lnTo>
                        <a:pt x="2731" y="26"/>
                      </a:lnTo>
                      <a:lnTo>
                        <a:pt x="2794" y="13"/>
                      </a:lnTo>
                      <a:lnTo>
                        <a:pt x="2858" y="4"/>
                      </a:lnTo>
                      <a:lnTo>
                        <a:pt x="2924" y="0"/>
                      </a:lnTo>
                      <a:lnTo>
                        <a:pt x="2992" y="2"/>
                      </a:lnTo>
                      <a:lnTo>
                        <a:pt x="3062" y="10"/>
                      </a:lnTo>
                      <a:lnTo>
                        <a:pt x="3134" y="25"/>
                      </a:lnTo>
                      <a:lnTo>
                        <a:pt x="3177" y="36"/>
                      </a:lnTo>
                      <a:lnTo>
                        <a:pt x="3219" y="51"/>
                      </a:lnTo>
                      <a:lnTo>
                        <a:pt x="3260" y="69"/>
                      </a:lnTo>
                      <a:lnTo>
                        <a:pt x="3301" y="90"/>
                      </a:lnTo>
                      <a:lnTo>
                        <a:pt x="3341" y="113"/>
                      </a:lnTo>
                      <a:lnTo>
                        <a:pt x="3379" y="138"/>
                      </a:lnTo>
                      <a:lnTo>
                        <a:pt x="3415" y="164"/>
                      </a:lnTo>
                      <a:lnTo>
                        <a:pt x="3450" y="192"/>
                      </a:lnTo>
                      <a:lnTo>
                        <a:pt x="3453" y="194"/>
                      </a:lnTo>
                      <a:lnTo>
                        <a:pt x="3455" y="198"/>
                      </a:lnTo>
                      <a:lnTo>
                        <a:pt x="3457" y="201"/>
                      </a:lnTo>
                      <a:lnTo>
                        <a:pt x="3459" y="206"/>
                      </a:lnTo>
                      <a:lnTo>
                        <a:pt x="3462" y="216"/>
                      </a:lnTo>
                      <a:lnTo>
                        <a:pt x="3464" y="228"/>
                      </a:lnTo>
                      <a:lnTo>
                        <a:pt x="3466" y="242"/>
                      </a:lnTo>
                      <a:lnTo>
                        <a:pt x="3466" y="256"/>
                      </a:lnTo>
                      <a:lnTo>
                        <a:pt x="3465" y="271"/>
                      </a:lnTo>
                      <a:lnTo>
                        <a:pt x="3463" y="287"/>
                      </a:lnTo>
                      <a:lnTo>
                        <a:pt x="3458" y="319"/>
                      </a:lnTo>
                      <a:lnTo>
                        <a:pt x="3454" y="335"/>
                      </a:lnTo>
                      <a:lnTo>
                        <a:pt x="3449" y="350"/>
                      </a:lnTo>
                      <a:lnTo>
                        <a:pt x="3444" y="363"/>
                      </a:lnTo>
                      <a:lnTo>
                        <a:pt x="3438" y="376"/>
                      </a:lnTo>
                      <a:lnTo>
                        <a:pt x="3431" y="387"/>
                      </a:lnTo>
                      <a:lnTo>
                        <a:pt x="3424" y="396"/>
                      </a:lnTo>
                      <a:lnTo>
                        <a:pt x="1966" y="1851"/>
                      </a:lnTo>
                      <a:lnTo>
                        <a:pt x="1951" y="1864"/>
                      </a:lnTo>
                      <a:lnTo>
                        <a:pt x="1934" y="1877"/>
                      </a:lnTo>
                      <a:lnTo>
                        <a:pt x="1917" y="1889"/>
                      </a:lnTo>
                      <a:lnTo>
                        <a:pt x="1898" y="1899"/>
                      </a:lnTo>
                      <a:lnTo>
                        <a:pt x="1857" y="1919"/>
                      </a:lnTo>
                      <a:lnTo>
                        <a:pt x="1814" y="1935"/>
                      </a:lnTo>
                      <a:lnTo>
                        <a:pt x="1769" y="1948"/>
                      </a:lnTo>
                      <a:lnTo>
                        <a:pt x="1723" y="1958"/>
                      </a:lnTo>
                      <a:lnTo>
                        <a:pt x="1678" y="1965"/>
                      </a:lnTo>
                      <a:lnTo>
                        <a:pt x="1634" y="1970"/>
                      </a:lnTo>
                      <a:lnTo>
                        <a:pt x="1466" y="1978"/>
                      </a:lnTo>
                      <a:lnTo>
                        <a:pt x="1297" y="1979"/>
                      </a:lnTo>
                      <a:lnTo>
                        <a:pt x="957" y="1975"/>
                      </a:lnTo>
                      <a:lnTo>
                        <a:pt x="957" y="197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29" name="Freeform 5"/>
                <p:cNvSpPr>
                  <a:spLocks noChangeArrowheads="1"/>
                </p:cNvSpPr>
                <p:nvPr/>
              </p:nvSpPr>
              <p:spPr bwMode="auto">
                <a:xfrm>
                  <a:off x="6816725" y="2930525"/>
                  <a:ext cx="150813" cy="2049463"/>
                </a:xfrm>
                <a:custGeom>
                  <a:avLst/>
                  <a:gdLst>
                    <a:gd name="T0" fmla="*/ 3 w 417"/>
                    <a:gd name="T1" fmla="*/ 268 h 5695"/>
                    <a:gd name="T2" fmla="*/ 6 w 417"/>
                    <a:gd name="T3" fmla="*/ 217 h 5695"/>
                    <a:gd name="T4" fmla="*/ 16 w 417"/>
                    <a:gd name="T5" fmla="*/ 165 h 5695"/>
                    <a:gd name="T6" fmla="*/ 33 w 417"/>
                    <a:gd name="T7" fmla="*/ 116 h 5695"/>
                    <a:gd name="T8" fmla="*/ 45 w 417"/>
                    <a:gd name="T9" fmla="*/ 95 h 5695"/>
                    <a:gd name="T10" fmla="*/ 58 w 417"/>
                    <a:gd name="T11" fmla="*/ 76 h 5695"/>
                    <a:gd name="T12" fmla="*/ 75 w 417"/>
                    <a:gd name="T13" fmla="*/ 59 h 5695"/>
                    <a:gd name="T14" fmla="*/ 96 w 417"/>
                    <a:gd name="T15" fmla="*/ 44 h 5695"/>
                    <a:gd name="T16" fmla="*/ 143 w 417"/>
                    <a:gd name="T17" fmla="*/ 17 h 5695"/>
                    <a:gd name="T18" fmla="*/ 168 w 417"/>
                    <a:gd name="T19" fmla="*/ 8 h 5695"/>
                    <a:gd name="T20" fmla="*/ 193 w 417"/>
                    <a:gd name="T21" fmla="*/ 2 h 5695"/>
                    <a:gd name="T22" fmla="*/ 215 w 417"/>
                    <a:gd name="T23" fmla="*/ 0 h 5695"/>
                    <a:gd name="T24" fmla="*/ 235 w 417"/>
                    <a:gd name="T25" fmla="*/ 3 h 5695"/>
                    <a:gd name="T26" fmla="*/ 274 w 417"/>
                    <a:gd name="T27" fmla="*/ 18 h 5695"/>
                    <a:gd name="T28" fmla="*/ 309 w 417"/>
                    <a:gd name="T29" fmla="*/ 37 h 5695"/>
                    <a:gd name="T30" fmla="*/ 340 w 417"/>
                    <a:gd name="T31" fmla="*/ 60 h 5695"/>
                    <a:gd name="T32" fmla="*/ 366 w 417"/>
                    <a:gd name="T33" fmla="*/ 88 h 5695"/>
                    <a:gd name="T34" fmla="*/ 388 w 417"/>
                    <a:gd name="T35" fmla="*/ 121 h 5695"/>
                    <a:gd name="T36" fmla="*/ 403 w 417"/>
                    <a:gd name="T37" fmla="*/ 159 h 5695"/>
                    <a:gd name="T38" fmla="*/ 413 w 417"/>
                    <a:gd name="T39" fmla="*/ 203 h 5695"/>
                    <a:gd name="T40" fmla="*/ 416 w 417"/>
                    <a:gd name="T41" fmla="*/ 253 h 5695"/>
                    <a:gd name="T42" fmla="*/ 410 w 417"/>
                    <a:gd name="T43" fmla="*/ 5500 h 5695"/>
                    <a:gd name="T44" fmla="*/ 405 w 417"/>
                    <a:gd name="T45" fmla="*/ 5554 h 5695"/>
                    <a:gd name="T46" fmla="*/ 392 w 417"/>
                    <a:gd name="T47" fmla="*/ 5611 h 5695"/>
                    <a:gd name="T48" fmla="*/ 378 w 417"/>
                    <a:gd name="T49" fmla="*/ 5648 h 5695"/>
                    <a:gd name="T50" fmla="*/ 368 w 417"/>
                    <a:gd name="T51" fmla="*/ 5666 h 5695"/>
                    <a:gd name="T52" fmla="*/ 359 w 417"/>
                    <a:gd name="T53" fmla="*/ 5675 h 5695"/>
                    <a:gd name="T54" fmla="*/ 353 w 417"/>
                    <a:gd name="T55" fmla="*/ 5679 h 5695"/>
                    <a:gd name="T56" fmla="*/ 314 w 417"/>
                    <a:gd name="T57" fmla="*/ 5687 h 5695"/>
                    <a:gd name="T58" fmla="*/ 238 w 417"/>
                    <a:gd name="T59" fmla="*/ 5694 h 5695"/>
                    <a:gd name="T60" fmla="*/ 161 w 417"/>
                    <a:gd name="T61" fmla="*/ 5692 h 5695"/>
                    <a:gd name="T62" fmla="*/ 85 w 417"/>
                    <a:gd name="T63" fmla="*/ 5682 h 5695"/>
                    <a:gd name="T64" fmla="*/ 46 w 417"/>
                    <a:gd name="T65" fmla="*/ 5674 h 5695"/>
                    <a:gd name="T66" fmla="*/ 41 w 417"/>
                    <a:gd name="T67" fmla="*/ 5671 h 5695"/>
                    <a:gd name="T68" fmla="*/ 34 w 417"/>
                    <a:gd name="T69" fmla="*/ 5663 h 5695"/>
                    <a:gd name="T70" fmla="*/ 26 w 417"/>
                    <a:gd name="T71" fmla="*/ 5647 h 5695"/>
                    <a:gd name="T72" fmla="*/ 15 w 417"/>
                    <a:gd name="T73" fmla="*/ 5614 h 5695"/>
                    <a:gd name="T74" fmla="*/ 6 w 417"/>
                    <a:gd name="T75" fmla="*/ 5562 h 5695"/>
                    <a:gd name="T76" fmla="*/ 2 w 417"/>
                    <a:gd name="T77" fmla="*/ 5514 h 5695"/>
                    <a:gd name="T78" fmla="*/ 0 w 417"/>
                    <a:gd name="T79" fmla="*/ 2876 h 5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7" h="5695">
                      <a:moveTo>
                        <a:pt x="1" y="2876"/>
                      </a:moveTo>
                      <a:lnTo>
                        <a:pt x="3" y="268"/>
                      </a:lnTo>
                      <a:lnTo>
                        <a:pt x="4" y="243"/>
                      </a:lnTo>
                      <a:lnTo>
                        <a:pt x="6" y="217"/>
                      </a:lnTo>
                      <a:lnTo>
                        <a:pt x="10" y="191"/>
                      </a:lnTo>
                      <a:lnTo>
                        <a:pt x="16" y="165"/>
                      </a:lnTo>
                      <a:lnTo>
                        <a:pt x="24" y="140"/>
                      </a:lnTo>
                      <a:lnTo>
                        <a:pt x="33" y="116"/>
                      </a:lnTo>
                      <a:lnTo>
                        <a:pt x="39" y="105"/>
                      </a:lnTo>
                      <a:lnTo>
                        <a:pt x="45" y="95"/>
                      </a:lnTo>
                      <a:lnTo>
                        <a:pt x="51" y="85"/>
                      </a:lnTo>
                      <a:lnTo>
                        <a:pt x="58" y="76"/>
                      </a:lnTo>
                      <a:lnTo>
                        <a:pt x="66" y="67"/>
                      </a:lnTo>
                      <a:lnTo>
                        <a:pt x="75" y="59"/>
                      </a:lnTo>
                      <a:lnTo>
                        <a:pt x="85" y="51"/>
                      </a:lnTo>
                      <a:lnTo>
                        <a:pt x="96" y="44"/>
                      </a:lnTo>
                      <a:lnTo>
                        <a:pt x="119" y="29"/>
                      </a:lnTo>
                      <a:lnTo>
                        <a:pt x="143" y="17"/>
                      </a:lnTo>
                      <a:lnTo>
                        <a:pt x="156" y="12"/>
                      </a:lnTo>
                      <a:lnTo>
                        <a:pt x="168" y="8"/>
                      </a:lnTo>
                      <a:lnTo>
                        <a:pt x="181" y="4"/>
                      </a:lnTo>
                      <a:lnTo>
                        <a:pt x="193" y="2"/>
                      </a:lnTo>
                      <a:lnTo>
                        <a:pt x="204" y="0"/>
                      </a:lnTo>
                      <a:lnTo>
                        <a:pt x="215" y="0"/>
                      </a:lnTo>
                      <a:lnTo>
                        <a:pt x="226" y="1"/>
                      </a:lnTo>
                      <a:lnTo>
                        <a:pt x="235" y="3"/>
                      </a:lnTo>
                      <a:lnTo>
                        <a:pt x="255" y="10"/>
                      </a:lnTo>
                      <a:lnTo>
                        <a:pt x="274" y="18"/>
                      </a:lnTo>
                      <a:lnTo>
                        <a:pt x="292" y="27"/>
                      </a:lnTo>
                      <a:lnTo>
                        <a:pt x="309" y="37"/>
                      </a:lnTo>
                      <a:lnTo>
                        <a:pt x="325" y="48"/>
                      </a:lnTo>
                      <a:lnTo>
                        <a:pt x="340" y="60"/>
                      </a:lnTo>
                      <a:lnTo>
                        <a:pt x="354" y="73"/>
                      </a:lnTo>
                      <a:lnTo>
                        <a:pt x="366" y="88"/>
                      </a:lnTo>
                      <a:lnTo>
                        <a:pt x="377" y="104"/>
                      </a:lnTo>
                      <a:lnTo>
                        <a:pt x="388" y="121"/>
                      </a:lnTo>
                      <a:lnTo>
                        <a:pt x="396" y="139"/>
                      </a:lnTo>
                      <a:lnTo>
                        <a:pt x="403" y="159"/>
                      </a:lnTo>
                      <a:lnTo>
                        <a:pt x="409" y="180"/>
                      </a:lnTo>
                      <a:lnTo>
                        <a:pt x="413" y="203"/>
                      </a:lnTo>
                      <a:lnTo>
                        <a:pt x="415" y="227"/>
                      </a:lnTo>
                      <a:lnTo>
                        <a:pt x="416" y="253"/>
                      </a:lnTo>
                      <a:lnTo>
                        <a:pt x="412" y="3638"/>
                      </a:lnTo>
                      <a:lnTo>
                        <a:pt x="410" y="5500"/>
                      </a:lnTo>
                      <a:lnTo>
                        <a:pt x="409" y="5526"/>
                      </a:lnTo>
                      <a:lnTo>
                        <a:pt x="405" y="5554"/>
                      </a:lnTo>
                      <a:lnTo>
                        <a:pt x="399" y="5583"/>
                      </a:lnTo>
                      <a:lnTo>
                        <a:pt x="392" y="5611"/>
                      </a:lnTo>
                      <a:lnTo>
                        <a:pt x="383" y="5636"/>
                      </a:lnTo>
                      <a:lnTo>
                        <a:pt x="378" y="5648"/>
                      </a:lnTo>
                      <a:lnTo>
                        <a:pt x="373" y="5658"/>
                      </a:lnTo>
                      <a:lnTo>
                        <a:pt x="368" y="5666"/>
                      </a:lnTo>
                      <a:lnTo>
                        <a:pt x="362" y="5673"/>
                      </a:lnTo>
                      <a:lnTo>
                        <a:pt x="359" y="5675"/>
                      </a:lnTo>
                      <a:lnTo>
                        <a:pt x="356" y="5678"/>
                      </a:lnTo>
                      <a:lnTo>
                        <a:pt x="353" y="5679"/>
                      </a:lnTo>
                      <a:lnTo>
                        <a:pt x="350" y="5680"/>
                      </a:lnTo>
                      <a:lnTo>
                        <a:pt x="314" y="5687"/>
                      </a:lnTo>
                      <a:lnTo>
                        <a:pt x="276" y="5692"/>
                      </a:lnTo>
                      <a:lnTo>
                        <a:pt x="238" y="5694"/>
                      </a:lnTo>
                      <a:lnTo>
                        <a:pt x="200" y="5694"/>
                      </a:lnTo>
                      <a:lnTo>
                        <a:pt x="161" y="5692"/>
                      </a:lnTo>
                      <a:lnTo>
                        <a:pt x="123" y="5688"/>
                      </a:lnTo>
                      <a:lnTo>
                        <a:pt x="85" y="5682"/>
                      </a:lnTo>
                      <a:lnTo>
                        <a:pt x="48" y="5675"/>
                      </a:lnTo>
                      <a:lnTo>
                        <a:pt x="46" y="5674"/>
                      </a:lnTo>
                      <a:lnTo>
                        <a:pt x="43" y="5673"/>
                      </a:lnTo>
                      <a:lnTo>
                        <a:pt x="41" y="5671"/>
                      </a:lnTo>
                      <a:lnTo>
                        <a:pt x="39" y="5669"/>
                      </a:lnTo>
                      <a:lnTo>
                        <a:pt x="34" y="5663"/>
                      </a:lnTo>
                      <a:lnTo>
                        <a:pt x="30" y="5655"/>
                      </a:lnTo>
                      <a:lnTo>
                        <a:pt x="26" y="5647"/>
                      </a:lnTo>
                      <a:lnTo>
                        <a:pt x="22" y="5636"/>
                      </a:lnTo>
                      <a:lnTo>
                        <a:pt x="15" y="5614"/>
                      </a:lnTo>
                      <a:lnTo>
                        <a:pt x="10" y="5588"/>
                      </a:lnTo>
                      <a:lnTo>
                        <a:pt x="6" y="5562"/>
                      </a:lnTo>
                      <a:lnTo>
                        <a:pt x="3" y="5537"/>
                      </a:lnTo>
                      <a:lnTo>
                        <a:pt x="2" y="5514"/>
                      </a:lnTo>
                      <a:lnTo>
                        <a:pt x="0" y="3511"/>
                      </a:lnTo>
                      <a:lnTo>
                        <a:pt x="0" y="2876"/>
                      </a:lnTo>
                      <a:lnTo>
                        <a:pt x="1" y="28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30" name="Freeform 6"/>
                <p:cNvSpPr>
                  <a:spLocks noChangeArrowheads="1"/>
                </p:cNvSpPr>
                <p:nvPr/>
              </p:nvSpPr>
              <p:spPr bwMode="auto">
                <a:xfrm>
                  <a:off x="3436938" y="3540125"/>
                  <a:ext cx="149225" cy="1443038"/>
                </a:xfrm>
                <a:custGeom>
                  <a:avLst/>
                  <a:gdLst>
                    <a:gd name="T0" fmla="*/ 0 w 414"/>
                    <a:gd name="T1" fmla="*/ 210 h 4010"/>
                    <a:gd name="T2" fmla="*/ 3 w 414"/>
                    <a:gd name="T3" fmla="*/ 156 h 4010"/>
                    <a:gd name="T4" fmla="*/ 12 w 414"/>
                    <a:gd name="T5" fmla="*/ 112 h 4010"/>
                    <a:gd name="T6" fmla="*/ 28 w 414"/>
                    <a:gd name="T7" fmla="*/ 75 h 4010"/>
                    <a:gd name="T8" fmla="*/ 50 w 414"/>
                    <a:gd name="T9" fmla="*/ 46 h 4010"/>
                    <a:gd name="T10" fmla="*/ 80 w 414"/>
                    <a:gd name="T11" fmla="*/ 25 h 4010"/>
                    <a:gd name="T12" fmla="*/ 117 w 414"/>
                    <a:gd name="T13" fmla="*/ 10 h 4010"/>
                    <a:gd name="T14" fmla="*/ 162 w 414"/>
                    <a:gd name="T15" fmla="*/ 2 h 4010"/>
                    <a:gd name="T16" fmla="*/ 215 w 414"/>
                    <a:gd name="T17" fmla="*/ 0 h 4010"/>
                    <a:gd name="T18" fmla="*/ 267 w 414"/>
                    <a:gd name="T19" fmla="*/ 2 h 4010"/>
                    <a:gd name="T20" fmla="*/ 309 w 414"/>
                    <a:gd name="T21" fmla="*/ 11 h 4010"/>
                    <a:gd name="T22" fmla="*/ 344 w 414"/>
                    <a:gd name="T23" fmla="*/ 25 h 4010"/>
                    <a:gd name="T24" fmla="*/ 370 w 414"/>
                    <a:gd name="T25" fmla="*/ 47 h 4010"/>
                    <a:gd name="T26" fmla="*/ 390 w 414"/>
                    <a:gd name="T27" fmla="*/ 76 h 4010"/>
                    <a:gd name="T28" fmla="*/ 403 w 414"/>
                    <a:gd name="T29" fmla="*/ 114 h 4010"/>
                    <a:gd name="T30" fmla="*/ 410 w 414"/>
                    <a:gd name="T31" fmla="*/ 162 h 4010"/>
                    <a:gd name="T32" fmla="*/ 413 w 414"/>
                    <a:gd name="T33" fmla="*/ 2816 h 4010"/>
                    <a:gd name="T34" fmla="*/ 411 w 414"/>
                    <a:gd name="T35" fmla="*/ 3851 h 4010"/>
                    <a:gd name="T36" fmla="*/ 404 w 414"/>
                    <a:gd name="T37" fmla="*/ 3931 h 4010"/>
                    <a:gd name="T38" fmla="*/ 396 w 414"/>
                    <a:gd name="T39" fmla="*/ 3958 h 4010"/>
                    <a:gd name="T40" fmla="*/ 389 w 414"/>
                    <a:gd name="T41" fmla="*/ 3972 h 4010"/>
                    <a:gd name="T42" fmla="*/ 379 w 414"/>
                    <a:gd name="T43" fmla="*/ 3983 h 4010"/>
                    <a:gd name="T44" fmla="*/ 367 w 414"/>
                    <a:gd name="T45" fmla="*/ 3992 h 4010"/>
                    <a:gd name="T46" fmla="*/ 353 w 414"/>
                    <a:gd name="T47" fmla="*/ 3998 h 4010"/>
                    <a:gd name="T48" fmla="*/ 326 w 414"/>
                    <a:gd name="T49" fmla="*/ 4005 h 4010"/>
                    <a:gd name="T50" fmla="*/ 279 w 414"/>
                    <a:gd name="T51" fmla="*/ 4009 h 4010"/>
                    <a:gd name="T52" fmla="*/ 148 w 414"/>
                    <a:gd name="T53" fmla="*/ 4008 h 4010"/>
                    <a:gd name="T54" fmla="*/ 96 w 414"/>
                    <a:gd name="T55" fmla="*/ 4004 h 4010"/>
                    <a:gd name="T56" fmla="*/ 58 w 414"/>
                    <a:gd name="T57" fmla="*/ 3993 h 4010"/>
                    <a:gd name="T58" fmla="*/ 43 w 414"/>
                    <a:gd name="T59" fmla="*/ 3985 h 4010"/>
                    <a:gd name="T60" fmla="*/ 32 w 414"/>
                    <a:gd name="T61" fmla="*/ 3975 h 4010"/>
                    <a:gd name="T62" fmla="*/ 22 w 414"/>
                    <a:gd name="T63" fmla="*/ 3961 h 4010"/>
                    <a:gd name="T64" fmla="*/ 15 w 414"/>
                    <a:gd name="T65" fmla="*/ 3945 h 4010"/>
                    <a:gd name="T66" fmla="*/ 6 w 414"/>
                    <a:gd name="T67" fmla="*/ 3902 h 4010"/>
                    <a:gd name="T68" fmla="*/ 1 w 414"/>
                    <a:gd name="T69" fmla="*/ 3764 h 4010"/>
                    <a:gd name="T70" fmla="*/ 0 w 414"/>
                    <a:gd name="T71" fmla="*/ 2001 h 4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4" h="4010">
                      <a:moveTo>
                        <a:pt x="0" y="2001"/>
                      </a:moveTo>
                      <a:lnTo>
                        <a:pt x="0" y="210"/>
                      </a:lnTo>
                      <a:lnTo>
                        <a:pt x="1" y="182"/>
                      </a:lnTo>
                      <a:lnTo>
                        <a:pt x="3" y="156"/>
                      </a:lnTo>
                      <a:lnTo>
                        <a:pt x="7" y="133"/>
                      </a:lnTo>
                      <a:lnTo>
                        <a:pt x="12" y="112"/>
                      </a:lnTo>
                      <a:lnTo>
                        <a:pt x="19" y="92"/>
                      </a:lnTo>
                      <a:lnTo>
                        <a:pt x="28" y="75"/>
                      </a:lnTo>
                      <a:lnTo>
                        <a:pt x="38" y="60"/>
                      </a:lnTo>
                      <a:lnTo>
                        <a:pt x="50" y="46"/>
                      </a:lnTo>
                      <a:lnTo>
                        <a:pt x="64" y="35"/>
                      </a:lnTo>
                      <a:lnTo>
                        <a:pt x="80" y="25"/>
                      </a:lnTo>
                      <a:lnTo>
                        <a:pt x="97" y="17"/>
                      </a:lnTo>
                      <a:lnTo>
                        <a:pt x="117" y="10"/>
                      </a:lnTo>
                      <a:lnTo>
                        <a:pt x="138" y="5"/>
                      </a:lnTo>
                      <a:lnTo>
                        <a:pt x="162" y="2"/>
                      </a:lnTo>
                      <a:lnTo>
                        <a:pt x="187" y="0"/>
                      </a:lnTo>
                      <a:lnTo>
                        <a:pt x="215" y="0"/>
                      </a:lnTo>
                      <a:lnTo>
                        <a:pt x="242" y="0"/>
                      </a:lnTo>
                      <a:lnTo>
                        <a:pt x="267" y="2"/>
                      </a:lnTo>
                      <a:lnTo>
                        <a:pt x="289" y="6"/>
                      </a:lnTo>
                      <a:lnTo>
                        <a:pt x="309" y="11"/>
                      </a:lnTo>
                      <a:lnTo>
                        <a:pt x="328" y="17"/>
                      </a:lnTo>
                      <a:lnTo>
                        <a:pt x="344" y="25"/>
                      </a:lnTo>
                      <a:lnTo>
                        <a:pt x="358" y="35"/>
                      </a:lnTo>
                      <a:lnTo>
                        <a:pt x="370" y="47"/>
                      </a:lnTo>
                      <a:lnTo>
                        <a:pt x="381" y="60"/>
                      </a:lnTo>
                      <a:lnTo>
                        <a:pt x="390" y="76"/>
                      </a:lnTo>
                      <a:lnTo>
                        <a:pt x="397" y="94"/>
                      </a:lnTo>
                      <a:lnTo>
                        <a:pt x="403" y="114"/>
                      </a:lnTo>
                      <a:lnTo>
                        <a:pt x="407" y="137"/>
                      </a:lnTo>
                      <a:lnTo>
                        <a:pt x="410" y="162"/>
                      </a:lnTo>
                      <a:lnTo>
                        <a:pt x="413" y="221"/>
                      </a:lnTo>
                      <a:lnTo>
                        <a:pt x="413" y="2816"/>
                      </a:lnTo>
                      <a:lnTo>
                        <a:pt x="412" y="3775"/>
                      </a:lnTo>
                      <a:lnTo>
                        <a:pt x="411" y="3851"/>
                      </a:lnTo>
                      <a:lnTo>
                        <a:pt x="407" y="3908"/>
                      </a:lnTo>
                      <a:lnTo>
                        <a:pt x="404" y="3931"/>
                      </a:lnTo>
                      <a:lnTo>
                        <a:pt x="399" y="3950"/>
                      </a:lnTo>
                      <a:lnTo>
                        <a:pt x="396" y="3958"/>
                      </a:lnTo>
                      <a:lnTo>
                        <a:pt x="392" y="3965"/>
                      </a:lnTo>
                      <a:lnTo>
                        <a:pt x="389" y="3972"/>
                      </a:lnTo>
                      <a:lnTo>
                        <a:pt x="384" y="3978"/>
                      </a:lnTo>
                      <a:lnTo>
                        <a:pt x="379" y="3983"/>
                      </a:lnTo>
                      <a:lnTo>
                        <a:pt x="373" y="3988"/>
                      </a:lnTo>
                      <a:lnTo>
                        <a:pt x="367" y="3992"/>
                      </a:lnTo>
                      <a:lnTo>
                        <a:pt x="360" y="3995"/>
                      </a:lnTo>
                      <a:lnTo>
                        <a:pt x="353" y="3998"/>
                      </a:lnTo>
                      <a:lnTo>
                        <a:pt x="345" y="4001"/>
                      </a:lnTo>
                      <a:lnTo>
                        <a:pt x="326" y="4005"/>
                      </a:lnTo>
                      <a:lnTo>
                        <a:pt x="304" y="4007"/>
                      </a:lnTo>
                      <a:lnTo>
                        <a:pt x="279" y="4009"/>
                      </a:lnTo>
                      <a:lnTo>
                        <a:pt x="217" y="4009"/>
                      </a:lnTo>
                      <a:lnTo>
                        <a:pt x="148" y="4008"/>
                      </a:lnTo>
                      <a:lnTo>
                        <a:pt x="120" y="4006"/>
                      </a:lnTo>
                      <a:lnTo>
                        <a:pt x="96" y="4004"/>
                      </a:lnTo>
                      <a:lnTo>
                        <a:pt x="75" y="3999"/>
                      </a:lnTo>
                      <a:lnTo>
                        <a:pt x="58" y="3993"/>
                      </a:lnTo>
                      <a:lnTo>
                        <a:pt x="50" y="3989"/>
                      </a:lnTo>
                      <a:lnTo>
                        <a:pt x="43" y="3985"/>
                      </a:lnTo>
                      <a:lnTo>
                        <a:pt x="37" y="3980"/>
                      </a:lnTo>
                      <a:lnTo>
                        <a:pt x="32" y="3975"/>
                      </a:lnTo>
                      <a:lnTo>
                        <a:pt x="27" y="3968"/>
                      </a:lnTo>
                      <a:lnTo>
                        <a:pt x="22" y="3961"/>
                      </a:lnTo>
                      <a:lnTo>
                        <a:pt x="18" y="3953"/>
                      </a:lnTo>
                      <a:lnTo>
                        <a:pt x="15" y="3945"/>
                      </a:lnTo>
                      <a:lnTo>
                        <a:pt x="10" y="3925"/>
                      </a:lnTo>
                      <a:lnTo>
                        <a:pt x="6" y="3902"/>
                      </a:lnTo>
                      <a:lnTo>
                        <a:pt x="2" y="3842"/>
                      </a:lnTo>
                      <a:lnTo>
                        <a:pt x="1" y="3764"/>
                      </a:lnTo>
                      <a:lnTo>
                        <a:pt x="1" y="2001"/>
                      </a:lnTo>
                      <a:lnTo>
                        <a:pt x="0" y="200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31" name="Freeform 7"/>
                <p:cNvSpPr>
                  <a:spLocks noChangeArrowheads="1"/>
                </p:cNvSpPr>
                <p:nvPr/>
              </p:nvSpPr>
              <p:spPr bwMode="auto">
                <a:xfrm>
                  <a:off x="6154738" y="2420938"/>
                  <a:ext cx="490537" cy="511175"/>
                </a:xfrm>
                <a:custGeom>
                  <a:avLst/>
                  <a:gdLst>
                    <a:gd name="T0" fmla="*/ 762 w 1362"/>
                    <a:gd name="T1" fmla="*/ 9 h 1418"/>
                    <a:gd name="T2" fmla="*/ 904 w 1362"/>
                    <a:gd name="T3" fmla="*/ 31 h 1418"/>
                    <a:gd name="T4" fmla="*/ 1029 w 1362"/>
                    <a:gd name="T5" fmla="*/ 74 h 1418"/>
                    <a:gd name="T6" fmla="*/ 1136 w 1362"/>
                    <a:gd name="T7" fmla="*/ 139 h 1418"/>
                    <a:gd name="T8" fmla="*/ 1223 w 1362"/>
                    <a:gd name="T9" fmla="*/ 222 h 1418"/>
                    <a:gd name="T10" fmla="*/ 1290 w 1362"/>
                    <a:gd name="T11" fmla="*/ 324 h 1418"/>
                    <a:gd name="T12" fmla="*/ 1335 w 1362"/>
                    <a:gd name="T13" fmla="*/ 444 h 1418"/>
                    <a:gd name="T14" fmla="*/ 1358 w 1362"/>
                    <a:gd name="T15" fmla="*/ 580 h 1418"/>
                    <a:gd name="T16" fmla="*/ 1358 w 1362"/>
                    <a:gd name="T17" fmla="*/ 736 h 1418"/>
                    <a:gd name="T18" fmla="*/ 1333 w 1362"/>
                    <a:gd name="T19" fmla="*/ 891 h 1418"/>
                    <a:gd name="T20" fmla="*/ 1285 w 1362"/>
                    <a:gd name="T21" fmla="*/ 1030 h 1418"/>
                    <a:gd name="T22" fmla="*/ 1216 w 1362"/>
                    <a:gd name="T23" fmla="*/ 1151 h 1418"/>
                    <a:gd name="T24" fmla="*/ 1127 w 1362"/>
                    <a:gd name="T25" fmla="*/ 1251 h 1418"/>
                    <a:gd name="T26" fmla="*/ 1021 w 1362"/>
                    <a:gd name="T27" fmla="*/ 1330 h 1418"/>
                    <a:gd name="T28" fmla="*/ 900 w 1362"/>
                    <a:gd name="T29" fmla="*/ 1384 h 1418"/>
                    <a:gd name="T30" fmla="*/ 764 w 1362"/>
                    <a:gd name="T31" fmla="*/ 1413 h 1418"/>
                    <a:gd name="T32" fmla="*/ 619 w 1362"/>
                    <a:gd name="T33" fmla="*/ 1413 h 1418"/>
                    <a:gd name="T34" fmla="*/ 483 w 1362"/>
                    <a:gd name="T35" fmla="*/ 1386 h 1418"/>
                    <a:gd name="T36" fmla="*/ 360 w 1362"/>
                    <a:gd name="T37" fmla="*/ 1334 h 1418"/>
                    <a:gd name="T38" fmla="*/ 251 w 1362"/>
                    <a:gd name="T39" fmla="*/ 1258 h 1418"/>
                    <a:gd name="T40" fmla="*/ 159 w 1362"/>
                    <a:gd name="T41" fmla="*/ 1162 h 1418"/>
                    <a:gd name="T42" fmla="*/ 86 w 1362"/>
                    <a:gd name="T43" fmla="*/ 1047 h 1418"/>
                    <a:gd name="T44" fmla="*/ 35 w 1362"/>
                    <a:gd name="T45" fmla="*/ 916 h 1418"/>
                    <a:gd name="T46" fmla="*/ 6 w 1362"/>
                    <a:gd name="T47" fmla="*/ 771 h 1418"/>
                    <a:gd name="T48" fmla="*/ 2 w 1362"/>
                    <a:gd name="T49" fmla="*/ 629 h 1418"/>
                    <a:gd name="T50" fmla="*/ 24 w 1362"/>
                    <a:gd name="T51" fmla="*/ 498 h 1418"/>
                    <a:gd name="T52" fmla="*/ 71 w 1362"/>
                    <a:gd name="T53" fmla="*/ 370 h 1418"/>
                    <a:gd name="T54" fmla="*/ 140 w 1362"/>
                    <a:gd name="T55" fmla="*/ 252 h 1418"/>
                    <a:gd name="T56" fmla="*/ 230 w 1362"/>
                    <a:gd name="T57" fmla="*/ 150 h 1418"/>
                    <a:gd name="T58" fmla="*/ 339 w 1362"/>
                    <a:gd name="T59" fmla="*/ 70 h 1418"/>
                    <a:gd name="T60" fmla="*/ 466 w 1362"/>
                    <a:gd name="T61" fmla="*/ 18 h 1418"/>
                    <a:gd name="T62" fmla="*/ 608 w 1362"/>
                    <a:gd name="T63" fmla="*/ 0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2" h="1418">
                      <a:moveTo>
                        <a:pt x="684" y="6"/>
                      </a:moveTo>
                      <a:lnTo>
                        <a:pt x="762" y="9"/>
                      </a:lnTo>
                      <a:lnTo>
                        <a:pt x="835" y="17"/>
                      </a:lnTo>
                      <a:lnTo>
                        <a:pt x="904" y="31"/>
                      </a:lnTo>
                      <a:lnTo>
                        <a:pt x="969" y="50"/>
                      </a:lnTo>
                      <a:lnTo>
                        <a:pt x="1029" y="74"/>
                      </a:lnTo>
                      <a:lnTo>
                        <a:pt x="1085" y="104"/>
                      </a:lnTo>
                      <a:lnTo>
                        <a:pt x="1136" y="139"/>
                      </a:lnTo>
                      <a:lnTo>
                        <a:pt x="1182" y="178"/>
                      </a:lnTo>
                      <a:lnTo>
                        <a:pt x="1223" y="222"/>
                      </a:lnTo>
                      <a:lnTo>
                        <a:pt x="1259" y="271"/>
                      </a:lnTo>
                      <a:lnTo>
                        <a:pt x="1290" y="324"/>
                      </a:lnTo>
                      <a:lnTo>
                        <a:pt x="1315" y="382"/>
                      </a:lnTo>
                      <a:lnTo>
                        <a:pt x="1335" y="444"/>
                      </a:lnTo>
                      <a:lnTo>
                        <a:pt x="1350" y="510"/>
                      </a:lnTo>
                      <a:lnTo>
                        <a:pt x="1358" y="580"/>
                      </a:lnTo>
                      <a:lnTo>
                        <a:pt x="1361" y="654"/>
                      </a:lnTo>
                      <a:lnTo>
                        <a:pt x="1358" y="736"/>
                      </a:lnTo>
                      <a:lnTo>
                        <a:pt x="1348" y="816"/>
                      </a:lnTo>
                      <a:lnTo>
                        <a:pt x="1333" y="891"/>
                      </a:lnTo>
                      <a:lnTo>
                        <a:pt x="1312" y="963"/>
                      </a:lnTo>
                      <a:lnTo>
                        <a:pt x="1285" y="1030"/>
                      </a:lnTo>
                      <a:lnTo>
                        <a:pt x="1253" y="1093"/>
                      </a:lnTo>
                      <a:lnTo>
                        <a:pt x="1216" y="1151"/>
                      </a:lnTo>
                      <a:lnTo>
                        <a:pt x="1174" y="1204"/>
                      </a:lnTo>
                      <a:lnTo>
                        <a:pt x="1127" y="1251"/>
                      </a:lnTo>
                      <a:lnTo>
                        <a:pt x="1077" y="1293"/>
                      </a:lnTo>
                      <a:lnTo>
                        <a:pt x="1021" y="1330"/>
                      </a:lnTo>
                      <a:lnTo>
                        <a:pt x="962" y="1360"/>
                      </a:lnTo>
                      <a:lnTo>
                        <a:pt x="900" y="1384"/>
                      </a:lnTo>
                      <a:lnTo>
                        <a:pt x="833" y="1402"/>
                      </a:lnTo>
                      <a:lnTo>
                        <a:pt x="764" y="1413"/>
                      </a:lnTo>
                      <a:lnTo>
                        <a:pt x="691" y="1417"/>
                      </a:lnTo>
                      <a:lnTo>
                        <a:pt x="619" y="1413"/>
                      </a:lnTo>
                      <a:lnTo>
                        <a:pt x="549" y="1403"/>
                      </a:lnTo>
                      <a:lnTo>
                        <a:pt x="483" y="1386"/>
                      </a:lnTo>
                      <a:lnTo>
                        <a:pt x="419" y="1363"/>
                      </a:lnTo>
                      <a:lnTo>
                        <a:pt x="360" y="1334"/>
                      </a:lnTo>
                      <a:lnTo>
                        <a:pt x="303" y="1299"/>
                      </a:lnTo>
                      <a:lnTo>
                        <a:pt x="251" y="1258"/>
                      </a:lnTo>
                      <a:lnTo>
                        <a:pt x="203" y="1212"/>
                      </a:lnTo>
                      <a:lnTo>
                        <a:pt x="159" y="1162"/>
                      </a:lnTo>
                      <a:lnTo>
                        <a:pt x="120" y="1106"/>
                      </a:lnTo>
                      <a:lnTo>
                        <a:pt x="86" y="1047"/>
                      </a:lnTo>
                      <a:lnTo>
                        <a:pt x="58" y="983"/>
                      </a:lnTo>
                      <a:lnTo>
                        <a:pt x="35" y="916"/>
                      </a:lnTo>
                      <a:lnTo>
                        <a:pt x="17" y="845"/>
                      </a:lnTo>
                      <a:lnTo>
                        <a:pt x="6" y="771"/>
                      </a:lnTo>
                      <a:lnTo>
                        <a:pt x="0" y="695"/>
                      </a:lnTo>
                      <a:lnTo>
                        <a:pt x="2" y="629"/>
                      </a:lnTo>
                      <a:lnTo>
                        <a:pt x="10" y="564"/>
                      </a:lnTo>
                      <a:lnTo>
                        <a:pt x="24" y="498"/>
                      </a:lnTo>
                      <a:lnTo>
                        <a:pt x="44" y="433"/>
                      </a:lnTo>
                      <a:lnTo>
                        <a:pt x="71" y="370"/>
                      </a:lnTo>
                      <a:lnTo>
                        <a:pt x="103" y="310"/>
                      </a:lnTo>
                      <a:lnTo>
                        <a:pt x="140" y="252"/>
                      </a:lnTo>
                      <a:lnTo>
                        <a:pt x="183" y="199"/>
                      </a:lnTo>
                      <a:lnTo>
                        <a:pt x="230" y="150"/>
                      </a:lnTo>
                      <a:lnTo>
                        <a:pt x="282" y="107"/>
                      </a:lnTo>
                      <a:lnTo>
                        <a:pt x="339" y="70"/>
                      </a:lnTo>
                      <a:lnTo>
                        <a:pt x="400" y="40"/>
                      </a:lnTo>
                      <a:lnTo>
                        <a:pt x="466" y="18"/>
                      </a:lnTo>
                      <a:lnTo>
                        <a:pt x="535" y="5"/>
                      </a:lnTo>
                      <a:lnTo>
                        <a:pt x="608" y="0"/>
                      </a:lnTo>
                      <a:lnTo>
                        <a:pt x="684" y="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sp>
              <p:nvSpPr>
                <p:cNvPr id="32" name="Freeform 8"/>
                <p:cNvSpPr>
                  <a:spLocks noChangeArrowheads="1"/>
                </p:cNvSpPr>
                <p:nvPr/>
              </p:nvSpPr>
              <p:spPr bwMode="auto">
                <a:xfrm>
                  <a:off x="3973513" y="2211388"/>
                  <a:ext cx="1050925" cy="671512"/>
                </a:xfrm>
                <a:custGeom>
                  <a:avLst/>
                  <a:gdLst>
                    <a:gd name="T0" fmla="*/ 2706 w 2918"/>
                    <a:gd name="T1" fmla="*/ 1300 h 1867"/>
                    <a:gd name="T2" fmla="*/ 2451 w 2918"/>
                    <a:gd name="T3" fmla="*/ 1274 h 1867"/>
                    <a:gd name="T4" fmla="*/ 2273 w 2918"/>
                    <a:gd name="T5" fmla="*/ 1117 h 1867"/>
                    <a:gd name="T6" fmla="*/ 2196 w 2918"/>
                    <a:gd name="T7" fmla="*/ 1008 h 1867"/>
                    <a:gd name="T8" fmla="*/ 2149 w 2918"/>
                    <a:gd name="T9" fmla="*/ 985 h 1867"/>
                    <a:gd name="T10" fmla="*/ 2123 w 2918"/>
                    <a:gd name="T11" fmla="*/ 990 h 1867"/>
                    <a:gd name="T12" fmla="*/ 2075 w 2918"/>
                    <a:gd name="T13" fmla="*/ 1045 h 1867"/>
                    <a:gd name="T14" fmla="*/ 2065 w 2918"/>
                    <a:gd name="T15" fmla="*/ 1064 h 1867"/>
                    <a:gd name="T16" fmla="*/ 1876 w 2918"/>
                    <a:gd name="T17" fmla="*/ 1794 h 1867"/>
                    <a:gd name="T18" fmla="*/ 1827 w 2918"/>
                    <a:gd name="T19" fmla="*/ 1861 h 1867"/>
                    <a:gd name="T20" fmla="*/ 1805 w 2918"/>
                    <a:gd name="T21" fmla="*/ 1863 h 1867"/>
                    <a:gd name="T22" fmla="*/ 1667 w 2918"/>
                    <a:gd name="T23" fmla="*/ 1783 h 1867"/>
                    <a:gd name="T24" fmla="*/ 1663 w 2918"/>
                    <a:gd name="T25" fmla="*/ 1776 h 1867"/>
                    <a:gd name="T26" fmla="*/ 1415 w 2918"/>
                    <a:gd name="T27" fmla="*/ 671 h 1867"/>
                    <a:gd name="T28" fmla="*/ 1188 w 2918"/>
                    <a:gd name="T29" fmla="*/ 1059 h 1867"/>
                    <a:gd name="T30" fmla="*/ 1099 w 2918"/>
                    <a:gd name="T31" fmla="*/ 1358 h 1867"/>
                    <a:gd name="T32" fmla="*/ 1000 w 2918"/>
                    <a:gd name="T33" fmla="*/ 1564 h 1867"/>
                    <a:gd name="T34" fmla="*/ 963 w 2918"/>
                    <a:gd name="T35" fmla="*/ 1583 h 1867"/>
                    <a:gd name="T36" fmla="*/ 933 w 2918"/>
                    <a:gd name="T37" fmla="*/ 1578 h 1867"/>
                    <a:gd name="T38" fmla="*/ 804 w 2918"/>
                    <a:gd name="T39" fmla="*/ 1406 h 1867"/>
                    <a:gd name="T40" fmla="*/ 704 w 2918"/>
                    <a:gd name="T41" fmla="*/ 1226 h 1867"/>
                    <a:gd name="T42" fmla="*/ 667 w 2918"/>
                    <a:gd name="T43" fmla="*/ 1195 h 1867"/>
                    <a:gd name="T44" fmla="*/ 629 w 2918"/>
                    <a:gd name="T45" fmla="*/ 1198 h 1867"/>
                    <a:gd name="T46" fmla="*/ 511 w 2918"/>
                    <a:gd name="T47" fmla="*/ 1272 h 1867"/>
                    <a:gd name="T48" fmla="*/ 320 w 2918"/>
                    <a:gd name="T49" fmla="*/ 1319 h 1867"/>
                    <a:gd name="T50" fmla="*/ 26 w 2918"/>
                    <a:gd name="T51" fmla="*/ 1281 h 1867"/>
                    <a:gd name="T52" fmla="*/ 5 w 2918"/>
                    <a:gd name="T53" fmla="*/ 1259 h 1867"/>
                    <a:gd name="T54" fmla="*/ 1 w 2918"/>
                    <a:gd name="T55" fmla="*/ 1225 h 1867"/>
                    <a:gd name="T56" fmla="*/ 38 w 2918"/>
                    <a:gd name="T57" fmla="*/ 1162 h 1867"/>
                    <a:gd name="T58" fmla="*/ 93 w 2918"/>
                    <a:gd name="T59" fmla="*/ 1134 h 1867"/>
                    <a:gd name="T60" fmla="*/ 172 w 2918"/>
                    <a:gd name="T61" fmla="*/ 1134 h 1867"/>
                    <a:gd name="T62" fmla="*/ 333 w 2918"/>
                    <a:gd name="T63" fmla="*/ 1111 h 1867"/>
                    <a:gd name="T64" fmla="*/ 488 w 2918"/>
                    <a:gd name="T65" fmla="*/ 1009 h 1867"/>
                    <a:gd name="T66" fmla="*/ 604 w 2918"/>
                    <a:gd name="T67" fmla="*/ 907 h 1867"/>
                    <a:gd name="T68" fmla="*/ 671 w 2918"/>
                    <a:gd name="T69" fmla="*/ 897 h 1867"/>
                    <a:gd name="T70" fmla="*/ 751 w 2918"/>
                    <a:gd name="T71" fmla="*/ 953 h 1867"/>
                    <a:gd name="T72" fmla="*/ 803 w 2918"/>
                    <a:gd name="T73" fmla="*/ 1009 h 1867"/>
                    <a:gd name="T74" fmla="*/ 1156 w 2918"/>
                    <a:gd name="T75" fmla="*/ 528 h 1867"/>
                    <a:gd name="T76" fmla="*/ 1357 w 2918"/>
                    <a:gd name="T77" fmla="*/ 0 h 1867"/>
                    <a:gd name="T78" fmla="*/ 1423 w 2918"/>
                    <a:gd name="T79" fmla="*/ 30 h 1867"/>
                    <a:gd name="T80" fmla="*/ 1426 w 2918"/>
                    <a:gd name="T81" fmla="*/ 34 h 1867"/>
                    <a:gd name="T82" fmla="*/ 1587 w 2918"/>
                    <a:gd name="T83" fmla="*/ 473 h 1867"/>
                    <a:gd name="T84" fmla="*/ 1606 w 2918"/>
                    <a:gd name="T85" fmla="*/ 724 h 1867"/>
                    <a:gd name="T86" fmla="*/ 1658 w 2918"/>
                    <a:gd name="T87" fmla="*/ 906 h 1867"/>
                    <a:gd name="T88" fmla="*/ 1906 w 2918"/>
                    <a:gd name="T89" fmla="*/ 989 h 1867"/>
                    <a:gd name="T90" fmla="*/ 2025 w 2918"/>
                    <a:gd name="T91" fmla="*/ 588 h 1867"/>
                    <a:gd name="T92" fmla="*/ 2098 w 2918"/>
                    <a:gd name="T93" fmla="*/ 460 h 1867"/>
                    <a:gd name="T94" fmla="*/ 2127 w 2918"/>
                    <a:gd name="T95" fmla="*/ 449 h 1867"/>
                    <a:gd name="T96" fmla="*/ 2157 w 2918"/>
                    <a:gd name="T97" fmla="*/ 456 h 1867"/>
                    <a:gd name="T98" fmla="*/ 2209 w 2918"/>
                    <a:gd name="T99" fmla="*/ 518 h 1867"/>
                    <a:gd name="T100" fmla="*/ 2455 w 2918"/>
                    <a:gd name="T101" fmla="*/ 1008 h 1867"/>
                    <a:gd name="T102" fmla="*/ 2580 w 2918"/>
                    <a:gd name="T103" fmla="*/ 1114 h 1867"/>
                    <a:gd name="T104" fmla="*/ 2740 w 2918"/>
                    <a:gd name="T105" fmla="*/ 1147 h 1867"/>
                    <a:gd name="T106" fmla="*/ 2893 w 2918"/>
                    <a:gd name="T107" fmla="*/ 1191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18" h="1867">
                      <a:moveTo>
                        <a:pt x="2917" y="1199"/>
                      </a:moveTo>
                      <a:lnTo>
                        <a:pt x="2877" y="1229"/>
                      </a:lnTo>
                      <a:lnTo>
                        <a:pt x="2836" y="1254"/>
                      </a:lnTo>
                      <a:lnTo>
                        <a:pt x="2794" y="1274"/>
                      </a:lnTo>
                      <a:lnTo>
                        <a:pt x="2750" y="1289"/>
                      </a:lnTo>
                      <a:lnTo>
                        <a:pt x="2706" y="1300"/>
                      </a:lnTo>
                      <a:lnTo>
                        <a:pt x="2662" y="1306"/>
                      </a:lnTo>
                      <a:lnTo>
                        <a:pt x="2618" y="1308"/>
                      </a:lnTo>
                      <a:lnTo>
                        <a:pt x="2575" y="1306"/>
                      </a:lnTo>
                      <a:lnTo>
                        <a:pt x="2532" y="1299"/>
                      </a:lnTo>
                      <a:lnTo>
                        <a:pt x="2491" y="1289"/>
                      </a:lnTo>
                      <a:lnTo>
                        <a:pt x="2451" y="1274"/>
                      </a:lnTo>
                      <a:lnTo>
                        <a:pt x="2414" y="1256"/>
                      </a:lnTo>
                      <a:lnTo>
                        <a:pt x="2379" y="1234"/>
                      </a:lnTo>
                      <a:lnTo>
                        <a:pt x="2346" y="1208"/>
                      </a:lnTo>
                      <a:lnTo>
                        <a:pt x="2317" y="1179"/>
                      </a:lnTo>
                      <a:lnTo>
                        <a:pt x="2292" y="1147"/>
                      </a:lnTo>
                      <a:lnTo>
                        <a:pt x="2273" y="1117"/>
                      </a:lnTo>
                      <a:lnTo>
                        <a:pt x="2255" y="1087"/>
                      </a:lnTo>
                      <a:lnTo>
                        <a:pt x="2236" y="1057"/>
                      </a:lnTo>
                      <a:lnTo>
                        <a:pt x="2226" y="1043"/>
                      </a:lnTo>
                      <a:lnTo>
                        <a:pt x="2216" y="1029"/>
                      </a:lnTo>
                      <a:lnTo>
                        <a:pt x="2206" y="1017"/>
                      </a:lnTo>
                      <a:lnTo>
                        <a:pt x="2196" y="1008"/>
                      </a:lnTo>
                      <a:lnTo>
                        <a:pt x="2187" y="1000"/>
                      </a:lnTo>
                      <a:lnTo>
                        <a:pt x="2177" y="994"/>
                      </a:lnTo>
                      <a:lnTo>
                        <a:pt x="2168" y="989"/>
                      </a:lnTo>
                      <a:lnTo>
                        <a:pt x="2158" y="986"/>
                      </a:lnTo>
                      <a:lnTo>
                        <a:pt x="2154" y="985"/>
                      </a:lnTo>
                      <a:lnTo>
                        <a:pt x="2149" y="985"/>
                      </a:lnTo>
                      <a:lnTo>
                        <a:pt x="2145" y="985"/>
                      </a:lnTo>
                      <a:lnTo>
                        <a:pt x="2140" y="985"/>
                      </a:lnTo>
                      <a:lnTo>
                        <a:pt x="2136" y="986"/>
                      </a:lnTo>
                      <a:lnTo>
                        <a:pt x="2131" y="987"/>
                      </a:lnTo>
                      <a:lnTo>
                        <a:pt x="2127" y="988"/>
                      </a:lnTo>
                      <a:lnTo>
                        <a:pt x="2123" y="990"/>
                      </a:lnTo>
                      <a:lnTo>
                        <a:pt x="2114" y="996"/>
                      </a:lnTo>
                      <a:lnTo>
                        <a:pt x="2106" y="1002"/>
                      </a:lnTo>
                      <a:lnTo>
                        <a:pt x="2098" y="1011"/>
                      </a:lnTo>
                      <a:lnTo>
                        <a:pt x="2090" y="1020"/>
                      </a:lnTo>
                      <a:lnTo>
                        <a:pt x="2082" y="1032"/>
                      </a:lnTo>
                      <a:lnTo>
                        <a:pt x="2075" y="1045"/>
                      </a:lnTo>
                      <a:lnTo>
                        <a:pt x="2073" y="1048"/>
                      </a:lnTo>
                      <a:lnTo>
                        <a:pt x="2071" y="1051"/>
                      </a:lnTo>
                      <a:lnTo>
                        <a:pt x="2069" y="1054"/>
                      </a:lnTo>
                      <a:lnTo>
                        <a:pt x="2068" y="1057"/>
                      </a:lnTo>
                      <a:lnTo>
                        <a:pt x="2067" y="1061"/>
                      </a:lnTo>
                      <a:lnTo>
                        <a:pt x="2065" y="1064"/>
                      </a:lnTo>
                      <a:lnTo>
                        <a:pt x="2064" y="1067"/>
                      </a:lnTo>
                      <a:lnTo>
                        <a:pt x="2064" y="1071"/>
                      </a:lnTo>
                      <a:lnTo>
                        <a:pt x="1891" y="1759"/>
                      </a:lnTo>
                      <a:lnTo>
                        <a:pt x="1888" y="1767"/>
                      </a:lnTo>
                      <a:lnTo>
                        <a:pt x="1885" y="1776"/>
                      </a:lnTo>
                      <a:lnTo>
                        <a:pt x="1876" y="1794"/>
                      </a:lnTo>
                      <a:lnTo>
                        <a:pt x="1866" y="1812"/>
                      </a:lnTo>
                      <a:lnTo>
                        <a:pt x="1855" y="1829"/>
                      </a:lnTo>
                      <a:lnTo>
                        <a:pt x="1843" y="1845"/>
                      </a:lnTo>
                      <a:lnTo>
                        <a:pt x="1838" y="1851"/>
                      </a:lnTo>
                      <a:lnTo>
                        <a:pt x="1832" y="1857"/>
                      </a:lnTo>
                      <a:lnTo>
                        <a:pt x="1827" y="1861"/>
                      </a:lnTo>
                      <a:lnTo>
                        <a:pt x="1823" y="1864"/>
                      </a:lnTo>
                      <a:lnTo>
                        <a:pt x="1820" y="1865"/>
                      </a:lnTo>
                      <a:lnTo>
                        <a:pt x="1818" y="1866"/>
                      </a:lnTo>
                      <a:lnTo>
                        <a:pt x="1816" y="1866"/>
                      </a:lnTo>
                      <a:lnTo>
                        <a:pt x="1815" y="1866"/>
                      </a:lnTo>
                      <a:lnTo>
                        <a:pt x="1805" y="1863"/>
                      </a:lnTo>
                      <a:lnTo>
                        <a:pt x="1795" y="1860"/>
                      </a:lnTo>
                      <a:lnTo>
                        <a:pt x="1776" y="1853"/>
                      </a:lnTo>
                      <a:lnTo>
                        <a:pt x="1758" y="1843"/>
                      </a:lnTo>
                      <a:lnTo>
                        <a:pt x="1740" y="1832"/>
                      </a:lnTo>
                      <a:lnTo>
                        <a:pt x="1668" y="1784"/>
                      </a:lnTo>
                      <a:lnTo>
                        <a:pt x="1667" y="1783"/>
                      </a:lnTo>
                      <a:lnTo>
                        <a:pt x="1667" y="1783"/>
                      </a:lnTo>
                      <a:lnTo>
                        <a:pt x="1666" y="1782"/>
                      </a:lnTo>
                      <a:lnTo>
                        <a:pt x="1665" y="1781"/>
                      </a:lnTo>
                      <a:lnTo>
                        <a:pt x="1664" y="1779"/>
                      </a:lnTo>
                      <a:lnTo>
                        <a:pt x="1663" y="1778"/>
                      </a:lnTo>
                      <a:lnTo>
                        <a:pt x="1663" y="1776"/>
                      </a:lnTo>
                      <a:lnTo>
                        <a:pt x="1662" y="1773"/>
                      </a:lnTo>
                      <a:lnTo>
                        <a:pt x="1659" y="1758"/>
                      </a:lnTo>
                      <a:lnTo>
                        <a:pt x="1488" y="942"/>
                      </a:lnTo>
                      <a:lnTo>
                        <a:pt x="1474" y="883"/>
                      </a:lnTo>
                      <a:lnTo>
                        <a:pt x="1457" y="821"/>
                      </a:lnTo>
                      <a:lnTo>
                        <a:pt x="1415" y="671"/>
                      </a:lnTo>
                      <a:lnTo>
                        <a:pt x="1362" y="738"/>
                      </a:lnTo>
                      <a:lnTo>
                        <a:pt x="1316" y="803"/>
                      </a:lnTo>
                      <a:lnTo>
                        <a:pt x="1276" y="867"/>
                      </a:lnTo>
                      <a:lnTo>
                        <a:pt x="1242" y="931"/>
                      </a:lnTo>
                      <a:lnTo>
                        <a:pt x="1213" y="995"/>
                      </a:lnTo>
                      <a:lnTo>
                        <a:pt x="1188" y="1059"/>
                      </a:lnTo>
                      <a:lnTo>
                        <a:pt x="1168" y="1125"/>
                      </a:lnTo>
                      <a:lnTo>
                        <a:pt x="1151" y="1192"/>
                      </a:lnTo>
                      <a:lnTo>
                        <a:pt x="1140" y="1234"/>
                      </a:lnTo>
                      <a:lnTo>
                        <a:pt x="1128" y="1276"/>
                      </a:lnTo>
                      <a:lnTo>
                        <a:pt x="1114" y="1317"/>
                      </a:lnTo>
                      <a:lnTo>
                        <a:pt x="1099" y="1358"/>
                      </a:lnTo>
                      <a:lnTo>
                        <a:pt x="1066" y="1438"/>
                      </a:lnTo>
                      <a:lnTo>
                        <a:pt x="1031" y="1518"/>
                      </a:lnTo>
                      <a:lnTo>
                        <a:pt x="1024" y="1532"/>
                      </a:lnTo>
                      <a:lnTo>
                        <a:pt x="1016" y="1544"/>
                      </a:lnTo>
                      <a:lnTo>
                        <a:pt x="1008" y="1555"/>
                      </a:lnTo>
                      <a:lnTo>
                        <a:pt x="1000" y="1564"/>
                      </a:lnTo>
                      <a:lnTo>
                        <a:pt x="991" y="1572"/>
                      </a:lnTo>
                      <a:lnTo>
                        <a:pt x="982" y="1577"/>
                      </a:lnTo>
                      <a:lnTo>
                        <a:pt x="977" y="1579"/>
                      </a:lnTo>
                      <a:lnTo>
                        <a:pt x="973" y="1581"/>
                      </a:lnTo>
                      <a:lnTo>
                        <a:pt x="968" y="1582"/>
                      </a:lnTo>
                      <a:lnTo>
                        <a:pt x="963" y="1583"/>
                      </a:lnTo>
                      <a:lnTo>
                        <a:pt x="958" y="1584"/>
                      </a:lnTo>
                      <a:lnTo>
                        <a:pt x="953" y="1583"/>
                      </a:lnTo>
                      <a:lnTo>
                        <a:pt x="948" y="1583"/>
                      </a:lnTo>
                      <a:lnTo>
                        <a:pt x="943" y="1582"/>
                      </a:lnTo>
                      <a:lnTo>
                        <a:pt x="938" y="1580"/>
                      </a:lnTo>
                      <a:lnTo>
                        <a:pt x="933" y="1578"/>
                      </a:lnTo>
                      <a:lnTo>
                        <a:pt x="923" y="1572"/>
                      </a:lnTo>
                      <a:lnTo>
                        <a:pt x="913" y="1565"/>
                      </a:lnTo>
                      <a:lnTo>
                        <a:pt x="903" y="1555"/>
                      </a:lnTo>
                      <a:lnTo>
                        <a:pt x="893" y="1543"/>
                      </a:lnTo>
                      <a:lnTo>
                        <a:pt x="883" y="1529"/>
                      </a:lnTo>
                      <a:lnTo>
                        <a:pt x="804" y="1406"/>
                      </a:lnTo>
                      <a:lnTo>
                        <a:pt x="767" y="1344"/>
                      </a:lnTo>
                      <a:lnTo>
                        <a:pt x="750" y="1312"/>
                      </a:lnTo>
                      <a:lnTo>
                        <a:pt x="734" y="1280"/>
                      </a:lnTo>
                      <a:lnTo>
                        <a:pt x="719" y="1250"/>
                      </a:lnTo>
                      <a:lnTo>
                        <a:pt x="711" y="1237"/>
                      </a:lnTo>
                      <a:lnTo>
                        <a:pt x="704" y="1226"/>
                      </a:lnTo>
                      <a:lnTo>
                        <a:pt x="696" y="1216"/>
                      </a:lnTo>
                      <a:lnTo>
                        <a:pt x="688" y="1208"/>
                      </a:lnTo>
                      <a:lnTo>
                        <a:pt x="680" y="1202"/>
                      </a:lnTo>
                      <a:lnTo>
                        <a:pt x="676" y="1199"/>
                      </a:lnTo>
                      <a:lnTo>
                        <a:pt x="671" y="1197"/>
                      </a:lnTo>
                      <a:lnTo>
                        <a:pt x="667" y="1195"/>
                      </a:lnTo>
                      <a:lnTo>
                        <a:pt x="662" y="1194"/>
                      </a:lnTo>
                      <a:lnTo>
                        <a:pt x="657" y="1194"/>
                      </a:lnTo>
                      <a:lnTo>
                        <a:pt x="652" y="1194"/>
                      </a:lnTo>
                      <a:lnTo>
                        <a:pt x="646" y="1194"/>
                      </a:lnTo>
                      <a:lnTo>
                        <a:pt x="641" y="1195"/>
                      </a:lnTo>
                      <a:lnTo>
                        <a:pt x="629" y="1198"/>
                      </a:lnTo>
                      <a:lnTo>
                        <a:pt x="616" y="1203"/>
                      </a:lnTo>
                      <a:lnTo>
                        <a:pt x="602" y="1211"/>
                      </a:lnTo>
                      <a:lnTo>
                        <a:pt x="586" y="1221"/>
                      </a:lnTo>
                      <a:lnTo>
                        <a:pt x="570" y="1234"/>
                      </a:lnTo>
                      <a:lnTo>
                        <a:pt x="540" y="1255"/>
                      </a:lnTo>
                      <a:lnTo>
                        <a:pt x="511" y="1272"/>
                      </a:lnTo>
                      <a:lnTo>
                        <a:pt x="480" y="1287"/>
                      </a:lnTo>
                      <a:lnTo>
                        <a:pt x="449" y="1298"/>
                      </a:lnTo>
                      <a:lnTo>
                        <a:pt x="417" y="1307"/>
                      </a:lnTo>
                      <a:lnTo>
                        <a:pt x="385" y="1313"/>
                      </a:lnTo>
                      <a:lnTo>
                        <a:pt x="353" y="1317"/>
                      </a:lnTo>
                      <a:lnTo>
                        <a:pt x="320" y="1319"/>
                      </a:lnTo>
                      <a:lnTo>
                        <a:pt x="254" y="1318"/>
                      </a:lnTo>
                      <a:lnTo>
                        <a:pt x="188" y="1312"/>
                      </a:lnTo>
                      <a:lnTo>
                        <a:pt x="57" y="1292"/>
                      </a:lnTo>
                      <a:lnTo>
                        <a:pt x="43" y="1288"/>
                      </a:lnTo>
                      <a:lnTo>
                        <a:pt x="31" y="1284"/>
                      </a:lnTo>
                      <a:lnTo>
                        <a:pt x="26" y="1281"/>
                      </a:lnTo>
                      <a:lnTo>
                        <a:pt x="21" y="1278"/>
                      </a:lnTo>
                      <a:lnTo>
                        <a:pt x="17" y="1274"/>
                      </a:lnTo>
                      <a:lnTo>
                        <a:pt x="14" y="1271"/>
                      </a:lnTo>
                      <a:lnTo>
                        <a:pt x="10" y="1267"/>
                      </a:lnTo>
                      <a:lnTo>
                        <a:pt x="8" y="1263"/>
                      </a:lnTo>
                      <a:lnTo>
                        <a:pt x="5" y="1259"/>
                      </a:lnTo>
                      <a:lnTo>
                        <a:pt x="3" y="1254"/>
                      </a:lnTo>
                      <a:lnTo>
                        <a:pt x="2" y="1250"/>
                      </a:lnTo>
                      <a:lnTo>
                        <a:pt x="1" y="1245"/>
                      </a:lnTo>
                      <a:lnTo>
                        <a:pt x="0" y="1240"/>
                      </a:lnTo>
                      <a:lnTo>
                        <a:pt x="0" y="1235"/>
                      </a:lnTo>
                      <a:lnTo>
                        <a:pt x="1" y="1225"/>
                      </a:lnTo>
                      <a:lnTo>
                        <a:pt x="4" y="1214"/>
                      </a:lnTo>
                      <a:lnTo>
                        <a:pt x="8" y="1203"/>
                      </a:lnTo>
                      <a:lnTo>
                        <a:pt x="13" y="1193"/>
                      </a:lnTo>
                      <a:lnTo>
                        <a:pt x="20" y="1182"/>
                      </a:lnTo>
                      <a:lnTo>
                        <a:pt x="28" y="1172"/>
                      </a:lnTo>
                      <a:lnTo>
                        <a:pt x="38" y="1162"/>
                      </a:lnTo>
                      <a:lnTo>
                        <a:pt x="49" y="1153"/>
                      </a:lnTo>
                      <a:lnTo>
                        <a:pt x="53" y="1150"/>
                      </a:lnTo>
                      <a:lnTo>
                        <a:pt x="58" y="1147"/>
                      </a:lnTo>
                      <a:lnTo>
                        <a:pt x="69" y="1142"/>
                      </a:lnTo>
                      <a:lnTo>
                        <a:pt x="81" y="1137"/>
                      </a:lnTo>
                      <a:lnTo>
                        <a:pt x="93" y="1134"/>
                      </a:lnTo>
                      <a:lnTo>
                        <a:pt x="105" y="1131"/>
                      </a:lnTo>
                      <a:lnTo>
                        <a:pt x="118" y="1130"/>
                      </a:lnTo>
                      <a:lnTo>
                        <a:pt x="130" y="1130"/>
                      </a:lnTo>
                      <a:lnTo>
                        <a:pt x="136" y="1130"/>
                      </a:lnTo>
                      <a:lnTo>
                        <a:pt x="142" y="1131"/>
                      </a:lnTo>
                      <a:lnTo>
                        <a:pt x="172" y="1134"/>
                      </a:lnTo>
                      <a:lnTo>
                        <a:pt x="201" y="1135"/>
                      </a:lnTo>
                      <a:lnTo>
                        <a:pt x="229" y="1134"/>
                      </a:lnTo>
                      <a:lnTo>
                        <a:pt x="256" y="1131"/>
                      </a:lnTo>
                      <a:lnTo>
                        <a:pt x="282" y="1126"/>
                      </a:lnTo>
                      <a:lnTo>
                        <a:pt x="308" y="1119"/>
                      </a:lnTo>
                      <a:lnTo>
                        <a:pt x="333" y="1111"/>
                      </a:lnTo>
                      <a:lnTo>
                        <a:pt x="357" y="1100"/>
                      </a:lnTo>
                      <a:lnTo>
                        <a:pt x="380" y="1089"/>
                      </a:lnTo>
                      <a:lnTo>
                        <a:pt x="403" y="1076"/>
                      </a:lnTo>
                      <a:lnTo>
                        <a:pt x="425" y="1061"/>
                      </a:lnTo>
                      <a:lnTo>
                        <a:pt x="447" y="1045"/>
                      </a:lnTo>
                      <a:lnTo>
                        <a:pt x="488" y="1009"/>
                      </a:lnTo>
                      <a:lnTo>
                        <a:pt x="527" y="970"/>
                      </a:lnTo>
                      <a:lnTo>
                        <a:pt x="543" y="953"/>
                      </a:lnTo>
                      <a:lnTo>
                        <a:pt x="558" y="938"/>
                      </a:lnTo>
                      <a:lnTo>
                        <a:pt x="574" y="926"/>
                      </a:lnTo>
                      <a:lnTo>
                        <a:pt x="589" y="915"/>
                      </a:lnTo>
                      <a:lnTo>
                        <a:pt x="604" y="907"/>
                      </a:lnTo>
                      <a:lnTo>
                        <a:pt x="619" y="900"/>
                      </a:lnTo>
                      <a:lnTo>
                        <a:pt x="634" y="896"/>
                      </a:lnTo>
                      <a:lnTo>
                        <a:pt x="649" y="895"/>
                      </a:lnTo>
                      <a:lnTo>
                        <a:pt x="656" y="895"/>
                      </a:lnTo>
                      <a:lnTo>
                        <a:pt x="663" y="895"/>
                      </a:lnTo>
                      <a:lnTo>
                        <a:pt x="671" y="897"/>
                      </a:lnTo>
                      <a:lnTo>
                        <a:pt x="678" y="898"/>
                      </a:lnTo>
                      <a:lnTo>
                        <a:pt x="693" y="904"/>
                      </a:lnTo>
                      <a:lnTo>
                        <a:pt x="707" y="912"/>
                      </a:lnTo>
                      <a:lnTo>
                        <a:pt x="722" y="923"/>
                      </a:lnTo>
                      <a:lnTo>
                        <a:pt x="736" y="937"/>
                      </a:lnTo>
                      <a:lnTo>
                        <a:pt x="751" y="953"/>
                      </a:lnTo>
                      <a:lnTo>
                        <a:pt x="766" y="972"/>
                      </a:lnTo>
                      <a:lnTo>
                        <a:pt x="771" y="978"/>
                      </a:lnTo>
                      <a:lnTo>
                        <a:pt x="777" y="985"/>
                      </a:lnTo>
                      <a:lnTo>
                        <a:pt x="783" y="991"/>
                      </a:lnTo>
                      <a:lnTo>
                        <a:pt x="790" y="997"/>
                      </a:lnTo>
                      <a:lnTo>
                        <a:pt x="803" y="1009"/>
                      </a:lnTo>
                      <a:lnTo>
                        <a:pt x="818" y="1020"/>
                      </a:lnTo>
                      <a:lnTo>
                        <a:pt x="968" y="1131"/>
                      </a:lnTo>
                      <a:lnTo>
                        <a:pt x="1037" y="941"/>
                      </a:lnTo>
                      <a:lnTo>
                        <a:pt x="1127" y="651"/>
                      </a:lnTo>
                      <a:lnTo>
                        <a:pt x="1142" y="589"/>
                      </a:lnTo>
                      <a:lnTo>
                        <a:pt x="1156" y="528"/>
                      </a:lnTo>
                      <a:lnTo>
                        <a:pt x="1171" y="466"/>
                      </a:lnTo>
                      <a:lnTo>
                        <a:pt x="1180" y="436"/>
                      </a:lnTo>
                      <a:lnTo>
                        <a:pt x="1190" y="407"/>
                      </a:lnTo>
                      <a:lnTo>
                        <a:pt x="1229" y="305"/>
                      </a:lnTo>
                      <a:lnTo>
                        <a:pt x="1270" y="204"/>
                      </a:lnTo>
                      <a:lnTo>
                        <a:pt x="1357" y="0"/>
                      </a:lnTo>
                      <a:lnTo>
                        <a:pt x="1387" y="13"/>
                      </a:lnTo>
                      <a:lnTo>
                        <a:pt x="1408" y="22"/>
                      </a:lnTo>
                      <a:lnTo>
                        <a:pt x="1415" y="25"/>
                      </a:lnTo>
                      <a:lnTo>
                        <a:pt x="1418" y="27"/>
                      </a:lnTo>
                      <a:lnTo>
                        <a:pt x="1421" y="28"/>
                      </a:lnTo>
                      <a:lnTo>
                        <a:pt x="1423" y="30"/>
                      </a:lnTo>
                      <a:lnTo>
                        <a:pt x="1424" y="30"/>
                      </a:lnTo>
                      <a:lnTo>
                        <a:pt x="1424" y="31"/>
                      </a:lnTo>
                      <a:lnTo>
                        <a:pt x="1425" y="32"/>
                      </a:lnTo>
                      <a:lnTo>
                        <a:pt x="1425" y="32"/>
                      </a:lnTo>
                      <a:lnTo>
                        <a:pt x="1425" y="33"/>
                      </a:lnTo>
                      <a:lnTo>
                        <a:pt x="1426" y="34"/>
                      </a:lnTo>
                      <a:lnTo>
                        <a:pt x="1436" y="75"/>
                      </a:lnTo>
                      <a:lnTo>
                        <a:pt x="1448" y="116"/>
                      </a:lnTo>
                      <a:lnTo>
                        <a:pt x="1477" y="195"/>
                      </a:lnTo>
                      <a:lnTo>
                        <a:pt x="1544" y="353"/>
                      </a:lnTo>
                      <a:lnTo>
                        <a:pt x="1575" y="432"/>
                      </a:lnTo>
                      <a:lnTo>
                        <a:pt x="1587" y="473"/>
                      </a:lnTo>
                      <a:lnTo>
                        <a:pt x="1598" y="514"/>
                      </a:lnTo>
                      <a:lnTo>
                        <a:pt x="1606" y="556"/>
                      </a:lnTo>
                      <a:lnTo>
                        <a:pt x="1610" y="599"/>
                      </a:lnTo>
                      <a:lnTo>
                        <a:pt x="1612" y="643"/>
                      </a:lnTo>
                      <a:lnTo>
                        <a:pt x="1609" y="688"/>
                      </a:lnTo>
                      <a:lnTo>
                        <a:pt x="1606" y="724"/>
                      </a:lnTo>
                      <a:lnTo>
                        <a:pt x="1608" y="758"/>
                      </a:lnTo>
                      <a:lnTo>
                        <a:pt x="1612" y="790"/>
                      </a:lnTo>
                      <a:lnTo>
                        <a:pt x="1620" y="821"/>
                      </a:lnTo>
                      <a:lnTo>
                        <a:pt x="1631" y="850"/>
                      </a:lnTo>
                      <a:lnTo>
                        <a:pt x="1643" y="879"/>
                      </a:lnTo>
                      <a:lnTo>
                        <a:pt x="1658" y="906"/>
                      </a:lnTo>
                      <a:lnTo>
                        <a:pt x="1675" y="932"/>
                      </a:lnTo>
                      <a:lnTo>
                        <a:pt x="1713" y="983"/>
                      </a:lnTo>
                      <a:lnTo>
                        <a:pt x="1754" y="1032"/>
                      </a:lnTo>
                      <a:lnTo>
                        <a:pt x="1837" y="1129"/>
                      </a:lnTo>
                      <a:lnTo>
                        <a:pt x="1882" y="1129"/>
                      </a:lnTo>
                      <a:lnTo>
                        <a:pt x="1906" y="989"/>
                      </a:lnTo>
                      <a:lnTo>
                        <a:pt x="1920" y="920"/>
                      </a:lnTo>
                      <a:lnTo>
                        <a:pt x="1927" y="886"/>
                      </a:lnTo>
                      <a:lnTo>
                        <a:pt x="1937" y="852"/>
                      </a:lnTo>
                      <a:lnTo>
                        <a:pt x="1963" y="763"/>
                      </a:lnTo>
                      <a:lnTo>
                        <a:pt x="1993" y="675"/>
                      </a:lnTo>
                      <a:lnTo>
                        <a:pt x="2025" y="588"/>
                      </a:lnTo>
                      <a:lnTo>
                        <a:pt x="2044" y="545"/>
                      </a:lnTo>
                      <a:lnTo>
                        <a:pt x="2064" y="504"/>
                      </a:lnTo>
                      <a:lnTo>
                        <a:pt x="2072" y="490"/>
                      </a:lnTo>
                      <a:lnTo>
                        <a:pt x="2080" y="477"/>
                      </a:lnTo>
                      <a:lnTo>
                        <a:pt x="2089" y="468"/>
                      </a:lnTo>
                      <a:lnTo>
                        <a:pt x="2098" y="460"/>
                      </a:lnTo>
                      <a:lnTo>
                        <a:pt x="2103" y="457"/>
                      </a:lnTo>
                      <a:lnTo>
                        <a:pt x="2108" y="454"/>
                      </a:lnTo>
                      <a:lnTo>
                        <a:pt x="2113" y="452"/>
                      </a:lnTo>
                      <a:lnTo>
                        <a:pt x="2117" y="451"/>
                      </a:lnTo>
                      <a:lnTo>
                        <a:pt x="2122" y="449"/>
                      </a:lnTo>
                      <a:lnTo>
                        <a:pt x="2127" y="449"/>
                      </a:lnTo>
                      <a:lnTo>
                        <a:pt x="2132" y="449"/>
                      </a:lnTo>
                      <a:lnTo>
                        <a:pt x="2137" y="449"/>
                      </a:lnTo>
                      <a:lnTo>
                        <a:pt x="2142" y="450"/>
                      </a:lnTo>
                      <a:lnTo>
                        <a:pt x="2147" y="452"/>
                      </a:lnTo>
                      <a:lnTo>
                        <a:pt x="2152" y="453"/>
                      </a:lnTo>
                      <a:lnTo>
                        <a:pt x="2157" y="456"/>
                      </a:lnTo>
                      <a:lnTo>
                        <a:pt x="2166" y="462"/>
                      </a:lnTo>
                      <a:lnTo>
                        <a:pt x="2176" y="469"/>
                      </a:lnTo>
                      <a:lnTo>
                        <a:pt x="2185" y="479"/>
                      </a:lnTo>
                      <a:lnTo>
                        <a:pt x="2193" y="490"/>
                      </a:lnTo>
                      <a:lnTo>
                        <a:pt x="2201" y="503"/>
                      </a:lnTo>
                      <a:lnTo>
                        <a:pt x="2209" y="518"/>
                      </a:lnTo>
                      <a:lnTo>
                        <a:pt x="2291" y="703"/>
                      </a:lnTo>
                      <a:lnTo>
                        <a:pt x="2332" y="796"/>
                      </a:lnTo>
                      <a:lnTo>
                        <a:pt x="2378" y="887"/>
                      </a:lnTo>
                      <a:lnTo>
                        <a:pt x="2407" y="937"/>
                      </a:lnTo>
                      <a:lnTo>
                        <a:pt x="2438" y="985"/>
                      </a:lnTo>
                      <a:lnTo>
                        <a:pt x="2455" y="1008"/>
                      </a:lnTo>
                      <a:lnTo>
                        <a:pt x="2473" y="1029"/>
                      </a:lnTo>
                      <a:lnTo>
                        <a:pt x="2491" y="1050"/>
                      </a:lnTo>
                      <a:lnTo>
                        <a:pt x="2511" y="1068"/>
                      </a:lnTo>
                      <a:lnTo>
                        <a:pt x="2533" y="1086"/>
                      </a:lnTo>
                      <a:lnTo>
                        <a:pt x="2556" y="1101"/>
                      </a:lnTo>
                      <a:lnTo>
                        <a:pt x="2580" y="1114"/>
                      </a:lnTo>
                      <a:lnTo>
                        <a:pt x="2606" y="1126"/>
                      </a:lnTo>
                      <a:lnTo>
                        <a:pt x="2633" y="1135"/>
                      </a:lnTo>
                      <a:lnTo>
                        <a:pt x="2663" y="1141"/>
                      </a:lnTo>
                      <a:lnTo>
                        <a:pt x="2695" y="1145"/>
                      </a:lnTo>
                      <a:lnTo>
                        <a:pt x="2729" y="1147"/>
                      </a:lnTo>
                      <a:lnTo>
                        <a:pt x="2740" y="1147"/>
                      </a:lnTo>
                      <a:lnTo>
                        <a:pt x="2752" y="1148"/>
                      </a:lnTo>
                      <a:lnTo>
                        <a:pt x="2776" y="1152"/>
                      </a:lnTo>
                      <a:lnTo>
                        <a:pt x="2799" y="1158"/>
                      </a:lnTo>
                      <a:lnTo>
                        <a:pt x="2823" y="1166"/>
                      </a:lnTo>
                      <a:lnTo>
                        <a:pt x="2869" y="1183"/>
                      </a:lnTo>
                      <a:lnTo>
                        <a:pt x="2893" y="1191"/>
                      </a:lnTo>
                      <a:lnTo>
                        <a:pt x="2917" y="119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a:p>
              </p:txBody>
            </p:sp>
          </p:grpSp>
          <p:sp>
            <p:nvSpPr>
              <p:cNvPr id="24" name="Ring 41"/>
              <p:cNvSpPr/>
              <p:nvPr/>
            </p:nvSpPr>
            <p:spPr>
              <a:xfrm>
                <a:off x="4152577" y="3148886"/>
                <a:ext cx="1077604" cy="1077604"/>
              </a:xfrm>
              <a:prstGeom prst="donut">
                <a:avLst>
                  <a:gd name="adj" fmla="val 11597"/>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dirty="0" err="1">
                  <a:solidFill>
                    <a:schemeClr val="tx1"/>
                  </a:solidFill>
                </a:endParaRPr>
              </a:p>
            </p:txBody>
          </p:sp>
        </p:grpSp>
        <p:sp>
          <p:nvSpPr>
            <p:cNvPr id="22" name="Textfeld 39"/>
            <p:cNvSpPr txBox="1"/>
            <p:nvPr/>
          </p:nvSpPr>
          <p:spPr>
            <a:xfrm>
              <a:off x="1164861" y="3046283"/>
              <a:ext cx="2893738" cy="452004"/>
            </a:xfrm>
            <a:prstGeom prst="rect">
              <a:avLst/>
            </a:prstGeom>
            <a:noFill/>
          </p:spPr>
          <p:txBody>
            <a:bodyPr wrap="none" lIns="0" tIns="0" rIns="0" bIns="0" rtlCol="0">
              <a:spAutoFit/>
            </a:bodyPr>
            <a:lstStyle/>
            <a:p>
              <a:r>
                <a:rPr lang="de-DE" dirty="0">
                  <a:latin typeface="Arial" panose="020B0604020202020204" pitchFamily="34" charset="0"/>
                  <a:cs typeface="Arial" panose="020B0604020202020204" pitchFamily="34" charset="0"/>
                </a:rPr>
                <a:t>Global Clinical Trial Market Size 2025:</a:t>
              </a:r>
            </a:p>
            <a:p>
              <a:r>
                <a:rPr lang="de-DE" dirty="0">
                  <a:latin typeface="Arial" panose="020B0604020202020204" pitchFamily="34" charset="0"/>
                  <a:cs typeface="Arial" panose="020B0604020202020204" pitchFamily="34" charset="0"/>
                </a:rPr>
                <a:t>USD 65 Billion</a:t>
              </a:r>
            </a:p>
          </p:txBody>
        </p:sp>
      </p:grpSp>
      <p:sp>
        <p:nvSpPr>
          <p:cNvPr id="3" name="Footer Placeholder 2"/>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3036993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574" y="53853"/>
            <a:ext cx="8776425"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Spectrum of Clinical Trials</a:t>
            </a:r>
          </a:p>
        </p:txBody>
      </p:sp>
      <p:sp>
        <p:nvSpPr>
          <p:cNvPr id="6" name="TextBox 5"/>
          <p:cNvSpPr txBox="1"/>
          <p:nvPr/>
        </p:nvSpPr>
        <p:spPr>
          <a:xfrm>
            <a:off x="574436" y="3705223"/>
            <a:ext cx="2286000" cy="430887"/>
          </a:xfrm>
          <a:prstGeom prst="rect">
            <a:avLst/>
          </a:prstGeom>
          <a:noFill/>
        </p:spPr>
        <p:txBody>
          <a:bodyPr wrap="square" lIns="0" tIns="0" rIns="0" bIns="0" rtlCol="0">
            <a:spAutoFit/>
          </a:bodyPr>
          <a:lstStyle/>
          <a:p>
            <a:pPr algn="ctr"/>
            <a:r>
              <a:rPr lang="en-US" sz="1400" b="1" dirty="0">
                <a:latin typeface="Arial" panose="020B0604020202020204" pitchFamily="34" charset="0"/>
                <a:cs typeface="Arial" panose="020B0604020202020204" pitchFamily="34" charset="0"/>
              </a:rPr>
              <a:t>Classical Clinical Trial</a:t>
            </a:r>
          </a:p>
          <a:p>
            <a:pPr algn="ctr"/>
            <a:r>
              <a:rPr lang="en-US" sz="1400" dirty="0">
                <a:latin typeface="Arial" panose="020B0604020202020204" pitchFamily="34" charset="0"/>
                <a:cs typeface="Arial" panose="020B0604020202020204" pitchFamily="34" charset="0"/>
              </a:rPr>
              <a:t>Bring the Patient to the Trial</a:t>
            </a:r>
          </a:p>
        </p:txBody>
      </p:sp>
      <p:sp>
        <p:nvSpPr>
          <p:cNvPr id="33" name="TextBox 32"/>
          <p:cNvSpPr txBox="1"/>
          <p:nvPr/>
        </p:nvSpPr>
        <p:spPr>
          <a:xfrm>
            <a:off x="3135086" y="3714747"/>
            <a:ext cx="2677885" cy="430887"/>
          </a:xfrm>
          <a:prstGeom prst="rect">
            <a:avLst/>
          </a:prstGeom>
          <a:noFill/>
        </p:spPr>
        <p:txBody>
          <a:bodyPr wrap="square" lIns="0" tIns="0" rIns="0" bIns="0" rtlCol="0">
            <a:spAutoFit/>
          </a:bodyPr>
          <a:lstStyle/>
          <a:p>
            <a:pPr algn="ctr"/>
            <a:r>
              <a:rPr lang="en-US" sz="1400" b="1" dirty="0">
                <a:latin typeface="Arial" panose="020B0604020202020204" pitchFamily="34" charset="0"/>
                <a:cs typeface="Arial" panose="020B0604020202020204" pitchFamily="34" charset="0"/>
              </a:rPr>
              <a:t>Remote, Digital Clinical Trial</a:t>
            </a:r>
          </a:p>
          <a:p>
            <a:pPr algn="ctr"/>
            <a:r>
              <a:rPr lang="en-US" sz="1400" dirty="0">
                <a:latin typeface="Arial" panose="020B0604020202020204" pitchFamily="34" charset="0"/>
                <a:cs typeface="Arial" panose="020B0604020202020204" pitchFamily="34" charset="0"/>
              </a:rPr>
              <a:t>Bring the Trial to the Patient</a:t>
            </a:r>
          </a:p>
        </p:txBody>
      </p:sp>
      <p:sp>
        <p:nvSpPr>
          <p:cNvPr id="34" name="TextBox 33"/>
          <p:cNvSpPr txBox="1"/>
          <p:nvPr/>
        </p:nvSpPr>
        <p:spPr>
          <a:xfrm>
            <a:off x="6218946" y="3705224"/>
            <a:ext cx="2286000" cy="430887"/>
          </a:xfrm>
          <a:prstGeom prst="rect">
            <a:avLst/>
          </a:prstGeom>
          <a:noFill/>
        </p:spPr>
        <p:txBody>
          <a:bodyPr wrap="square" lIns="0" tIns="0" rIns="0" bIns="0" rtlCol="0">
            <a:spAutoFit/>
          </a:bodyPr>
          <a:lstStyle/>
          <a:p>
            <a:pPr algn="ctr"/>
            <a:r>
              <a:rPr lang="en-US" sz="1400" b="1" dirty="0">
                <a:latin typeface="Arial" panose="020B0604020202020204" pitchFamily="34" charset="0"/>
                <a:cs typeface="Arial" panose="020B0604020202020204" pitchFamily="34" charset="0"/>
              </a:rPr>
              <a:t>Virtual Clinical Trial</a:t>
            </a:r>
          </a:p>
          <a:p>
            <a:pPr algn="ctr"/>
            <a:r>
              <a:rPr lang="en-US" sz="1400" dirty="0">
                <a:latin typeface="Arial" panose="020B0604020202020204" pitchFamily="34" charset="0"/>
                <a:cs typeface="Arial" panose="020B0604020202020204" pitchFamily="34" charset="0"/>
              </a:rPr>
              <a:t>EHR-based </a:t>
            </a:r>
            <a:r>
              <a:rPr lang="en-US" sz="1400" dirty="0" err="1">
                <a:latin typeface="Arial" panose="020B0604020202020204" pitchFamily="34" charset="0"/>
                <a:cs typeface="Arial" panose="020B0604020202020204" pitchFamily="34" charset="0"/>
              </a:rPr>
              <a:t>eClinical</a:t>
            </a:r>
            <a:r>
              <a:rPr lang="en-US" sz="1400" dirty="0">
                <a:latin typeface="Arial" panose="020B0604020202020204" pitchFamily="34" charset="0"/>
                <a:cs typeface="Arial" panose="020B0604020202020204" pitchFamily="34" charset="0"/>
              </a:rPr>
              <a:t> Trial</a:t>
            </a:r>
          </a:p>
        </p:txBody>
      </p:sp>
      <p:sp>
        <p:nvSpPr>
          <p:cNvPr id="14" name="AutoShape 2" descr="Image result for hospital"/>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AutoShape 6" descr="Image result for EH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9" name="Straight Arrow Connector 18"/>
          <p:cNvCxnSpPr/>
          <p:nvPr/>
        </p:nvCxnSpPr>
        <p:spPr>
          <a:xfrm>
            <a:off x="1539200" y="4419600"/>
            <a:ext cx="6019800" cy="0"/>
          </a:xfrm>
          <a:prstGeom prst="straightConnector1">
            <a:avLst/>
          </a:prstGeom>
          <a:ln w="19050">
            <a:solidFill>
              <a:srgbClr val="003366"/>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6072" y="1729088"/>
            <a:ext cx="2410028" cy="1634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4" name="Picture 4" descr="remote clinical trials"/>
          <p:cNvPicPr>
            <a:picLocks noChangeAspect="1" noChangeArrowheads="1"/>
          </p:cNvPicPr>
          <p:nvPr/>
        </p:nvPicPr>
        <p:blipFill rotWithShape="1">
          <a:blip r:embed="rId3">
            <a:extLst>
              <a:ext uri="{28A0092B-C50C-407E-A947-70E740481C1C}">
                <a14:useLocalDpi xmlns:a14="http://schemas.microsoft.com/office/drawing/2010/main" val="0"/>
              </a:ext>
            </a:extLst>
          </a:blip>
          <a:srcRect l="26846"/>
          <a:stretch/>
        </p:blipFill>
        <p:spPr bwMode="auto">
          <a:xfrm>
            <a:off x="6024664" y="1729088"/>
            <a:ext cx="2635598" cy="1634802"/>
          </a:xfrm>
          <a:prstGeom prst="rect">
            <a:avLst/>
          </a:prstGeom>
          <a:noFill/>
          <a:extLst>
            <a:ext uri="{909E8E84-426E-40DD-AFC4-6F175D3DCCD1}">
              <a14:hiddenFill xmlns:a14="http://schemas.microsoft.com/office/drawing/2010/main">
                <a:solidFill>
                  <a:srgbClr val="FFFFFF"/>
                </a:solidFill>
              </a14:hiddenFill>
            </a:ext>
          </a:extLst>
        </p:spPr>
      </p:pic>
      <p:pic>
        <p:nvPicPr>
          <p:cNvPr id="2048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222" y="1779759"/>
            <a:ext cx="2377683" cy="15841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25863634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7575" y="57813"/>
            <a:ext cx="8408850" cy="677108"/>
          </a:xfrm>
        </p:spPr>
        <p:txBody>
          <a:bodyPr/>
          <a:lstStyle/>
          <a:p>
            <a:r>
              <a:rPr lang="en-US" dirty="0" err="1">
                <a:solidFill>
                  <a:schemeClr val="tx1"/>
                </a:solidFill>
                <a:latin typeface="Arial" panose="020B0604020202020204" pitchFamily="34" charset="0"/>
                <a:cs typeface="Arial" panose="020B0604020202020204" pitchFamily="34" charset="0"/>
              </a:rPr>
              <a:t>Blockchain</a:t>
            </a:r>
            <a:r>
              <a:rPr lang="en-US" dirty="0">
                <a:solidFill>
                  <a:schemeClr val="tx1"/>
                </a:solidFill>
                <a:latin typeface="Arial" panose="020B0604020202020204" pitchFamily="34" charset="0"/>
                <a:cs typeface="Arial" panose="020B0604020202020204" pitchFamily="34" charset="0"/>
              </a:rPr>
              <a:t> Technology in Clinical Trials</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Traditional (central) IT Architecture vs Distributed Ledger Technology</a:t>
            </a:r>
            <a:endParaRPr lang="en-US" sz="2000" dirty="0">
              <a:solidFill>
                <a:schemeClr val="tx1"/>
              </a:solidFill>
            </a:endParaRPr>
          </a:p>
        </p:txBody>
      </p:sp>
      <p:sp>
        <p:nvSpPr>
          <p:cNvPr id="23" name="TextBox 22"/>
          <p:cNvSpPr txBox="1"/>
          <p:nvPr/>
        </p:nvSpPr>
        <p:spPr>
          <a:xfrm>
            <a:off x="338098" y="1034165"/>
            <a:ext cx="3972646" cy="3200876"/>
          </a:xfrm>
          <a:prstGeom prst="rect">
            <a:avLst/>
          </a:prstGeom>
          <a:noFill/>
        </p:spPr>
        <p:txBody>
          <a:bodyPr wrap="square" lIns="0" tIns="0" rIns="0" bIns="0" rtlCol="0">
            <a:spAutoFit/>
          </a:bodyPr>
          <a:lstStyle/>
          <a:p>
            <a:pPr algn="ctr"/>
            <a:r>
              <a:rPr lang="en-US" sz="1600" b="1" dirty="0">
                <a:latin typeface="Arial" panose="020B0604020202020204" pitchFamily="34" charset="0"/>
                <a:cs typeface="Arial" panose="020B0604020202020204" pitchFamily="34" charset="0"/>
              </a:rPr>
              <a:t>Traditional IT architecture</a:t>
            </a:r>
          </a:p>
          <a:p>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Limited trust, transparency, and auditability</a:t>
            </a:r>
          </a:p>
          <a:p>
            <a:pPr lvl="1"/>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High complexity, redundancy and inefficiencies, resulting in high costs </a:t>
            </a: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Limited ability of Real-time processing of data flow </a:t>
            </a: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Limited patient empowerment and patient centricity</a:t>
            </a:r>
          </a:p>
        </p:txBody>
      </p:sp>
      <p:sp>
        <p:nvSpPr>
          <p:cNvPr id="4" name="TextBox 3"/>
          <p:cNvSpPr txBox="1"/>
          <p:nvPr/>
        </p:nvSpPr>
        <p:spPr>
          <a:xfrm>
            <a:off x="4719971" y="1034164"/>
            <a:ext cx="4043898" cy="3200876"/>
          </a:xfrm>
          <a:prstGeom prst="rect">
            <a:avLst/>
          </a:prstGeom>
          <a:noFill/>
        </p:spPr>
        <p:txBody>
          <a:bodyPr wrap="square" lIns="0" tIns="0" rIns="0" bIns="0" rtlCol="0">
            <a:spAutoFit/>
          </a:bodyPr>
          <a:lstStyle/>
          <a:p>
            <a:pPr algn="ctr"/>
            <a:r>
              <a:rPr lang="en-US" sz="1600" b="1" dirty="0">
                <a:latin typeface="Arial" panose="020B0604020202020204" pitchFamily="34" charset="0"/>
                <a:cs typeface="Arial" panose="020B0604020202020204" pitchFamily="34" charset="0"/>
              </a:rPr>
              <a:t>Distributed Ledger Technology</a:t>
            </a:r>
          </a:p>
          <a:p>
            <a:pPr algn="ctr"/>
            <a:endParaRPr lang="en-US" sz="1600" b="1"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Improved trust, transparency, and auditability</a:t>
            </a: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Time and cost savings</a:t>
            </a: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Near real-time updates</a:t>
            </a: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en-US" sz="1600" dirty="0">
                <a:latin typeface="Arial" panose="020B0604020202020204" pitchFamily="34" charset="0"/>
                <a:cs typeface="Arial" panose="020B0604020202020204" pitchFamily="34" charset="0"/>
              </a:rPr>
              <a:t>Patient centricity and empowerment</a:t>
            </a:r>
          </a:p>
          <a:p>
            <a:pPr marL="285750" indent="-285750">
              <a:buFont typeface="Wingdings" panose="05000000000000000000" pitchFamily="2" charset="2"/>
              <a:buChar char="Ø"/>
            </a:pPr>
            <a:endParaRPr lang="en-US" sz="1600" dirty="0">
              <a:latin typeface="Arial" panose="020B0604020202020204" pitchFamily="34" charset="0"/>
              <a:cs typeface="Arial" panose="020B0604020202020204" pitchFamily="34" charset="0"/>
            </a:endParaRPr>
          </a:p>
        </p:txBody>
      </p:sp>
      <p:cxnSp>
        <p:nvCxnSpPr>
          <p:cNvPr id="7" name="Straight Arrow Connector 6"/>
          <p:cNvCxnSpPr/>
          <p:nvPr/>
        </p:nvCxnSpPr>
        <p:spPr>
          <a:xfrm>
            <a:off x="1539200" y="4442178"/>
            <a:ext cx="6019800" cy="0"/>
          </a:xfrm>
          <a:prstGeom prst="straightConnector1">
            <a:avLst/>
          </a:prstGeom>
          <a:ln w="19050">
            <a:solidFill>
              <a:srgbClr val="00336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1539201" y="4526845"/>
            <a:ext cx="6019800" cy="246221"/>
          </a:xfrm>
          <a:prstGeom prst="rect">
            <a:avLst/>
          </a:prstGeom>
          <a:noFill/>
        </p:spPr>
        <p:txBody>
          <a:bodyPr wrap="square" lIns="0" tIns="0" rIns="0" bIns="0" rtlCol="0">
            <a:spAutoFit/>
          </a:bodyPr>
          <a:lstStyle/>
          <a:p>
            <a:pPr algn="ctr"/>
            <a:r>
              <a:rPr lang="en-US" sz="1600" b="1" dirty="0">
                <a:latin typeface="Arial" panose="020B0604020202020204" pitchFamily="34" charset="0"/>
                <a:cs typeface="Arial" panose="020B0604020202020204" pitchFamily="34" charset="0"/>
              </a:rPr>
              <a:t>Improved Compliance and Patient Safety</a:t>
            </a:r>
          </a:p>
        </p:txBody>
      </p:sp>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151773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Conduct Overview</a:t>
            </a:r>
          </a:p>
        </p:txBody>
      </p:sp>
      <p:sp>
        <p:nvSpPr>
          <p:cNvPr id="63" name="TextBox 62"/>
          <p:cNvSpPr txBox="1"/>
          <p:nvPr/>
        </p:nvSpPr>
        <p:spPr>
          <a:xfrm>
            <a:off x="189188" y="1174620"/>
            <a:ext cx="4040687" cy="215444"/>
          </a:xfrm>
          <a:prstGeom prst="rect">
            <a:avLst/>
          </a:prstGeom>
          <a:solidFill>
            <a:schemeClr val="bg1">
              <a:lumMod val="65000"/>
            </a:schemeClr>
          </a:solidFill>
        </p:spPr>
        <p:txBody>
          <a:bodyPr wrap="square" tIns="0" bIns="0" rtlCol="0">
            <a:spAutoFit/>
          </a:bodyPr>
          <a:lstStyle/>
          <a:p>
            <a:pPr algn="ctr"/>
            <a:r>
              <a:rPr lang="en-US" sz="1400" b="1" dirty="0">
                <a:solidFill>
                  <a:prstClr val="white"/>
                </a:solidFill>
              </a:rPr>
              <a:t>TRIAL PREPARATION</a:t>
            </a:r>
            <a:endParaRPr lang="en-CA" sz="1400" b="1" dirty="0">
              <a:solidFill>
                <a:prstClr val="white"/>
              </a:solidFill>
            </a:endParaRPr>
          </a:p>
        </p:txBody>
      </p:sp>
      <p:sp>
        <p:nvSpPr>
          <p:cNvPr id="64" name="TextBox 63"/>
          <p:cNvSpPr txBox="1"/>
          <p:nvPr/>
        </p:nvSpPr>
        <p:spPr>
          <a:xfrm>
            <a:off x="4285070" y="1174620"/>
            <a:ext cx="2696928" cy="215444"/>
          </a:xfrm>
          <a:prstGeom prst="rect">
            <a:avLst/>
          </a:prstGeom>
          <a:solidFill>
            <a:schemeClr val="tx1">
              <a:lumMod val="65000"/>
              <a:lumOff val="35000"/>
            </a:schemeClr>
          </a:solidFill>
        </p:spPr>
        <p:txBody>
          <a:bodyPr wrap="square" tIns="0" bIns="0" rtlCol="0">
            <a:spAutoFit/>
          </a:bodyPr>
          <a:lstStyle/>
          <a:p>
            <a:pPr algn="ctr"/>
            <a:r>
              <a:rPr lang="en-US" sz="1400" b="1" dirty="0">
                <a:solidFill>
                  <a:prstClr val="white"/>
                </a:solidFill>
              </a:rPr>
              <a:t>TRIAL CONDUCT</a:t>
            </a:r>
            <a:endParaRPr lang="en-CA" sz="1400" b="1" dirty="0">
              <a:solidFill>
                <a:prstClr val="white"/>
              </a:solidFill>
            </a:endParaRPr>
          </a:p>
        </p:txBody>
      </p:sp>
      <p:sp>
        <p:nvSpPr>
          <p:cNvPr id="65" name="TextBox 64"/>
          <p:cNvSpPr txBox="1"/>
          <p:nvPr/>
        </p:nvSpPr>
        <p:spPr>
          <a:xfrm>
            <a:off x="6995970" y="1173264"/>
            <a:ext cx="1800200" cy="215444"/>
          </a:xfrm>
          <a:prstGeom prst="rect">
            <a:avLst/>
          </a:prstGeom>
          <a:solidFill>
            <a:schemeClr val="tx1">
              <a:lumMod val="85000"/>
              <a:lumOff val="15000"/>
            </a:schemeClr>
          </a:solidFill>
        </p:spPr>
        <p:txBody>
          <a:bodyPr wrap="square" tIns="0" bIns="0" rtlCol="0">
            <a:spAutoFit/>
          </a:bodyPr>
          <a:lstStyle/>
          <a:p>
            <a:pPr algn="ctr"/>
            <a:r>
              <a:rPr lang="en-US" sz="1400" b="1" dirty="0">
                <a:solidFill>
                  <a:prstClr val="white"/>
                </a:solidFill>
              </a:rPr>
              <a:t>TRIAL CLOSE OUT</a:t>
            </a:r>
            <a:endParaRPr lang="en-CA" sz="1400" b="1" dirty="0">
              <a:solidFill>
                <a:prstClr val="white"/>
              </a:solidFill>
            </a:endParaRPr>
          </a:p>
        </p:txBody>
      </p:sp>
      <p:pic>
        <p:nvPicPr>
          <p:cNvPr id="107" name="Picture 106" descr="diagram_TCM_CML.png"/>
          <p:cNvPicPr>
            <a:picLocks noChangeAspect="1"/>
          </p:cNvPicPr>
          <p:nvPr/>
        </p:nvPicPr>
        <p:blipFill rotWithShape="1">
          <a:blip r:embed="rId3" cstate="print"/>
          <a:srcRect l="54280" t="21722" r="35976" b="54219"/>
          <a:stretch/>
        </p:blipFill>
        <p:spPr>
          <a:xfrm>
            <a:off x="3847253" y="778392"/>
            <a:ext cx="792000" cy="389066"/>
          </a:xfrm>
          <a:prstGeom prst="rect">
            <a:avLst/>
          </a:prstGeom>
          <a:solidFill>
            <a:schemeClr val="bg1"/>
          </a:solidFill>
        </p:spPr>
      </p:pic>
      <p:pic>
        <p:nvPicPr>
          <p:cNvPr id="108" name="Picture 107" descr="diagram_TCM_CML.png"/>
          <p:cNvPicPr>
            <a:picLocks noChangeAspect="1"/>
          </p:cNvPicPr>
          <p:nvPr/>
        </p:nvPicPr>
        <p:blipFill rotWithShape="1">
          <a:blip r:embed="rId3" cstate="print"/>
          <a:srcRect l="91402" t="22080" r="171" b="55634"/>
          <a:stretch/>
        </p:blipFill>
        <p:spPr>
          <a:xfrm>
            <a:off x="8423379" y="772285"/>
            <a:ext cx="684996" cy="360409"/>
          </a:xfrm>
          <a:prstGeom prst="rect">
            <a:avLst/>
          </a:prstGeom>
          <a:solidFill>
            <a:schemeClr val="bg1"/>
          </a:solidFill>
        </p:spPr>
      </p:pic>
      <p:sp>
        <p:nvSpPr>
          <p:cNvPr id="120" name="Rounded Rectangle 119"/>
          <p:cNvSpPr/>
          <p:nvPr/>
        </p:nvSpPr>
        <p:spPr>
          <a:xfrm rot="16200000">
            <a:off x="83074" y="2546058"/>
            <a:ext cx="800315" cy="656042"/>
          </a:xfrm>
          <a:prstGeom prst="roundRect">
            <a:avLst>
              <a:gd name="adj" fmla="val 0"/>
            </a:avLst>
          </a:prstGeom>
          <a:solidFill>
            <a:srgbClr val="00B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Clinical Trial Application and Approval </a:t>
            </a:r>
          </a:p>
        </p:txBody>
      </p:sp>
      <p:sp>
        <p:nvSpPr>
          <p:cNvPr id="126" name="Rounded Rectangle 125"/>
          <p:cNvSpPr/>
          <p:nvPr/>
        </p:nvSpPr>
        <p:spPr>
          <a:xfrm rot="16200000">
            <a:off x="16761" y="1573978"/>
            <a:ext cx="934510" cy="657608"/>
          </a:xfrm>
          <a:prstGeom prst="roundRect">
            <a:avLst>
              <a:gd name="adj" fmla="val 2921"/>
            </a:avLst>
          </a:prstGeom>
          <a:solidFill>
            <a:srgbClr val="FF990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Site Preparation / Management</a:t>
            </a:r>
          </a:p>
        </p:txBody>
      </p:sp>
      <p:sp>
        <p:nvSpPr>
          <p:cNvPr id="127" name="Rounded Rectangle 126"/>
          <p:cNvSpPr/>
          <p:nvPr/>
        </p:nvSpPr>
        <p:spPr>
          <a:xfrm rot="16200000">
            <a:off x="192144" y="3367728"/>
            <a:ext cx="594070" cy="647285"/>
          </a:xfrm>
          <a:prstGeom prst="roundRect">
            <a:avLst>
              <a:gd name="adj" fmla="val 0"/>
            </a:avLst>
          </a:prstGeom>
          <a:solidFill>
            <a:schemeClr val="accent4">
              <a:lumMod val="60000"/>
              <a:lumOff val="4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Drug Supply</a:t>
            </a:r>
          </a:p>
        </p:txBody>
      </p:sp>
      <p:sp>
        <p:nvSpPr>
          <p:cNvPr id="128" name="Rounded Rectangle 127"/>
          <p:cNvSpPr/>
          <p:nvPr/>
        </p:nvSpPr>
        <p:spPr>
          <a:xfrm rot="16200000">
            <a:off x="121651" y="4116146"/>
            <a:ext cx="715191" cy="648070"/>
          </a:xfrm>
          <a:prstGeom prst="roundRect">
            <a:avLst>
              <a:gd name="adj" fmla="val 0"/>
            </a:avLst>
          </a:prstGeom>
          <a:solidFill>
            <a:schemeClr val="accent1">
              <a:lumMod val="60000"/>
              <a:lumOff val="4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Budget and Contracts</a:t>
            </a:r>
          </a:p>
        </p:txBody>
      </p:sp>
      <p:cxnSp>
        <p:nvCxnSpPr>
          <p:cNvPr id="145" name="Straight Connector 144"/>
          <p:cNvCxnSpPr/>
          <p:nvPr/>
        </p:nvCxnSpPr>
        <p:spPr bwMode="auto">
          <a:xfrm>
            <a:off x="189187" y="2428639"/>
            <a:ext cx="8662632" cy="0"/>
          </a:xfrm>
          <a:prstGeom prst="line">
            <a:avLst/>
          </a:prstGeom>
          <a:solidFill>
            <a:schemeClr val="bg1"/>
          </a:solidFill>
          <a:ln w="25400" cap="rnd" cmpd="sng" algn="ctr">
            <a:solidFill>
              <a:srgbClr val="B2B2B2"/>
            </a:solidFill>
            <a:prstDash val="sysDot"/>
            <a:round/>
            <a:headEnd type="none" w="med" len="med"/>
            <a:tailEnd type="none" w="med" len="med"/>
          </a:ln>
          <a:effectLst/>
        </p:spPr>
      </p:cxnSp>
      <p:cxnSp>
        <p:nvCxnSpPr>
          <p:cNvPr id="146" name="Straight Connector 145"/>
          <p:cNvCxnSpPr/>
          <p:nvPr/>
        </p:nvCxnSpPr>
        <p:spPr bwMode="auto">
          <a:xfrm>
            <a:off x="190810" y="3337891"/>
            <a:ext cx="8629662" cy="0"/>
          </a:xfrm>
          <a:prstGeom prst="line">
            <a:avLst/>
          </a:prstGeom>
          <a:solidFill>
            <a:schemeClr val="bg1"/>
          </a:solidFill>
          <a:ln w="25400" cap="rnd" cmpd="sng" algn="ctr">
            <a:solidFill>
              <a:srgbClr val="B2B2B2"/>
            </a:solidFill>
            <a:prstDash val="sysDot"/>
            <a:round/>
            <a:headEnd type="none" w="med" len="med"/>
            <a:tailEnd type="none" w="med" len="med"/>
          </a:ln>
          <a:effectLst/>
        </p:spPr>
      </p:cxnSp>
      <p:cxnSp>
        <p:nvCxnSpPr>
          <p:cNvPr id="147" name="Straight Connector 146"/>
          <p:cNvCxnSpPr/>
          <p:nvPr/>
        </p:nvCxnSpPr>
        <p:spPr bwMode="auto">
          <a:xfrm>
            <a:off x="155210" y="4042593"/>
            <a:ext cx="8738768" cy="0"/>
          </a:xfrm>
          <a:prstGeom prst="line">
            <a:avLst/>
          </a:prstGeom>
          <a:solidFill>
            <a:schemeClr val="bg1"/>
          </a:solidFill>
          <a:ln w="25400" cap="rnd" cmpd="sng" algn="ctr">
            <a:solidFill>
              <a:srgbClr val="B2B2B2"/>
            </a:solidFill>
            <a:prstDash val="sysDot"/>
            <a:round/>
            <a:headEnd type="none" w="med" len="med"/>
            <a:tailEnd type="none" w="med" len="med"/>
          </a:ln>
          <a:effectLst/>
        </p:spPr>
      </p:cxnSp>
      <p:grpSp>
        <p:nvGrpSpPr>
          <p:cNvPr id="11" name="Group 10"/>
          <p:cNvGrpSpPr/>
          <p:nvPr/>
        </p:nvGrpSpPr>
        <p:grpSpPr>
          <a:xfrm>
            <a:off x="6708358" y="770390"/>
            <a:ext cx="815977" cy="338554"/>
            <a:chOff x="6535653" y="1124744"/>
            <a:chExt cx="815977" cy="451406"/>
          </a:xfrm>
        </p:grpSpPr>
        <p:sp>
          <p:nvSpPr>
            <p:cNvPr id="100" name="TextBox 99"/>
            <p:cNvSpPr txBox="1"/>
            <p:nvPr/>
          </p:nvSpPr>
          <p:spPr>
            <a:xfrm>
              <a:off x="6662892" y="1124744"/>
              <a:ext cx="688738" cy="451406"/>
            </a:xfrm>
            <a:prstGeom prst="rect">
              <a:avLst/>
            </a:prstGeom>
            <a:solidFill>
              <a:schemeClr val="bg1"/>
            </a:solidFill>
          </p:spPr>
          <p:txBody>
            <a:bodyPr wrap="square" rtlCol="0">
              <a:spAutoFit/>
            </a:bodyPr>
            <a:lstStyle/>
            <a:p>
              <a:pPr algn="ctr"/>
              <a:r>
                <a:rPr lang="en-US" sz="800" dirty="0">
                  <a:solidFill>
                    <a:prstClr val="black"/>
                  </a:solidFill>
                </a:rPr>
                <a:t>Database Lock</a:t>
              </a:r>
              <a:endParaRPr lang="en-CA" sz="800" dirty="0">
                <a:solidFill>
                  <a:prstClr val="black"/>
                </a:solidFill>
              </a:endParaRPr>
            </a:p>
          </p:txBody>
        </p:sp>
        <p:pic>
          <p:nvPicPr>
            <p:cNvPr id="1028" name="Picture 4" descr="See the source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5653" y="1182514"/>
              <a:ext cx="253792" cy="253792"/>
            </a:xfrm>
            <a:prstGeom prst="rect">
              <a:avLst/>
            </a:prstGeom>
            <a:noFill/>
          </p:spPr>
        </p:pic>
      </p:grpSp>
      <p:sp>
        <p:nvSpPr>
          <p:cNvPr id="2" name="Footer Placeholder 1"/>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112843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7575" y="51757"/>
            <a:ext cx="8408850" cy="677108"/>
          </a:xfrm>
        </p:spPr>
        <p:txBody>
          <a:bodyPr/>
          <a:lstStyle/>
          <a:p>
            <a:r>
              <a:rPr lang="en-US" sz="2400" dirty="0" err="1">
                <a:solidFill>
                  <a:schemeClr val="tx1"/>
                </a:solidFill>
                <a:latin typeface="Arial" panose="020B0604020202020204" pitchFamily="34" charset="0"/>
                <a:cs typeface="Arial" panose="020B0604020202020204" pitchFamily="34" charset="0"/>
              </a:rPr>
              <a:t>Blockchain</a:t>
            </a:r>
            <a:r>
              <a:rPr lang="en-US" sz="2400" dirty="0">
                <a:solidFill>
                  <a:schemeClr val="tx1"/>
                </a:solidFill>
                <a:latin typeface="Arial" panose="020B0604020202020204" pitchFamily="34" charset="0"/>
                <a:cs typeface="Arial" panose="020B0604020202020204" pitchFamily="34" charset="0"/>
              </a:rPr>
              <a:t> Technology in Clinical Trials </a:t>
            </a:r>
            <a:br>
              <a:rPr lang="en-US" sz="24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Clinical Trial Conduct Overview</a:t>
            </a:r>
          </a:p>
        </p:txBody>
      </p:sp>
      <p:sp>
        <p:nvSpPr>
          <p:cNvPr id="63" name="TextBox 62"/>
          <p:cNvSpPr txBox="1"/>
          <p:nvPr/>
        </p:nvSpPr>
        <p:spPr>
          <a:xfrm>
            <a:off x="189188" y="1174620"/>
            <a:ext cx="4040687" cy="215444"/>
          </a:xfrm>
          <a:prstGeom prst="rect">
            <a:avLst/>
          </a:prstGeom>
          <a:solidFill>
            <a:schemeClr val="bg1">
              <a:lumMod val="65000"/>
            </a:schemeClr>
          </a:solidFill>
        </p:spPr>
        <p:txBody>
          <a:bodyPr wrap="square" tIns="0" bIns="0" rtlCol="0">
            <a:spAutoFit/>
          </a:bodyPr>
          <a:lstStyle/>
          <a:p>
            <a:pPr algn="ctr"/>
            <a:r>
              <a:rPr lang="en-US" sz="1400" b="1" dirty="0">
                <a:solidFill>
                  <a:prstClr val="white"/>
                </a:solidFill>
              </a:rPr>
              <a:t>TRIAL PREPARATION</a:t>
            </a:r>
            <a:endParaRPr lang="en-CA" sz="1400" b="1" dirty="0">
              <a:solidFill>
                <a:prstClr val="white"/>
              </a:solidFill>
            </a:endParaRPr>
          </a:p>
        </p:txBody>
      </p:sp>
      <p:sp>
        <p:nvSpPr>
          <p:cNvPr id="64" name="TextBox 63"/>
          <p:cNvSpPr txBox="1"/>
          <p:nvPr/>
        </p:nvSpPr>
        <p:spPr>
          <a:xfrm>
            <a:off x="4285070" y="1174620"/>
            <a:ext cx="2696928" cy="215444"/>
          </a:xfrm>
          <a:prstGeom prst="rect">
            <a:avLst/>
          </a:prstGeom>
          <a:solidFill>
            <a:schemeClr val="tx1">
              <a:lumMod val="65000"/>
              <a:lumOff val="35000"/>
            </a:schemeClr>
          </a:solidFill>
        </p:spPr>
        <p:txBody>
          <a:bodyPr wrap="square" tIns="0" bIns="0" rtlCol="0">
            <a:spAutoFit/>
          </a:bodyPr>
          <a:lstStyle/>
          <a:p>
            <a:pPr algn="ctr"/>
            <a:r>
              <a:rPr lang="en-US" sz="1400" b="1" dirty="0">
                <a:solidFill>
                  <a:prstClr val="white"/>
                </a:solidFill>
              </a:rPr>
              <a:t>TRIAL CONDUCT</a:t>
            </a:r>
            <a:endParaRPr lang="en-CA" sz="1400" b="1" dirty="0">
              <a:solidFill>
                <a:prstClr val="white"/>
              </a:solidFill>
            </a:endParaRPr>
          </a:p>
        </p:txBody>
      </p:sp>
      <p:sp>
        <p:nvSpPr>
          <p:cNvPr id="65" name="TextBox 64"/>
          <p:cNvSpPr txBox="1"/>
          <p:nvPr/>
        </p:nvSpPr>
        <p:spPr>
          <a:xfrm>
            <a:off x="6995970" y="1173264"/>
            <a:ext cx="1800200" cy="215444"/>
          </a:xfrm>
          <a:prstGeom prst="rect">
            <a:avLst/>
          </a:prstGeom>
          <a:solidFill>
            <a:schemeClr val="tx1">
              <a:lumMod val="85000"/>
              <a:lumOff val="15000"/>
            </a:schemeClr>
          </a:solidFill>
        </p:spPr>
        <p:txBody>
          <a:bodyPr wrap="square" tIns="0" bIns="0" rtlCol="0">
            <a:spAutoFit/>
          </a:bodyPr>
          <a:lstStyle/>
          <a:p>
            <a:pPr algn="ctr"/>
            <a:r>
              <a:rPr lang="en-US" sz="1400" b="1" dirty="0">
                <a:solidFill>
                  <a:prstClr val="white"/>
                </a:solidFill>
              </a:rPr>
              <a:t>TRIAL CLOSE OUT</a:t>
            </a:r>
            <a:endParaRPr lang="en-CA" sz="1400" b="1" dirty="0">
              <a:solidFill>
                <a:prstClr val="white"/>
              </a:solidFill>
            </a:endParaRPr>
          </a:p>
        </p:txBody>
      </p:sp>
      <p:pic>
        <p:nvPicPr>
          <p:cNvPr id="107" name="Picture 106" descr="diagram_TCM_CML.png"/>
          <p:cNvPicPr>
            <a:picLocks noChangeAspect="1"/>
          </p:cNvPicPr>
          <p:nvPr/>
        </p:nvPicPr>
        <p:blipFill rotWithShape="1">
          <a:blip r:embed="rId3" cstate="print"/>
          <a:srcRect l="54280" t="21722" r="35976" b="54219"/>
          <a:stretch/>
        </p:blipFill>
        <p:spPr>
          <a:xfrm>
            <a:off x="3847253" y="778392"/>
            <a:ext cx="792000" cy="389066"/>
          </a:xfrm>
          <a:prstGeom prst="rect">
            <a:avLst/>
          </a:prstGeom>
          <a:solidFill>
            <a:schemeClr val="bg1"/>
          </a:solidFill>
        </p:spPr>
      </p:pic>
      <p:pic>
        <p:nvPicPr>
          <p:cNvPr id="108" name="Picture 107" descr="diagram_TCM_CML.png"/>
          <p:cNvPicPr>
            <a:picLocks noChangeAspect="1"/>
          </p:cNvPicPr>
          <p:nvPr/>
        </p:nvPicPr>
        <p:blipFill rotWithShape="1">
          <a:blip r:embed="rId3" cstate="print"/>
          <a:srcRect l="91402" t="22080" r="171" b="55634"/>
          <a:stretch/>
        </p:blipFill>
        <p:spPr>
          <a:xfrm>
            <a:off x="8423379" y="772285"/>
            <a:ext cx="684996" cy="360409"/>
          </a:xfrm>
          <a:prstGeom prst="rect">
            <a:avLst/>
          </a:prstGeom>
          <a:solidFill>
            <a:schemeClr val="bg1"/>
          </a:solidFill>
        </p:spPr>
      </p:pic>
      <p:sp>
        <p:nvSpPr>
          <p:cNvPr id="2" name="Rounded Rectangle 1"/>
          <p:cNvSpPr/>
          <p:nvPr/>
        </p:nvSpPr>
        <p:spPr>
          <a:xfrm>
            <a:off x="925110" y="1505177"/>
            <a:ext cx="1958572" cy="176672"/>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Site Feasibility and Selection</a:t>
            </a:r>
          </a:p>
        </p:txBody>
      </p:sp>
      <p:sp>
        <p:nvSpPr>
          <p:cNvPr id="66" name="Rounded Rectangle 65"/>
          <p:cNvSpPr/>
          <p:nvPr/>
        </p:nvSpPr>
        <p:spPr>
          <a:xfrm>
            <a:off x="2904671" y="1505177"/>
            <a:ext cx="1332372" cy="176672"/>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Initiate Trial Sites</a:t>
            </a:r>
          </a:p>
        </p:txBody>
      </p:sp>
      <p:sp>
        <p:nvSpPr>
          <p:cNvPr id="104" name="Rounded Rectangle 103"/>
          <p:cNvSpPr/>
          <p:nvPr/>
        </p:nvSpPr>
        <p:spPr>
          <a:xfrm>
            <a:off x="4279664" y="1505177"/>
            <a:ext cx="2702334" cy="171450"/>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Site Monitoring</a:t>
            </a:r>
          </a:p>
        </p:txBody>
      </p:sp>
      <p:sp>
        <p:nvSpPr>
          <p:cNvPr id="119" name="Rounded Rectangle 118"/>
          <p:cNvSpPr/>
          <p:nvPr/>
        </p:nvSpPr>
        <p:spPr>
          <a:xfrm>
            <a:off x="7014782" y="1505177"/>
            <a:ext cx="1781395" cy="176672"/>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Site Close-Out</a:t>
            </a:r>
          </a:p>
        </p:txBody>
      </p:sp>
      <p:sp>
        <p:nvSpPr>
          <p:cNvPr id="120" name="Rounded Rectangle 119"/>
          <p:cNvSpPr/>
          <p:nvPr/>
        </p:nvSpPr>
        <p:spPr>
          <a:xfrm rot="16200000">
            <a:off x="83074" y="2546058"/>
            <a:ext cx="800315" cy="656042"/>
          </a:xfrm>
          <a:prstGeom prst="roundRect">
            <a:avLst>
              <a:gd name="adj" fmla="val 0"/>
            </a:avLst>
          </a:prstGeom>
          <a:solidFill>
            <a:srgbClr val="00B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Clinical Trial Applications and Approval </a:t>
            </a:r>
          </a:p>
        </p:txBody>
      </p:sp>
      <p:sp>
        <p:nvSpPr>
          <p:cNvPr id="121" name="Rounded Rectangle 120"/>
          <p:cNvSpPr/>
          <p:nvPr/>
        </p:nvSpPr>
        <p:spPr>
          <a:xfrm>
            <a:off x="2051557" y="2779735"/>
            <a:ext cx="1978821" cy="162018"/>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Research Ethics Board </a:t>
            </a:r>
          </a:p>
        </p:txBody>
      </p:sp>
      <p:sp>
        <p:nvSpPr>
          <p:cNvPr id="122" name="Rounded Rectangle 121"/>
          <p:cNvSpPr/>
          <p:nvPr/>
        </p:nvSpPr>
        <p:spPr>
          <a:xfrm>
            <a:off x="4280698" y="1743335"/>
            <a:ext cx="2554556" cy="176672"/>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Patient Consent and Data Collection</a:t>
            </a:r>
          </a:p>
        </p:txBody>
      </p:sp>
      <p:sp>
        <p:nvSpPr>
          <p:cNvPr id="123" name="Rounded Rectangle 122"/>
          <p:cNvSpPr/>
          <p:nvPr/>
        </p:nvSpPr>
        <p:spPr>
          <a:xfrm>
            <a:off x="4709980" y="2529004"/>
            <a:ext cx="2094275" cy="169722"/>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CTP Amendment/ICF  update</a:t>
            </a:r>
          </a:p>
        </p:txBody>
      </p:sp>
      <p:sp>
        <p:nvSpPr>
          <p:cNvPr id="124" name="Rounded Rectangle 123"/>
          <p:cNvSpPr/>
          <p:nvPr/>
        </p:nvSpPr>
        <p:spPr>
          <a:xfrm>
            <a:off x="2059361" y="2536708"/>
            <a:ext cx="1479705" cy="162018"/>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Health Authority CTA</a:t>
            </a:r>
          </a:p>
        </p:txBody>
      </p:sp>
      <p:sp>
        <p:nvSpPr>
          <p:cNvPr id="125" name="Rounded Rectangle 124"/>
          <p:cNvSpPr/>
          <p:nvPr/>
        </p:nvSpPr>
        <p:spPr>
          <a:xfrm>
            <a:off x="5388401" y="2000624"/>
            <a:ext cx="1626374" cy="162019"/>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Patient re-Consent</a:t>
            </a:r>
          </a:p>
        </p:txBody>
      </p:sp>
      <p:sp>
        <p:nvSpPr>
          <p:cNvPr id="126" name="Rounded Rectangle 125"/>
          <p:cNvSpPr/>
          <p:nvPr/>
        </p:nvSpPr>
        <p:spPr>
          <a:xfrm rot="16200000">
            <a:off x="16761" y="1573978"/>
            <a:ext cx="934510" cy="657608"/>
          </a:xfrm>
          <a:prstGeom prst="roundRect">
            <a:avLst>
              <a:gd name="adj" fmla="val 2921"/>
            </a:avLst>
          </a:prstGeom>
          <a:solidFill>
            <a:srgbClr val="FF990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Site Preparation / Management</a:t>
            </a:r>
          </a:p>
        </p:txBody>
      </p:sp>
      <p:sp>
        <p:nvSpPr>
          <p:cNvPr id="127" name="Rounded Rectangle 126"/>
          <p:cNvSpPr/>
          <p:nvPr/>
        </p:nvSpPr>
        <p:spPr>
          <a:xfrm rot="16200000">
            <a:off x="192144" y="3367728"/>
            <a:ext cx="594070" cy="647285"/>
          </a:xfrm>
          <a:prstGeom prst="roundRect">
            <a:avLst>
              <a:gd name="adj" fmla="val 0"/>
            </a:avLst>
          </a:prstGeom>
          <a:solidFill>
            <a:schemeClr val="accent4">
              <a:lumMod val="60000"/>
              <a:lumOff val="4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Drug Supply</a:t>
            </a:r>
          </a:p>
        </p:txBody>
      </p:sp>
      <p:sp>
        <p:nvSpPr>
          <p:cNvPr id="128" name="Rounded Rectangle 127"/>
          <p:cNvSpPr/>
          <p:nvPr/>
        </p:nvSpPr>
        <p:spPr>
          <a:xfrm rot="16200000">
            <a:off x="121651" y="4116146"/>
            <a:ext cx="715191" cy="648070"/>
          </a:xfrm>
          <a:prstGeom prst="roundRect">
            <a:avLst>
              <a:gd name="adj" fmla="val 0"/>
            </a:avLst>
          </a:prstGeom>
          <a:solidFill>
            <a:schemeClr val="accent1">
              <a:lumMod val="60000"/>
              <a:lumOff val="4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900" b="1" dirty="0">
                <a:solidFill>
                  <a:srgbClr val="003366"/>
                </a:solidFill>
                <a:latin typeface="Arial" panose="020B0604020202020204" pitchFamily="34" charset="0"/>
                <a:cs typeface="Arial" panose="020B0604020202020204" pitchFamily="34" charset="0"/>
              </a:rPr>
              <a:t>Budget and Contracts</a:t>
            </a:r>
          </a:p>
        </p:txBody>
      </p:sp>
      <p:sp>
        <p:nvSpPr>
          <p:cNvPr id="129" name="Rounded Rectangle 128"/>
          <p:cNvSpPr/>
          <p:nvPr/>
        </p:nvSpPr>
        <p:spPr>
          <a:xfrm>
            <a:off x="2059361" y="1743335"/>
            <a:ext cx="2170514" cy="159446"/>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Prepare Consent Documents</a:t>
            </a:r>
          </a:p>
        </p:txBody>
      </p:sp>
      <p:sp>
        <p:nvSpPr>
          <p:cNvPr id="130" name="Rounded Rectangle 129"/>
          <p:cNvSpPr/>
          <p:nvPr/>
        </p:nvSpPr>
        <p:spPr>
          <a:xfrm>
            <a:off x="4773668" y="2779735"/>
            <a:ext cx="1958572" cy="162018"/>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Ethics Renewals</a:t>
            </a:r>
          </a:p>
        </p:txBody>
      </p:sp>
      <p:sp>
        <p:nvSpPr>
          <p:cNvPr id="132" name="Rounded Rectangle 131"/>
          <p:cNvSpPr/>
          <p:nvPr/>
        </p:nvSpPr>
        <p:spPr>
          <a:xfrm>
            <a:off x="7045858" y="2779323"/>
            <a:ext cx="1846622" cy="162433"/>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Notification of site closure</a:t>
            </a:r>
          </a:p>
        </p:txBody>
      </p:sp>
      <p:sp>
        <p:nvSpPr>
          <p:cNvPr id="133" name="Rounded Rectangle 132"/>
          <p:cNvSpPr/>
          <p:nvPr/>
        </p:nvSpPr>
        <p:spPr>
          <a:xfrm>
            <a:off x="7005916" y="2532000"/>
            <a:ext cx="1814556" cy="162018"/>
          </a:xfrm>
          <a:prstGeom prst="roundRect">
            <a:avLst/>
          </a:prstGeom>
          <a:solidFill>
            <a:srgbClr val="92D050"/>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Notification of Completion</a:t>
            </a:r>
          </a:p>
        </p:txBody>
      </p:sp>
      <p:sp>
        <p:nvSpPr>
          <p:cNvPr id="134" name="Rounded Rectangle 133"/>
          <p:cNvSpPr/>
          <p:nvPr/>
        </p:nvSpPr>
        <p:spPr>
          <a:xfrm>
            <a:off x="891846" y="3425468"/>
            <a:ext cx="1404590" cy="165254"/>
          </a:xfrm>
          <a:prstGeom prst="roundRect">
            <a:avLst/>
          </a:prstGeom>
          <a:solidFill>
            <a:schemeClr val="accent4">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Review Drug Label</a:t>
            </a:r>
          </a:p>
        </p:txBody>
      </p:sp>
      <p:sp>
        <p:nvSpPr>
          <p:cNvPr id="135" name="Rounded Rectangle 134"/>
          <p:cNvSpPr/>
          <p:nvPr/>
        </p:nvSpPr>
        <p:spPr>
          <a:xfrm>
            <a:off x="2323627" y="3428702"/>
            <a:ext cx="1958572" cy="162018"/>
          </a:xfrm>
          <a:prstGeom prst="roundRect">
            <a:avLst/>
          </a:prstGeom>
          <a:solidFill>
            <a:schemeClr val="accent4">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Drug Distribution</a:t>
            </a:r>
          </a:p>
        </p:txBody>
      </p:sp>
      <p:sp>
        <p:nvSpPr>
          <p:cNvPr id="136" name="Rounded Rectangle 135"/>
          <p:cNvSpPr/>
          <p:nvPr/>
        </p:nvSpPr>
        <p:spPr>
          <a:xfrm>
            <a:off x="4307208" y="3428702"/>
            <a:ext cx="2728704" cy="162018"/>
          </a:xfrm>
          <a:prstGeom prst="roundRect">
            <a:avLst/>
          </a:prstGeom>
          <a:solidFill>
            <a:schemeClr val="accent4">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Drug Dispensing and Accountability</a:t>
            </a:r>
          </a:p>
        </p:txBody>
      </p:sp>
      <p:sp>
        <p:nvSpPr>
          <p:cNvPr id="137" name="Rounded Rectangle 136"/>
          <p:cNvSpPr/>
          <p:nvPr/>
        </p:nvSpPr>
        <p:spPr>
          <a:xfrm>
            <a:off x="7067978" y="3428702"/>
            <a:ext cx="1655720" cy="162018"/>
          </a:xfrm>
          <a:prstGeom prst="roundRect">
            <a:avLst/>
          </a:prstGeom>
          <a:solidFill>
            <a:schemeClr val="accent4">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Drug Return</a:t>
            </a:r>
          </a:p>
        </p:txBody>
      </p:sp>
      <p:sp>
        <p:nvSpPr>
          <p:cNvPr id="138" name="Rounded Rectangle 137"/>
          <p:cNvSpPr/>
          <p:nvPr/>
        </p:nvSpPr>
        <p:spPr>
          <a:xfrm>
            <a:off x="1041734" y="4092683"/>
            <a:ext cx="1725324" cy="165254"/>
          </a:xfrm>
          <a:prstGeom prst="roundRect">
            <a:avLst/>
          </a:prstGeom>
          <a:solidFill>
            <a:schemeClr val="accent1">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Prepare Budget</a:t>
            </a:r>
          </a:p>
        </p:txBody>
      </p:sp>
      <p:sp>
        <p:nvSpPr>
          <p:cNvPr id="139" name="Rounded Rectangle 138"/>
          <p:cNvSpPr/>
          <p:nvPr/>
        </p:nvSpPr>
        <p:spPr>
          <a:xfrm>
            <a:off x="2242746" y="4323792"/>
            <a:ext cx="1958572" cy="162018"/>
          </a:xfrm>
          <a:prstGeom prst="roundRect">
            <a:avLst/>
          </a:prstGeom>
          <a:solidFill>
            <a:schemeClr val="accent1">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Site Budget/Contract</a:t>
            </a:r>
          </a:p>
        </p:txBody>
      </p:sp>
      <p:sp>
        <p:nvSpPr>
          <p:cNvPr id="140" name="Rounded Rectangle 139"/>
          <p:cNvSpPr/>
          <p:nvPr/>
        </p:nvSpPr>
        <p:spPr>
          <a:xfrm>
            <a:off x="4282308" y="4091165"/>
            <a:ext cx="4441390" cy="162018"/>
          </a:xfrm>
          <a:prstGeom prst="roundRect">
            <a:avLst/>
          </a:prstGeom>
          <a:solidFill>
            <a:schemeClr val="accent1">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Manage Study Costs</a:t>
            </a:r>
          </a:p>
        </p:txBody>
      </p:sp>
      <p:sp>
        <p:nvSpPr>
          <p:cNvPr id="142" name="Rounded Rectangle 141"/>
          <p:cNvSpPr/>
          <p:nvPr/>
        </p:nvSpPr>
        <p:spPr>
          <a:xfrm>
            <a:off x="5173669" y="4517173"/>
            <a:ext cx="1685515" cy="162018"/>
          </a:xfrm>
          <a:prstGeom prst="roundRect">
            <a:avLst/>
          </a:prstGeom>
          <a:solidFill>
            <a:schemeClr val="accent1">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Amend Budget/Contract</a:t>
            </a:r>
          </a:p>
        </p:txBody>
      </p:sp>
      <p:sp>
        <p:nvSpPr>
          <p:cNvPr id="143" name="Rounded Rectangle 142"/>
          <p:cNvSpPr/>
          <p:nvPr/>
        </p:nvSpPr>
        <p:spPr>
          <a:xfrm>
            <a:off x="4285070" y="4316703"/>
            <a:ext cx="4438628" cy="162018"/>
          </a:xfrm>
          <a:prstGeom prst="roundRect">
            <a:avLst/>
          </a:prstGeom>
          <a:solidFill>
            <a:schemeClr val="accent1">
              <a:lumMod val="40000"/>
              <a:lumOff val="60000"/>
            </a:schemeClr>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Site Payments</a:t>
            </a:r>
          </a:p>
        </p:txBody>
      </p:sp>
      <p:sp>
        <p:nvSpPr>
          <p:cNvPr id="144" name="Rounded Rectangle 143"/>
          <p:cNvSpPr/>
          <p:nvPr/>
        </p:nvSpPr>
        <p:spPr>
          <a:xfrm>
            <a:off x="2977187" y="2193362"/>
            <a:ext cx="2839019" cy="176672"/>
          </a:xfrm>
          <a:prstGeom prst="roundRect">
            <a:avLst/>
          </a:prstGeom>
          <a:solidFill>
            <a:srgbClr val="FFCC66"/>
          </a:solidFill>
          <a:ln w="12700">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dirty="0">
                <a:solidFill>
                  <a:srgbClr val="003366"/>
                </a:solidFill>
                <a:latin typeface="Arial" panose="020B0604020202020204" pitchFamily="34" charset="0"/>
                <a:cs typeface="Arial" panose="020B0604020202020204" pitchFamily="34" charset="0"/>
              </a:rPr>
              <a:t>Implement Site Training</a:t>
            </a:r>
          </a:p>
        </p:txBody>
      </p:sp>
      <p:cxnSp>
        <p:nvCxnSpPr>
          <p:cNvPr id="145" name="Straight Connector 144"/>
          <p:cNvCxnSpPr/>
          <p:nvPr/>
        </p:nvCxnSpPr>
        <p:spPr bwMode="auto">
          <a:xfrm>
            <a:off x="189187" y="2428639"/>
            <a:ext cx="8662632" cy="0"/>
          </a:xfrm>
          <a:prstGeom prst="line">
            <a:avLst/>
          </a:prstGeom>
          <a:solidFill>
            <a:schemeClr val="bg1"/>
          </a:solidFill>
          <a:ln w="25400" cap="rnd" cmpd="sng" algn="ctr">
            <a:solidFill>
              <a:srgbClr val="B2B2B2"/>
            </a:solidFill>
            <a:prstDash val="sysDot"/>
            <a:round/>
            <a:headEnd type="none" w="med" len="med"/>
            <a:tailEnd type="none" w="med" len="med"/>
          </a:ln>
          <a:effectLst/>
        </p:spPr>
      </p:cxnSp>
      <p:cxnSp>
        <p:nvCxnSpPr>
          <p:cNvPr id="146" name="Straight Connector 145"/>
          <p:cNvCxnSpPr/>
          <p:nvPr/>
        </p:nvCxnSpPr>
        <p:spPr bwMode="auto">
          <a:xfrm>
            <a:off x="190810" y="3337891"/>
            <a:ext cx="8629662" cy="0"/>
          </a:xfrm>
          <a:prstGeom prst="line">
            <a:avLst/>
          </a:prstGeom>
          <a:solidFill>
            <a:schemeClr val="bg1"/>
          </a:solidFill>
          <a:ln w="25400" cap="rnd" cmpd="sng" algn="ctr">
            <a:solidFill>
              <a:srgbClr val="B2B2B2"/>
            </a:solidFill>
            <a:prstDash val="sysDot"/>
            <a:round/>
            <a:headEnd type="none" w="med" len="med"/>
            <a:tailEnd type="none" w="med" len="med"/>
          </a:ln>
          <a:effectLst/>
        </p:spPr>
      </p:cxnSp>
      <p:cxnSp>
        <p:nvCxnSpPr>
          <p:cNvPr id="147" name="Straight Connector 146"/>
          <p:cNvCxnSpPr/>
          <p:nvPr/>
        </p:nvCxnSpPr>
        <p:spPr bwMode="auto">
          <a:xfrm>
            <a:off x="155210" y="4042593"/>
            <a:ext cx="8738768" cy="0"/>
          </a:xfrm>
          <a:prstGeom prst="line">
            <a:avLst/>
          </a:prstGeom>
          <a:solidFill>
            <a:schemeClr val="bg1"/>
          </a:solidFill>
          <a:ln w="25400" cap="rnd" cmpd="sng" algn="ctr">
            <a:solidFill>
              <a:srgbClr val="B2B2B2"/>
            </a:solidFill>
            <a:prstDash val="sysDot"/>
            <a:round/>
            <a:headEnd type="none" w="med" len="med"/>
            <a:tailEnd type="none" w="med" len="med"/>
          </a:ln>
          <a:effectLst/>
        </p:spPr>
      </p:cxnSp>
      <p:grpSp>
        <p:nvGrpSpPr>
          <p:cNvPr id="11" name="Group 10"/>
          <p:cNvGrpSpPr/>
          <p:nvPr/>
        </p:nvGrpSpPr>
        <p:grpSpPr>
          <a:xfrm>
            <a:off x="6708358" y="770390"/>
            <a:ext cx="815977" cy="338554"/>
            <a:chOff x="6535653" y="1124744"/>
            <a:chExt cx="815977" cy="451406"/>
          </a:xfrm>
        </p:grpSpPr>
        <p:sp>
          <p:nvSpPr>
            <p:cNvPr id="100" name="TextBox 99"/>
            <p:cNvSpPr txBox="1"/>
            <p:nvPr/>
          </p:nvSpPr>
          <p:spPr>
            <a:xfrm>
              <a:off x="6662892" y="1124744"/>
              <a:ext cx="688738" cy="451406"/>
            </a:xfrm>
            <a:prstGeom prst="rect">
              <a:avLst/>
            </a:prstGeom>
            <a:solidFill>
              <a:schemeClr val="bg1"/>
            </a:solidFill>
          </p:spPr>
          <p:txBody>
            <a:bodyPr wrap="square" rtlCol="0">
              <a:spAutoFit/>
            </a:bodyPr>
            <a:lstStyle/>
            <a:p>
              <a:pPr algn="ctr"/>
              <a:r>
                <a:rPr lang="en-US" sz="800" dirty="0">
                  <a:solidFill>
                    <a:prstClr val="black"/>
                  </a:solidFill>
                </a:rPr>
                <a:t>Database Lock</a:t>
              </a:r>
              <a:endParaRPr lang="en-CA" sz="800" dirty="0">
                <a:solidFill>
                  <a:prstClr val="black"/>
                </a:solidFill>
              </a:endParaRPr>
            </a:p>
          </p:txBody>
        </p:sp>
        <p:pic>
          <p:nvPicPr>
            <p:cNvPr id="1028" name="Picture 4" descr="See the source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5653" y="1182514"/>
              <a:ext cx="253792" cy="253792"/>
            </a:xfrm>
            <a:prstGeom prst="rect">
              <a:avLst/>
            </a:prstGeom>
            <a:noFill/>
          </p:spPr>
        </p:pic>
      </p:grpSp>
      <p:sp>
        <p:nvSpPr>
          <p:cNvPr id="3" name="Footer Placeholder 2"/>
          <p:cNvSpPr>
            <a:spLocks noGrp="1"/>
          </p:cNvSpPr>
          <p:nvPr>
            <p:ph type="ftr" sz="quarter" idx="11"/>
          </p:nvPr>
        </p:nvSpPr>
        <p:spPr/>
        <p:txBody>
          <a:bodyPr/>
          <a:lstStyle/>
          <a:p>
            <a:r>
              <a:rPr lang="en-GB"/>
              <a:t>#ConV2X 2018</a:t>
            </a:r>
            <a:endParaRPr lang="en-GB" dirty="0"/>
          </a:p>
        </p:txBody>
      </p:sp>
    </p:spTree>
    <p:extLst>
      <p:ext uri="{BB962C8B-B14F-4D97-AF65-F5344CB8AC3E}">
        <p14:creationId xmlns:p14="http://schemas.microsoft.com/office/powerpoint/2010/main" val="1256221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I_Template_2007_V2">
  <a:themeElements>
    <a:clrScheme name="ICE">
      <a:dk1>
        <a:sysClr val="windowText" lastClr="000000"/>
      </a:dk1>
      <a:lt1>
        <a:sysClr val="window" lastClr="FFFFFF"/>
      </a:lt1>
      <a:dk2>
        <a:srgbClr val="0197D7"/>
      </a:dk2>
      <a:lt2>
        <a:srgbClr val="F89827"/>
      </a:lt2>
      <a:accent1>
        <a:srgbClr val="003366"/>
      </a:accent1>
      <a:accent2>
        <a:srgbClr val="99CCFF"/>
      </a:accent2>
      <a:accent3>
        <a:srgbClr val="FFFF53"/>
      </a:accent3>
      <a:accent4>
        <a:srgbClr val="47AFB9"/>
      </a:accent4>
      <a:accent5>
        <a:srgbClr val="905CD6"/>
      </a:accent5>
      <a:accent6>
        <a:srgbClr val="ABFD3D"/>
      </a:accent6>
      <a:hlink>
        <a:srgbClr val="93FF79"/>
      </a:hlink>
      <a:folHlink>
        <a:srgbClr val="B7B7B7"/>
      </a:folHlink>
    </a:clrScheme>
    <a:fontScheme name="Custom 9">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cap="flat" cmpd="sng" algn="ctr">
          <a:solidFill>
            <a:schemeClr val="tx2"/>
          </a:solid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accent1"/>
            </a:solidFill>
            <a:effectLst/>
            <a:latin typeface="BISansCond"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lnDef>
    <a:txDef>
      <a:spPr>
        <a:noFill/>
      </a:spPr>
      <a:bodyPr wrap="square" rtlCol="0">
        <a:noAutofit/>
      </a:bodyPr>
      <a:lstStyle>
        <a:defPPr>
          <a:defRPr dirty="0" err="1" smtClean="0">
            <a:solidFill>
              <a:schemeClr val="accent1"/>
            </a:solidFill>
          </a:defRPr>
        </a:defPPr>
      </a:lstStyle>
    </a:txDef>
  </a:objectDefaults>
  <a:extraClrSchemeLst>
    <a:extraClrScheme>
      <a:clrScheme name="Leere Präsentation 1">
        <a:dk1>
          <a:srgbClr val="000000"/>
        </a:dk1>
        <a:lt1>
          <a:srgbClr val="FFFFFF"/>
        </a:lt1>
        <a:dk2>
          <a:srgbClr val="FFFFFF"/>
        </a:dk2>
        <a:lt2>
          <a:srgbClr val="EBEBEB"/>
        </a:lt2>
        <a:accent1>
          <a:srgbClr val="C0C0C0"/>
        </a:accent1>
        <a:accent2>
          <a:srgbClr val="969696"/>
        </a:accent2>
        <a:accent3>
          <a:srgbClr val="FFFFFF"/>
        </a:accent3>
        <a:accent4>
          <a:srgbClr val="000000"/>
        </a:accent4>
        <a:accent5>
          <a:srgbClr val="DCDCDC"/>
        </a:accent5>
        <a:accent6>
          <a:srgbClr val="878787"/>
        </a:accent6>
        <a:hlink>
          <a:srgbClr val="5F5F5F"/>
        </a:hlink>
        <a:folHlink>
          <a:srgbClr val="4D4D4D"/>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EBEBEB"/>
        </a:lt1>
        <a:dk2>
          <a:srgbClr val="FFFFFF"/>
        </a:dk2>
        <a:lt2>
          <a:srgbClr val="EBEBEB"/>
        </a:lt2>
        <a:accent1>
          <a:srgbClr val="003366"/>
        </a:accent1>
        <a:accent2>
          <a:srgbClr val="6699CC"/>
        </a:accent2>
        <a:accent3>
          <a:srgbClr val="F3F3F3"/>
        </a:accent3>
        <a:accent4>
          <a:srgbClr val="000000"/>
        </a:accent4>
        <a:accent5>
          <a:srgbClr val="AAADB8"/>
        </a:accent5>
        <a:accent6>
          <a:srgbClr val="5C8AB9"/>
        </a:accent6>
        <a:hlink>
          <a:srgbClr val="FF9900"/>
        </a:hlink>
        <a:folHlink>
          <a:srgbClr val="9999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World Presentation 16x9">
  <a:themeElements>
    <a:clrScheme name="Continental_16x9">
      <a:dk1>
        <a:srgbClr val="545454"/>
      </a:dk1>
      <a:lt1>
        <a:sysClr val="window" lastClr="FFFFFF"/>
      </a:lt1>
      <a:dk2>
        <a:srgbClr val="000000"/>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2400"/>
        </a:defPPr>
      </a:lstStyle>
      <a:style>
        <a:lnRef idx="2">
          <a:schemeClr val="dk1">
            <a:shade val="50000"/>
          </a:schemeClr>
        </a:lnRef>
        <a:fillRef idx="1">
          <a:schemeClr val="dk1"/>
        </a:fillRef>
        <a:effectRef idx="0">
          <a:schemeClr val="dk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defRPr sz="2400"/>
        </a:defPPr>
      </a:lstStyle>
    </a:txDef>
  </a:objectDefaults>
  <a:extraClrSchemeLst/>
  <a:extLst>
    <a:ext uri="{05A4C25C-085E-4340-85A3-A5531E510DB2}">
      <thm15:themeFamily xmlns:thm15="http://schemas.microsoft.com/office/thememl/2012/main" name="World maps series, World  presentation (widescreen).potx" id="{6FD2C32E-565A-4F51-8C38-826F1B24AA7D}" vid="{06379D18-BA11-4F05-84DF-EB681B68D4F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xml><?xml version="1.0" encoding="utf-8"?>
<a:theme xmlns:a="http://schemas.openxmlformats.org/drawingml/2006/main" name="170215_BI-PPT_Template_16-9_dt">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4.xml><?xml version="1.0" encoding="utf-8"?>
<a:theme xmlns:a="http://schemas.openxmlformats.org/drawingml/2006/main" name="7_160209_ImPaCt_BMD_Presentation_February_9th_Final">
  <a:themeElements>
    <a:clrScheme name="BI_Colors">
      <a:dk1>
        <a:srgbClr val="003366"/>
      </a:dk1>
      <a:lt1>
        <a:srgbClr val="FFFFFF"/>
      </a:lt1>
      <a:dk2>
        <a:srgbClr val="000000"/>
      </a:dk2>
      <a:lt2>
        <a:srgbClr val="EBEBEB"/>
      </a:lt2>
      <a:accent1>
        <a:srgbClr val="FF9900"/>
      </a:accent1>
      <a:accent2>
        <a:srgbClr val="FF0000"/>
      </a:accent2>
      <a:accent3>
        <a:srgbClr val="CCCC00"/>
      </a:accent3>
      <a:accent4>
        <a:srgbClr val="6699CC"/>
      </a:accent4>
      <a:accent5>
        <a:srgbClr val="006666"/>
      </a:accent5>
      <a:accent6>
        <a:srgbClr val="CC3333"/>
      </a:accent6>
      <a:hlink>
        <a:srgbClr val="006699"/>
      </a:hlink>
      <a:folHlink>
        <a:srgbClr val="669999"/>
      </a:folHlink>
    </a:clrScheme>
    <a:fontScheme name="BI Sans Cond TT">
      <a:majorFont>
        <a:latin typeface="BISansCond"/>
        <a:ea typeface=""/>
        <a:cs typeface=""/>
      </a:majorFont>
      <a:minorFont>
        <a:latin typeface="BISansCon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lnDef>
  </a:objectDefaults>
  <a:extraClrSchemeLst>
    <a:extraClrScheme>
      <a:clrScheme name="Leere Präsentation 1">
        <a:dk1>
          <a:srgbClr val="000000"/>
        </a:dk1>
        <a:lt1>
          <a:srgbClr val="FFFFFF"/>
        </a:lt1>
        <a:dk2>
          <a:srgbClr val="FFFFFF"/>
        </a:dk2>
        <a:lt2>
          <a:srgbClr val="EBEBEB"/>
        </a:lt2>
        <a:accent1>
          <a:srgbClr val="C0C0C0"/>
        </a:accent1>
        <a:accent2>
          <a:srgbClr val="969696"/>
        </a:accent2>
        <a:accent3>
          <a:srgbClr val="FFFFFF"/>
        </a:accent3>
        <a:accent4>
          <a:srgbClr val="000000"/>
        </a:accent4>
        <a:accent5>
          <a:srgbClr val="DCDCDC"/>
        </a:accent5>
        <a:accent6>
          <a:srgbClr val="878787"/>
        </a:accent6>
        <a:hlink>
          <a:srgbClr val="5F5F5F"/>
        </a:hlink>
        <a:folHlink>
          <a:srgbClr val="4D4D4D"/>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EBEBEB"/>
        </a:lt1>
        <a:dk2>
          <a:srgbClr val="FFFFFF"/>
        </a:dk2>
        <a:lt2>
          <a:srgbClr val="EBEBEB"/>
        </a:lt2>
        <a:accent1>
          <a:srgbClr val="003366"/>
        </a:accent1>
        <a:accent2>
          <a:srgbClr val="6699CC"/>
        </a:accent2>
        <a:accent3>
          <a:srgbClr val="F3F3F3"/>
        </a:accent3>
        <a:accent4>
          <a:srgbClr val="000000"/>
        </a:accent4>
        <a:accent5>
          <a:srgbClr val="AAADB8"/>
        </a:accent5>
        <a:accent6>
          <a:srgbClr val="5C8AB9"/>
        </a:accent6>
        <a:hlink>
          <a:srgbClr val="FF9900"/>
        </a:hlink>
        <a:folHlink>
          <a:srgbClr val="9999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6.xml><?xml version="1.0" encoding="utf-8"?>
<a:theme xmlns:a="http://schemas.openxmlformats.org/drawingml/2006/main" name="BI-PPT-Standard_16-9">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7.xml><?xml version="1.0" encoding="utf-8"?>
<a:theme xmlns:a="http://schemas.openxmlformats.org/drawingml/2006/main" name="Template with examples_V1.0">
  <a:themeElements>
    <a:clrScheme name="Biosimilars TA">
      <a:dk1>
        <a:srgbClr val="003366"/>
      </a:dk1>
      <a:lt1>
        <a:srgbClr val="FFFFFF"/>
      </a:lt1>
      <a:dk2>
        <a:srgbClr val="003366"/>
      </a:dk2>
      <a:lt2>
        <a:srgbClr val="C3C8C8"/>
      </a:lt2>
      <a:accent1>
        <a:srgbClr val="003366"/>
      </a:accent1>
      <a:accent2>
        <a:srgbClr val="6E79AA"/>
      </a:accent2>
      <a:accent3>
        <a:srgbClr val="B6B9D3"/>
      </a:accent3>
      <a:accent4>
        <a:srgbClr val="009933"/>
      </a:accent4>
      <a:accent5>
        <a:srgbClr val="92278F"/>
      </a:accent5>
      <a:accent6>
        <a:srgbClr val="707372"/>
      </a:accent6>
      <a:hlink>
        <a:srgbClr val="6E79AA"/>
      </a:hlink>
      <a:folHlink>
        <a:srgbClr val="000000"/>
      </a:folHlink>
    </a:clrScheme>
    <a:fontScheme name="Custom 19">
      <a:majorFont>
        <a:latin typeface="BISansCond"/>
        <a:ea typeface=""/>
        <a:cs typeface=""/>
      </a:majorFont>
      <a:minorFont>
        <a:latin typeface="BISansCon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40" tIns="0" rIns="91440" bIns="0" numCol="1" rtlCol="0" anchor="t" anchorCtr="0" compatLnSpc="1">
        <a:prstTxWarp prst="textNoShape">
          <a:avLst/>
        </a:prstTxWarp>
      </a:bodyPr>
      <a:lstStyle>
        <a:defPPr algn="l" eaLnBrk="0" hangingPunct="0">
          <a:lnSpc>
            <a:spcPct val="100000"/>
          </a:lnSpc>
          <a:spcBef>
            <a:spcPct val="0"/>
          </a:spcBef>
          <a:buClrTx/>
          <a:buFontTx/>
          <a:buNone/>
          <a:defRPr sz="1800" dirty="0" err="1" smtClean="0">
            <a:solidFill>
              <a:srgbClr val="FFFFFF"/>
            </a:solidFill>
            <a:latin typeface="+mn-lt"/>
          </a:defRPr>
        </a:defPPr>
      </a:lstStyle>
      <a:style>
        <a:lnRef idx="0">
          <a:schemeClr val="dk1"/>
        </a:lnRef>
        <a:fillRef idx="3">
          <a:schemeClr val="dk1"/>
        </a:fillRef>
        <a:effectRef idx="3">
          <a:schemeClr val="dk1"/>
        </a:effectRef>
        <a:fontRef idx="minor">
          <a:schemeClr val="lt1"/>
        </a:fontRef>
      </a:style>
    </a:spDef>
    <a:lnDef>
      <a:spPr bwMode="auto">
        <a:solidFill>
          <a:schemeClr val="bg1"/>
        </a:solidFill>
        <a:ln w="28575" cap="flat" cmpd="sng" algn="ctr">
          <a:solidFill>
            <a:schemeClr val="tx2"/>
          </a:solidFill>
          <a:prstDash val="solid"/>
          <a:round/>
          <a:headEnd type="none" w="med" len="med"/>
          <a:tailEnd type="none" w="med" len="med"/>
        </a:ln>
        <a:effectLst/>
      </a:spPr>
      <a:bodyPr/>
      <a:lstStyle/>
    </a:lnDef>
    <a:txDef>
      <a:spPr>
        <a:noFill/>
      </a:spPr>
      <a:bodyPr wrap="square" rtlCol="0">
        <a:spAutoFit/>
      </a:bodyPr>
      <a:lstStyle>
        <a:defPPr algn="l">
          <a:lnSpc>
            <a:spcPct val="100000"/>
          </a:lnSpc>
          <a:spcBef>
            <a:spcPts val="0"/>
          </a:spcBef>
          <a:defRPr dirty="0" err="1" smtClean="0">
            <a:latin typeface="+mn-lt"/>
          </a:defRPr>
        </a:defPPr>
      </a:lstStyle>
    </a:txDef>
  </a:objectDefaults>
  <a:extraClrSchemeLst>
    <a:extraClrScheme>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9.xml><?xml version="1.0" encoding="utf-8"?>
<a:theme xmlns:a="http://schemas.openxmlformats.org/drawingml/2006/main" name="5_Office Theme">
  <a:themeElements>
    <a:clrScheme name="Custom 1">
      <a:dk1>
        <a:srgbClr val="00407D"/>
      </a:dk1>
      <a:lt1>
        <a:srgbClr val="FFFFFF"/>
      </a:lt1>
      <a:dk2>
        <a:srgbClr val="006FBA"/>
      </a:dk2>
      <a:lt2>
        <a:srgbClr val="E5F0FF"/>
      </a:lt2>
      <a:accent1>
        <a:srgbClr val="00407D"/>
      </a:accent1>
      <a:accent2>
        <a:srgbClr val="006FBA"/>
      </a:accent2>
      <a:accent3>
        <a:srgbClr val="14242F"/>
      </a:accent3>
      <a:accent4>
        <a:srgbClr val="00A8DF"/>
      </a:accent4>
      <a:accent5>
        <a:srgbClr val="004378"/>
      </a:accent5>
      <a:accent6>
        <a:srgbClr val="01496C"/>
      </a:accent6>
      <a:hlink>
        <a:srgbClr val="003564"/>
      </a:hlink>
      <a:folHlink>
        <a:srgbClr val="006F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711</TotalTime>
  <Words>792</Words>
  <Application>Microsoft Macintosh PowerPoint</Application>
  <PresentationFormat>On-screen Show (16:9)</PresentationFormat>
  <Paragraphs>234</Paragraphs>
  <Slides>21</Slides>
  <Notes>17</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21</vt:i4>
      </vt:variant>
    </vt:vector>
  </HeadingPairs>
  <TitlesOfParts>
    <vt:vector size="45" baseType="lpstr">
      <vt:lpstr>Arial</vt:lpstr>
      <vt:lpstr>Arial Narrow</vt:lpstr>
      <vt:lpstr>Avenir Next</vt:lpstr>
      <vt:lpstr>BISans</vt:lpstr>
      <vt:lpstr>BISansCond</vt:lpstr>
      <vt:lpstr>BISansMl</vt:lpstr>
      <vt:lpstr>BISansNEXT</vt:lpstr>
      <vt:lpstr>Calibri</vt:lpstr>
      <vt:lpstr>Century Gothic</vt:lpstr>
      <vt:lpstr>Courier New</vt:lpstr>
      <vt:lpstr>Helvetica Neue</vt:lpstr>
      <vt:lpstr>Symbol</vt:lpstr>
      <vt:lpstr>Wingdings</vt:lpstr>
      <vt:lpstr>1_BI_Template_2007_V2</vt:lpstr>
      <vt:lpstr>170215_BI-PPT_Template_16-9_new</vt:lpstr>
      <vt:lpstr>170215_BI-PPT_Template_16-9_dt</vt:lpstr>
      <vt:lpstr>7_160209_ImPaCt_BMD_Presentation_February_9th_Final</vt:lpstr>
      <vt:lpstr>170215_BI-PPT_Template_4-3_new</vt:lpstr>
      <vt:lpstr>BI-PPT-Standard_16-9</vt:lpstr>
      <vt:lpstr>Template with examples_V1.0</vt:lpstr>
      <vt:lpstr>1_170215_BI-PPT_Template_16-9_new</vt:lpstr>
      <vt:lpstr>5_Office Theme</vt:lpstr>
      <vt:lpstr>World Presentation 16x9</vt:lpstr>
      <vt:lpstr>think-cell Folie</vt:lpstr>
      <vt:lpstr>PowerPoint Presentation</vt:lpstr>
      <vt:lpstr>Blockchain Technology in Clinical Trials  Uli Broedl</vt:lpstr>
      <vt:lpstr>Disclosure</vt:lpstr>
      <vt:lpstr>Blockchain Technology in Clinical Trials Summary</vt:lpstr>
      <vt:lpstr>Blockchain Technology in Clinical Trials Global Clinical Trial Market Size</vt:lpstr>
      <vt:lpstr>Blockchain Technology in Clinical Trials Spectrum of Clinical Trials</vt:lpstr>
      <vt:lpstr>Blockchain Technology in Clinical Trials Traditional (central) IT Architecture vs Distributed Ledger Technology</vt:lpstr>
      <vt:lpstr>Blockchain Technology in Clinical Trials  Clinical Trial Conduct Overview</vt:lpstr>
      <vt:lpstr>Blockchain Technology in Clinical Trials  Clinical Trial Conduct Overview</vt:lpstr>
      <vt:lpstr>Blockchain Technology in Clinical Trials Clinical Trial Flow </vt:lpstr>
      <vt:lpstr>Blockchain Technology in Clinical Trials Clinical Trial Flow – Health Authority</vt:lpstr>
      <vt:lpstr>Blockchain Technology in Clinical Trials Observations during GCP inspections across Canada 2015-2016</vt:lpstr>
      <vt:lpstr>Blockchain Technology in Clinical Trials Clinical Trial Flow - Sponsor</vt:lpstr>
      <vt:lpstr>Blockchain Technology in Clinical Trials Costs of Clinical Trials</vt:lpstr>
      <vt:lpstr>Blockchain Technology in Clinical Trials Clinical Trial Flow - Patient</vt:lpstr>
      <vt:lpstr>Blockchain Technology in Clinical Trials Clinical Trial Flow</vt:lpstr>
      <vt:lpstr>Blockchain Technology in Clinical Trials  “Team Sport to create Win-Win-Win Situations”</vt:lpstr>
      <vt:lpstr>Blockchain Technology in Clinical Trials  Endpoints</vt:lpstr>
      <vt:lpstr>Blockchain Technology in Clinical Trials  Why don’t we really see blockchain-based clinical trials?</vt:lpstr>
      <vt:lpstr>Blockchain Technology in Clinical Trials  Practical Limitations: On-/Off-Chain Interactions</vt:lpstr>
      <vt:lpstr>Blockchain Technology in Clinical Trials Summary</vt:lpstr>
    </vt:vector>
  </TitlesOfParts>
  <Company>Hewlett-Packard</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Tiffani DeLorenzo</cp:lastModifiedBy>
  <cp:revision>496</cp:revision>
  <cp:lastPrinted>2017-05-10T15:21:18Z</cp:lastPrinted>
  <dcterms:created xsi:type="dcterms:W3CDTF">2013-10-09T16:09:55Z</dcterms:created>
  <dcterms:modified xsi:type="dcterms:W3CDTF">2018-10-24T05:10:01Z</dcterms:modified>
</cp:coreProperties>
</file>